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2.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0"/>
    <p:sldMasterId id="2147483753" r:id="rId11"/>
    <p:sldMasterId id="2147483769" r:id="rId12"/>
    <p:sldMasterId id="2147483800" r:id="rId13"/>
    <p:sldMasterId id="2147483815" r:id="rId14"/>
    <p:sldMasterId id="2147483868" r:id="rId15"/>
  </p:sldMasterIdLst>
  <p:notesMasterIdLst>
    <p:notesMasterId r:id="rId50"/>
  </p:notesMasterIdLst>
  <p:handoutMasterIdLst>
    <p:handoutMasterId r:id="rId51"/>
  </p:handoutMasterIdLst>
  <p:sldIdLst>
    <p:sldId id="2146847635" r:id="rId16"/>
    <p:sldId id="2147483592" r:id="rId17"/>
    <p:sldId id="2147483586" r:id="rId18"/>
    <p:sldId id="2147483583" r:id="rId19"/>
    <p:sldId id="2147483587" r:id="rId20"/>
    <p:sldId id="2147483639" r:id="rId21"/>
    <p:sldId id="2142533081" r:id="rId22"/>
    <p:sldId id="2147483159" r:id="rId23"/>
    <p:sldId id="2147483558" r:id="rId24"/>
    <p:sldId id="2147483642" r:id="rId25"/>
    <p:sldId id="2147483588" r:id="rId26"/>
    <p:sldId id="2147483598" r:id="rId27"/>
    <p:sldId id="2147483599" r:id="rId28"/>
    <p:sldId id="458" r:id="rId29"/>
    <p:sldId id="2147483601" r:id="rId30"/>
    <p:sldId id="2147483595" r:id="rId31"/>
    <p:sldId id="2147482134" r:id="rId32"/>
    <p:sldId id="2147482130" r:id="rId33"/>
    <p:sldId id="2147483610" r:id="rId34"/>
    <p:sldId id="2147483596" r:id="rId35"/>
    <p:sldId id="2147483609" r:id="rId36"/>
    <p:sldId id="2147479839" r:id="rId37"/>
    <p:sldId id="2147483608" r:id="rId38"/>
    <p:sldId id="2147479893" r:id="rId39"/>
    <p:sldId id="2147479894" r:id="rId40"/>
    <p:sldId id="2147483607" r:id="rId41"/>
    <p:sldId id="2147479865" r:id="rId42"/>
    <p:sldId id="2147479770" r:id="rId43"/>
    <p:sldId id="495" r:id="rId44"/>
    <p:sldId id="2147483557" r:id="rId45"/>
    <p:sldId id="2147483611" r:id="rId46"/>
    <p:sldId id="2147479845" r:id="rId47"/>
    <p:sldId id="2147483593" r:id="rId48"/>
    <p:sldId id="2147483591" r:id="rId49"/>
  </p:sldIdLst>
  <p:sldSz cx="12192000" cy="6858000"/>
  <p:notesSz cx="6858000" cy="9144000"/>
  <p:custDataLst>
    <p:tags r:id="rId5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A547B23-2C1C-453A-9CDE-5E1BF8B1FEB9}">
          <p14:sldIdLst>
            <p14:sldId id="2146847635"/>
            <p14:sldId id="2147483592"/>
          </p14:sldIdLst>
        </p14:section>
        <p14:section name="About Deloitte" id="{88CF0FD0-FD25-4264-8E72-2AA8C67A525A}">
          <p14:sldIdLst>
            <p14:sldId id="2147483586"/>
            <p14:sldId id="2147483583"/>
            <p14:sldId id="2147483587"/>
            <p14:sldId id="2147483639"/>
            <p14:sldId id="2142533081"/>
            <p14:sldId id="2147483159"/>
            <p14:sldId id="2147483558"/>
            <p14:sldId id="2147483642"/>
            <p14:sldId id="2147483588"/>
            <p14:sldId id="2147483598"/>
            <p14:sldId id="2147483599"/>
          </p14:sldIdLst>
        </p14:section>
        <p14:section name="Understanding of Scope" id="{6E507EE8-6E62-407D-8E19-85057DDD9BC1}">
          <p14:sldIdLst>
            <p14:sldId id="458"/>
            <p14:sldId id="2147483601"/>
          </p14:sldIdLst>
        </p14:section>
        <p14:section name="Approach &amp; Methodology" id="{19003C44-DF58-4507-8093-3E6B8A4FABB3}">
          <p14:sldIdLst>
            <p14:sldId id="2147483595"/>
            <p14:sldId id="2147482134"/>
            <p14:sldId id="2147482130"/>
            <p14:sldId id="2147483610"/>
          </p14:sldIdLst>
        </p14:section>
        <p14:section name="Proposed Solution" id="{6B016B63-80CB-45D3-97B2-B3E0B2F2B776}">
          <p14:sldIdLst>
            <p14:sldId id="2147483596"/>
            <p14:sldId id="2147483609"/>
            <p14:sldId id="2147479839"/>
            <p14:sldId id="2147483608"/>
            <p14:sldId id="2147479893"/>
            <p14:sldId id="2147479894"/>
            <p14:sldId id="2147483607"/>
          </p14:sldIdLst>
        </p14:section>
        <p14:section name="Team Structure" id="{8CFFB646-F63E-4C4E-AB60-B9ABB2EE474C}">
          <p14:sldIdLst>
            <p14:sldId id="2147479865"/>
            <p14:sldId id="2147479770"/>
            <p14:sldId id="495"/>
            <p14:sldId id="2147483557"/>
            <p14:sldId id="2147483611"/>
            <p14:sldId id="2147479845"/>
            <p14:sldId id="2147483593"/>
            <p14:sldId id="214748359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5EE202-74F2-FE96-1040-95A775CB9E79}" name="Tirpude, Nirbhay" initials="TN" userId="S::ntirpude@deloitte.com::eab7cd42-3d4f-42ab-82aa-064bc19b59fc" providerId="AD"/>
  <p188:author id="{AD0A7711-F94C-73EA-B932-7D39831E90DF}" name="Moitra, Meghna" initials="MM" userId="S::memoitra@deloitte.com::141e915a-c98c-4fb8-acba-976ccf0ac07a" providerId="AD"/>
  <p188:author id="{1FF73420-05C2-6DC2-AA1A-8FD2294FD4B8}" name="Govender, Sharmala" initials="GS" userId="S::shgovender@deloitte.co.za::e2889fe2-a3e2-47ed-9a09-6521c915283e" providerId="AD"/>
  <p188:author id="{B962EF7B-8DEF-AE4A-4827-16945A22EF43}" name="Kolhe, Varun" initials="KV" userId="S::vkolhe@deloitte.com::81e66887-3d30-4fe4-8e7f-d61b23e9e019" providerId="AD"/>
  <p188:author id="{3DB85F83-B038-8483-D8FF-D3DA15A63867}" name="Van der Merwe, Stefanus" initials="VdMS" userId="S::stvandermerwe@deloitte.co.za::5e70d036-f437-4fe9-b1bd-f0409f71b9e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F8FF"/>
    <a:srgbClr val="000000"/>
    <a:srgbClr val="43B02A"/>
    <a:srgbClr val="53565A"/>
    <a:srgbClr val="046A38"/>
    <a:srgbClr val="0D8390"/>
    <a:srgbClr val="26890D"/>
    <a:srgbClr val="007CB0"/>
    <a:srgbClr val="86BC25"/>
    <a:srgbClr val="A4A3A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49B704-DE62-454F-BEF5-F61C94DDF19D}" v="8" dt="2025-12-04T14:12:58.0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4.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2.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customXml" Target="../customXml/item5.xml"/><Relationship Id="rId19"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5.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3.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6.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microsoft.com/office/2015/10/relationships/revisionInfo" Target="revisionInfo.xml"/><Relationship Id="rId10" Type="http://schemas.openxmlformats.org/officeDocument/2006/relationships/slideMaster" Target="slideMasters/slideMaster1.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tags" Target="tags/tag1.xml"/></Relationships>
</file>

<file path=ppt/diagrams/_rels/data1.xml.rels><?xml version="1.0" encoding="UTF-8" standalone="yes"?>
<Relationships xmlns="http://schemas.openxmlformats.org/package/2006/relationships"><Relationship Id="rId8" Type="http://schemas.openxmlformats.org/officeDocument/2006/relationships/image" Target="../media/image123.svg"/><Relationship Id="rId3" Type="http://schemas.openxmlformats.org/officeDocument/2006/relationships/image" Target="../media/image118.png"/><Relationship Id="rId7" Type="http://schemas.openxmlformats.org/officeDocument/2006/relationships/image" Target="../media/image122.png"/><Relationship Id="rId12" Type="http://schemas.openxmlformats.org/officeDocument/2006/relationships/image" Target="../media/image127.svg"/><Relationship Id="rId2" Type="http://schemas.openxmlformats.org/officeDocument/2006/relationships/image" Target="../media/image117.svg"/><Relationship Id="rId1" Type="http://schemas.openxmlformats.org/officeDocument/2006/relationships/image" Target="../media/image116.png"/><Relationship Id="rId6" Type="http://schemas.openxmlformats.org/officeDocument/2006/relationships/image" Target="../media/image121.svg"/><Relationship Id="rId11" Type="http://schemas.openxmlformats.org/officeDocument/2006/relationships/image" Target="../media/image126.png"/><Relationship Id="rId5" Type="http://schemas.openxmlformats.org/officeDocument/2006/relationships/image" Target="../media/image120.png"/><Relationship Id="rId10" Type="http://schemas.openxmlformats.org/officeDocument/2006/relationships/image" Target="../media/image125.svg"/><Relationship Id="rId4" Type="http://schemas.openxmlformats.org/officeDocument/2006/relationships/image" Target="../media/image119.svg"/><Relationship Id="rId9" Type="http://schemas.openxmlformats.org/officeDocument/2006/relationships/image" Target="../media/image124.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23.svg"/><Relationship Id="rId3" Type="http://schemas.openxmlformats.org/officeDocument/2006/relationships/image" Target="../media/image118.png"/><Relationship Id="rId7" Type="http://schemas.openxmlformats.org/officeDocument/2006/relationships/image" Target="../media/image122.png"/><Relationship Id="rId12" Type="http://schemas.openxmlformats.org/officeDocument/2006/relationships/image" Target="../media/image127.svg"/><Relationship Id="rId2" Type="http://schemas.openxmlformats.org/officeDocument/2006/relationships/image" Target="../media/image117.svg"/><Relationship Id="rId1" Type="http://schemas.openxmlformats.org/officeDocument/2006/relationships/image" Target="../media/image116.png"/><Relationship Id="rId6" Type="http://schemas.openxmlformats.org/officeDocument/2006/relationships/image" Target="../media/image121.svg"/><Relationship Id="rId11" Type="http://schemas.openxmlformats.org/officeDocument/2006/relationships/image" Target="../media/image126.png"/><Relationship Id="rId5" Type="http://schemas.openxmlformats.org/officeDocument/2006/relationships/image" Target="../media/image120.png"/><Relationship Id="rId10" Type="http://schemas.openxmlformats.org/officeDocument/2006/relationships/image" Target="../media/image125.svg"/><Relationship Id="rId4" Type="http://schemas.openxmlformats.org/officeDocument/2006/relationships/image" Target="../media/image119.svg"/><Relationship Id="rId9" Type="http://schemas.openxmlformats.org/officeDocument/2006/relationships/image" Target="../media/image12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788171-5B8D-4B28-B6F8-5EA6652ACAD4}" type="doc">
      <dgm:prSet loTypeId="urn:microsoft.com/office/officeart/2018/2/layout/IconLabelDescriptionList" loCatId="icon" qsTypeId="urn:microsoft.com/office/officeart/2005/8/quickstyle/simple1" qsCatId="simple" csTypeId="urn:microsoft.com/office/officeart/2005/8/colors/accent1_2" csCatId="accent1" phldr="1"/>
      <dgm:spPr/>
      <dgm:t>
        <a:bodyPr/>
        <a:lstStyle/>
        <a:p>
          <a:endParaRPr lang="en-US"/>
        </a:p>
      </dgm:t>
    </dgm:pt>
    <dgm:pt modelId="{902E4799-0954-4251-8EB1-F817B7C953B5}">
      <dgm:prSet/>
      <dgm:spPr/>
      <dgm:t>
        <a:bodyPr/>
        <a:lstStyle/>
        <a:p>
          <a:pPr>
            <a:lnSpc>
              <a:spcPct val="100000"/>
            </a:lnSpc>
            <a:defRPr b="1"/>
          </a:pPr>
          <a:r>
            <a:rPr lang="en-US" b="1"/>
            <a:t>Scope Clarity</a:t>
          </a:r>
          <a:endParaRPr lang="en-US"/>
        </a:p>
      </dgm:t>
    </dgm:pt>
    <dgm:pt modelId="{FC86DD19-7360-4BA2-A76E-3FA154BBB266}" type="parTrans" cxnId="{1AE34838-29CE-4DB7-872C-DD1EC0D70567}">
      <dgm:prSet/>
      <dgm:spPr/>
      <dgm:t>
        <a:bodyPr/>
        <a:lstStyle/>
        <a:p>
          <a:endParaRPr lang="en-US"/>
        </a:p>
      </dgm:t>
    </dgm:pt>
    <dgm:pt modelId="{CD5BB856-37D3-4C24-B6A2-02A0B7B76924}" type="sibTrans" cxnId="{1AE34838-29CE-4DB7-872C-DD1EC0D70567}">
      <dgm:prSet/>
      <dgm:spPr/>
      <dgm:t>
        <a:bodyPr/>
        <a:lstStyle/>
        <a:p>
          <a:endParaRPr lang="en-US"/>
        </a:p>
      </dgm:t>
    </dgm:pt>
    <dgm:pt modelId="{5529CB8E-68CB-4EF6-9270-4E8F68443CC5}">
      <dgm:prSet custT="1"/>
      <dgm:spPr/>
      <dgm:t>
        <a:bodyPr/>
        <a:lstStyle/>
        <a:p>
          <a:pPr>
            <a:lnSpc>
              <a:spcPct val="100000"/>
            </a:lnSpc>
          </a:pPr>
          <a:r>
            <a:rPr lang="en-US" sz="1400"/>
            <a:t>Significant deviations from the agreed scope may require contract amendments, budget revisions, or timeline adjustments.</a:t>
          </a:r>
        </a:p>
      </dgm:t>
    </dgm:pt>
    <dgm:pt modelId="{AF05BB0A-5FA4-48AC-94B3-A3AD0714E3B4}" type="parTrans" cxnId="{0668F02F-70BE-4CBB-92EF-8A6A385B1561}">
      <dgm:prSet/>
      <dgm:spPr/>
      <dgm:t>
        <a:bodyPr/>
        <a:lstStyle/>
        <a:p>
          <a:endParaRPr lang="en-US"/>
        </a:p>
      </dgm:t>
    </dgm:pt>
    <dgm:pt modelId="{61B487B5-C387-4B7E-8FD6-F1363AFE0966}" type="sibTrans" cxnId="{0668F02F-70BE-4CBB-92EF-8A6A385B1561}">
      <dgm:prSet/>
      <dgm:spPr/>
      <dgm:t>
        <a:bodyPr/>
        <a:lstStyle/>
        <a:p>
          <a:endParaRPr lang="en-US"/>
        </a:p>
      </dgm:t>
    </dgm:pt>
    <dgm:pt modelId="{F77ADD8E-AE15-49B2-A4DE-D33397608D2C}">
      <dgm:prSet/>
      <dgm:spPr/>
      <dgm:t>
        <a:bodyPr/>
        <a:lstStyle/>
        <a:p>
          <a:pPr>
            <a:lnSpc>
              <a:spcPct val="100000"/>
            </a:lnSpc>
            <a:defRPr b="1"/>
          </a:pPr>
          <a:r>
            <a:rPr lang="en-US" b="1"/>
            <a:t>Technology Constraints</a:t>
          </a:r>
          <a:endParaRPr lang="en-US"/>
        </a:p>
      </dgm:t>
    </dgm:pt>
    <dgm:pt modelId="{A0B4747B-7225-4B98-9ED8-ED0F3BEB2EDA}" type="parTrans" cxnId="{D2B67B4A-1DB6-4EA0-B359-A431FE576315}">
      <dgm:prSet/>
      <dgm:spPr/>
      <dgm:t>
        <a:bodyPr/>
        <a:lstStyle/>
        <a:p>
          <a:endParaRPr lang="en-US"/>
        </a:p>
      </dgm:t>
    </dgm:pt>
    <dgm:pt modelId="{B85D6AF4-C5DF-4F20-996A-52A16DF6044F}" type="sibTrans" cxnId="{D2B67B4A-1DB6-4EA0-B359-A431FE576315}">
      <dgm:prSet/>
      <dgm:spPr/>
      <dgm:t>
        <a:bodyPr/>
        <a:lstStyle/>
        <a:p>
          <a:endParaRPr lang="en-US"/>
        </a:p>
      </dgm:t>
    </dgm:pt>
    <dgm:pt modelId="{E6C54B46-C675-437F-A837-61685E3747B1}">
      <dgm:prSet custT="1"/>
      <dgm:spPr/>
      <dgm:t>
        <a:bodyPr/>
        <a:lstStyle/>
        <a:p>
          <a:pPr>
            <a:lnSpc>
              <a:spcPct val="100000"/>
            </a:lnSpc>
          </a:pPr>
          <a:r>
            <a:rPr lang="en-US" sz="1400"/>
            <a:t>The solution will be developed using open-source or licensed technologies, as specified in the RFP. Any additional licenses beyond the original scope are addressed through a formal change request.</a:t>
          </a:r>
        </a:p>
      </dgm:t>
    </dgm:pt>
    <dgm:pt modelId="{776B28B4-53EA-4249-B7C8-CAEC4B815338}" type="parTrans" cxnId="{8AE72444-615F-42AC-A9BD-0F006083A7EC}">
      <dgm:prSet/>
      <dgm:spPr/>
      <dgm:t>
        <a:bodyPr/>
        <a:lstStyle/>
        <a:p>
          <a:endParaRPr lang="en-US"/>
        </a:p>
      </dgm:t>
    </dgm:pt>
    <dgm:pt modelId="{3E222355-59C4-4BA7-A90C-4D8A87595082}" type="sibTrans" cxnId="{8AE72444-615F-42AC-A9BD-0F006083A7EC}">
      <dgm:prSet/>
      <dgm:spPr/>
      <dgm:t>
        <a:bodyPr/>
        <a:lstStyle/>
        <a:p>
          <a:endParaRPr lang="en-US"/>
        </a:p>
      </dgm:t>
    </dgm:pt>
    <dgm:pt modelId="{57B85E6B-0EFF-4755-8C3C-60E40EF99F54}">
      <dgm:prSet/>
      <dgm:spPr/>
      <dgm:t>
        <a:bodyPr/>
        <a:lstStyle/>
        <a:p>
          <a:pPr>
            <a:lnSpc>
              <a:spcPct val="100000"/>
            </a:lnSpc>
            <a:defRPr b="1"/>
          </a:pPr>
          <a:r>
            <a:rPr lang="en-US" b="1"/>
            <a:t>Timely Provision of Resources</a:t>
          </a:r>
          <a:endParaRPr lang="en-US"/>
        </a:p>
      </dgm:t>
    </dgm:pt>
    <dgm:pt modelId="{0C16EE78-B567-4F8C-8A9A-4531B0B4E432}" type="parTrans" cxnId="{C50D5803-026E-464A-89B8-09A7DA122269}">
      <dgm:prSet/>
      <dgm:spPr/>
      <dgm:t>
        <a:bodyPr/>
        <a:lstStyle/>
        <a:p>
          <a:endParaRPr lang="en-US"/>
        </a:p>
      </dgm:t>
    </dgm:pt>
    <dgm:pt modelId="{26170154-51DA-4BB6-8BAC-939FA2D7066A}" type="sibTrans" cxnId="{C50D5803-026E-464A-89B8-09A7DA122269}">
      <dgm:prSet/>
      <dgm:spPr/>
      <dgm:t>
        <a:bodyPr/>
        <a:lstStyle/>
        <a:p>
          <a:endParaRPr lang="en-US"/>
        </a:p>
      </dgm:t>
    </dgm:pt>
    <dgm:pt modelId="{F6FB75F8-0DEB-41DF-BE1F-4D4976750350}">
      <dgm:prSet custT="1"/>
      <dgm:spPr/>
      <dgm:t>
        <a:bodyPr/>
        <a:lstStyle/>
        <a:p>
          <a:pPr>
            <a:lnSpc>
              <a:spcPct val="100000"/>
            </a:lnSpc>
          </a:pPr>
          <a:r>
            <a:rPr lang="en-US" sz="1400"/>
            <a:t>Delays in resource availability (e.g., test users, test data, environment access)  may affect milestone achievements.</a:t>
          </a:r>
        </a:p>
      </dgm:t>
    </dgm:pt>
    <dgm:pt modelId="{8799A347-AA96-46A8-9CAE-A80F800F2E35}" type="parTrans" cxnId="{2C42F856-939C-4AAE-9656-47E6F130B3FD}">
      <dgm:prSet/>
      <dgm:spPr/>
      <dgm:t>
        <a:bodyPr/>
        <a:lstStyle/>
        <a:p>
          <a:endParaRPr lang="en-US"/>
        </a:p>
      </dgm:t>
    </dgm:pt>
    <dgm:pt modelId="{CBF10502-7ADF-4EBE-8696-78C8B1736A15}" type="sibTrans" cxnId="{2C42F856-939C-4AAE-9656-47E6F130B3FD}">
      <dgm:prSet/>
      <dgm:spPr/>
      <dgm:t>
        <a:bodyPr/>
        <a:lstStyle/>
        <a:p>
          <a:endParaRPr lang="en-US"/>
        </a:p>
      </dgm:t>
    </dgm:pt>
    <dgm:pt modelId="{996D5C01-4E89-4822-8623-F34B4F46B2A8}">
      <dgm:prSet/>
      <dgm:spPr/>
      <dgm:t>
        <a:bodyPr/>
        <a:lstStyle/>
        <a:p>
          <a:pPr>
            <a:lnSpc>
              <a:spcPct val="100000"/>
            </a:lnSpc>
            <a:defRPr b="1"/>
          </a:pPr>
          <a:r>
            <a:rPr lang="en-US" b="1"/>
            <a:t>Regulatory and Policy Compliance</a:t>
          </a:r>
          <a:endParaRPr lang="en-US"/>
        </a:p>
      </dgm:t>
    </dgm:pt>
    <dgm:pt modelId="{56991792-CFE5-4219-9BEA-DBD9444EC051}" type="parTrans" cxnId="{830C7E5D-D006-4D28-9B7F-207FA7B769EC}">
      <dgm:prSet/>
      <dgm:spPr/>
      <dgm:t>
        <a:bodyPr/>
        <a:lstStyle/>
        <a:p>
          <a:endParaRPr lang="en-US"/>
        </a:p>
      </dgm:t>
    </dgm:pt>
    <dgm:pt modelId="{71F8B9FB-3C4E-4F34-8A88-D9B855564F03}" type="sibTrans" cxnId="{830C7E5D-D006-4D28-9B7F-207FA7B769EC}">
      <dgm:prSet/>
      <dgm:spPr/>
      <dgm:t>
        <a:bodyPr/>
        <a:lstStyle/>
        <a:p>
          <a:endParaRPr lang="en-US"/>
        </a:p>
      </dgm:t>
    </dgm:pt>
    <dgm:pt modelId="{DD6EF1D2-1755-421E-AA65-466229D07915}">
      <dgm:prSet custT="1"/>
      <dgm:spPr/>
      <dgm:t>
        <a:bodyPr/>
        <a:lstStyle/>
        <a:p>
          <a:pPr>
            <a:lnSpc>
              <a:spcPct val="100000"/>
            </a:lnSpc>
          </a:pPr>
          <a:r>
            <a:rPr lang="en-US" sz="1400"/>
            <a:t>BEE has or will obtain all necessary regulatory clearances for data usage, storage, and transfer, especially when integrating external systems.</a:t>
          </a:r>
        </a:p>
      </dgm:t>
    </dgm:pt>
    <dgm:pt modelId="{C2D4B9BC-9904-4C71-9F3C-BD0E627A4681}" type="parTrans" cxnId="{DD2F8E97-274D-4229-A0CE-A317BED13951}">
      <dgm:prSet/>
      <dgm:spPr/>
      <dgm:t>
        <a:bodyPr/>
        <a:lstStyle/>
        <a:p>
          <a:endParaRPr lang="en-US"/>
        </a:p>
      </dgm:t>
    </dgm:pt>
    <dgm:pt modelId="{0AC8E6B9-86EF-4E59-83AA-3FFA8F69D58A}" type="sibTrans" cxnId="{DD2F8E97-274D-4229-A0CE-A317BED13951}">
      <dgm:prSet/>
      <dgm:spPr/>
      <dgm:t>
        <a:bodyPr/>
        <a:lstStyle/>
        <a:p>
          <a:endParaRPr lang="en-US"/>
        </a:p>
      </dgm:t>
    </dgm:pt>
    <dgm:pt modelId="{657B075A-49A6-4348-AA5E-1EC2E9D205CF}">
      <dgm:prSet custT="1"/>
      <dgm:spPr/>
      <dgm:t>
        <a:bodyPr/>
        <a:lstStyle/>
        <a:p>
          <a:pPr>
            <a:lnSpc>
              <a:spcPct val="100000"/>
            </a:lnSpc>
          </a:pPr>
          <a:r>
            <a:rPr lang="en-US" sz="1400"/>
            <a:t>Should new regulations or guidelines emerge during the project, BEE and vendor will collaborate on potential scope or design modifications.</a:t>
          </a:r>
        </a:p>
      </dgm:t>
    </dgm:pt>
    <dgm:pt modelId="{2837500C-AB63-43FF-B5C9-05A4400A871D}" type="parTrans" cxnId="{9E9DD430-F487-415E-958F-816F842778FA}">
      <dgm:prSet/>
      <dgm:spPr/>
      <dgm:t>
        <a:bodyPr/>
        <a:lstStyle/>
        <a:p>
          <a:endParaRPr lang="en-US"/>
        </a:p>
      </dgm:t>
    </dgm:pt>
    <dgm:pt modelId="{41F1DE69-9DD1-47DD-9580-4445E7F76DD0}" type="sibTrans" cxnId="{9E9DD430-F487-415E-958F-816F842778FA}">
      <dgm:prSet/>
      <dgm:spPr/>
      <dgm:t>
        <a:bodyPr/>
        <a:lstStyle/>
        <a:p>
          <a:endParaRPr lang="en-US"/>
        </a:p>
      </dgm:t>
    </dgm:pt>
    <dgm:pt modelId="{5E5B9C6C-7E52-498D-AD28-A746F70E4EC1}">
      <dgm:prSet/>
      <dgm:spPr/>
      <dgm:t>
        <a:bodyPr/>
        <a:lstStyle/>
        <a:p>
          <a:pPr>
            <a:lnSpc>
              <a:spcPct val="100000"/>
            </a:lnSpc>
            <a:defRPr b="1"/>
          </a:pPr>
          <a:r>
            <a:rPr lang="en-US" b="1"/>
            <a:t>Project Governance Structure</a:t>
          </a:r>
          <a:endParaRPr lang="en-US"/>
        </a:p>
      </dgm:t>
    </dgm:pt>
    <dgm:pt modelId="{AA3627E5-8039-48C4-89EE-00B9173B7F81}" type="parTrans" cxnId="{EF4EFDA6-3A19-46EE-BB79-F047E2C2BD16}">
      <dgm:prSet/>
      <dgm:spPr/>
      <dgm:t>
        <a:bodyPr/>
        <a:lstStyle/>
        <a:p>
          <a:endParaRPr lang="en-US"/>
        </a:p>
      </dgm:t>
    </dgm:pt>
    <dgm:pt modelId="{0F988A1E-E9CB-4B85-81BA-2A0B36D567F1}" type="sibTrans" cxnId="{EF4EFDA6-3A19-46EE-BB79-F047E2C2BD16}">
      <dgm:prSet/>
      <dgm:spPr/>
      <dgm:t>
        <a:bodyPr/>
        <a:lstStyle/>
        <a:p>
          <a:endParaRPr lang="en-US"/>
        </a:p>
      </dgm:t>
    </dgm:pt>
    <dgm:pt modelId="{BC40BE9B-0E39-4501-9998-D468AC8E9444}">
      <dgm:prSet custT="1"/>
      <dgm:spPr/>
      <dgm:t>
        <a:bodyPr/>
        <a:lstStyle/>
        <a:p>
          <a:pPr>
            <a:lnSpc>
              <a:spcPct val="100000"/>
            </a:lnSpc>
          </a:pPr>
          <a:r>
            <a:rPr lang="en-US" sz="1400"/>
            <a:t>A formal governance model (steering committee, change control board) is in place, with defined roles and responsibilities for decision-making and escalation.</a:t>
          </a:r>
        </a:p>
      </dgm:t>
    </dgm:pt>
    <dgm:pt modelId="{2E6D5BB7-58BA-4449-9620-698444655594}" type="parTrans" cxnId="{77CE4935-0FDB-4883-AC54-18834A8C1EF4}">
      <dgm:prSet/>
      <dgm:spPr/>
      <dgm:t>
        <a:bodyPr/>
        <a:lstStyle/>
        <a:p>
          <a:endParaRPr lang="en-US"/>
        </a:p>
      </dgm:t>
    </dgm:pt>
    <dgm:pt modelId="{573D8398-1177-40CA-BF90-1FCD850A8D96}" type="sibTrans" cxnId="{77CE4935-0FDB-4883-AC54-18834A8C1EF4}">
      <dgm:prSet/>
      <dgm:spPr/>
      <dgm:t>
        <a:bodyPr/>
        <a:lstStyle/>
        <a:p>
          <a:endParaRPr lang="en-US"/>
        </a:p>
      </dgm:t>
    </dgm:pt>
    <dgm:pt modelId="{06EE10EE-3513-499D-B5F8-B48FC2ECA91C}">
      <dgm:prSet custT="1"/>
      <dgm:spPr/>
      <dgm:t>
        <a:bodyPr/>
        <a:lstStyle/>
        <a:p>
          <a:pPr>
            <a:lnSpc>
              <a:spcPct val="100000"/>
            </a:lnSpc>
          </a:pPr>
          <a:r>
            <a:rPr lang="en-US" sz="1400"/>
            <a:t>Escalations or project risks will be reviewed and mitigated jointly by the vendor and BEE’s designated representatives.</a:t>
          </a:r>
        </a:p>
      </dgm:t>
    </dgm:pt>
    <dgm:pt modelId="{0475B6DC-8FCD-4595-89AC-8C2B9820DB66}" type="parTrans" cxnId="{E3FAAD49-9806-4485-8494-8B28F7711CC4}">
      <dgm:prSet/>
      <dgm:spPr/>
      <dgm:t>
        <a:bodyPr/>
        <a:lstStyle/>
        <a:p>
          <a:endParaRPr lang="en-US"/>
        </a:p>
      </dgm:t>
    </dgm:pt>
    <dgm:pt modelId="{48AA6F8F-0D48-488D-9450-707B7F922382}" type="sibTrans" cxnId="{E3FAAD49-9806-4485-8494-8B28F7711CC4}">
      <dgm:prSet/>
      <dgm:spPr/>
      <dgm:t>
        <a:bodyPr/>
        <a:lstStyle/>
        <a:p>
          <a:endParaRPr lang="en-US"/>
        </a:p>
      </dgm:t>
    </dgm:pt>
    <dgm:pt modelId="{82D6EC88-C682-4CAC-B0E9-B35C741E1489}">
      <dgm:prSet/>
      <dgm:spPr/>
      <dgm:t>
        <a:bodyPr/>
        <a:lstStyle/>
        <a:p>
          <a:pPr>
            <a:lnSpc>
              <a:spcPct val="100000"/>
            </a:lnSpc>
            <a:defRPr b="1"/>
          </a:pPr>
          <a:r>
            <a:rPr lang="en-US" b="1"/>
            <a:t>Draft RCO Rules Flexibility</a:t>
          </a:r>
          <a:endParaRPr lang="en-US"/>
        </a:p>
      </dgm:t>
    </dgm:pt>
    <dgm:pt modelId="{5C42686E-DB48-414D-BE37-1451B29A9D0C}" type="parTrans" cxnId="{FB0A2A90-2196-46E9-BCDF-802136F539A9}">
      <dgm:prSet/>
      <dgm:spPr/>
      <dgm:t>
        <a:bodyPr/>
        <a:lstStyle/>
        <a:p>
          <a:endParaRPr lang="en-US"/>
        </a:p>
      </dgm:t>
    </dgm:pt>
    <dgm:pt modelId="{6020E367-EAB5-4D46-87B0-401D247BAD4A}" type="sibTrans" cxnId="{FB0A2A90-2196-46E9-BCDF-802136F539A9}">
      <dgm:prSet/>
      <dgm:spPr/>
      <dgm:t>
        <a:bodyPr/>
        <a:lstStyle/>
        <a:p>
          <a:endParaRPr lang="en-US"/>
        </a:p>
      </dgm:t>
    </dgm:pt>
    <dgm:pt modelId="{F47B715B-4262-43BB-A301-BA406C2979F6}">
      <dgm:prSet custT="1"/>
      <dgm:spPr/>
      <dgm:t>
        <a:bodyPr/>
        <a:lstStyle/>
        <a:p>
          <a:pPr>
            <a:lnSpc>
              <a:spcPct val="100000"/>
            </a:lnSpc>
          </a:pPr>
          <a:r>
            <a:rPr lang="en-US" sz="1400"/>
            <a:t>Given that the draft RCO rules are under development by BEE and may change, it is assumed that any significant alterations will be handled via the established change management process. The vendor will adjust designs or functionalities accordingly, with potential impacts on timeline and cost to be evaluated in collaboration with BEE.</a:t>
          </a:r>
        </a:p>
      </dgm:t>
    </dgm:pt>
    <dgm:pt modelId="{98D4FED3-4B84-42FD-AEF5-84B01E71D6F5}" type="parTrans" cxnId="{1767DA8F-2D48-405C-B14A-B9AFDAEE87B1}">
      <dgm:prSet/>
      <dgm:spPr/>
      <dgm:t>
        <a:bodyPr/>
        <a:lstStyle/>
        <a:p>
          <a:endParaRPr lang="en-US"/>
        </a:p>
      </dgm:t>
    </dgm:pt>
    <dgm:pt modelId="{D3462D71-275F-4ECE-BF85-5B7B4CAF3105}" type="sibTrans" cxnId="{1767DA8F-2D48-405C-B14A-B9AFDAEE87B1}">
      <dgm:prSet/>
      <dgm:spPr/>
      <dgm:t>
        <a:bodyPr/>
        <a:lstStyle/>
        <a:p>
          <a:endParaRPr lang="en-US"/>
        </a:p>
      </dgm:t>
    </dgm:pt>
    <dgm:pt modelId="{009C5505-C6D1-41C5-99F2-1811538AEFBF}" type="pres">
      <dgm:prSet presAssocID="{D3788171-5B8D-4B28-B6F8-5EA6652ACAD4}" presName="root" presStyleCnt="0">
        <dgm:presLayoutVars>
          <dgm:dir/>
          <dgm:resizeHandles val="exact"/>
        </dgm:presLayoutVars>
      </dgm:prSet>
      <dgm:spPr/>
    </dgm:pt>
    <dgm:pt modelId="{D158D0BF-CC60-4BDF-BB03-B13F14428A74}" type="pres">
      <dgm:prSet presAssocID="{902E4799-0954-4251-8EB1-F817B7C953B5}" presName="compNode" presStyleCnt="0"/>
      <dgm:spPr/>
    </dgm:pt>
    <dgm:pt modelId="{AE2996C3-FC08-4E2C-B0E8-60D021315EF4}" type="pres">
      <dgm:prSet presAssocID="{902E4799-0954-4251-8EB1-F817B7C953B5}"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Document"/>
        </a:ext>
      </dgm:extLst>
    </dgm:pt>
    <dgm:pt modelId="{6FED3EE6-0A66-4C2A-B9E5-AD40323BE9DB}" type="pres">
      <dgm:prSet presAssocID="{902E4799-0954-4251-8EB1-F817B7C953B5}" presName="iconSpace" presStyleCnt="0"/>
      <dgm:spPr/>
    </dgm:pt>
    <dgm:pt modelId="{53531687-4BD4-494E-B291-BF4F1AC1E375}" type="pres">
      <dgm:prSet presAssocID="{902E4799-0954-4251-8EB1-F817B7C953B5}" presName="parTx" presStyleLbl="revTx" presStyleIdx="0" presStyleCnt="12">
        <dgm:presLayoutVars>
          <dgm:chMax val="0"/>
          <dgm:chPref val="0"/>
        </dgm:presLayoutVars>
      </dgm:prSet>
      <dgm:spPr/>
    </dgm:pt>
    <dgm:pt modelId="{6CE5ADDB-B35D-461B-8E3B-56B3514C21DF}" type="pres">
      <dgm:prSet presAssocID="{902E4799-0954-4251-8EB1-F817B7C953B5}" presName="txSpace" presStyleCnt="0"/>
      <dgm:spPr/>
    </dgm:pt>
    <dgm:pt modelId="{0E74D24D-0345-44AE-861E-17511975AD63}" type="pres">
      <dgm:prSet presAssocID="{902E4799-0954-4251-8EB1-F817B7C953B5}" presName="desTx" presStyleLbl="revTx" presStyleIdx="1" presStyleCnt="12">
        <dgm:presLayoutVars/>
      </dgm:prSet>
      <dgm:spPr/>
    </dgm:pt>
    <dgm:pt modelId="{F9DC20B8-2749-4417-BCBD-757C62B947B1}" type="pres">
      <dgm:prSet presAssocID="{CD5BB856-37D3-4C24-B6A2-02A0B7B76924}" presName="sibTrans" presStyleCnt="0"/>
      <dgm:spPr/>
    </dgm:pt>
    <dgm:pt modelId="{F818CFE2-EE1F-4AF8-8C42-8D17710B09C7}" type="pres">
      <dgm:prSet presAssocID="{F77ADD8E-AE15-49B2-A4DE-D33397608D2C}" presName="compNode" presStyleCnt="0"/>
      <dgm:spPr/>
    </dgm:pt>
    <dgm:pt modelId="{3EA4C779-EF9A-48FB-8BC7-67CC2D971FAE}" type="pres">
      <dgm:prSet presAssocID="{F77ADD8E-AE15-49B2-A4DE-D33397608D2C}"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Stream"/>
        </a:ext>
      </dgm:extLst>
    </dgm:pt>
    <dgm:pt modelId="{BAC71144-6D85-4FB8-A530-723149675410}" type="pres">
      <dgm:prSet presAssocID="{F77ADD8E-AE15-49B2-A4DE-D33397608D2C}" presName="iconSpace" presStyleCnt="0"/>
      <dgm:spPr/>
    </dgm:pt>
    <dgm:pt modelId="{898D25C2-2F45-4A56-82B5-D6956169F10F}" type="pres">
      <dgm:prSet presAssocID="{F77ADD8E-AE15-49B2-A4DE-D33397608D2C}" presName="parTx" presStyleLbl="revTx" presStyleIdx="2" presStyleCnt="12">
        <dgm:presLayoutVars>
          <dgm:chMax val="0"/>
          <dgm:chPref val="0"/>
        </dgm:presLayoutVars>
      </dgm:prSet>
      <dgm:spPr/>
    </dgm:pt>
    <dgm:pt modelId="{59C1948E-3A71-453F-99ED-04DF6F0CA8EF}" type="pres">
      <dgm:prSet presAssocID="{F77ADD8E-AE15-49B2-A4DE-D33397608D2C}" presName="txSpace" presStyleCnt="0"/>
      <dgm:spPr/>
    </dgm:pt>
    <dgm:pt modelId="{3DAE63B9-AD09-4695-8E32-77BF54DEEEDC}" type="pres">
      <dgm:prSet presAssocID="{F77ADD8E-AE15-49B2-A4DE-D33397608D2C}" presName="desTx" presStyleLbl="revTx" presStyleIdx="3" presStyleCnt="12">
        <dgm:presLayoutVars/>
      </dgm:prSet>
      <dgm:spPr/>
    </dgm:pt>
    <dgm:pt modelId="{8E469AF1-9F2D-44B6-B22F-02559EEF96E1}" type="pres">
      <dgm:prSet presAssocID="{B85D6AF4-C5DF-4F20-996A-52A16DF6044F}" presName="sibTrans" presStyleCnt="0"/>
      <dgm:spPr/>
    </dgm:pt>
    <dgm:pt modelId="{5DE169EE-B23E-4B9F-8F87-73AD5F9B9DA9}" type="pres">
      <dgm:prSet presAssocID="{57B85E6B-0EFF-4755-8C3C-60E40EF99F54}" presName="compNode" presStyleCnt="0"/>
      <dgm:spPr/>
    </dgm:pt>
    <dgm:pt modelId="{4939306B-3BD5-4C9E-BE17-9D5DA8AF4969}" type="pres">
      <dgm:prSet presAssocID="{57B85E6B-0EFF-4755-8C3C-60E40EF99F54}"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Stopwatch"/>
        </a:ext>
      </dgm:extLst>
    </dgm:pt>
    <dgm:pt modelId="{B5C2572E-EEB3-45B9-AEB6-2C217E8E7D72}" type="pres">
      <dgm:prSet presAssocID="{57B85E6B-0EFF-4755-8C3C-60E40EF99F54}" presName="iconSpace" presStyleCnt="0"/>
      <dgm:spPr/>
    </dgm:pt>
    <dgm:pt modelId="{23B417F0-7DEA-4885-AE67-B908F1F10F01}" type="pres">
      <dgm:prSet presAssocID="{57B85E6B-0EFF-4755-8C3C-60E40EF99F54}" presName="parTx" presStyleLbl="revTx" presStyleIdx="4" presStyleCnt="12">
        <dgm:presLayoutVars>
          <dgm:chMax val="0"/>
          <dgm:chPref val="0"/>
        </dgm:presLayoutVars>
      </dgm:prSet>
      <dgm:spPr/>
    </dgm:pt>
    <dgm:pt modelId="{28DCFCD5-1F6D-4192-B8DE-47E48E8C469A}" type="pres">
      <dgm:prSet presAssocID="{57B85E6B-0EFF-4755-8C3C-60E40EF99F54}" presName="txSpace" presStyleCnt="0"/>
      <dgm:spPr/>
    </dgm:pt>
    <dgm:pt modelId="{6CA8D627-6538-4724-896C-0858FD3D28C0}" type="pres">
      <dgm:prSet presAssocID="{57B85E6B-0EFF-4755-8C3C-60E40EF99F54}" presName="desTx" presStyleLbl="revTx" presStyleIdx="5" presStyleCnt="12">
        <dgm:presLayoutVars/>
      </dgm:prSet>
      <dgm:spPr/>
    </dgm:pt>
    <dgm:pt modelId="{86146D09-E503-4856-9F60-ED89340F1DA8}" type="pres">
      <dgm:prSet presAssocID="{26170154-51DA-4BB6-8BAC-939FA2D7066A}" presName="sibTrans" presStyleCnt="0"/>
      <dgm:spPr/>
    </dgm:pt>
    <dgm:pt modelId="{73D2AC2D-F871-4D47-8EEA-1D09F649413B}" type="pres">
      <dgm:prSet presAssocID="{996D5C01-4E89-4822-8623-F34B4F46B2A8}" presName="compNode" presStyleCnt="0"/>
      <dgm:spPr/>
    </dgm:pt>
    <dgm:pt modelId="{20624012-2415-4F4B-96E0-EEC7DEBFCE37}" type="pres">
      <dgm:prSet presAssocID="{996D5C01-4E89-4822-8623-F34B4F46B2A8}"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Check List"/>
        </a:ext>
      </dgm:extLst>
    </dgm:pt>
    <dgm:pt modelId="{69376AEC-3E6E-4F85-8241-D6292879F217}" type="pres">
      <dgm:prSet presAssocID="{996D5C01-4E89-4822-8623-F34B4F46B2A8}" presName="iconSpace" presStyleCnt="0"/>
      <dgm:spPr/>
    </dgm:pt>
    <dgm:pt modelId="{5EE88E1D-FD25-4C69-9ADF-C2C5521D015A}" type="pres">
      <dgm:prSet presAssocID="{996D5C01-4E89-4822-8623-F34B4F46B2A8}" presName="parTx" presStyleLbl="revTx" presStyleIdx="6" presStyleCnt="12">
        <dgm:presLayoutVars>
          <dgm:chMax val="0"/>
          <dgm:chPref val="0"/>
        </dgm:presLayoutVars>
      </dgm:prSet>
      <dgm:spPr/>
    </dgm:pt>
    <dgm:pt modelId="{D426D20B-8343-400F-9CED-02D28114ABA3}" type="pres">
      <dgm:prSet presAssocID="{996D5C01-4E89-4822-8623-F34B4F46B2A8}" presName="txSpace" presStyleCnt="0"/>
      <dgm:spPr/>
    </dgm:pt>
    <dgm:pt modelId="{FAA36FCA-73F9-460C-8176-FD2BCE9ABFE0}" type="pres">
      <dgm:prSet presAssocID="{996D5C01-4E89-4822-8623-F34B4F46B2A8}" presName="desTx" presStyleLbl="revTx" presStyleIdx="7" presStyleCnt="12">
        <dgm:presLayoutVars/>
      </dgm:prSet>
      <dgm:spPr/>
    </dgm:pt>
    <dgm:pt modelId="{2E0A6A9C-F771-471B-B6B0-3942ECBB48CF}" type="pres">
      <dgm:prSet presAssocID="{71F8B9FB-3C4E-4F34-8A88-D9B855564F03}" presName="sibTrans" presStyleCnt="0"/>
      <dgm:spPr/>
    </dgm:pt>
    <dgm:pt modelId="{5C9EE904-C779-4A3A-B738-7C041CCEC5ED}" type="pres">
      <dgm:prSet presAssocID="{5E5B9C6C-7E52-498D-AD28-A746F70E4EC1}" presName="compNode" presStyleCnt="0"/>
      <dgm:spPr/>
    </dgm:pt>
    <dgm:pt modelId="{FEF64DDF-4413-47A3-9018-B70892D545AF}" type="pres">
      <dgm:prSet presAssocID="{5E5B9C6C-7E52-498D-AD28-A746F70E4EC1}"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Hierarchy"/>
        </a:ext>
      </dgm:extLst>
    </dgm:pt>
    <dgm:pt modelId="{32DE5863-D9F8-40B4-BA37-C1D4D44567F1}" type="pres">
      <dgm:prSet presAssocID="{5E5B9C6C-7E52-498D-AD28-A746F70E4EC1}" presName="iconSpace" presStyleCnt="0"/>
      <dgm:spPr/>
    </dgm:pt>
    <dgm:pt modelId="{CA8CC4CB-7F4A-44CC-A35B-8C93785D7A8A}" type="pres">
      <dgm:prSet presAssocID="{5E5B9C6C-7E52-498D-AD28-A746F70E4EC1}" presName="parTx" presStyleLbl="revTx" presStyleIdx="8" presStyleCnt="12">
        <dgm:presLayoutVars>
          <dgm:chMax val="0"/>
          <dgm:chPref val="0"/>
        </dgm:presLayoutVars>
      </dgm:prSet>
      <dgm:spPr/>
    </dgm:pt>
    <dgm:pt modelId="{0952DFE6-3267-4434-8C6F-A6AD88478CDB}" type="pres">
      <dgm:prSet presAssocID="{5E5B9C6C-7E52-498D-AD28-A746F70E4EC1}" presName="txSpace" presStyleCnt="0"/>
      <dgm:spPr/>
    </dgm:pt>
    <dgm:pt modelId="{C2D61FC7-B818-4B29-974C-3D1BECFE48DC}" type="pres">
      <dgm:prSet presAssocID="{5E5B9C6C-7E52-498D-AD28-A746F70E4EC1}" presName="desTx" presStyleLbl="revTx" presStyleIdx="9" presStyleCnt="12">
        <dgm:presLayoutVars/>
      </dgm:prSet>
      <dgm:spPr/>
    </dgm:pt>
    <dgm:pt modelId="{5308418E-9E8B-4448-B23F-1D6E289A165F}" type="pres">
      <dgm:prSet presAssocID="{0F988A1E-E9CB-4B85-81BA-2A0B36D567F1}" presName="sibTrans" presStyleCnt="0"/>
      <dgm:spPr/>
    </dgm:pt>
    <dgm:pt modelId="{F4554572-2C47-44C8-B49C-B9E12761EAAF}" type="pres">
      <dgm:prSet presAssocID="{82D6EC88-C682-4CAC-B0E9-B35C741E1489}" presName="compNode" presStyleCnt="0"/>
      <dgm:spPr/>
    </dgm:pt>
    <dgm:pt modelId="{555BB2F5-AE1B-4045-8E96-5C092F48D343}" type="pres">
      <dgm:prSet presAssocID="{82D6EC88-C682-4CAC-B0E9-B35C741E1489}"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Forbidden"/>
        </a:ext>
      </dgm:extLst>
    </dgm:pt>
    <dgm:pt modelId="{8BA6739F-F1A1-47A7-9596-61AC1C9FBBEB}" type="pres">
      <dgm:prSet presAssocID="{82D6EC88-C682-4CAC-B0E9-B35C741E1489}" presName="iconSpace" presStyleCnt="0"/>
      <dgm:spPr/>
    </dgm:pt>
    <dgm:pt modelId="{092F29FC-9A11-45C9-9C1B-323A2DD240D4}" type="pres">
      <dgm:prSet presAssocID="{82D6EC88-C682-4CAC-B0E9-B35C741E1489}" presName="parTx" presStyleLbl="revTx" presStyleIdx="10" presStyleCnt="12">
        <dgm:presLayoutVars>
          <dgm:chMax val="0"/>
          <dgm:chPref val="0"/>
        </dgm:presLayoutVars>
      </dgm:prSet>
      <dgm:spPr/>
    </dgm:pt>
    <dgm:pt modelId="{53C0722D-60D2-413B-A2BC-62E94CB4B82D}" type="pres">
      <dgm:prSet presAssocID="{82D6EC88-C682-4CAC-B0E9-B35C741E1489}" presName="txSpace" presStyleCnt="0"/>
      <dgm:spPr/>
    </dgm:pt>
    <dgm:pt modelId="{62E25466-DED2-4976-8680-704E853FC2B8}" type="pres">
      <dgm:prSet presAssocID="{82D6EC88-C682-4CAC-B0E9-B35C741E1489}" presName="desTx" presStyleLbl="revTx" presStyleIdx="11" presStyleCnt="12">
        <dgm:presLayoutVars/>
      </dgm:prSet>
      <dgm:spPr/>
    </dgm:pt>
  </dgm:ptLst>
  <dgm:cxnLst>
    <dgm:cxn modelId="{CDF60602-474B-4A3E-8530-139A9499320D}" type="presOf" srcId="{996D5C01-4E89-4822-8623-F34B4F46B2A8}" destId="{5EE88E1D-FD25-4C69-9ADF-C2C5521D015A}" srcOrd="0" destOrd="0" presId="urn:microsoft.com/office/officeart/2018/2/layout/IconLabelDescriptionList"/>
    <dgm:cxn modelId="{C50D5803-026E-464A-89B8-09A7DA122269}" srcId="{D3788171-5B8D-4B28-B6F8-5EA6652ACAD4}" destId="{57B85E6B-0EFF-4755-8C3C-60E40EF99F54}" srcOrd="2" destOrd="0" parTransId="{0C16EE78-B567-4F8C-8A9A-4531B0B4E432}" sibTransId="{26170154-51DA-4BB6-8BAC-939FA2D7066A}"/>
    <dgm:cxn modelId="{42CC1D05-B51F-4003-97F0-B81C22857997}" type="presOf" srcId="{5E5B9C6C-7E52-498D-AD28-A746F70E4EC1}" destId="{CA8CC4CB-7F4A-44CC-A35B-8C93785D7A8A}" srcOrd="0" destOrd="0" presId="urn:microsoft.com/office/officeart/2018/2/layout/IconLabelDescriptionList"/>
    <dgm:cxn modelId="{47886812-E815-4C38-BE2E-95BFA6018AF7}" type="presOf" srcId="{DD6EF1D2-1755-421E-AA65-466229D07915}" destId="{FAA36FCA-73F9-460C-8176-FD2BCE9ABFE0}" srcOrd="0" destOrd="0" presId="urn:microsoft.com/office/officeart/2018/2/layout/IconLabelDescriptionList"/>
    <dgm:cxn modelId="{504CC814-1E08-4294-9256-9E1D27C173B9}" type="presOf" srcId="{F6FB75F8-0DEB-41DF-BE1F-4D4976750350}" destId="{6CA8D627-6538-4724-896C-0858FD3D28C0}" srcOrd="0" destOrd="0" presId="urn:microsoft.com/office/officeart/2018/2/layout/IconLabelDescriptionList"/>
    <dgm:cxn modelId="{E938AE1A-3129-45DF-A92A-7DAA952C84B9}" type="presOf" srcId="{BC40BE9B-0E39-4501-9998-D468AC8E9444}" destId="{C2D61FC7-B818-4B29-974C-3D1BECFE48DC}" srcOrd="0" destOrd="0" presId="urn:microsoft.com/office/officeart/2018/2/layout/IconLabelDescriptionList"/>
    <dgm:cxn modelId="{B5309E1B-4374-4729-AC5E-70D4CEA9D32E}" type="presOf" srcId="{82D6EC88-C682-4CAC-B0E9-B35C741E1489}" destId="{092F29FC-9A11-45C9-9C1B-323A2DD240D4}" srcOrd="0" destOrd="0" presId="urn:microsoft.com/office/officeart/2018/2/layout/IconLabelDescriptionList"/>
    <dgm:cxn modelId="{0668F02F-70BE-4CBB-92EF-8A6A385B1561}" srcId="{902E4799-0954-4251-8EB1-F817B7C953B5}" destId="{5529CB8E-68CB-4EF6-9270-4E8F68443CC5}" srcOrd="0" destOrd="0" parTransId="{AF05BB0A-5FA4-48AC-94B3-A3AD0714E3B4}" sibTransId="{61B487B5-C387-4B7E-8FD6-F1363AFE0966}"/>
    <dgm:cxn modelId="{9E9DD430-F487-415E-958F-816F842778FA}" srcId="{996D5C01-4E89-4822-8623-F34B4F46B2A8}" destId="{657B075A-49A6-4348-AA5E-1EC2E9D205CF}" srcOrd="1" destOrd="0" parTransId="{2837500C-AB63-43FF-B5C9-05A4400A871D}" sibTransId="{41F1DE69-9DD1-47DD-9580-4445E7F76DD0}"/>
    <dgm:cxn modelId="{77CE4935-0FDB-4883-AC54-18834A8C1EF4}" srcId="{5E5B9C6C-7E52-498D-AD28-A746F70E4EC1}" destId="{BC40BE9B-0E39-4501-9998-D468AC8E9444}" srcOrd="0" destOrd="0" parTransId="{2E6D5BB7-58BA-4449-9620-698444655594}" sibTransId="{573D8398-1177-40CA-BF90-1FCD850A8D96}"/>
    <dgm:cxn modelId="{1AE34838-29CE-4DB7-872C-DD1EC0D70567}" srcId="{D3788171-5B8D-4B28-B6F8-5EA6652ACAD4}" destId="{902E4799-0954-4251-8EB1-F817B7C953B5}" srcOrd="0" destOrd="0" parTransId="{FC86DD19-7360-4BA2-A76E-3FA154BBB266}" sibTransId="{CD5BB856-37D3-4C24-B6A2-02A0B7B76924}"/>
    <dgm:cxn modelId="{830C7E5D-D006-4D28-9B7F-207FA7B769EC}" srcId="{D3788171-5B8D-4B28-B6F8-5EA6652ACAD4}" destId="{996D5C01-4E89-4822-8623-F34B4F46B2A8}" srcOrd="3" destOrd="0" parTransId="{56991792-CFE5-4219-9BEA-DBD9444EC051}" sibTransId="{71F8B9FB-3C4E-4F34-8A88-D9B855564F03}"/>
    <dgm:cxn modelId="{708A1B41-2C55-4C0A-85AC-AC98C78B3D9C}" type="presOf" srcId="{5529CB8E-68CB-4EF6-9270-4E8F68443CC5}" destId="{0E74D24D-0345-44AE-861E-17511975AD63}" srcOrd="0" destOrd="0" presId="urn:microsoft.com/office/officeart/2018/2/layout/IconLabelDescriptionList"/>
    <dgm:cxn modelId="{D0641044-D689-4853-BDEA-8218613F9E10}" type="presOf" srcId="{06EE10EE-3513-499D-B5F8-B48FC2ECA91C}" destId="{C2D61FC7-B818-4B29-974C-3D1BECFE48DC}" srcOrd="0" destOrd="1" presId="urn:microsoft.com/office/officeart/2018/2/layout/IconLabelDescriptionList"/>
    <dgm:cxn modelId="{8AE72444-615F-42AC-A9BD-0F006083A7EC}" srcId="{F77ADD8E-AE15-49B2-A4DE-D33397608D2C}" destId="{E6C54B46-C675-437F-A837-61685E3747B1}" srcOrd="0" destOrd="0" parTransId="{776B28B4-53EA-4249-B7C8-CAEC4B815338}" sibTransId="{3E222355-59C4-4BA7-A90C-4D8A87595082}"/>
    <dgm:cxn modelId="{E3FAAD49-9806-4485-8494-8B28F7711CC4}" srcId="{5E5B9C6C-7E52-498D-AD28-A746F70E4EC1}" destId="{06EE10EE-3513-499D-B5F8-B48FC2ECA91C}" srcOrd="1" destOrd="0" parTransId="{0475B6DC-8FCD-4595-89AC-8C2B9820DB66}" sibTransId="{48AA6F8F-0D48-488D-9450-707B7F922382}"/>
    <dgm:cxn modelId="{D2B67B4A-1DB6-4EA0-B359-A431FE576315}" srcId="{D3788171-5B8D-4B28-B6F8-5EA6652ACAD4}" destId="{F77ADD8E-AE15-49B2-A4DE-D33397608D2C}" srcOrd="1" destOrd="0" parTransId="{A0B4747B-7225-4B98-9ED8-ED0F3BEB2EDA}" sibTransId="{B85D6AF4-C5DF-4F20-996A-52A16DF6044F}"/>
    <dgm:cxn modelId="{6E43FF4A-93EC-4A44-B136-6842A471988A}" type="presOf" srcId="{902E4799-0954-4251-8EB1-F817B7C953B5}" destId="{53531687-4BD4-494E-B291-BF4F1AC1E375}" srcOrd="0" destOrd="0" presId="urn:microsoft.com/office/officeart/2018/2/layout/IconLabelDescriptionList"/>
    <dgm:cxn modelId="{38FE476C-9170-471F-AC77-DEEF25D92046}" type="presOf" srcId="{E6C54B46-C675-437F-A837-61685E3747B1}" destId="{3DAE63B9-AD09-4695-8E32-77BF54DEEEDC}" srcOrd="0" destOrd="0" presId="urn:microsoft.com/office/officeart/2018/2/layout/IconLabelDescriptionList"/>
    <dgm:cxn modelId="{2C42F856-939C-4AAE-9656-47E6F130B3FD}" srcId="{57B85E6B-0EFF-4755-8C3C-60E40EF99F54}" destId="{F6FB75F8-0DEB-41DF-BE1F-4D4976750350}" srcOrd="0" destOrd="0" parTransId="{8799A347-AA96-46A8-9CAE-A80F800F2E35}" sibTransId="{CBF10502-7ADF-4EBE-8696-78C8B1736A15}"/>
    <dgm:cxn modelId="{E0BAF38E-FC8E-4B48-98D7-526539D400DA}" type="presOf" srcId="{657B075A-49A6-4348-AA5E-1EC2E9D205CF}" destId="{FAA36FCA-73F9-460C-8176-FD2BCE9ABFE0}" srcOrd="0" destOrd="1" presId="urn:microsoft.com/office/officeart/2018/2/layout/IconLabelDescriptionList"/>
    <dgm:cxn modelId="{1767DA8F-2D48-405C-B14A-B9AFDAEE87B1}" srcId="{82D6EC88-C682-4CAC-B0E9-B35C741E1489}" destId="{F47B715B-4262-43BB-A301-BA406C2979F6}" srcOrd="0" destOrd="0" parTransId="{98D4FED3-4B84-42FD-AEF5-84B01E71D6F5}" sibTransId="{D3462D71-275F-4ECE-BF85-5B7B4CAF3105}"/>
    <dgm:cxn modelId="{FB0A2A90-2196-46E9-BCDF-802136F539A9}" srcId="{D3788171-5B8D-4B28-B6F8-5EA6652ACAD4}" destId="{82D6EC88-C682-4CAC-B0E9-B35C741E1489}" srcOrd="5" destOrd="0" parTransId="{5C42686E-DB48-414D-BE37-1451B29A9D0C}" sibTransId="{6020E367-EAB5-4D46-87B0-401D247BAD4A}"/>
    <dgm:cxn modelId="{DD2F8E97-274D-4229-A0CE-A317BED13951}" srcId="{996D5C01-4E89-4822-8623-F34B4F46B2A8}" destId="{DD6EF1D2-1755-421E-AA65-466229D07915}" srcOrd="0" destOrd="0" parTransId="{C2D4B9BC-9904-4C71-9F3C-BD0E627A4681}" sibTransId="{0AC8E6B9-86EF-4E59-83AA-3FFA8F69D58A}"/>
    <dgm:cxn modelId="{787E299A-219E-40EC-8695-5A30353C3DC3}" type="presOf" srcId="{F77ADD8E-AE15-49B2-A4DE-D33397608D2C}" destId="{898D25C2-2F45-4A56-82B5-D6956169F10F}" srcOrd="0" destOrd="0" presId="urn:microsoft.com/office/officeart/2018/2/layout/IconLabelDescriptionList"/>
    <dgm:cxn modelId="{F19CB89A-9975-4A1F-86F4-09A9FA59D373}" type="presOf" srcId="{57B85E6B-0EFF-4755-8C3C-60E40EF99F54}" destId="{23B417F0-7DEA-4885-AE67-B908F1F10F01}" srcOrd="0" destOrd="0" presId="urn:microsoft.com/office/officeart/2018/2/layout/IconLabelDescriptionList"/>
    <dgm:cxn modelId="{DD9D109C-6AC7-4227-9750-E4CE1E2388F6}" type="presOf" srcId="{F47B715B-4262-43BB-A301-BA406C2979F6}" destId="{62E25466-DED2-4976-8680-704E853FC2B8}" srcOrd="0" destOrd="0" presId="urn:microsoft.com/office/officeart/2018/2/layout/IconLabelDescriptionList"/>
    <dgm:cxn modelId="{EF4EFDA6-3A19-46EE-BB79-F047E2C2BD16}" srcId="{D3788171-5B8D-4B28-B6F8-5EA6652ACAD4}" destId="{5E5B9C6C-7E52-498D-AD28-A746F70E4EC1}" srcOrd="4" destOrd="0" parTransId="{AA3627E5-8039-48C4-89EE-00B9173B7F81}" sibTransId="{0F988A1E-E9CB-4B85-81BA-2A0B36D567F1}"/>
    <dgm:cxn modelId="{FE8F6CFB-1188-4EAF-BAF1-EA20B8AAE79F}" type="presOf" srcId="{D3788171-5B8D-4B28-B6F8-5EA6652ACAD4}" destId="{009C5505-C6D1-41C5-99F2-1811538AEFBF}" srcOrd="0" destOrd="0" presId="urn:microsoft.com/office/officeart/2018/2/layout/IconLabelDescriptionList"/>
    <dgm:cxn modelId="{DB57F831-59B5-47AE-85CE-1AD8C748FE70}" type="presParOf" srcId="{009C5505-C6D1-41C5-99F2-1811538AEFBF}" destId="{D158D0BF-CC60-4BDF-BB03-B13F14428A74}" srcOrd="0" destOrd="0" presId="urn:microsoft.com/office/officeart/2018/2/layout/IconLabelDescriptionList"/>
    <dgm:cxn modelId="{E3BBFE77-4ACE-4A52-A692-7D59DFCA3761}" type="presParOf" srcId="{D158D0BF-CC60-4BDF-BB03-B13F14428A74}" destId="{AE2996C3-FC08-4E2C-B0E8-60D021315EF4}" srcOrd="0" destOrd="0" presId="urn:microsoft.com/office/officeart/2018/2/layout/IconLabelDescriptionList"/>
    <dgm:cxn modelId="{CE692800-3F4D-4E57-8FAD-3BD9CD4FDACA}" type="presParOf" srcId="{D158D0BF-CC60-4BDF-BB03-B13F14428A74}" destId="{6FED3EE6-0A66-4C2A-B9E5-AD40323BE9DB}" srcOrd="1" destOrd="0" presId="urn:microsoft.com/office/officeart/2018/2/layout/IconLabelDescriptionList"/>
    <dgm:cxn modelId="{698D08C7-7290-4644-9940-EB4FBC13E5C8}" type="presParOf" srcId="{D158D0BF-CC60-4BDF-BB03-B13F14428A74}" destId="{53531687-4BD4-494E-B291-BF4F1AC1E375}" srcOrd="2" destOrd="0" presId="urn:microsoft.com/office/officeart/2018/2/layout/IconLabelDescriptionList"/>
    <dgm:cxn modelId="{33AAF2DA-F859-4E40-AC6D-F4EB02F9EA89}" type="presParOf" srcId="{D158D0BF-CC60-4BDF-BB03-B13F14428A74}" destId="{6CE5ADDB-B35D-461B-8E3B-56B3514C21DF}" srcOrd="3" destOrd="0" presId="urn:microsoft.com/office/officeart/2018/2/layout/IconLabelDescriptionList"/>
    <dgm:cxn modelId="{6AB63B0B-60CE-4688-BA38-302972641EB3}" type="presParOf" srcId="{D158D0BF-CC60-4BDF-BB03-B13F14428A74}" destId="{0E74D24D-0345-44AE-861E-17511975AD63}" srcOrd="4" destOrd="0" presId="urn:microsoft.com/office/officeart/2018/2/layout/IconLabelDescriptionList"/>
    <dgm:cxn modelId="{D7F95EBA-0812-4F1F-924F-98E86230906A}" type="presParOf" srcId="{009C5505-C6D1-41C5-99F2-1811538AEFBF}" destId="{F9DC20B8-2749-4417-BCBD-757C62B947B1}" srcOrd="1" destOrd="0" presId="urn:microsoft.com/office/officeart/2018/2/layout/IconLabelDescriptionList"/>
    <dgm:cxn modelId="{4BA8EA70-44F6-4AD4-B399-38B191074705}" type="presParOf" srcId="{009C5505-C6D1-41C5-99F2-1811538AEFBF}" destId="{F818CFE2-EE1F-4AF8-8C42-8D17710B09C7}" srcOrd="2" destOrd="0" presId="urn:microsoft.com/office/officeart/2018/2/layout/IconLabelDescriptionList"/>
    <dgm:cxn modelId="{68028EF5-3CFB-4FB4-A8FE-8E4E80ADCCB6}" type="presParOf" srcId="{F818CFE2-EE1F-4AF8-8C42-8D17710B09C7}" destId="{3EA4C779-EF9A-48FB-8BC7-67CC2D971FAE}" srcOrd="0" destOrd="0" presId="urn:microsoft.com/office/officeart/2018/2/layout/IconLabelDescriptionList"/>
    <dgm:cxn modelId="{08581FB0-1440-4ECB-BCC7-C7A90E1EEAAF}" type="presParOf" srcId="{F818CFE2-EE1F-4AF8-8C42-8D17710B09C7}" destId="{BAC71144-6D85-4FB8-A530-723149675410}" srcOrd="1" destOrd="0" presId="urn:microsoft.com/office/officeart/2018/2/layout/IconLabelDescriptionList"/>
    <dgm:cxn modelId="{A710F722-5B45-4000-ADAD-345EB1DA4634}" type="presParOf" srcId="{F818CFE2-EE1F-4AF8-8C42-8D17710B09C7}" destId="{898D25C2-2F45-4A56-82B5-D6956169F10F}" srcOrd="2" destOrd="0" presId="urn:microsoft.com/office/officeart/2018/2/layout/IconLabelDescriptionList"/>
    <dgm:cxn modelId="{60798FB7-80C1-4CD7-8A0E-9F741ECAFE04}" type="presParOf" srcId="{F818CFE2-EE1F-4AF8-8C42-8D17710B09C7}" destId="{59C1948E-3A71-453F-99ED-04DF6F0CA8EF}" srcOrd="3" destOrd="0" presId="urn:microsoft.com/office/officeart/2018/2/layout/IconLabelDescriptionList"/>
    <dgm:cxn modelId="{313FCB09-4E12-4E86-B0B9-7F21E4EF3284}" type="presParOf" srcId="{F818CFE2-EE1F-4AF8-8C42-8D17710B09C7}" destId="{3DAE63B9-AD09-4695-8E32-77BF54DEEEDC}" srcOrd="4" destOrd="0" presId="urn:microsoft.com/office/officeart/2018/2/layout/IconLabelDescriptionList"/>
    <dgm:cxn modelId="{3386FC7C-FCA6-4187-8983-AFD689AA5B6D}" type="presParOf" srcId="{009C5505-C6D1-41C5-99F2-1811538AEFBF}" destId="{8E469AF1-9F2D-44B6-B22F-02559EEF96E1}" srcOrd="3" destOrd="0" presId="urn:microsoft.com/office/officeart/2018/2/layout/IconLabelDescriptionList"/>
    <dgm:cxn modelId="{A27CE9EF-9422-4D66-98D3-F5016D921A6D}" type="presParOf" srcId="{009C5505-C6D1-41C5-99F2-1811538AEFBF}" destId="{5DE169EE-B23E-4B9F-8F87-73AD5F9B9DA9}" srcOrd="4" destOrd="0" presId="urn:microsoft.com/office/officeart/2018/2/layout/IconLabelDescriptionList"/>
    <dgm:cxn modelId="{097C76D8-80DC-44DC-9825-8234EA678BB7}" type="presParOf" srcId="{5DE169EE-B23E-4B9F-8F87-73AD5F9B9DA9}" destId="{4939306B-3BD5-4C9E-BE17-9D5DA8AF4969}" srcOrd="0" destOrd="0" presId="urn:microsoft.com/office/officeart/2018/2/layout/IconLabelDescriptionList"/>
    <dgm:cxn modelId="{A7578040-0F5A-4B60-A7DA-F83DB4B08032}" type="presParOf" srcId="{5DE169EE-B23E-4B9F-8F87-73AD5F9B9DA9}" destId="{B5C2572E-EEB3-45B9-AEB6-2C217E8E7D72}" srcOrd="1" destOrd="0" presId="urn:microsoft.com/office/officeart/2018/2/layout/IconLabelDescriptionList"/>
    <dgm:cxn modelId="{BF192E9E-5F3E-42C7-856E-01D66AF23FF5}" type="presParOf" srcId="{5DE169EE-B23E-4B9F-8F87-73AD5F9B9DA9}" destId="{23B417F0-7DEA-4885-AE67-B908F1F10F01}" srcOrd="2" destOrd="0" presId="urn:microsoft.com/office/officeart/2018/2/layout/IconLabelDescriptionList"/>
    <dgm:cxn modelId="{05DEFA58-34BD-48E4-9ED3-7A28B48217DF}" type="presParOf" srcId="{5DE169EE-B23E-4B9F-8F87-73AD5F9B9DA9}" destId="{28DCFCD5-1F6D-4192-B8DE-47E48E8C469A}" srcOrd="3" destOrd="0" presId="urn:microsoft.com/office/officeart/2018/2/layout/IconLabelDescriptionList"/>
    <dgm:cxn modelId="{2BAB951E-FE1F-45A8-9BD0-DE2F28206746}" type="presParOf" srcId="{5DE169EE-B23E-4B9F-8F87-73AD5F9B9DA9}" destId="{6CA8D627-6538-4724-896C-0858FD3D28C0}" srcOrd="4" destOrd="0" presId="urn:microsoft.com/office/officeart/2018/2/layout/IconLabelDescriptionList"/>
    <dgm:cxn modelId="{A92A9A76-A876-4E77-8E48-88F41FFB2FD8}" type="presParOf" srcId="{009C5505-C6D1-41C5-99F2-1811538AEFBF}" destId="{86146D09-E503-4856-9F60-ED89340F1DA8}" srcOrd="5" destOrd="0" presId="urn:microsoft.com/office/officeart/2018/2/layout/IconLabelDescriptionList"/>
    <dgm:cxn modelId="{DE1012E3-72F7-40D7-8288-929C64DA8ECA}" type="presParOf" srcId="{009C5505-C6D1-41C5-99F2-1811538AEFBF}" destId="{73D2AC2D-F871-4D47-8EEA-1D09F649413B}" srcOrd="6" destOrd="0" presId="urn:microsoft.com/office/officeart/2018/2/layout/IconLabelDescriptionList"/>
    <dgm:cxn modelId="{0580D91F-3C89-454B-A489-8930ADC8C3BB}" type="presParOf" srcId="{73D2AC2D-F871-4D47-8EEA-1D09F649413B}" destId="{20624012-2415-4F4B-96E0-EEC7DEBFCE37}" srcOrd="0" destOrd="0" presId="urn:microsoft.com/office/officeart/2018/2/layout/IconLabelDescriptionList"/>
    <dgm:cxn modelId="{41C70F77-4629-4B5C-B1CE-9DD03D5E1104}" type="presParOf" srcId="{73D2AC2D-F871-4D47-8EEA-1D09F649413B}" destId="{69376AEC-3E6E-4F85-8241-D6292879F217}" srcOrd="1" destOrd="0" presId="urn:microsoft.com/office/officeart/2018/2/layout/IconLabelDescriptionList"/>
    <dgm:cxn modelId="{3DF0B6A7-ED5F-47B2-BD27-0CC10C79ADDA}" type="presParOf" srcId="{73D2AC2D-F871-4D47-8EEA-1D09F649413B}" destId="{5EE88E1D-FD25-4C69-9ADF-C2C5521D015A}" srcOrd="2" destOrd="0" presId="urn:microsoft.com/office/officeart/2018/2/layout/IconLabelDescriptionList"/>
    <dgm:cxn modelId="{CC9EEC2B-00E6-4C6E-BADD-F74BAF222EEB}" type="presParOf" srcId="{73D2AC2D-F871-4D47-8EEA-1D09F649413B}" destId="{D426D20B-8343-400F-9CED-02D28114ABA3}" srcOrd="3" destOrd="0" presId="urn:microsoft.com/office/officeart/2018/2/layout/IconLabelDescriptionList"/>
    <dgm:cxn modelId="{DFB8B9A5-688F-4B91-81F8-7075442A473E}" type="presParOf" srcId="{73D2AC2D-F871-4D47-8EEA-1D09F649413B}" destId="{FAA36FCA-73F9-460C-8176-FD2BCE9ABFE0}" srcOrd="4" destOrd="0" presId="urn:microsoft.com/office/officeart/2018/2/layout/IconLabelDescriptionList"/>
    <dgm:cxn modelId="{0D0840F1-BA36-4718-9685-0802A0155A54}" type="presParOf" srcId="{009C5505-C6D1-41C5-99F2-1811538AEFBF}" destId="{2E0A6A9C-F771-471B-B6B0-3942ECBB48CF}" srcOrd="7" destOrd="0" presId="urn:microsoft.com/office/officeart/2018/2/layout/IconLabelDescriptionList"/>
    <dgm:cxn modelId="{EF6A294D-DAFD-4937-AB9A-93E363A63B81}" type="presParOf" srcId="{009C5505-C6D1-41C5-99F2-1811538AEFBF}" destId="{5C9EE904-C779-4A3A-B738-7C041CCEC5ED}" srcOrd="8" destOrd="0" presId="urn:microsoft.com/office/officeart/2018/2/layout/IconLabelDescriptionList"/>
    <dgm:cxn modelId="{6157D3F9-A771-43DA-8D15-A7A64068EB68}" type="presParOf" srcId="{5C9EE904-C779-4A3A-B738-7C041CCEC5ED}" destId="{FEF64DDF-4413-47A3-9018-B70892D545AF}" srcOrd="0" destOrd="0" presId="urn:microsoft.com/office/officeart/2018/2/layout/IconLabelDescriptionList"/>
    <dgm:cxn modelId="{FE2B44A0-A6D4-40F8-842E-95261207D8B5}" type="presParOf" srcId="{5C9EE904-C779-4A3A-B738-7C041CCEC5ED}" destId="{32DE5863-D9F8-40B4-BA37-C1D4D44567F1}" srcOrd="1" destOrd="0" presId="urn:microsoft.com/office/officeart/2018/2/layout/IconLabelDescriptionList"/>
    <dgm:cxn modelId="{54C35B44-7B20-45EF-9E1A-8D7B594056FD}" type="presParOf" srcId="{5C9EE904-C779-4A3A-B738-7C041CCEC5ED}" destId="{CA8CC4CB-7F4A-44CC-A35B-8C93785D7A8A}" srcOrd="2" destOrd="0" presId="urn:microsoft.com/office/officeart/2018/2/layout/IconLabelDescriptionList"/>
    <dgm:cxn modelId="{5EC218D1-CFE3-4F4A-A4C2-468F7A271CC3}" type="presParOf" srcId="{5C9EE904-C779-4A3A-B738-7C041CCEC5ED}" destId="{0952DFE6-3267-4434-8C6F-A6AD88478CDB}" srcOrd="3" destOrd="0" presId="urn:microsoft.com/office/officeart/2018/2/layout/IconLabelDescriptionList"/>
    <dgm:cxn modelId="{8709999D-52E7-4C12-9314-8A7BEDA03891}" type="presParOf" srcId="{5C9EE904-C779-4A3A-B738-7C041CCEC5ED}" destId="{C2D61FC7-B818-4B29-974C-3D1BECFE48DC}" srcOrd="4" destOrd="0" presId="urn:microsoft.com/office/officeart/2018/2/layout/IconLabelDescriptionList"/>
    <dgm:cxn modelId="{F144D496-D72B-4BC0-9398-9EE4604AACDA}" type="presParOf" srcId="{009C5505-C6D1-41C5-99F2-1811538AEFBF}" destId="{5308418E-9E8B-4448-B23F-1D6E289A165F}" srcOrd="9" destOrd="0" presId="urn:microsoft.com/office/officeart/2018/2/layout/IconLabelDescriptionList"/>
    <dgm:cxn modelId="{6FD0D6A1-E5D8-4A8A-967B-4B79A8C67EEC}" type="presParOf" srcId="{009C5505-C6D1-41C5-99F2-1811538AEFBF}" destId="{F4554572-2C47-44C8-B49C-B9E12761EAAF}" srcOrd="10" destOrd="0" presId="urn:microsoft.com/office/officeart/2018/2/layout/IconLabelDescriptionList"/>
    <dgm:cxn modelId="{638CE071-6D73-4C4D-A443-3C98D900EE71}" type="presParOf" srcId="{F4554572-2C47-44C8-B49C-B9E12761EAAF}" destId="{555BB2F5-AE1B-4045-8E96-5C092F48D343}" srcOrd="0" destOrd="0" presId="urn:microsoft.com/office/officeart/2018/2/layout/IconLabelDescriptionList"/>
    <dgm:cxn modelId="{2D6214E9-0E98-481D-9EC5-43583DB5F0AE}" type="presParOf" srcId="{F4554572-2C47-44C8-B49C-B9E12761EAAF}" destId="{8BA6739F-F1A1-47A7-9596-61AC1C9FBBEB}" srcOrd="1" destOrd="0" presId="urn:microsoft.com/office/officeart/2018/2/layout/IconLabelDescriptionList"/>
    <dgm:cxn modelId="{5203F7A5-F22E-401D-B111-BF3A2188A27B}" type="presParOf" srcId="{F4554572-2C47-44C8-B49C-B9E12761EAAF}" destId="{092F29FC-9A11-45C9-9C1B-323A2DD240D4}" srcOrd="2" destOrd="0" presId="urn:microsoft.com/office/officeart/2018/2/layout/IconLabelDescriptionList"/>
    <dgm:cxn modelId="{BF2648F1-CED4-47A2-85E4-3924D95629FA}" type="presParOf" srcId="{F4554572-2C47-44C8-B49C-B9E12761EAAF}" destId="{53C0722D-60D2-413B-A2BC-62E94CB4B82D}" srcOrd="3" destOrd="0" presId="urn:microsoft.com/office/officeart/2018/2/layout/IconLabelDescriptionList"/>
    <dgm:cxn modelId="{9DD4F450-361F-4282-91A4-9332459BE14B}" type="presParOf" srcId="{F4554572-2C47-44C8-B49C-B9E12761EAAF}" destId="{62E25466-DED2-4976-8680-704E853FC2B8}"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2996C3-FC08-4E2C-B0E8-60D021315EF4}">
      <dsp:nvSpPr>
        <dsp:cNvPr id="0" name=""/>
        <dsp:cNvSpPr/>
      </dsp:nvSpPr>
      <dsp:spPr>
        <a:xfrm>
          <a:off x="3489" y="285970"/>
          <a:ext cx="575121" cy="57512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531687-4BD4-494E-B291-BF4F1AC1E375}">
      <dsp:nvSpPr>
        <dsp:cNvPr id="0" name=""/>
        <dsp:cNvSpPr/>
      </dsp:nvSpPr>
      <dsp:spPr>
        <a:xfrm>
          <a:off x="3489" y="1086930"/>
          <a:ext cx="1643203" cy="439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kern="1200"/>
            <a:t>Scope Clarity</a:t>
          </a:r>
          <a:endParaRPr lang="en-US" sz="1400" kern="1200"/>
        </a:p>
      </dsp:txBody>
      <dsp:txXfrm>
        <a:off x="3489" y="1086930"/>
        <a:ext cx="1643203" cy="439043"/>
      </dsp:txXfrm>
    </dsp:sp>
    <dsp:sp modelId="{0E74D24D-0345-44AE-861E-17511975AD63}">
      <dsp:nvSpPr>
        <dsp:cNvPr id="0" name=""/>
        <dsp:cNvSpPr/>
      </dsp:nvSpPr>
      <dsp:spPr>
        <a:xfrm>
          <a:off x="3489" y="1631015"/>
          <a:ext cx="1643203" cy="3907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kern="1200"/>
            <a:t>Significant deviations from the agreed scope may require contract amendments, budget revisions, or timeline adjustments.</a:t>
          </a:r>
        </a:p>
      </dsp:txBody>
      <dsp:txXfrm>
        <a:off x="3489" y="1631015"/>
        <a:ext cx="1643203" cy="3907030"/>
      </dsp:txXfrm>
    </dsp:sp>
    <dsp:sp modelId="{3EA4C779-EF9A-48FB-8BC7-67CC2D971FAE}">
      <dsp:nvSpPr>
        <dsp:cNvPr id="0" name=""/>
        <dsp:cNvSpPr/>
      </dsp:nvSpPr>
      <dsp:spPr>
        <a:xfrm>
          <a:off x="1934252" y="285970"/>
          <a:ext cx="575121" cy="57512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98D25C2-2F45-4A56-82B5-D6956169F10F}">
      <dsp:nvSpPr>
        <dsp:cNvPr id="0" name=""/>
        <dsp:cNvSpPr/>
      </dsp:nvSpPr>
      <dsp:spPr>
        <a:xfrm>
          <a:off x="1934252" y="1086930"/>
          <a:ext cx="1643203" cy="439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kern="1200"/>
            <a:t>Technology Constraints</a:t>
          </a:r>
          <a:endParaRPr lang="en-US" sz="1400" kern="1200"/>
        </a:p>
      </dsp:txBody>
      <dsp:txXfrm>
        <a:off x="1934252" y="1086930"/>
        <a:ext cx="1643203" cy="439043"/>
      </dsp:txXfrm>
    </dsp:sp>
    <dsp:sp modelId="{3DAE63B9-AD09-4695-8E32-77BF54DEEEDC}">
      <dsp:nvSpPr>
        <dsp:cNvPr id="0" name=""/>
        <dsp:cNvSpPr/>
      </dsp:nvSpPr>
      <dsp:spPr>
        <a:xfrm>
          <a:off x="1934252" y="1631015"/>
          <a:ext cx="1643203" cy="3907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kern="1200"/>
            <a:t>The solution will be developed using open-source or licensed technologies, as specified in the RFP. Any additional licenses beyond the original scope are addressed through a formal change request.</a:t>
          </a:r>
        </a:p>
      </dsp:txBody>
      <dsp:txXfrm>
        <a:off x="1934252" y="1631015"/>
        <a:ext cx="1643203" cy="3907030"/>
      </dsp:txXfrm>
    </dsp:sp>
    <dsp:sp modelId="{4939306B-3BD5-4C9E-BE17-9D5DA8AF4969}">
      <dsp:nvSpPr>
        <dsp:cNvPr id="0" name=""/>
        <dsp:cNvSpPr/>
      </dsp:nvSpPr>
      <dsp:spPr>
        <a:xfrm>
          <a:off x="3865016" y="285970"/>
          <a:ext cx="575121" cy="57512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B417F0-7DEA-4885-AE67-B908F1F10F01}">
      <dsp:nvSpPr>
        <dsp:cNvPr id="0" name=""/>
        <dsp:cNvSpPr/>
      </dsp:nvSpPr>
      <dsp:spPr>
        <a:xfrm>
          <a:off x="3865016" y="1086930"/>
          <a:ext cx="1643203" cy="439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kern="1200"/>
            <a:t>Timely Provision of Resources</a:t>
          </a:r>
          <a:endParaRPr lang="en-US" sz="1400" kern="1200"/>
        </a:p>
      </dsp:txBody>
      <dsp:txXfrm>
        <a:off x="3865016" y="1086930"/>
        <a:ext cx="1643203" cy="439043"/>
      </dsp:txXfrm>
    </dsp:sp>
    <dsp:sp modelId="{6CA8D627-6538-4724-896C-0858FD3D28C0}">
      <dsp:nvSpPr>
        <dsp:cNvPr id="0" name=""/>
        <dsp:cNvSpPr/>
      </dsp:nvSpPr>
      <dsp:spPr>
        <a:xfrm>
          <a:off x="3865016" y="1631015"/>
          <a:ext cx="1643203" cy="3907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kern="1200"/>
            <a:t>Delays in resource availability (e.g., test users, test data, environment access)  may affect milestone achievements.</a:t>
          </a:r>
        </a:p>
      </dsp:txBody>
      <dsp:txXfrm>
        <a:off x="3865016" y="1631015"/>
        <a:ext cx="1643203" cy="3907030"/>
      </dsp:txXfrm>
    </dsp:sp>
    <dsp:sp modelId="{20624012-2415-4F4B-96E0-EEC7DEBFCE37}">
      <dsp:nvSpPr>
        <dsp:cNvPr id="0" name=""/>
        <dsp:cNvSpPr/>
      </dsp:nvSpPr>
      <dsp:spPr>
        <a:xfrm>
          <a:off x="5795780" y="285970"/>
          <a:ext cx="575121" cy="57512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E88E1D-FD25-4C69-9ADF-C2C5521D015A}">
      <dsp:nvSpPr>
        <dsp:cNvPr id="0" name=""/>
        <dsp:cNvSpPr/>
      </dsp:nvSpPr>
      <dsp:spPr>
        <a:xfrm>
          <a:off x="5795780" y="1086930"/>
          <a:ext cx="1643203" cy="439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kern="1200"/>
            <a:t>Regulatory and Policy Compliance</a:t>
          </a:r>
          <a:endParaRPr lang="en-US" sz="1400" kern="1200"/>
        </a:p>
      </dsp:txBody>
      <dsp:txXfrm>
        <a:off x="5795780" y="1086930"/>
        <a:ext cx="1643203" cy="439043"/>
      </dsp:txXfrm>
    </dsp:sp>
    <dsp:sp modelId="{FAA36FCA-73F9-460C-8176-FD2BCE9ABFE0}">
      <dsp:nvSpPr>
        <dsp:cNvPr id="0" name=""/>
        <dsp:cNvSpPr/>
      </dsp:nvSpPr>
      <dsp:spPr>
        <a:xfrm>
          <a:off x="5795780" y="1631015"/>
          <a:ext cx="1643203" cy="3907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kern="1200"/>
            <a:t>BEE has or will obtain all necessary regulatory clearances for data usage, storage, and transfer, especially when integrating external systems.</a:t>
          </a:r>
        </a:p>
        <a:p>
          <a:pPr marL="0" lvl="0" indent="0" algn="l" defTabSz="622300">
            <a:lnSpc>
              <a:spcPct val="100000"/>
            </a:lnSpc>
            <a:spcBef>
              <a:spcPct val="0"/>
            </a:spcBef>
            <a:spcAft>
              <a:spcPct val="35000"/>
            </a:spcAft>
            <a:buNone/>
          </a:pPr>
          <a:r>
            <a:rPr lang="en-US" sz="1400" kern="1200"/>
            <a:t>Should new regulations or guidelines emerge during the project, BEE and vendor will collaborate on potential scope or design modifications.</a:t>
          </a:r>
        </a:p>
      </dsp:txBody>
      <dsp:txXfrm>
        <a:off x="5795780" y="1631015"/>
        <a:ext cx="1643203" cy="3907030"/>
      </dsp:txXfrm>
    </dsp:sp>
    <dsp:sp modelId="{FEF64DDF-4413-47A3-9018-B70892D545AF}">
      <dsp:nvSpPr>
        <dsp:cNvPr id="0" name=""/>
        <dsp:cNvSpPr/>
      </dsp:nvSpPr>
      <dsp:spPr>
        <a:xfrm>
          <a:off x="7726543" y="285970"/>
          <a:ext cx="575121" cy="57512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8CC4CB-7F4A-44CC-A35B-8C93785D7A8A}">
      <dsp:nvSpPr>
        <dsp:cNvPr id="0" name=""/>
        <dsp:cNvSpPr/>
      </dsp:nvSpPr>
      <dsp:spPr>
        <a:xfrm>
          <a:off x="7726543" y="1086930"/>
          <a:ext cx="1643203" cy="439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kern="1200"/>
            <a:t>Project Governance Structure</a:t>
          </a:r>
          <a:endParaRPr lang="en-US" sz="1400" kern="1200"/>
        </a:p>
      </dsp:txBody>
      <dsp:txXfrm>
        <a:off x="7726543" y="1086930"/>
        <a:ext cx="1643203" cy="439043"/>
      </dsp:txXfrm>
    </dsp:sp>
    <dsp:sp modelId="{C2D61FC7-B818-4B29-974C-3D1BECFE48DC}">
      <dsp:nvSpPr>
        <dsp:cNvPr id="0" name=""/>
        <dsp:cNvSpPr/>
      </dsp:nvSpPr>
      <dsp:spPr>
        <a:xfrm>
          <a:off x="7726543" y="1631015"/>
          <a:ext cx="1643203" cy="3907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kern="1200"/>
            <a:t>A formal governance model (steering committee, change control board) is in place, with defined roles and responsibilities for decision-making and escalation.</a:t>
          </a:r>
        </a:p>
        <a:p>
          <a:pPr marL="0" lvl="0" indent="0" algn="l" defTabSz="622300">
            <a:lnSpc>
              <a:spcPct val="100000"/>
            </a:lnSpc>
            <a:spcBef>
              <a:spcPct val="0"/>
            </a:spcBef>
            <a:spcAft>
              <a:spcPct val="35000"/>
            </a:spcAft>
            <a:buNone/>
          </a:pPr>
          <a:r>
            <a:rPr lang="en-US" sz="1400" kern="1200"/>
            <a:t>Escalations or project risks will be reviewed and mitigated jointly by the vendor and BEE’s designated representatives.</a:t>
          </a:r>
        </a:p>
      </dsp:txBody>
      <dsp:txXfrm>
        <a:off x="7726543" y="1631015"/>
        <a:ext cx="1643203" cy="3907030"/>
      </dsp:txXfrm>
    </dsp:sp>
    <dsp:sp modelId="{555BB2F5-AE1B-4045-8E96-5C092F48D343}">
      <dsp:nvSpPr>
        <dsp:cNvPr id="0" name=""/>
        <dsp:cNvSpPr/>
      </dsp:nvSpPr>
      <dsp:spPr>
        <a:xfrm>
          <a:off x="9657307" y="285970"/>
          <a:ext cx="575121" cy="575121"/>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2F29FC-9A11-45C9-9C1B-323A2DD240D4}">
      <dsp:nvSpPr>
        <dsp:cNvPr id="0" name=""/>
        <dsp:cNvSpPr/>
      </dsp:nvSpPr>
      <dsp:spPr>
        <a:xfrm>
          <a:off x="9657307" y="1086930"/>
          <a:ext cx="1643203" cy="439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kern="1200"/>
            <a:t>Draft RCO Rules Flexibility</a:t>
          </a:r>
          <a:endParaRPr lang="en-US" sz="1400" kern="1200"/>
        </a:p>
      </dsp:txBody>
      <dsp:txXfrm>
        <a:off x="9657307" y="1086930"/>
        <a:ext cx="1643203" cy="439043"/>
      </dsp:txXfrm>
    </dsp:sp>
    <dsp:sp modelId="{62E25466-DED2-4976-8680-704E853FC2B8}">
      <dsp:nvSpPr>
        <dsp:cNvPr id="0" name=""/>
        <dsp:cNvSpPr/>
      </dsp:nvSpPr>
      <dsp:spPr>
        <a:xfrm>
          <a:off x="9657307" y="1631015"/>
          <a:ext cx="1643203" cy="3907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kern="1200"/>
            <a:t>Given that the draft RCO rules are under development by BEE and may change, it is assumed that any significant alterations will be handled via the established change management process. The vendor will adjust designs or functionalities accordingly, with potential impacts on timeline and cost to be evaluated in collaboration with BEE.</a:t>
          </a:r>
        </a:p>
      </dsp:txBody>
      <dsp:txXfrm>
        <a:off x="9657307" y="1631015"/>
        <a:ext cx="1643203" cy="390703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4C49229-60C5-232C-DCA0-E36E3848350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4B485EB-FA86-8087-F6A4-B913C451F76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A9FB18A-5F49-40BC-8C37-54C6307B75FD}" type="datetimeFigureOut">
              <a:rPr lang="en-US" smtClean="0"/>
              <a:t>12/7/2025</a:t>
            </a:fld>
            <a:endParaRPr lang="en-US"/>
          </a:p>
        </p:txBody>
      </p:sp>
      <p:sp>
        <p:nvSpPr>
          <p:cNvPr id="4" name="Footer Placeholder 3">
            <a:extLst>
              <a:ext uri="{FF2B5EF4-FFF2-40B4-BE49-F238E27FC236}">
                <a16:creationId xmlns:a16="http://schemas.microsoft.com/office/drawing/2014/main" id="{6B95E461-3BF6-DBA9-AE00-53F0C06EA95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397A93B-8BEA-BD89-3F26-1278DD0E493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43A04DC-1084-44B6-BBA3-9285ADCA71B1}" type="slidenum">
              <a:rPr lang="en-US" smtClean="0"/>
              <a:t>‹#›</a:t>
            </a:fld>
            <a:endParaRPr lang="en-US"/>
          </a:p>
        </p:txBody>
      </p:sp>
    </p:spTree>
    <p:extLst>
      <p:ext uri="{BB962C8B-B14F-4D97-AF65-F5344CB8AC3E}">
        <p14:creationId xmlns:p14="http://schemas.microsoft.com/office/powerpoint/2010/main" val="174735230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575523-1EDF-4580-A979-305CCADC9DDC}" type="datetimeFigureOut">
              <a:rPr lang="en-ZA" smtClean="0"/>
              <a:t>2025/12/07</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035D6C-8020-4D68-8856-65D9BD49D089}" type="slidenum">
              <a:rPr lang="en-ZA" smtClean="0"/>
              <a:t>‹#›</a:t>
            </a:fld>
            <a:endParaRPr lang="en-ZA"/>
          </a:p>
        </p:txBody>
      </p:sp>
    </p:spTree>
    <p:extLst>
      <p:ext uri="{BB962C8B-B14F-4D97-AF65-F5344CB8AC3E}">
        <p14:creationId xmlns:p14="http://schemas.microsoft.com/office/powerpoint/2010/main" val="1836067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25320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035D6C-8020-4D68-8856-65D9BD49D089}" type="slidenum">
              <a:rPr lang="en-ZA" smtClean="0"/>
              <a:t>22</a:t>
            </a:fld>
            <a:endParaRPr lang="en-ZA"/>
          </a:p>
        </p:txBody>
      </p:sp>
    </p:spTree>
    <p:extLst>
      <p:ext uri="{BB962C8B-B14F-4D97-AF65-F5344CB8AC3E}">
        <p14:creationId xmlns:p14="http://schemas.microsoft.com/office/powerpoint/2010/main" val="570975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035D6C-8020-4D68-8856-65D9BD49D089}" type="slidenum">
              <a:rPr lang="en-ZA" smtClean="0"/>
              <a:t>24</a:t>
            </a:fld>
            <a:endParaRPr lang="en-ZA"/>
          </a:p>
        </p:txBody>
      </p:sp>
    </p:spTree>
    <p:extLst>
      <p:ext uri="{BB962C8B-B14F-4D97-AF65-F5344CB8AC3E}">
        <p14:creationId xmlns:p14="http://schemas.microsoft.com/office/powerpoint/2010/main" val="30756460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fld id="{0B035D6C-8020-4D68-8856-65D9BD49D089}" type="slidenum">
              <a:rPr lang="en-ZA" smtClean="0"/>
              <a:t>25</a:t>
            </a:fld>
            <a:endParaRPr lang="en-ZA"/>
          </a:p>
        </p:txBody>
      </p:sp>
    </p:spTree>
    <p:extLst>
      <p:ext uri="{BB962C8B-B14F-4D97-AF65-F5344CB8AC3E}">
        <p14:creationId xmlns:p14="http://schemas.microsoft.com/office/powerpoint/2010/main" val="1604826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fld id="{0B035D6C-8020-4D68-8856-65D9BD49D089}" type="slidenum">
              <a:rPr lang="en-ZA" smtClean="0"/>
              <a:t>26</a:t>
            </a:fld>
            <a:endParaRPr lang="en-ZA"/>
          </a:p>
        </p:txBody>
      </p:sp>
    </p:spTree>
    <p:extLst>
      <p:ext uri="{BB962C8B-B14F-4D97-AF65-F5344CB8AC3E}">
        <p14:creationId xmlns:p14="http://schemas.microsoft.com/office/powerpoint/2010/main" val="30242311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6194704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9596510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035D6C-8020-4D68-8856-65D9BD49D089}" type="slidenum">
              <a:rPr lang="en-ZA" smtClean="0"/>
              <a:t>32</a:t>
            </a:fld>
            <a:endParaRPr lang="en-ZA"/>
          </a:p>
        </p:txBody>
      </p:sp>
    </p:spTree>
    <p:extLst>
      <p:ext uri="{BB962C8B-B14F-4D97-AF65-F5344CB8AC3E}">
        <p14:creationId xmlns:p14="http://schemas.microsoft.com/office/powerpoint/2010/main" val="208586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5325"/>
            <a:ext cx="6149975" cy="34591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33427"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3342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97061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br>
              <a:rPr lang="en-AU"/>
            </a:br>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141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F8891-9FE9-AF16-B340-210A06CF10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BF7B46-5258-B5A9-A64B-DF1DEE5EE0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B7835D-C4B2-AEAB-C157-B34376356BE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02A54F4-1E0E-EA06-D4D5-5830D4241F1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035D6C-8020-4D68-8856-65D9BD49D089}"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81439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1321147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035D6C-8020-4D68-8856-65D9BD49D089}" type="slidenum">
              <a:rPr lang="en-ZA" smtClean="0"/>
              <a:t>13</a:t>
            </a:fld>
            <a:endParaRPr lang="en-ZA"/>
          </a:p>
        </p:txBody>
      </p:sp>
    </p:spTree>
    <p:extLst>
      <p:ext uri="{BB962C8B-B14F-4D97-AF65-F5344CB8AC3E}">
        <p14:creationId xmlns:p14="http://schemas.microsoft.com/office/powerpoint/2010/main" val="2927257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035D6C-8020-4D68-8856-65D9BD49D089}" type="slidenum">
              <a:rPr lang="en-ZA" smtClean="0"/>
              <a:t>18</a:t>
            </a:fld>
            <a:endParaRPr lang="en-ZA"/>
          </a:p>
        </p:txBody>
      </p:sp>
    </p:spTree>
    <p:extLst>
      <p:ext uri="{BB962C8B-B14F-4D97-AF65-F5344CB8AC3E}">
        <p14:creationId xmlns:p14="http://schemas.microsoft.com/office/powerpoint/2010/main" val="2241861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035D6C-8020-4D68-8856-65D9BD49D089}" type="slidenum">
              <a:rPr lang="en-ZA" smtClean="0"/>
              <a:t>19</a:t>
            </a:fld>
            <a:endParaRPr lang="en-ZA"/>
          </a:p>
        </p:txBody>
      </p:sp>
    </p:spTree>
    <p:extLst>
      <p:ext uri="{BB962C8B-B14F-4D97-AF65-F5344CB8AC3E}">
        <p14:creationId xmlns:p14="http://schemas.microsoft.com/office/powerpoint/2010/main" val="2125372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035D6C-8020-4D68-8856-65D9BD49D089}" type="slidenum">
              <a:rPr lang="en-ZA" smtClean="0"/>
              <a:t>21</a:t>
            </a:fld>
            <a:endParaRPr lang="en-ZA"/>
          </a:p>
        </p:txBody>
      </p:sp>
    </p:spTree>
    <p:extLst>
      <p:ext uri="{BB962C8B-B14F-4D97-AF65-F5344CB8AC3E}">
        <p14:creationId xmlns:p14="http://schemas.microsoft.com/office/powerpoint/2010/main" val="24204298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31.emf"/></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27.xml"/><Relationship Id="rId4" Type="http://schemas.openxmlformats.org/officeDocument/2006/relationships/image" Target="../media/image31.emf"/></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7.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7.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7.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7.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7.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7.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7.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7.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7.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7.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7.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7.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FE919537-8CE7-4809-834D-08D64026E9F1}" type="slidenum">
              <a:rPr lang="en-ZA" smtClean="0"/>
              <a:t>‹#›</a:t>
            </a:fld>
            <a:endParaRPr lang="en-ZA"/>
          </a:p>
        </p:txBody>
      </p:sp>
    </p:spTree>
    <p:extLst>
      <p:ext uri="{BB962C8B-B14F-4D97-AF65-F5344CB8AC3E}">
        <p14:creationId xmlns:p14="http://schemas.microsoft.com/office/powerpoint/2010/main" val="4141737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FE919537-8CE7-4809-834D-08D64026E9F1}" type="slidenum">
              <a:rPr lang="en-ZA" smtClean="0"/>
              <a:t>‹#›</a:t>
            </a:fld>
            <a:endParaRPr lang="en-ZA"/>
          </a:p>
        </p:txBody>
      </p:sp>
    </p:spTree>
    <p:extLst>
      <p:ext uri="{BB962C8B-B14F-4D97-AF65-F5344CB8AC3E}">
        <p14:creationId xmlns:p14="http://schemas.microsoft.com/office/powerpoint/2010/main" val="20647380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517353531"/>
      </p:ext>
    </p:extLst>
  </p:cSld>
  <p:clrMapOvr>
    <a:masterClrMapping/>
  </p:clrMapOvr>
  <p:transition>
    <p:fade/>
  </p:transition>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396111160"/>
      </p:ext>
    </p:extLst>
  </p:cSld>
  <p:clrMapOvr>
    <a:masterClrMapping/>
  </p:clrMapOvr>
  <p:transition>
    <p:fade/>
  </p:transition>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67447088"/>
      </p:ext>
    </p:extLst>
  </p:cSld>
  <p:clrMapOvr>
    <a:masterClrMapping/>
  </p:clrMapOvr>
  <p:transition>
    <p:fade/>
  </p:transition>
  <p:hf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67564452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125472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16425446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9247256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24923918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015292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6580341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FE919537-8CE7-4809-834D-08D64026E9F1}" type="slidenum">
              <a:rPr lang="en-ZA" smtClean="0"/>
              <a:t>‹#›</a:t>
            </a:fld>
            <a:endParaRPr lang="en-ZA"/>
          </a:p>
        </p:txBody>
      </p:sp>
    </p:spTree>
    <p:extLst>
      <p:ext uri="{BB962C8B-B14F-4D97-AF65-F5344CB8AC3E}">
        <p14:creationId xmlns:p14="http://schemas.microsoft.com/office/powerpoint/2010/main" val="10031705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30643685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78555049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299836657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63823144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48189499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6888749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34B4A229-FF50-4050-8C22-828F5A79CA23}"/>
              </a:ext>
            </a:extLst>
          </p:cNvPr>
          <p:cNvPicPr>
            <a:picLocks noChangeAspect="1"/>
          </p:cNvPicPr>
          <p:nvPr userDrawn="1"/>
        </p:nvPicPr>
        <p:blipFill>
          <a:blip r:embed="rId2"/>
          <a:stretch>
            <a:fillRect/>
          </a:stretch>
        </p:blipFill>
        <p:spPr>
          <a:xfrm>
            <a:off x="2895600" y="457200"/>
            <a:ext cx="6400800" cy="6400800"/>
          </a:xfrm>
          <a:prstGeom prst="rect">
            <a:avLst/>
          </a:prstGeom>
        </p:spPr>
      </p:pic>
      <p:sp>
        <p:nvSpPr>
          <p:cNvPr id="2" name="Title 1">
            <a:extLst>
              <a:ext uri="{FF2B5EF4-FFF2-40B4-BE49-F238E27FC236}">
                <a16:creationId xmlns:a16="http://schemas.microsoft.com/office/drawing/2014/main" id="{15A97FB2-6419-45F1-ACC5-B5CDB8B3297E}"/>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7442920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89540113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D7F45A3-CA2D-4671-A53D-6CD40425AD09}"/>
              </a:ext>
            </a:extLst>
          </p:cNvPr>
          <p:cNvSpPr/>
          <p:nvPr userDrawn="1"/>
        </p:nvSpPr>
        <p:spPr bwMode="gray">
          <a:xfrm>
            <a:off x="0" y="-10144"/>
            <a:ext cx="12192000" cy="68681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8" name="Picture 7" descr="Background pattern&#10;&#10;Description automatically generated">
            <a:extLst>
              <a:ext uri="{FF2B5EF4-FFF2-40B4-BE49-F238E27FC236}">
                <a16:creationId xmlns:a16="http://schemas.microsoft.com/office/drawing/2014/main" id="{A3F9BAA7-6D5E-41BB-B6E3-29B1651927BF}"/>
              </a:ext>
            </a:extLst>
          </p:cNvPr>
          <p:cNvPicPr>
            <a:picLocks noChangeAspect="1"/>
          </p:cNvPicPr>
          <p:nvPr userDrawn="1"/>
        </p:nvPicPr>
        <p:blipFill rotWithShape="1">
          <a:blip r:embed="rId2" cstate="print">
            <a:alphaModFix amt="45000"/>
            <a:extLst>
              <a:ext uri="{28A0092B-C50C-407E-A947-70E740481C1C}">
                <a14:useLocalDpi xmlns:a14="http://schemas.microsoft.com/office/drawing/2010/main"/>
              </a:ext>
            </a:extLst>
          </a:blip>
          <a:srcRect/>
          <a:stretch/>
        </p:blipFill>
        <p:spPr>
          <a:xfrm>
            <a:off x="3054754" y="3672349"/>
            <a:ext cx="9137246" cy="3185652"/>
          </a:xfrm>
          <a:prstGeom prst="rect">
            <a:avLst/>
          </a:prstGeom>
        </p:spPr>
      </p:pic>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9" name="CaseCode">
            <a:extLst>
              <a:ext uri="{FF2B5EF4-FFF2-40B4-BE49-F238E27FC236}">
                <a16:creationId xmlns:a16="http://schemas.microsoft.com/office/drawing/2014/main" id="{21742B2F-F8A2-4D93-87FF-7BE0B03E8157}"/>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Global P&amp;UR Sales Deck</a:t>
            </a:r>
          </a:p>
        </p:txBody>
      </p:sp>
      <p:sp>
        <p:nvSpPr>
          <p:cNvPr id="10" name="Copyright">
            <a:extLst>
              <a:ext uri="{FF2B5EF4-FFF2-40B4-BE49-F238E27FC236}">
                <a16:creationId xmlns:a16="http://schemas.microsoft.com/office/drawing/2014/main" id="{F52D8E1D-77B0-4CD8-9D6B-68A46B750380}"/>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eloitte | Global Power, Utilities &amp; Renewables Sector</a:t>
            </a:r>
          </a:p>
        </p:txBody>
      </p:sp>
      <p:sp>
        <p:nvSpPr>
          <p:cNvPr id="11" name="TextBox 10">
            <a:extLst>
              <a:ext uri="{FF2B5EF4-FFF2-40B4-BE49-F238E27FC236}">
                <a16:creationId xmlns:a16="http://schemas.microsoft.com/office/drawing/2014/main" id="{BAC97FB9-FB71-4D68-B5D6-A79C2FAA421E}"/>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8010236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pic>
        <p:nvPicPr>
          <p:cNvPr id="12" name="Picture 11" descr="A picture containing art, drawing, graphics, illustration&#10;&#10;Description automatically generated">
            <a:extLst>
              <a:ext uri="{FF2B5EF4-FFF2-40B4-BE49-F238E27FC236}">
                <a16:creationId xmlns:a16="http://schemas.microsoft.com/office/drawing/2014/main" id="{C8344486-048F-4F38-A745-6572A340FAF9}"/>
              </a:ext>
            </a:extLst>
          </p:cNvPr>
          <p:cNvPicPr>
            <a:picLocks noChangeAspect="1"/>
          </p:cNvPicPr>
          <p:nvPr userDrawn="1"/>
        </p:nvPicPr>
        <p:blipFill>
          <a:blip r:embed="rId2">
            <a:alphaModFix amt="32000"/>
          </a:blip>
          <a:stretch>
            <a:fillRect/>
          </a:stretch>
        </p:blipFill>
        <p:spPr>
          <a:xfrm>
            <a:off x="0" y="0"/>
            <a:ext cx="12192000" cy="6858000"/>
          </a:xfrm>
          <a:prstGeom prst="rect">
            <a:avLst/>
          </a:prstGeom>
        </p:spPr>
      </p:pic>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1" name="TextBox 10">
            <a:extLst>
              <a:ext uri="{FF2B5EF4-FFF2-40B4-BE49-F238E27FC236}">
                <a16:creationId xmlns:a16="http://schemas.microsoft.com/office/drawing/2014/main" id="{BAC97FB9-FB71-4D68-B5D6-A79C2FAA421E}"/>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1987753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_Title Slide - Black Page Image">
    <p:bg bwMode="gray">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Tree>
    <p:extLst>
      <p:ext uri="{BB962C8B-B14F-4D97-AF65-F5344CB8AC3E}">
        <p14:creationId xmlns:p14="http://schemas.microsoft.com/office/powerpoint/2010/main" val="2304506544"/>
      </p:ext>
    </p:extLst>
  </p:cSld>
  <p:clrMapOvr>
    <a:masterClrMapping/>
  </p:clrMapOvr>
  <p:transition>
    <p:fade/>
  </p:transition>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8344486-048F-4F38-A745-6572A340FAF9}"/>
              </a:ext>
            </a:extLst>
          </p:cNvPr>
          <p:cNvPicPr>
            <a:picLocks noChangeAspect="1"/>
          </p:cNvPicPr>
          <p:nvPr userDrawn="1"/>
        </p:nvPicPr>
        <p:blipFill>
          <a:blip r:embed="rId2">
            <a:alphaModFix amt="54000"/>
          </a:blip>
          <a:srcRect/>
          <a:stretch/>
        </p:blipFill>
        <p:spPr>
          <a:xfrm>
            <a:off x="0" y="0"/>
            <a:ext cx="12192000" cy="6857999"/>
          </a:xfrm>
          <a:prstGeom prst="rect">
            <a:avLst/>
          </a:prstGeom>
          <a:effectLst/>
        </p:spPr>
      </p:pic>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1" name="TextBox 10">
            <a:extLst>
              <a:ext uri="{FF2B5EF4-FFF2-40B4-BE49-F238E27FC236}">
                <a16:creationId xmlns:a16="http://schemas.microsoft.com/office/drawing/2014/main" id="{BAC97FB9-FB71-4D68-B5D6-A79C2FAA421E}"/>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3613882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bg>
      <p:bgPr>
        <a:solidFill>
          <a:schemeClr val="tx1"/>
        </a:solidFill>
        <a:effectLst/>
      </p:bgPr>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FF5B25D2-A7FE-4908-98AF-E924B3F85004}"/>
              </a:ext>
            </a:extLst>
          </p:cNvPr>
          <p:cNvPicPr>
            <a:picLocks noChangeAspect="1"/>
          </p:cNvPicPr>
          <p:nvPr userDrawn="1"/>
        </p:nvPicPr>
        <p:blipFill rotWithShape="1">
          <a:blip r:embed="rId2" cstate="print">
            <a:alphaModFix amt="45000"/>
            <a:extLst>
              <a:ext uri="{28A0092B-C50C-407E-A947-70E740481C1C}">
                <a14:useLocalDpi xmlns:a14="http://schemas.microsoft.com/office/drawing/2010/main"/>
              </a:ext>
            </a:extLst>
          </a:blip>
          <a:srcRect/>
          <a:stretch/>
        </p:blipFill>
        <p:spPr>
          <a:xfrm>
            <a:off x="3054754" y="3672349"/>
            <a:ext cx="9137246" cy="3185652"/>
          </a:xfrm>
          <a:prstGeom prst="rect">
            <a:avLst/>
          </a:prstGeom>
        </p:spPr>
      </p:pic>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29527874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80165018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7522656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gradFill>
          <a:gsLst>
            <a:gs pos="0">
              <a:schemeClr val="tx1">
                <a:lumMod val="75000"/>
                <a:lumOff val="25000"/>
              </a:schemeClr>
            </a:gs>
            <a:gs pos="63000">
              <a:schemeClr val="tx1"/>
            </a:gs>
          </a:gsLst>
          <a:lin ang="5400000" scaled="1"/>
        </a:gradFill>
        <a:effectLst/>
      </p:bgPr>
    </p:bg>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142F8518-7CC9-4162-9837-43F15B83D1AE}"/>
              </a:ext>
            </a:extLst>
          </p:cNvPr>
          <p:cNvPicPr>
            <a:picLocks noChangeAspect="1"/>
          </p:cNvPicPr>
          <p:nvPr userDrawn="1"/>
        </p:nvPicPr>
        <p:blipFill rotWithShape="1">
          <a:blip r:embed="rId2"/>
          <a:srcRect r="5201" b="33669"/>
          <a:stretch/>
        </p:blipFill>
        <p:spPr>
          <a:xfrm>
            <a:off x="6836830" y="4990949"/>
            <a:ext cx="5355169" cy="1867051"/>
          </a:xfrm>
          <a:prstGeom prst="rect">
            <a:avLst/>
          </a:prstGeom>
        </p:spPr>
      </p:pic>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ster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8925155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261171051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37789657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70748995"/>
      </p:ext>
    </p:extLst>
  </p:cSld>
  <p:clrMapOvr>
    <a:masterClrMapping/>
  </p:clrMapOvr>
  <p:hf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4_Title, subtitle &amp; 1 column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526076-639C-4E76-A028-7B2E2A8C077B}"/>
              </a:ext>
            </a:extLst>
          </p:cNvPr>
          <p:cNvGraphicFramePr>
            <a:graphicFrameLocks noChangeAspect="1"/>
          </p:cNvGraphicFramePr>
          <p:nvPr userDrawn="1">
            <p:custDataLst>
              <p:tags r:id="rId1"/>
            </p:custDataLst>
            <p:extLst>
              <p:ext uri="{D42A27DB-BD31-4B8C-83A1-F6EECF244321}">
                <p14:modId xmlns:p14="http://schemas.microsoft.com/office/powerpoint/2010/main" val="1887902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09526076-639C-4E76-A028-7B2E2A8C07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rtl="0">
              <a:buNone/>
              <a:defRPr sz="1800" b="0">
                <a:solidFill>
                  <a:srgbClr val="575757"/>
                </a:solidFill>
              </a:defRPr>
            </a:lvl1pPr>
          </a:lstStyle>
          <a:p>
            <a:pPr lvl="0"/>
            <a:r>
              <a:rPr lang="de-DE"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rtl="0">
              <a:defRPr sz="2100"/>
            </a:lvl1pPr>
          </a:lstStyle>
          <a:p>
            <a:r>
              <a:rPr lang="de-DE"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lvl1pPr rtl="0">
              <a:defRPr/>
            </a:lvl1pPr>
            <a:lvl2pPr rtl="0">
              <a:defRPr/>
            </a:lvl2pPr>
            <a:lvl3pPr rtl="0">
              <a:defRPr/>
            </a:lvl3pPr>
            <a:lvl4pPr rtl="0">
              <a:defRPr/>
            </a:lvl4pPr>
            <a:lvl5pPr rtl="0">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Tree>
    <p:extLst>
      <p:ext uri="{BB962C8B-B14F-4D97-AF65-F5344CB8AC3E}">
        <p14:creationId xmlns:p14="http://schemas.microsoft.com/office/powerpoint/2010/main" val="2209452800"/>
      </p:ext>
    </p:extLst>
  </p:cSld>
  <p:clrMapOvr>
    <a:masterClrMapping/>
  </p:clrMapOvr>
  <p:transition>
    <p:fade/>
  </p:transition>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490776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grpSp>
        <p:nvGrpSpPr>
          <p:cNvPr id="7" name="Group 6">
            <a:extLst>
              <a:ext uri="{FF2B5EF4-FFF2-40B4-BE49-F238E27FC236}">
                <a16:creationId xmlns:a16="http://schemas.microsoft.com/office/drawing/2014/main" id="{DDE5657C-A3D9-E070-1E77-982FC476372E}"/>
              </a:ext>
            </a:extLst>
          </p:cNvPr>
          <p:cNvGrpSpPr/>
          <p:nvPr userDrawn="1"/>
        </p:nvGrpSpPr>
        <p:grpSpPr>
          <a:xfrm>
            <a:off x="0" y="-10886"/>
            <a:ext cx="12192001" cy="514539"/>
            <a:chOff x="0" y="-122663"/>
            <a:chExt cx="12192001" cy="514539"/>
          </a:xfrm>
        </p:grpSpPr>
        <p:pic>
          <p:nvPicPr>
            <p:cNvPr id="8" name="Picture 7">
              <a:extLst>
                <a:ext uri="{FF2B5EF4-FFF2-40B4-BE49-F238E27FC236}">
                  <a16:creationId xmlns:a16="http://schemas.microsoft.com/office/drawing/2014/main" id="{1D4BAFAB-C41D-5A55-5D8F-009054454089}"/>
                </a:ext>
              </a:extLst>
            </p:cNvPr>
            <p:cNvPicPr>
              <a:picLocks noChangeAspect="1"/>
            </p:cNvPicPr>
            <p:nvPr/>
          </p:nvPicPr>
          <p:blipFill rotWithShape="1">
            <a:blip r:embed="rId2"/>
            <a:srcRect t="65846" r="24242" b="24086"/>
            <a:stretch/>
          </p:blipFill>
          <p:spPr>
            <a:xfrm>
              <a:off x="0" y="-122663"/>
              <a:ext cx="12192000" cy="333501"/>
            </a:xfrm>
            <a:prstGeom prst="rect">
              <a:avLst/>
            </a:prstGeom>
          </p:spPr>
        </p:pic>
        <p:pic>
          <p:nvPicPr>
            <p:cNvPr id="9" name="Picture 8">
              <a:extLst>
                <a:ext uri="{FF2B5EF4-FFF2-40B4-BE49-F238E27FC236}">
                  <a16:creationId xmlns:a16="http://schemas.microsoft.com/office/drawing/2014/main" id="{B6C83757-929E-4D4E-7707-7E57F1613FE4}"/>
                </a:ext>
              </a:extLst>
            </p:cNvPr>
            <p:cNvPicPr>
              <a:picLocks noChangeAspect="1"/>
            </p:cNvPicPr>
            <p:nvPr/>
          </p:nvPicPr>
          <p:blipFill rotWithShape="1">
            <a:blip r:embed="rId3"/>
            <a:srcRect r="51551" b="44433"/>
            <a:stretch/>
          </p:blipFill>
          <p:spPr>
            <a:xfrm>
              <a:off x="7938663" y="161520"/>
              <a:ext cx="4253338" cy="230356"/>
            </a:xfrm>
            <a:prstGeom prst="rect">
              <a:avLst/>
            </a:prstGeom>
          </p:spPr>
        </p:pic>
      </p:grpSp>
    </p:spTree>
    <p:extLst>
      <p:ext uri="{BB962C8B-B14F-4D97-AF65-F5344CB8AC3E}">
        <p14:creationId xmlns:p14="http://schemas.microsoft.com/office/powerpoint/2010/main" val="2376205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2_Title &amp; 1 column tex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04800" y="266700"/>
            <a:ext cx="11560810" cy="334017"/>
          </a:xfrm>
          <a:prstGeom prst="rect">
            <a:avLst/>
          </a:prstGeom>
        </p:spPr>
        <p:txBody>
          <a:bodyPr vert="horz" lIns="0" tIns="0" rIns="0" bIns="0" rtlCol="0" anchor="t" anchorCtr="0">
            <a:noAutofit/>
          </a:bodyPr>
          <a:lstStyle>
            <a:lvl1pPr>
              <a:defRPr sz="180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17" name="TextBox 16"/>
          <p:cNvSpPr txBox="1"/>
          <p:nvPr userDrawn="1"/>
        </p:nvSpPr>
        <p:spPr>
          <a:xfrm>
            <a:off x="304801" y="6577028"/>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tx1"/>
                </a:solidFill>
              </a:rPr>
              <a:t>©2018 Deloitte Touche Tohmatsu India LLP. All Rights Reserved</a:t>
            </a:r>
          </a:p>
        </p:txBody>
      </p:sp>
      <p:sp>
        <p:nvSpPr>
          <p:cNvPr id="18" name="TextBox 17"/>
          <p:cNvSpPr txBox="1"/>
          <p:nvPr userDrawn="1"/>
        </p:nvSpPr>
        <p:spPr>
          <a:xfrm>
            <a:off x="11568113" y="6577028"/>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80166627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3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950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95049"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grpSp>
        <p:nvGrpSpPr>
          <p:cNvPr id="40" name="Group 39">
            <a:extLst>
              <a:ext uri="{FF2B5EF4-FFF2-40B4-BE49-F238E27FC236}">
                <a16:creationId xmlns:a16="http://schemas.microsoft.com/office/drawing/2014/main" id="{60501DD3-6732-541E-3F5C-46AE8674A56E}"/>
              </a:ext>
            </a:extLst>
          </p:cNvPr>
          <p:cNvGrpSpPr/>
          <p:nvPr userDrawn="1"/>
        </p:nvGrpSpPr>
        <p:grpSpPr>
          <a:xfrm>
            <a:off x="285369" y="-1124738"/>
            <a:ext cx="10527010" cy="9276365"/>
            <a:chOff x="285369" y="-1285262"/>
            <a:chExt cx="10217643" cy="9003752"/>
          </a:xfrm>
        </p:grpSpPr>
        <p:grpSp>
          <p:nvGrpSpPr>
            <p:cNvPr id="41" name="Graphic 54">
              <a:extLst>
                <a:ext uri="{FF2B5EF4-FFF2-40B4-BE49-F238E27FC236}">
                  <a16:creationId xmlns:a16="http://schemas.microsoft.com/office/drawing/2014/main" id="{12BF9017-3F7C-8553-738D-C7735D496F5F}"/>
                </a:ext>
              </a:extLst>
            </p:cNvPr>
            <p:cNvGrpSpPr/>
            <p:nvPr userDrawn="1"/>
          </p:nvGrpSpPr>
          <p:grpSpPr>
            <a:xfrm rot="18502019">
              <a:off x="4417316" y="1632794"/>
              <a:ext cx="9003752" cy="3167640"/>
              <a:chOff x="5740451" y="3322980"/>
              <a:chExt cx="4920411" cy="1841895"/>
            </a:xfrm>
            <a:noFill/>
          </p:grpSpPr>
          <p:sp>
            <p:nvSpPr>
              <p:cNvPr id="57" name="Freeform: Shape 56">
                <a:extLst>
                  <a:ext uri="{FF2B5EF4-FFF2-40B4-BE49-F238E27FC236}">
                    <a16:creationId xmlns:a16="http://schemas.microsoft.com/office/drawing/2014/main" id="{7A4A81C2-6784-8BFF-8A5F-009B65853429}"/>
                  </a:ext>
                </a:extLst>
              </p:cNvPr>
              <p:cNvSpPr/>
              <p:nvPr/>
            </p:nvSpPr>
            <p:spPr>
              <a:xfrm>
                <a:off x="5749247" y="3322980"/>
                <a:ext cx="4911614" cy="942337"/>
              </a:xfrm>
              <a:custGeom>
                <a:avLst/>
                <a:gdLst>
                  <a:gd name="connsiteX0" fmla="*/ 4911615 w 4911614"/>
                  <a:gd name="connsiteY0" fmla="*/ 942337 h 942337"/>
                  <a:gd name="connsiteX1" fmla="*/ 4564235 w 4911614"/>
                  <a:gd name="connsiteY1" fmla="*/ 391417 h 942337"/>
                  <a:gd name="connsiteX2" fmla="*/ 3863286 w 4911614"/>
                  <a:gd name="connsiteY2" fmla="*/ 34833 h 942337"/>
                  <a:gd name="connsiteX3" fmla="*/ 2042250 w 4911614"/>
                  <a:gd name="connsiteY3" fmla="*/ 200500 h 942337"/>
                  <a:gd name="connsiteX4" fmla="*/ 1097036 w 4911614"/>
                  <a:gd name="connsiteY4" fmla="*/ 271931 h 942337"/>
                  <a:gd name="connsiteX5" fmla="*/ 0 w 4911614"/>
                  <a:gd name="connsiteY5" fmla="*/ 610514 h 94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11614" h="942337">
                    <a:moveTo>
                      <a:pt x="4911615" y="942337"/>
                    </a:moveTo>
                    <a:cubicBezTo>
                      <a:pt x="4909742" y="940708"/>
                      <a:pt x="4849632" y="713792"/>
                      <a:pt x="4564235" y="391417"/>
                    </a:cubicBezTo>
                    <a:cubicBezTo>
                      <a:pt x="4187941" y="-33665"/>
                      <a:pt x="4016735" y="-36434"/>
                      <a:pt x="3863286" y="34833"/>
                    </a:cubicBezTo>
                    <a:cubicBezTo>
                      <a:pt x="3381597" y="258655"/>
                      <a:pt x="3758786" y="1568517"/>
                      <a:pt x="2042250" y="200500"/>
                    </a:cubicBezTo>
                    <a:cubicBezTo>
                      <a:pt x="1715152" y="-60136"/>
                      <a:pt x="1365165" y="82562"/>
                      <a:pt x="1097036" y="271931"/>
                    </a:cubicBezTo>
                    <a:cubicBezTo>
                      <a:pt x="626668" y="603999"/>
                      <a:pt x="263813" y="856409"/>
                      <a:pt x="0" y="610514"/>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968A266D-3BF4-1FF1-2803-200601932E1F}"/>
                  </a:ext>
                </a:extLst>
              </p:cNvPr>
              <p:cNvSpPr/>
              <p:nvPr/>
            </p:nvSpPr>
            <p:spPr>
              <a:xfrm>
                <a:off x="5748596" y="3394018"/>
                <a:ext cx="4911614" cy="903226"/>
              </a:xfrm>
              <a:custGeom>
                <a:avLst/>
                <a:gdLst>
                  <a:gd name="connsiteX0" fmla="*/ 4911615 w 4911614"/>
                  <a:gd name="connsiteY0" fmla="*/ 903227 h 903226"/>
                  <a:gd name="connsiteX1" fmla="*/ 4560896 w 4911614"/>
                  <a:gd name="connsiteY1" fmla="*/ 362732 h 903226"/>
                  <a:gd name="connsiteX2" fmla="*/ 3857666 w 4911614"/>
                  <a:gd name="connsiteY2" fmla="*/ 39787 h 903226"/>
                  <a:gd name="connsiteX3" fmla="*/ 3779475 w 4911614"/>
                  <a:gd name="connsiteY3" fmla="*/ 90855 h 903226"/>
                  <a:gd name="connsiteX4" fmla="*/ 2519867 w 4911614"/>
                  <a:gd name="connsiteY4" fmla="*/ 582970 h 903226"/>
                  <a:gd name="connsiteX5" fmla="*/ 2028648 w 4911614"/>
                  <a:gd name="connsiteY5" fmla="*/ 249680 h 903226"/>
                  <a:gd name="connsiteX6" fmla="*/ 1095488 w 4911614"/>
                  <a:gd name="connsiteY6" fmla="*/ 279002 h 903226"/>
                  <a:gd name="connsiteX7" fmla="*/ 945133 w 4911614"/>
                  <a:gd name="connsiteY7" fmla="*/ 370958 h 903226"/>
                  <a:gd name="connsiteX8" fmla="*/ 0 w 4911614"/>
                  <a:gd name="connsiteY8" fmla="*/ 573277 h 90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614" h="903226">
                    <a:moveTo>
                      <a:pt x="4911615" y="903227"/>
                    </a:moveTo>
                    <a:cubicBezTo>
                      <a:pt x="4905343" y="889055"/>
                      <a:pt x="4838718" y="667269"/>
                      <a:pt x="4560896" y="362732"/>
                    </a:cubicBezTo>
                    <a:cubicBezTo>
                      <a:pt x="4197959" y="-35146"/>
                      <a:pt x="4021704" y="-38079"/>
                      <a:pt x="3857666" y="39787"/>
                    </a:cubicBezTo>
                    <a:cubicBezTo>
                      <a:pt x="3828996" y="53389"/>
                      <a:pt x="3803095" y="70574"/>
                      <a:pt x="3779475" y="90855"/>
                    </a:cubicBezTo>
                    <a:cubicBezTo>
                      <a:pt x="3447082" y="374542"/>
                      <a:pt x="3565671" y="1197909"/>
                      <a:pt x="2519867" y="582970"/>
                    </a:cubicBezTo>
                    <a:cubicBezTo>
                      <a:pt x="2375295" y="497937"/>
                      <a:pt x="2211664" y="390832"/>
                      <a:pt x="2028648" y="249680"/>
                    </a:cubicBezTo>
                    <a:cubicBezTo>
                      <a:pt x="1705052" y="610"/>
                      <a:pt x="1364921" y="114883"/>
                      <a:pt x="1095488" y="279002"/>
                    </a:cubicBezTo>
                    <a:cubicBezTo>
                      <a:pt x="1044175" y="310278"/>
                      <a:pt x="993840" y="340741"/>
                      <a:pt x="945133" y="370958"/>
                    </a:cubicBezTo>
                    <a:cubicBezTo>
                      <a:pt x="556378" y="612210"/>
                      <a:pt x="248093" y="774782"/>
                      <a:pt x="0" y="573277"/>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27EAEFA8-D975-0418-B591-B08FA51FCDCD}"/>
                  </a:ext>
                </a:extLst>
              </p:cNvPr>
              <p:cNvSpPr/>
              <p:nvPr/>
            </p:nvSpPr>
            <p:spPr>
              <a:xfrm>
                <a:off x="5747944" y="3464733"/>
                <a:ext cx="4911614" cy="864440"/>
              </a:xfrm>
              <a:custGeom>
                <a:avLst/>
                <a:gdLst>
                  <a:gd name="connsiteX0" fmla="*/ 4911615 w 4911614"/>
                  <a:gd name="connsiteY0" fmla="*/ 864440 h 864440"/>
                  <a:gd name="connsiteX1" fmla="*/ 4557475 w 4911614"/>
                  <a:gd name="connsiteY1" fmla="*/ 334371 h 864440"/>
                  <a:gd name="connsiteX2" fmla="*/ 3851883 w 4911614"/>
                  <a:gd name="connsiteY2" fmla="*/ 45064 h 864440"/>
                  <a:gd name="connsiteX3" fmla="*/ 3773855 w 4911614"/>
                  <a:gd name="connsiteY3" fmla="*/ 95644 h 864440"/>
                  <a:gd name="connsiteX4" fmla="*/ 2509930 w 4911614"/>
                  <a:gd name="connsiteY4" fmla="*/ 610890 h 864440"/>
                  <a:gd name="connsiteX5" fmla="*/ 2014965 w 4911614"/>
                  <a:gd name="connsiteY5" fmla="*/ 299103 h 864440"/>
                  <a:gd name="connsiteX6" fmla="*/ 1093859 w 4911614"/>
                  <a:gd name="connsiteY6" fmla="*/ 286397 h 864440"/>
                  <a:gd name="connsiteX7" fmla="*/ 943830 w 4911614"/>
                  <a:gd name="connsiteY7" fmla="*/ 364751 h 864440"/>
                  <a:gd name="connsiteX8" fmla="*/ 0 w 4911614"/>
                  <a:gd name="connsiteY8" fmla="*/ 536364 h 86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614" h="864440">
                    <a:moveTo>
                      <a:pt x="4911615" y="864440"/>
                    </a:moveTo>
                    <a:cubicBezTo>
                      <a:pt x="4900864" y="837643"/>
                      <a:pt x="4827804" y="621071"/>
                      <a:pt x="4557475" y="334371"/>
                    </a:cubicBezTo>
                    <a:cubicBezTo>
                      <a:pt x="4207896" y="-36385"/>
                      <a:pt x="4026672" y="-39480"/>
                      <a:pt x="3851883" y="45064"/>
                    </a:cubicBezTo>
                    <a:cubicBezTo>
                      <a:pt x="3823538" y="58747"/>
                      <a:pt x="3797719" y="75770"/>
                      <a:pt x="3773855" y="95644"/>
                    </a:cubicBezTo>
                    <a:cubicBezTo>
                      <a:pt x="3433072" y="380226"/>
                      <a:pt x="3518594" y="1151792"/>
                      <a:pt x="2509930" y="610890"/>
                    </a:cubicBezTo>
                    <a:cubicBezTo>
                      <a:pt x="2360879" y="530988"/>
                      <a:pt x="2195130" y="433331"/>
                      <a:pt x="2014965" y="299103"/>
                    </a:cubicBezTo>
                    <a:cubicBezTo>
                      <a:pt x="1694871" y="61598"/>
                      <a:pt x="1364921" y="147364"/>
                      <a:pt x="1093859" y="286397"/>
                    </a:cubicBezTo>
                    <a:cubicBezTo>
                      <a:pt x="1042791" y="312624"/>
                      <a:pt x="992374" y="338117"/>
                      <a:pt x="943830" y="364751"/>
                    </a:cubicBezTo>
                    <a:cubicBezTo>
                      <a:pt x="565256" y="571713"/>
                      <a:pt x="261288" y="720601"/>
                      <a:pt x="0" y="536364"/>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26775BFF-4BAF-F3D2-6989-6343F19FF2EA}"/>
                  </a:ext>
                </a:extLst>
              </p:cNvPr>
              <p:cNvSpPr/>
              <p:nvPr/>
            </p:nvSpPr>
            <p:spPr>
              <a:xfrm>
                <a:off x="5747293" y="3535109"/>
                <a:ext cx="4911533" cy="825992"/>
              </a:xfrm>
              <a:custGeom>
                <a:avLst/>
                <a:gdLst>
                  <a:gd name="connsiteX0" fmla="*/ 4911533 w 4911533"/>
                  <a:gd name="connsiteY0" fmla="*/ 825992 h 825992"/>
                  <a:gd name="connsiteX1" fmla="*/ 4554054 w 4911533"/>
                  <a:gd name="connsiteY1" fmla="*/ 306348 h 825992"/>
                  <a:gd name="connsiteX2" fmla="*/ 3846181 w 4911533"/>
                  <a:gd name="connsiteY2" fmla="*/ 50680 h 825992"/>
                  <a:gd name="connsiteX3" fmla="*/ 3768316 w 4911533"/>
                  <a:gd name="connsiteY3" fmla="*/ 100853 h 825992"/>
                  <a:gd name="connsiteX4" fmla="*/ 2500075 w 4911533"/>
                  <a:gd name="connsiteY4" fmla="*/ 639149 h 825992"/>
                  <a:gd name="connsiteX5" fmla="*/ 2001363 w 4911533"/>
                  <a:gd name="connsiteY5" fmla="*/ 348864 h 825992"/>
                  <a:gd name="connsiteX6" fmla="*/ 1092312 w 4911533"/>
                  <a:gd name="connsiteY6" fmla="*/ 294049 h 825992"/>
                  <a:gd name="connsiteX7" fmla="*/ 942527 w 4911533"/>
                  <a:gd name="connsiteY7" fmla="*/ 358720 h 825992"/>
                  <a:gd name="connsiteX8" fmla="*/ 0 w 4911533"/>
                  <a:gd name="connsiteY8" fmla="*/ 499708 h 8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825992">
                    <a:moveTo>
                      <a:pt x="4911533" y="825992"/>
                    </a:moveTo>
                    <a:cubicBezTo>
                      <a:pt x="4896302" y="786652"/>
                      <a:pt x="4816890" y="575211"/>
                      <a:pt x="4554054" y="306348"/>
                    </a:cubicBezTo>
                    <a:cubicBezTo>
                      <a:pt x="4217996" y="-37366"/>
                      <a:pt x="4031559" y="-40624"/>
                      <a:pt x="3846181" y="50680"/>
                    </a:cubicBezTo>
                    <a:cubicBezTo>
                      <a:pt x="3818163" y="64445"/>
                      <a:pt x="3792343" y="81305"/>
                      <a:pt x="3768316" y="100853"/>
                    </a:cubicBezTo>
                    <a:cubicBezTo>
                      <a:pt x="3418737" y="385842"/>
                      <a:pt x="3468340" y="1109516"/>
                      <a:pt x="2500075" y="639149"/>
                    </a:cubicBezTo>
                    <a:cubicBezTo>
                      <a:pt x="2346136" y="564379"/>
                      <a:pt x="2178759" y="476169"/>
                      <a:pt x="2001363" y="348864"/>
                    </a:cubicBezTo>
                    <a:cubicBezTo>
                      <a:pt x="1684771" y="123007"/>
                      <a:pt x="1365410" y="180265"/>
                      <a:pt x="1092312" y="294049"/>
                    </a:cubicBezTo>
                    <a:cubicBezTo>
                      <a:pt x="1041569" y="315226"/>
                      <a:pt x="991152" y="335833"/>
                      <a:pt x="942527" y="358720"/>
                    </a:cubicBezTo>
                    <a:cubicBezTo>
                      <a:pt x="575029" y="531962"/>
                      <a:pt x="274401" y="666515"/>
                      <a:pt x="0" y="499708"/>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B6AF5F2C-5FC5-B192-6544-6284B68509B3}"/>
                  </a:ext>
                </a:extLst>
              </p:cNvPr>
              <p:cNvSpPr/>
              <p:nvPr/>
            </p:nvSpPr>
            <p:spPr>
              <a:xfrm>
                <a:off x="5746641" y="3605147"/>
                <a:ext cx="4911532" cy="792536"/>
              </a:xfrm>
              <a:custGeom>
                <a:avLst/>
                <a:gdLst>
                  <a:gd name="connsiteX0" fmla="*/ 4911533 w 4911532"/>
                  <a:gd name="connsiteY0" fmla="*/ 787963 h 792536"/>
                  <a:gd name="connsiteX1" fmla="*/ 4550633 w 4911532"/>
                  <a:gd name="connsiteY1" fmla="*/ 278663 h 792536"/>
                  <a:gd name="connsiteX2" fmla="*/ 3840398 w 4911532"/>
                  <a:gd name="connsiteY2" fmla="*/ 56633 h 792536"/>
                  <a:gd name="connsiteX3" fmla="*/ 3762778 w 4911532"/>
                  <a:gd name="connsiteY3" fmla="*/ 106399 h 792536"/>
                  <a:gd name="connsiteX4" fmla="*/ 2490138 w 4911532"/>
                  <a:gd name="connsiteY4" fmla="*/ 667826 h 792536"/>
                  <a:gd name="connsiteX5" fmla="*/ 1987680 w 4911532"/>
                  <a:gd name="connsiteY5" fmla="*/ 399045 h 792536"/>
                  <a:gd name="connsiteX6" fmla="*/ 1090683 w 4911532"/>
                  <a:gd name="connsiteY6" fmla="*/ 302202 h 792536"/>
                  <a:gd name="connsiteX7" fmla="*/ 941224 w 4911532"/>
                  <a:gd name="connsiteY7" fmla="*/ 353189 h 792536"/>
                  <a:gd name="connsiteX8" fmla="*/ 0 w 4911532"/>
                  <a:gd name="connsiteY8" fmla="*/ 463471 h 792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2" h="792536">
                    <a:moveTo>
                      <a:pt x="4911533" y="787963"/>
                    </a:moveTo>
                    <a:cubicBezTo>
                      <a:pt x="4891904" y="735999"/>
                      <a:pt x="4806138" y="529689"/>
                      <a:pt x="4550633" y="278663"/>
                    </a:cubicBezTo>
                    <a:cubicBezTo>
                      <a:pt x="4228259" y="-38010"/>
                      <a:pt x="4036446" y="-41512"/>
                      <a:pt x="3840398" y="56633"/>
                    </a:cubicBezTo>
                    <a:cubicBezTo>
                      <a:pt x="3812706" y="70480"/>
                      <a:pt x="3786886" y="87177"/>
                      <a:pt x="3762778" y="106399"/>
                    </a:cubicBezTo>
                    <a:cubicBezTo>
                      <a:pt x="3404321" y="391714"/>
                      <a:pt x="3414991" y="1071162"/>
                      <a:pt x="2490138" y="667826"/>
                    </a:cubicBezTo>
                    <a:cubicBezTo>
                      <a:pt x="2330987" y="598432"/>
                      <a:pt x="2162306" y="519508"/>
                      <a:pt x="1987680" y="399045"/>
                    </a:cubicBezTo>
                    <a:cubicBezTo>
                      <a:pt x="1674590" y="184753"/>
                      <a:pt x="1366306" y="213830"/>
                      <a:pt x="1090683" y="302202"/>
                    </a:cubicBezTo>
                    <a:cubicBezTo>
                      <a:pt x="1040266" y="318329"/>
                      <a:pt x="989930" y="333967"/>
                      <a:pt x="941224" y="353189"/>
                    </a:cubicBezTo>
                    <a:cubicBezTo>
                      <a:pt x="585781" y="493281"/>
                      <a:pt x="287596" y="612930"/>
                      <a:pt x="0" y="463471"/>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FA59A2D4-875A-4749-95AC-6BC4F9E97F25}"/>
                  </a:ext>
                </a:extLst>
              </p:cNvPr>
              <p:cNvSpPr/>
              <p:nvPr/>
            </p:nvSpPr>
            <p:spPr>
              <a:xfrm>
                <a:off x="5746152" y="3674845"/>
                <a:ext cx="4911370" cy="794067"/>
              </a:xfrm>
              <a:custGeom>
                <a:avLst/>
                <a:gdLst>
                  <a:gd name="connsiteX0" fmla="*/ 4911371 w 4911370"/>
                  <a:gd name="connsiteY0" fmla="*/ 750193 h 794067"/>
                  <a:gd name="connsiteX1" fmla="*/ 4547131 w 4911370"/>
                  <a:gd name="connsiteY1" fmla="*/ 251319 h 794067"/>
                  <a:gd name="connsiteX2" fmla="*/ 3834616 w 4911370"/>
                  <a:gd name="connsiteY2" fmla="*/ 62927 h 794067"/>
                  <a:gd name="connsiteX3" fmla="*/ 3757158 w 4911370"/>
                  <a:gd name="connsiteY3" fmla="*/ 112285 h 794067"/>
                  <a:gd name="connsiteX4" fmla="*/ 2480201 w 4911370"/>
                  <a:gd name="connsiteY4" fmla="*/ 696763 h 794067"/>
                  <a:gd name="connsiteX5" fmla="*/ 1973996 w 4911370"/>
                  <a:gd name="connsiteY5" fmla="*/ 449484 h 794067"/>
                  <a:gd name="connsiteX6" fmla="*/ 1089054 w 4911370"/>
                  <a:gd name="connsiteY6" fmla="*/ 310532 h 794067"/>
                  <a:gd name="connsiteX7" fmla="*/ 939839 w 4911370"/>
                  <a:gd name="connsiteY7" fmla="*/ 347917 h 794067"/>
                  <a:gd name="connsiteX8" fmla="*/ 0 w 4911370"/>
                  <a:gd name="connsiteY8" fmla="*/ 427574 h 79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370" h="794067">
                    <a:moveTo>
                      <a:pt x="4911371" y="750193"/>
                    </a:moveTo>
                    <a:cubicBezTo>
                      <a:pt x="4887262" y="685686"/>
                      <a:pt x="4795387" y="484426"/>
                      <a:pt x="4547131" y="251319"/>
                    </a:cubicBezTo>
                    <a:cubicBezTo>
                      <a:pt x="4238521" y="-38395"/>
                      <a:pt x="4041170" y="-42060"/>
                      <a:pt x="3834616" y="62927"/>
                    </a:cubicBezTo>
                    <a:cubicBezTo>
                      <a:pt x="3807249" y="76855"/>
                      <a:pt x="3781511" y="93389"/>
                      <a:pt x="3757158" y="112285"/>
                    </a:cubicBezTo>
                    <a:cubicBezTo>
                      <a:pt x="3389823" y="397845"/>
                      <a:pt x="3358954" y="1037057"/>
                      <a:pt x="2480201" y="696763"/>
                    </a:cubicBezTo>
                    <a:cubicBezTo>
                      <a:pt x="2315430" y="632989"/>
                      <a:pt x="2146098" y="562698"/>
                      <a:pt x="1973996" y="449484"/>
                    </a:cubicBezTo>
                    <a:cubicBezTo>
                      <a:pt x="1664898" y="246106"/>
                      <a:pt x="1367528" y="247979"/>
                      <a:pt x="1089054" y="310532"/>
                    </a:cubicBezTo>
                    <a:cubicBezTo>
                      <a:pt x="1039125" y="321772"/>
                      <a:pt x="988871" y="332442"/>
                      <a:pt x="939839" y="347917"/>
                    </a:cubicBezTo>
                    <a:cubicBezTo>
                      <a:pt x="597428" y="455837"/>
                      <a:pt x="300628" y="559603"/>
                      <a:pt x="0" y="427574"/>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A5C15B00-97DA-5F0A-4723-696BB109A1CC}"/>
                  </a:ext>
                </a:extLst>
              </p:cNvPr>
              <p:cNvSpPr/>
              <p:nvPr/>
            </p:nvSpPr>
            <p:spPr>
              <a:xfrm>
                <a:off x="5745256" y="3744081"/>
                <a:ext cx="4911533" cy="799106"/>
              </a:xfrm>
              <a:custGeom>
                <a:avLst/>
                <a:gdLst>
                  <a:gd name="connsiteX0" fmla="*/ 4911533 w 4911533"/>
                  <a:gd name="connsiteY0" fmla="*/ 712886 h 799106"/>
                  <a:gd name="connsiteX1" fmla="*/ 4543873 w 4911533"/>
                  <a:gd name="connsiteY1" fmla="*/ 224437 h 799106"/>
                  <a:gd name="connsiteX2" fmla="*/ 3828995 w 4911533"/>
                  <a:gd name="connsiteY2" fmla="*/ 69684 h 799106"/>
                  <a:gd name="connsiteX3" fmla="*/ 3751701 w 4911533"/>
                  <a:gd name="connsiteY3" fmla="*/ 118635 h 799106"/>
                  <a:gd name="connsiteX4" fmla="*/ 2470346 w 4911533"/>
                  <a:gd name="connsiteY4" fmla="*/ 726243 h 799106"/>
                  <a:gd name="connsiteX5" fmla="*/ 1960394 w 4911533"/>
                  <a:gd name="connsiteY5" fmla="*/ 500467 h 799106"/>
                  <a:gd name="connsiteX6" fmla="*/ 1087506 w 4911533"/>
                  <a:gd name="connsiteY6" fmla="*/ 319488 h 799106"/>
                  <a:gd name="connsiteX7" fmla="*/ 938536 w 4911533"/>
                  <a:gd name="connsiteY7" fmla="*/ 343189 h 799106"/>
                  <a:gd name="connsiteX8" fmla="*/ 0 w 4911533"/>
                  <a:gd name="connsiteY8" fmla="*/ 392221 h 799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799106">
                    <a:moveTo>
                      <a:pt x="4911533" y="712886"/>
                    </a:moveTo>
                    <a:cubicBezTo>
                      <a:pt x="4883026" y="635754"/>
                      <a:pt x="4784962" y="439544"/>
                      <a:pt x="4543873" y="224437"/>
                    </a:cubicBezTo>
                    <a:cubicBezTo>
                      <a:pt x="4249191" y="-38481"/>
                      <a:pt x="4046138" y="-42309"/>
                      <a:pt x="3828995" y="69684"/>
                    </a:cubicBezTo>
                    <a:cubicBezTo>
                      <a:pt x="3801873" y="83612"/>
                      <a:pt x="3776217" y="99983"/>
                      <a:pt x="3751701" y="118635"/>
                    </a:cubicBezTo>
                    <a:cubicBezTo>
                      <a:pt x="3375325" y="404357"/>
                      <a:pt x="3300636" y="1007324"/>
                      <a:pt x="2470346" y="726243"/>
                    </a:cubicBezTo>
                    <a:cubicBezTo>
                      <a:pt x="2299548" y="668415"/>
                      <a:pt x="2129645" y="606758"/>
                      <a:pt x="1960394" y="500467"/>
                    </a:cubicBezTo>
                    <a:cubicBezTo>
                      <a:pt x="1654798" y="308655"/>
                      <a:pt x="1369075" y="283080"/>
                      <a:pt x="1087506" y="319488"/>
                    </a:cubicBezTo>
                    <a:cubicBezTo>
                      <a:pt x="1038067" y="325841"/>
                      <a:pt x="988057" y="331623"/>
                      <a:pt x="938536" y="343189"/>
                    </a:cubicBezTo>
                    <a:cubicBezTo>
                      <a:pt x="610052" y="420077"/>
                      <a:pt x="313823" y="506820"/>
                      <a:pt x="0" y="392221"/>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23053D0A-C27A-0B23-A9B7-802D371026D2}"/>
                  </a:ext>
                </a:extLst>
              </p:cNvPr>
              <p:cNvSpPr/>
              <p:nvPr/>
            </p:nvSpPr>
            <p:spPr>
              <a:xfrm>
                <a:off x="5744605" y="3812910"/>
                <a:ext cx="4911532" cy="807741"/>
              </a:xfrm>
              <a:custGeom>
                <a:avLst/>
                <a:gdLst>
                  <a:gd name="connsiteX0" fmla="*/ 4911533 w 4911532"/>
                  <a:gd name="connsiteY0" fmla="*/ 675984 h 807741"/>
                  <a:gd name="connsiteX1" fmla="*/ 4540533 w 4911532"/>
                  <a:gd name="connsiteY1" fmla="*/ 197960 h 807741"/>
                  <a:gd name="connsiteX2" fmla="*/ 3823294 w 4911532"/>
                  <a:gd name="connsiteY2" fmla="*/ 76846 h 807741"/>
                  <a:gd name="connsiteX3" fmla="*/ 3746162 w 4911532"/>
                  <a:gd name="connsiteY3" fmla="*/ 125389 h 807741"/>
                  <a:gd name="connsiteX4" fmla="*/ 2460491 w 4911532"/>
                  <a:gd name="connsiteY4" fmla="*/ 756129 h 807741"/>
                  <a:gd name="connsiteX5" fmla="*/ 1946711 w 4911532"/>
                  <a:gd name="connsiteY5" fmla="*/ 551856 h 807741"/>
                  <a:gd name="connsiteX6" fmla="*/ 1085877 w 4911532"/>
                  <a:gd name="connsiteY6" fmla="*/ 328767 h 807741"/>
                  <a:gd name="connsiteX7" fmla="*/ 937233 w 4911532"/>
                  <a:gd name="connsiteY7" fmla="*/ 338785 h 807741"/>
                  <a:gd name="connsiteX8" fmla="*/ 0 w 4911532"/>
                  <a:gd name="connsiteY8" fmla="*/ 357193 h 807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2" h="807741">
                    <a:moveTo>
                      <a:pt x="4911533" y="675984"/>
                    </a:moveTo>
                    <a:cubicBezTo>
                      <a:pt x="4878546" y="586309"/>
                      <a:pt x="4774536" y="394985"/>
                      <a:pt x="4540533" y="197960"/>
                    </a:cubicBezTo>
                    <a:cubicBezTo>
                      <a:pt x="4259942" y="-38242"/>
                      <a:pt x="4050944" y="-42151"/>
                      <a:pt x="3823294" y="76846"/>
                    </a:cubicBezTo>
                    <a:cubicBezTo>
                      <a:pt x="3796498" y="90855"/>
                      <a:pt x="3770841" y="107063"/>
                      <a:pt x="3746162" y="125389"/>
                    </a:cubicBezTo>
                    <a:cubicBezTo>
                      <a:pt x="3360827" y="411275"/>
                      <a:pt x="3240446" y="981825"/>
                      <a:pt x="2460491" y="756129"/>
                    </a:cubicBezTo>
                    <a:cubicBezTo>
                      <a:pt x="2283421" y="704898"/>
                      <a:pt x="2113274" y="651224"/>
                      <a:pt x="1946711" y="551856"/>
                    </a:cubicBezTo>
                    <a:cubicBezTo>
                      <a:pt x="1644617" y="371609"/>
                      <a:pt x="1370704" y="319238"/>
                      <a:pt x="1085877" y="328767"/>
                    </a:cubicBezTo>
                    <a:cubicBezTo>
                      <a:pt x="1036926" y="330396"/>
                      <a:pt x="987161" y="331292"/>
                      <a:pt x="937233" y="338785"/>
                    </a:cubicBezTo>
                    <a:cubicBezTo>
                      <a:pt x="623329" y="386026"/>
                      <a:pt x="326936" y="454361"/>
                      <a:pt x="0" y="357193"/>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FA0CED75-0C09-92FE-A455-45F0F41725B1}"/>
                  </a:ext>
                </a:extLst>
              </p:cNvPr>
              <p:cNvSpPr/>
              <p:nvPr/>
            </p:nvSpPr>
            <p:spPr>
              <a:xfrm>
                <a:off x="5743953" y="3881196"/>
                <a:ext cx="4911533" cy="820267"/>
              </a:xfrm>
              <a:custGeom>
                <a:avLst/>
                <a:gdLst>
                  <a:gd name="connsiteX0" fmla="*/ 4911534 w 4911533"/>
                  <a:gd name="connsiteY0" fmla="*/ 639627 h 820267"/>
                  <a:gd name="connsiteX1" fmla="*/ 4537113 w 4911533"/>
                  <a:gd name="connsiteY1" fmla="*/ 172028 h 820267"/>
                  <a:gd name="connsiteX2" fmla="*/ 3817593 w 4911533"/>
                  <a:gd name="connsiteY2" fmla="*/ 84552 h 820267"/>
                  <a:gd name="connsiteX3" fmla="*/ 3740624 w 4911533"/>
                  <a:gd name="connsiteY3" fmla="*/ 132688 h 820267"/>
                  <a:gd name="connsiteX4" fmla="*/ 2450635 w 4911533"/>
                  <a:gd name="connsiteY4" fmla="*/ 786479 h 820267"/>
                  <a:gd name="connsiteX5" fmla="*/ 1933109 w 4911533"/>
                  <a:gd name="connsiteY5" fmla="*/ 603708 h 820267"/>
                  <a:gd name="connsiteX6" fmla="*/ 1084330 w 4911533"/>
                  <a:gd name="connsiteY6" fmla="*/ 338592 h 820267"/>
                  <a:gd name="connsiteX7" fmla="*/ 935930 w 4911533"/>
                  <a:gd name="connsiteY7" fmla="*/ 335008 h 820267"/>
                  <a:gd name="connsiteX8" fmla="*/ 0 w 4911533"/>
                  <a:gd name="connsiteY8" fmla="*/ 322709 h 8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820267">
                    <a:moveTo>
                      <a:pt x="4911534" y="639627"/>
                    </a:moveTo>
                    <a:cubicBezTo>
                      <a:pt x="4874067" y="537327"/>
                      <a:pt x="4764274" y="350809"/>
                      <a:pt x="4537113" y="172028"/>
                    </a:cubicBezTo>
                    <a:cubicBezTo>
                      <a:pt x="4270774" y="-37621"/>
                      <a:pt x="4055668" y="-41612"/>
                      <a:pt x="3817593" y="84552"/>
                    </a:cubicBezTo>
                    <a:cubicBezTo>
                      <a:pt x="3791122" y="98561"/>
                      <a:pt x="3765465" y="114607"/>
                      <a:pt x="3740624" y="132688"/>
                    </a:cubicBezTo>
                    <a:cubicBezTo>
                      <a:pt x="3346166" y="418574"/>
                      <a:pt x="3178952" y="960698"/>
                      <a:pt x="2450635" y="786479"/>
                    </a:cubicBezTo>
                    <a:cubicBezTo>
                      <a:pt x="2266968" y="742578"/>
                      <a:pt x="2096821" y="696152"/>
                      <a:pt x="1933109" y="603708"/>
                    </a:cubicBezTo>
                    <a:cubicBezTo>
                      <a:pt x="1634517" y="435027"/>
                      <a:pt x="1372414" y="356347"/>
                      <a:pt x="1084330" y="338592"/>
                    </a:cubicBezTo>
                    <a:cubicBezTo>
                      <a:pt x="1035949" y="335578"/>
                      <a:pt x="986428" y="331750"/>
                      <a:pt x="935930" y="335008"/>
                    </a:cubicBezTo>
                    <a:cubicBezTo>
                      <a:pt x="637012" y="354148"/>
                      <a:pt x="340131" y="402529"/>
                      <a:pt x="0" y="322709"/>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D71D50BC-FFCD-DC85-CEB9-AFB06BDD3E19}"/>
                  </a:ext>
                </a:extLst>
              </p:cNvPr>
              <p:cNvSpPr/>
              <p:nvPr/>
            </p:nvSpPr>
            <p:spPr>
              <a:xfrm>
                <a:off x="5743220" y="3949027"/>
                <a:ext cx="4911533" cy="836983"/>
              </a:xfrm>
              <a:custGeom>
                <a:avLst/>
                <a:gdLst>
                  <a:gd name="connsiteX0" fmla="*/ 4911533 w 4911533"/>
                  <a:gd name="connsiteY0" fmla="*/ 603805 h 836983"/>
                  <a:gd name="connsiteX1" fmla="*/ 4533773 w 4911533"/>
                  <a:gd name="connsiteY1" fmla="*/ 146632 h 836983"/>
                  <a:gd name="connsiteX2" fmla="*/ 3811891 w 4911533"/>
                  <a:gd name="connsiteY2" fmla="*/ 92795 h 836983"/>
                  <a:gd name="connsiteX3" fmla="*/ 3735085 w 4911533"/>
                  <a:gd name="connsiteY3" fmla="*/ 140524 h 836983"/>
                  <a:gd name="connsiteX4" fmla="*/ 2440699 w 4911533"/>
                  <a:gd name="connsiteY4" fmla="*/ 817446 h 836983"/>
                  <a:gd name="connsiteX5" fmla="*/ 1919425 w 4911533"/>
                  <a:gd name="connsiteY5" fmla="*/ 656177 h 836983"/>
                  <a:gd name="connsiteX6" fmla="*/ 1082701 w 4911533"/>
                  <a:gd name="connsiteY6" fmla="*/ 348952 h 836983"/>
                  <a:gd name="connsiteX7" fmla="*/ 934626 w 4911533"/>
                  <a:gd name="connsiteY7" fmla="*/ 331684 h 836983"/>
                  <a:gd name="connsiteX8" fmla="*/ 0 w 4911533"/>
                  <a:gd name="connsiteY8" fmla="*/ 288761 h 83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836983">
                    <a:moveTo>
                      <a:pt x="4911533" y="603805"/>
                    </a:moveTo>
                    <a:cubicBezTo>
                      <a:pt x="4869668" y="488962"/>
                      <a:pt x="4754174" y="307005"/>
                      <a:pt x="4533773" y="146632"/>
                    </a:cubicBezTo>
                    <a:cubicBezTo>
                      <a:pt x="4281852" y="-36628"/>
                      <a:pt x="4060392" y="-40537"/>
                      <a:pt x="3811891" y="92795"/>
                    </a:cubicBezTo>
                    <a:cubicBezTo>
                      <a:pt x="3785665" y="106885"/>
                      <a:pt x="3760090" y="122768"/>
                      <a:pt x="3735085" y="140524"/>
                    </a:cubicBezTo>
                    <a:cubicBezTo>
                      <a:pt x="3331506" y="426410"/>
                      <a:pt x="3116643" y="943854"/>
                      <a:pt x="2440699" y="817446"/>
                    </a:cubicBezTo>
                    <a:cubicBezTo>
                      <a:pt x="2250271" y="781853"/>
                      <a:pt x="2080369" y="741780"/>
                      <a:pt x="1919425" y="656177"/>
                    </a:cubicBezTo>
                    <a:cubicBezTo>
                      <a:pt x="1624255" y="499143"/>
                      <a:pt x="1373881" y="394726"/>
                      <a:pt x="1082701" y="348952"/>
                    </a:cubicBezTo>
                    <a:cubicBezTo>
                      <a:pt x="1034809" y="341458"/>
                      <a:pt x="985695" y="332987"/>
                      <a:pt x="934626" y="331684"/>
                    </a:cubicBezTo>
                    <a:cubicBezTo>
                      <a:pt x="650695" y="324272"/>
                      <a:pt x="353244" y="351151"/>
                      <a:pt x="0" y="288761"/>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45F50C0-DFCF-0F5B-B6AF-5C4245DB8E29}"/>
                  </a:ext>
                </a:extLst>
              </p:cNvPr>
              <p:cNvSpPr/>
              <p:nvPr/>
            </p:nvSpPr>
            <p:spPr>
              <a:xfrm>
                <a:off x="5742569" y="4016039"/>
                <a:ext cx="4911532" cy="858179"/>
              </a:xfrm>
              <a:custGeom>
                <a:avLst/>
                <a:gdLst>
                  <a:gd name="connsiteX0" fmla="*/ 4911533 w 4911532"/>
                  <a:gd name="connsiteY0" fmla="*/ 568721 h 858179"/>
                  <a:gd name="connsiteX1" fmla="*/ 4530352 w 4911532"/>
                  <a:gd name="connsiteY1" fmla="*/ 121974 h 858179"/>
                  <a:gd name="connsiteX2" fmla="*/ 3806190 w 4911532"/>
                  <a:gd name="connsiteY2" fmla="*/ 101774 h 858179"/>
                  <a:gd name="connsiteX3" fmla="*/ 3729547 w 4911532"/>
                  <a:gd name="connsiteY3" fmla="*/ 149096 h 858179"/>
                  <a:gd name="connsiteX4" fmla="*/ 2430843 w 4911532"/>
                  <a:gd name="connsiteY4" fmla="*/ 849150 h 858179"/>
                  <a:gd name="connsiteX5" fmla="*/ 1905823 w 4911532"/>
                  <a:gd name="connsiteY5" fmla="*/ 709383 h 858179"/>
                  <a:gd name="connsiteX6" fmla="*/ 1081153 w 4911532"/>
                  <a:gd name="connsiteY6" fmla="*/ 360049 h 858179"/>
                  <a:gd name="connsiteX7" fmla="*/ 933323 w 4911532"/>
                  <a:gd name="connsiteY7" fmla="*/ 329180 h 858179"/>
                  <a:gd name="connsiteX8" fmla="*/ 0 w 4911532"/>
                  <a:gd name="connsiteY8" fmla="*/ 255632 h 85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2" h="858179">
                    <a:moveTo>
                      <a:pt x="4911533" y="568721"/>
                    </a:moveTo>
                    <a:cubicBezTo>
                      <a:pt x="4865189" y="441253"/>
                      <a:pt x="4744237" y="263695"/>
                      <a:pt x="4530352" y="121974"/>
                    </a:cubicBezTo>
                    <a:cubicBezTo>
                      <a:pt x="4293173" y="-35304"/>
                      <a:pt x="4065034" y="-38807"/>
                      <a:pt x="3806190" y="101774"/>
                    </a:cubicBezTo>
                    <a:cubicBezTo>
                      <a:pt x="3780289" y="115865"/>
                      <a:pt x="3754796" y="131585"/>
                      <a:pt x="3729547" y="149096"/>
                    </a:cubicBezTo>
                    <a:cubicBezTo>
                      <a:pt x="3316763" y="434982"/>
                      <a:pt x="3054335" y="931169"/>
                      <a:pt x="2430843" y="849150"/>
                    </a:cubicBezTo>
                    <a:cubicBezTo>
                      <a:pt x="2233574" y="823168"/>
                      <a:pt x="2063916" y="788145"/>
                      <a:pt x="1905823" y="709383"/>
                    </a:cubicBezTo>
                    <a:cubicBezTo>
                      <a:pt x="1614073" y="564079"/>
                      <a:pt x="1375102" y="434412"/>
                      <a:pt x="1081153" y="360049"/>
                    </a:cubicBezTo>
                    <a:cubicBezTo>
                      <a:pt x="1033668" y="348076"/>
                      <a:pt x="984880" y="335370"/>
                      <a:pt x="933323" y="329180"/>
                    </a:cubicBezTo>
                    <a:cubicBezTo>
                      <a:pt x="663890" y="296763"/>
                      <a:pt x="366439" y="300591"/>
                      <a:pt x="0" y="255632"/>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BBEE81B1-8DA9-B873-436B-CEAA9E7512EB}"/>
                  </a:ext>
                </a:extLst>
              </p:cNvPr>
              <p:cNvSpPr/>
              <p:nvPr/>
            </p:nvSpPr>
            <p:spPr>
              <a:xfrm>
                <a:off x="5741917" y="4082142"/>
                <a:ext cx="4911533" cy="883983"/>
              </a:xfrm>
              <a:custGeom>
                <a:avLst/>
                <a:gdLst>
                  <a:gd name="connsiteX0" fmla="*/ 4911534 w 4911533"/>
                  <a:gd name="connsiteY0" fmla="*/ 534546 h 883983"/>
                  <a:gd name="connsiteX1" fmla="*/ 4527013 w 4911533"/>
                  <a:gd name="connsiteY1" fmla="*/ 98143 h 883983"/>
                  <a:gd name="connsiteX2" fmla="*/ 3800488 w 4911533"/>
                  <a:gd name="connsiteY2" fmla="*/ 111582 h 883983"/>
                  <a:gd name="connsiteX3" fmla="*/ 3724008 w 4911533"/>
                  <a:gd name="connsiteY3" fmla="*/ 158415 h 883983"/>
                  <a:gd name="connsiteX4" fmla="*/ 2420907 w 4911533"/>
                  <a:gd name="connsiteY4" fmla="*/ 881519 h 883983"/>
                  <a:gd name="connsiteX5" fmla="*/ 1892140 w 4911533"/>
                  <a:gd name="connsiteY5" fmla="*/ 763255 h 883983"/>
                  <a:gd name="connsiteX6" fmla="*/ 1079524 w 4911533"/>
                  <a:gd name="connsiteY6" fmla="*/ 371893 h 883983"/>
                  <a:gd name="connsiteX7" fmla="*/ 932020 w 4911533"/>
                  <a:gd name="connsiteY7" fmla="*/ 327340 h 883983"/>
                  <a:gd name="connsiteX8" fmla="*/ 0 w 4911533"/>
                  <a:gd name="connsiteY8" fmla="*/ 223086 h 883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883983">
                    <a:moveTo>
                      <a:pt x="4911534" y="534546"/>
                    </a:moveTo>
                    <a:cubicBezTo>
                      <a:pt x="4860709" y="394454"/>
                      <a:pt x="4734463" y="220968"/>
                      <a:pt x="4527013" y="98143"/>
                    </a:cubicBezTo>
                    <a:cubicBezTo>
                      <a:pt x="4304658" y="-33479"/>
                      <a:pt x="4069677" y="-36329"/>
                      <a:pt x="3800488" y="111582"/>
                    </a:cubicBezTo>
                    <a:cubicBezTo>
                      <a:pt x="3774832" y="125673"/>
                      <a:pt x="3749338" y="141230"/>
                      <a:pt x="3724008" y="158415"/>
                    </a:cubicBezTo>
                    <a:cubicBezTo>
                      <a:pt x="3301451" y="443242"/>
                      <a:pt x="2992678" y="922488"/>
                      <a:pt x="2420907" y="881519"/>
                    </a:cubicBezTo>
                    <a:cubicBezTo>
                      <a:pt x="2216795" y="866858"/>
                      <a:pt x="2047300" y="835419"/>
                      <a:pt x="1892140" y="763255"/>
                    </a:cubicBezTo>
                    <a:cubicBezTo>
                      <a:pt x="1603567" y="630167"/>
                      <a:pt x="1375754" y="475089"/>
                      <a:pt x="1079524" y="371893"/>
                    </a:cubicBezTo>
                    <a:cubicBezTo>
                      <a:pt x="1032447" y="355522"/>
                      <a:pt x="983822" y="338743"/>
                      <a:pt x="932020" y="327340"/>
                    </a:cubicBezTo>
                    <a:cubicBezTo>
                      <a:pt x="676189" y="271059"/>
                      <a:pt x="379552" y="250696"/>
                      <a:pt x="0" y="223086"/>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EDEF5902-FD51-5E97-593A-C4B33DFE6AE1}"/>
                  </a:ext>
                </a:extLst>
              </p:cNvPr>
              <p:cNvSpPr/>
              <p:nvPr/>
            </p:nvSpPr>
            <p:spPr>
              <a:xfrm>
                <a:off x="5741265" y="4147111"/>
                <a:ext cx="4911533" cy="915277"/>
              </a:xfrm>
              <a:custGeom>
                <a:avLst/>
                <a:gdLst>
                  <a:gd name="connsiteX0" fmla="*/ 4911533 w 4911533"/>
                  <a:gd name="connsiteY0" fmla="*/ 501505 h 915277"/>
                  <a:gd name="connsiteX1" fmla="*/ 4523592 w 4911533"/>
                  <a:gd name="connsiteY1" fmla="*/ 75527 h 915277"/>
                  <a:gd name="connsiteX2" fmla="*/ 3794787 w 4911533"/>
                  <a:gd name="connsiteY2" fmla="*/ 122605 h 915277"/>
                  <a:gd name="connsiteX3" fmla="*/ 3718469 w 4911533"/>
                  <a:gd name="connsiteY3" fmla="*/ 169031 h 915277"/>
                  <a:gd name="connsiteX4" fmla="*/ 2411051 w 4911533"/>
                  <a:gd name="connsiteY4" fmla="*/ 915266 h 915277"/>
                  <a:gd name="connsiteX5" fmla="*/ 1878538 w 4911533"/>
                  <a:gd name="connsiteY5" fmla="*/ 818504 h 915277"/>
                  <a:gd name="connsiteX6" fmla="*/ 1077977 w 4911533"/>
                  <a:gd name="connsiteY6" fmla="*/ 385033 h 915277"/>
                  <a:gd name="connsiteX7" fmla="*/ 930717 w 4911533"/>
                  <a:gd name="connsiteY7" fmla="*/ 326797 h 915277"/>
                  <a:gd name="connsiteX8" fmla="*/ 0 w 4911533"/>
                  <a:gd name="connsiteY8" fmla="*/ 191918 h 91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915277">
                    <a:moveTo>
                      <a:pt x="4911533" y="501505"/>
                    </a:moveTo>
                    <a:cubicBezTo>
                      <a:pt x="4856311" y="348870"/>
                      <a:pt x="4724934" y="178886"/>
                      <a:pt x="4523592" y="75527"/>
                    </a:cubicBezTo>
                    <a:cubicBezTo>
                      <a:pt x="4316305" y="-30845"/>
                      <a:pt x="4073913" y="-33289"/>
                      <a:pt x="3794787" y="122605"/>
                    </a:cubicBezTo>
                    <a:cubicBezTo>
                      <a:pt x="3769375" y="136696"/>
                      <a:pt x="3743963" y="152171"/>
                      <a:pt x="3718469" y="169031"/>
                    </a:cubicBezTo>
                    <a:cubicBezTo>
                      <a:pt x="3286872" y="454020"/>
                      <a:pt x="2932895" y="918035"/>
                      <a:pt x="2411051" y="915266"/>
                    </a:cubicBezTo>
                    <a:cubicBezTo>
                      <a:pt x="2200506" y="914126"/>
                      <a:pt x="2030848" y="883826"/>
                      <a:pt x="1878538" y="818504"/>
                    </a:cubicBezTo>
                    <a:cubicBezTo>
                      <a:pt x="1593467" y="696983"/>
                      <a:pt x="1376080" y="517469"/>
                      <a:pt x="1077977" y="385033"/>
                    </a:cubicBezTo>
                    <a:cubicBezTo>
                      <a:pt x="1031225" y="364264"/>
                      <a:pt x="982600" y="343739"/>
                      <a:pt x="930717" y="326797"/>
                    </a:cubicBezTo>
                    <a:cubicBezTo>
                      <a:pt x="687185" y="247466"/>
                      <a:pt x="392665" y="202099"/>
                      <a:pt x="0" y="191918"/>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58B04280-DCD5-50E6-E60C-4013762095E5}"/>
                  </a:ext>
                </a:extLst>
              </p:cNvPr>
              <p:cNvSpPr/>
              <p:nvPr/>
            </p:nvSpPr>
            <p:spPr>
              <a:xfrm>
                <a:off x="5740451" y="4211079"/>
                <a:ext cx="4911614" cy="953796"/>
              </a:xfrm>
              <a:custGeom>
                <a:avLst/>
                <a:gdLst>
                  <a:gd name="connsiteX0" fmla="*/ 4911615 w 4911614"/>
                  <a:gd name="connsiteY0" fmla="*/ 469465 h 953796"/>
                  <a:gd name="connsiteX1" fmla="*/ 3713012 w 4911614"/>
                  <a:gd name="connsiteY1" fmla="*/ 180729 h 953796"/>
                  <a:gd name="connsiteX2" fmla="*/ 2401196 w 4911614"/>
                  <a:gd name="connsiteY2" fmla="*/ 950095 h 953796"/>
                  <a:gd name="connsiteX3" fmla="*/ 929414 w 4911614"/>
                  <a:gd name="connsiteY3" fmla="*/ 327418 h 953796"/>
                  <a:gd name="connsiteX4" fmla="*/ 0 w 4911614"/>
                  <a:gd name="connsiteY4" fmla="*/ 161914 h 953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1614" h="953796">
                    <a:moveTo>
                      <a:pt x="4911615" y="469465"/>
                    </a:moveTo>
                    <a:cubicBezTo>
                      <a:pt x="4788057" y="127542"/>
                      <a:pt x="4336422" y="-222688"/>
                      <a:pt x="3713012" y="180729"/>
                    </a:cubicBezTo>
                    <a:cubicBezTo>
                      <a:pt x="3272455" y="465800"/>
                      <a:pt x="2876043" y="917027"/>
                      <a:pt x="2401196" y="950095"/>
                    </a:cubicBezTo>
                    <a:cubicBezTo>
                      <a:pt x="1714663" y="997824"/>
                      <a:pt x="1489538" y="572661"/>
                      <a:pt x="929414" y="327418"/>
                    </a:cubicBezTo>
                    <a:cubicBezTo>
                      <a:pt x="696551" y="225526"/>
                      <a:pt x="405860" y="154665"/>
                      <a:pt x="0" y="161914"/>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grpSp>
        <p:grpSp>
          <p:nvGrpSpPr>
            <p:cNvPr id="42" name="Graphic 54">
              <a:extLst>
                <a:ext uri="{FF2B5EF4-FFF2-40B4-BE49-F238E27FC236}">
                  <a16:creationId xmlns:a16="http://schemas.microsoft.com/office/drawing/2014/main" id="{C3475A6F-AAA0-6157-29C1-D3DB95264F65}"/>
                </a:ext>
              </a:extLst>
            </p:cNvPr>
            <p:cNvGrpSpPr/>
            <p:nvPr userDrawn="1"/>
          </p:nvGrpSpPr>
          <p:grpSpPr>
            <a:xfrm rot="3306497">
              <a:off x="-1902376" y="2809767"/>
              <a:ext cx="6993376" cy="2617885"/>
              <a:chOff x="5740451" y="3322980"/>
              <a:chExt cx="4920411" cy="1841895"/>
            </a:xfrm>
            <a:noFill/>
          </p:grpSpPr>
          <p:sp>
            <p:nvSpPr>
              <p:cNvPr id="43" name="Freeform: Shape 42">
                <a:extLst>
                  <a:ext uri="{FF2B5EF4-FFF2-40B4-BE49-F238E27FC236}">
                    <a16:creationId xmlns:a16="http://schemas.microsoft.com/office/drawing/2014/main" id="{EB2BD424-9C9A-2A67-EB29-3D9D1B9D0D01}"/>
                  </a:ext>
                </a:extLst>
              </p:cNvPr>
              <p:cNvSpPr/>
              <p:nvPr/>
            </p:nvSpPr>
            <p:spPr>
              <a:xfrm>
                <a:off x="5749247" y="3322980"/>
                <a:ext cx="4911614" cy="942337"/>
              </a:xfrm>
              <a:custGeom>
                <a:avLst/>
                <a:gdLst>
                  <a:gd name="connsiteX0" fmla="*/ 4911615 w 4911614"/>
                  <a:gd name="connsiteY0" fmla="*/ 942337 h 942337"/>
                  <a:gd name="connsiteX1" fmla="*/ 4564235 w 4911614"/>
                  <a:gd name="connsiteY1" fmla="*/ 391417 h 942337"/>
                  <a:gd name="connsiteX2" fmla="*/ 3863286 w 4911614"/>
                  <a:gd name="connsiteY2" fmla="*/ 34833 h 942337"/>
                  <a:gd name="connsiteX3" fmla="*/ 2042250 w 4911614"/>
                  <a:gd name="connsiteY3" fmla="*/ 200500 h 942337"/>
                  <a:gd name="connsiteX4" fmla="*/ 1097036 w 4911614"/>
                  <a:gd name="connsiteY4" fmla="*/ 271931 h 942337"/>
                  <a:gd name="connsiteX5" fmla="*/ 0 w 4911614"/>
                  <a:gd name="connsiteY5" fmla="*/ 610514 h 94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11614" h="942337">
                    <a:moveTo>
                      <a:pt x="4911615" y="942337"/>
                    </a:moveTo>
                    <a:cubicBezTo>
                      <a:pt x="4909742" y="940708"/>
                      <a:pt x="4849632" y="713792"/>
                      <a:pt x="4564235" y="391417"/>
                    </a:cubicBezTo>
                    <a:cubicBezTo>
                      <a:pt x="4187941" y="-33665"/>
                      <a:pt x="4016735" y="-36434"/>
                      <a:pt x="3863286" y="34833"/>
                    </a:cubicBezTo>
                    <a:cubicBezTo>
                      <a:pt x="3381597" y="258655"/>
                      <a:pt x="3758786" y="1568517"/>
                      <a:pt x="2042250" y="200500"/>
                    </a:cubicBezTo>
                    <a:cubicBezTo>
                      <a:pt x="1715152" y="-60136"/>
                      <a:pt x="1365165" y="82562"/>
                      <a:pt x="1097036" y="271931"/>
                    </a:cubicBezTo>
                    <a:cubicBezTo>
                      <a:pt x="626668" y="603999"/>
                      <a:pt x="263813" y="856409"/>
                      <a:pt x="0" y="610514"/>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FBF1B74A-C135-258E-6547-B7CA4BF23093}"/>
                  </a:ext>
                </a:extLst>
              </p:cNvPr>
              <p:cNvSpPr/>
              <p:nvPr/>
            </p:nvSpPr>
            <p:spPr>
              <a:xfrm>
                <a:off x="5748596" y="3394018"/>
                <a:ext cx="4911614" cy="903226"/>
              </a:xfrm>
              <a:custGeom>
                <a:avLst/>
                <a:gdLst>
                  <a:gd name="connsiteX0" fmla="*/ 4911615 w 4911614"/>
                  <a:gd name="connsiteY0" fmla="*/ 903227 h 903226"/>
                  <a:gd name="connsiteX1" fmla="*/ 4560896 w 4911614"/>
                  <a:gd name="connsiteY1" fmla="*/ 362732 h 903226"/>
                  <a:gd name="connsiteX2" fmla="*/ 3857666 w 4911614"/>
                  <a:gd name="connsiteY2" fmla="*/ 39787 h 903226"/>
                  <a:gd name="connsiteX3" fmla="*/ 3779475 w 4911614"/>
                  <a:gd name="connsiteY3" fmla="*/ 90855 h 903226"/>
                  <a:gd name="connsiteX4" fmla="*/ 2519867 w 4911614"/>
                  <a:gd name="connsiteY4" fmla="*/ 582970 h 903226"/>
                  <a:gd name="connsiteX5" fmla="*/ 2028648 w 4911614"/>
                  <a:gd name="connsiteY5" fmla="*/ 249680 h 903226"/>
                  <a:gd name="connsiteX6" fmla="*/ 1095488 w 4911614"/>
                  <a:gd name="connsiteY6" fmla="*/ 279002 h 903226"/>
                  <a:gd name="connsiteX7" fmla="*/ 945133 w 4911614"/>
                  <a:gd name="connsiteY7" fmla="*/ 370958 h 903226"/>
                  <a:gd name="connsiteX8" fmla="*/ 0 w 4911614"/>
                  <a:gd name="connsiteY8" fmla="*/ 573277 h 90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614" h="903226">
                    <a:moveTo>
                      <a:pt x="4911615" y="903227"/>
                    </a:moveTo>
                    <a:cubicBezTo>
                      <a:pt x="4905343" y="889055"/>
                      <a:pt x="4838718" y="667269"/>
                      <a:pt x="4560896" y="362732"/>
                    </a:cubicBezTo>
                    <a:cubicBezTo>
                      <a:pt x="4197959" y="-35146"/>
                      <a:pt x="4021704" y="-38079"/>
                      <a:pt x="3857666" y="39787"/>
                    </a:cubicBezTo>
                    <a:cubicBezTo>
                      <a:pt x="3828996" y="53389"/>
                      <a:pt x="3803095" y="70574"/>
                      <a:pt x="3779475" y="90855"/>
                    </a:cubicBezTo>
                    <a:cubicBezTo>
                      <a:pt x="3447082" y="374542"/>
                      <a:pt x="3565671" y="1197909"/>
                      <a:pt x="2519867" y="582970"/>
                    </a:cubicBezTo>
                    <a:cubicBezTo>
                      <a:pt x="2375295" y="497937"/>
                      <a:pt x="2211664" y="390832"/>
                      <a:pt x="2028648" y="249680"/>
                    </a:cubicBezTo>
                    <a:cubicBezTo>
                      <a:pt x="1705052" y="610"/>
                      <a:pt x="1364921" y="114883"/>
                      <a:pt x="1095488" y="279002"/>
                    </a:cubicBezTo>
                    <a:cubicBezTo>
                      <a:pt x="1044175" y="310278"/>
                      <a:pt x="993840" y="340741"/>
                      <a:pt x="945133" y="370958"/>
                    </a:cubicBezTo>
                    <a:cubicBezTo>
                      <a:pt x="556378" y="612210"/>
                      <a:pt x="248093" y="774782"/>
                      <a:pt x="0" y="573277"/>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043FEB7B-45DF-72DF-3DC1-161DFDEDEB51}"/>
                  </a:ext>
                </a:extLst>
              </p:cNvPr>
              <p:cNvSpPr/>
              <p:nvPr/>
            </p:nvSpPr>
            <p:spPr>
              <a:xfrm>
                <a:off x="5747944" y="3464733"/>
                <a:ext cx="4911614" cy="864440"/>
              </a:xfrm>
              <a:custGeom>
                <a:avLst/>
                <a:gdLst>
                  <a:gd name="connsiteX0" fmla="*/ 4911615 w 4911614"/>
                  <a:gd name="connsiteY0" fmla="*/ 864440 h 864440"/>
                  <a:gd name="connsiteX1" fmla="*/ 4557475 w 4911614"/>
                  <a:gd name="connsiteY1" fmla="*/ 334371 h 864440"/>
                  <a:gd name="connsiteX2" fmla="*/ 3851883 w 4911614"/>
                  <a:gd name="connsiteY2" fmla="*/ 45064 h 864440"/>
                  <a:gd name="connsiteX3" fmla="*/ 3773855 w 4911614"/>
                  <a:gd name="connsiteY3" fmla="*/ 95644 h 864440"/>
                  <a:gd name="connsiteX4" fmla="*/ 2509930 w 4911614"/>
                  <a:gd name="connsiteY4" fmla="*/ 610890 h 864440"/>
                  <a:gd name="connsiteX5" fmla="*/ 2014965 w 4911614"/>
                  <a:gd name="connsiteY5" fmla="*/ 299103 h 864440"/>
                  <a:gd name="connsiteX6" fmla="*/ 1093859 w 4911614"/>
                  <a:gd name="connsiteY6" fmla="*/ 286397 h 864440"/>
                  <a:gd name="connsiteX7" fmla="*/ 943830 w 4911614"/>
                  <a:gd name="connsiteY7" fmla="*/ 364751 h 864440"/>
                  <a:gd name="connsiteX8" fmla="*/ 0 w 4911614"/>
                  <a:gd name="connsiteY8" fmla="*/ 536364 h 86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614" h="864440">
                    <a:moveTo>
                      <a:pt x="4911615" y="864440"/>
                    </a:moveTo>
                    <a:cubicBezTo>
                      <a:pt x="4900864" y="837643"/>
                      <a:pt x="4827804" y="621071"/>
                      <a:pt x="4557475" y="334371"/>
                    </a:cubicBezTo>
                    <a:cubicBezTo>
                      <a:pt x="4207896" y="-36385"/>
                      <a:pt x="4026672" y="-39480"/>
                      <a:pt x="3851883" y="45064"/>
                    </a:cubicBezTo>
                    <a:cubicBezTo>
                      <a:pt x="3823538" y="58747"/>
                      <a:pt x="3797719" y="75770"/>
                      <a:pt x="3773855" y="95644"/>
                    </a:cubicBezTo>
                    <a:cubicBezTo>
                      <a:pt x="3433072" y="380226"/>
                      <a:pt x="3518594" y="1151792"/>
                      <a:pt x="2509930" y="610890"/>
                    </a:cubicBezTo>
                    <a:cubicBezTo>
                      <a:pt x="2360879" y="530988"/>
                      <a:pt x="2195130" y="433331"/>
                      <a:pt x="2014965" y="299103"/>
                    </a:cubicBezTo>
                    <a:cubicBezTo>
                      <a:pt x="1694871" y="61598"/>
                      <a:pt x="1364921" y="147364"/>
                      <a:pt x="1093859" y="286397"/>
                    </a:cubicBezTo>
                    <a:cubicBezTo>
                      <a:pt x="1042791" y="312624"/>
                      <a:pt x="992374" y="338117"/>
                      <a:pt x="943830" y="364751"/>
                    </a:cubicBezTo>
                    <a:cubicBezTo>
                      <a:pt x="565256" y="571713"/>
                      <a:pt x="261288" y="720601"/>
                      <a:pt x="0" y="536364"/>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4628CB1D-C3FB-7648-92BA-6031C371734C}"/>
                  </a:ext>
                </a:extLst>
              </p:cNvPr>
              <p:cNvSpPr/>
              <p:nvPr/>
            </p:nvSpPr>
            <p:spPr>
              <a:xfrm>
                <a:off x="5747293" y="3535109"/>
                <a:ext cx="4911533" cy="825992"/>
              </a:xfrm>
              <a:custGeom>
                <a:avLst/>
                <a:gdLst>
                  <a:gd name="connsiteX0" fmla="*/ 4911533 w 4911533"/>
                  <a:gd name="connsiteY0" fmla="*/ 825992 h 825992"/>
                  <a:gd name="connsiteX1" fmla="*/ 4554054 w 4911533"/>
                  <a:gd name="connsiteY1" fmla="*/ 306348 h 825992"/>
                  <a:gd name="connsiteX2" fmla="*/ 3846181 w 4911533"/>
                  <a:gd name="connsiteY2" fmla="*/ 50680 h 825992"/>
                  <a:gd name="connsiteX3" fmla="*/ 3768316 w 4911533"/>
                  <a:gd name="connsiteY3" fmla="*/ 100853 h 825992"/>
                  <a:gd name="connsiteX4" fmla="*/ 2500075 w 4911533"/>
                  <a:gd name="connsiteY4" fmla="*/ 639149 h 825992"/>
                  <a:gd name="connsiteX5" fmla="*/ 2001363 w 4911533"/>
                  <a:gd name="connsiteY5" fmla="*/ 348864 h 825992"/>
                  <a:gd name="connsiteX6" fmla="*/ 1092312 w 4911533"/>
                  <a:gd name="connsiteY6" fmla="*/ 294049 h 825992"/>
                  <a:gd name="connsiteX7" fmla="*/ 942527 w 4911533"/>
                  <a:gd name="connsiteY7" fmla="*/ 358720 h 825992"/>
                  <a:gd name="connsiteX8" fmla="*/ 0 w 4911533"/>
                  <a:gd name="connsiteY8" fmla="*/ 499708 h 8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825992">
                    <a:moveTo>
                      <a:pt x="4911533" y="825992"/>
                    </a:moveTo>
                    <a:cubicBezTo>
                      <a:pt x="4896302" y="786652"/>
                      <a:pt x="4816890" y="575211"/>
                      <a:pt x="4554054" y="306348"/>
                    </a:cubicBezTo>
                    <a:cubicBezTo>
                      <a:pt x="4217996" y="-37366"/>
                      <a:pt x="4031559" y="-40624"/>
                      <a:pt x="3846181" y="50680"/>
                    </a:cubicBezTo>
                    <a:cubicBezTo>
                      <a:pt x="3818163" y="64445"/>
                      <a:pt x="3792343" y="81305"/>
                      <a:pt x="3768316" y="100853"/>
                    </a:cubicBezTo>
                    <a:cubicBezTo>
                      <a:pt x="3418737" y="385842"/>
                      <a:pt x="3468340" y="1109516"/>
                      <a:pt x="2500075" y="639149"/>
                    </a:cubicBezTo>
                    <a:cubicBezTo>
                      <a:pt x="2346136" y="564379"/>
                      <a:pt x="2178759" y="476169"/>
                      <a:pt x="2001363" y="348864"/>
                    </a:cubicBezTo>
                    <a:cubicBezTo>
                      <a:pt x="1684771" y="123007"/>
                      <a:pt x="1365410" y="180265"/>
                      <a:pt x="1092312" y="294049"/>
                    </a:cubicBezTo>
                    <a:cubicBezTo>
                      <a:pt x="1041569" y="315226"/>
                      <a:pt x="991152" y="335833"/>
                      <a:pt x="942527" y="358720"/>
                    </a:cubicBezTo>
                    <a:cubicBezTo>
                      <a:pt x="575029" y="531962"/>
                      <a:pt x="274401" y="666515"/>
                      <a:pt x="0" y="499708"/>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CBC3AA95-A234-F079-6AC8-8CC3A3219CC8}"/>
                  </a:ext>
                </a:extLst>
              </p:cNvPr>
              <p:cNvSpPr/>
              <p:nvPr/>
            </p:nvSpPr>
            <p:spPr>
              <a:xfrm>
                <a:off x="5746641" y="3605147"/>
                <a:ext cx="4911532" cy="792536"/>
              </a:xfrm>
              <a:custGeom>
                <a:avLst/>
                <a:gdLst>
                  <a:gd name="connsiteX0" fmla="*/ 4911533 w 4911532"/>
                  <a:gd name="connsiteY0" fmla="*/ 787963 h 792536"/>
                  <a:gd name="connsiteX1" fmla="*/ 4550633 w 4911532"/>
                  <a:gd name="connsiteY1" fmla="*/ 278663 h 792536"/>
                  <a:gd name="connsiteX2" fmla="*/ 3840398 w 4911532"/>
                  <a:gd name="connsiteY2" fmla="*/ 56633 h 792536"/>
                  <a:gd name="connsiteX3" fmla="*/ 3762778 w 4911532"/>
                  <a:gd name="connsiteY3" fmla="*/ 106399 h 792536"/>
                  <a:gd name="connsiteX4" fmla="*/ 2490138 w 4911532"/>
                  <a:gd name="connsiteY4" fmla="*/ 667826 h 792536"/>
                  <a:gd name="connsiteX5" fmla="*/ 1987680 w 4911532"/>
                  <a:gd name="connsiteY5" fmla="*/ 399045 h 792536"/>
                  <a:gd name="connsiteX6" fmla="*/ 1090683 w 4911532"/>
                  <a:gd name="connsiteY6" fmla="*/ 302202 h 792536"/>
                  <a:gd name="connsiteX7" fmla="*/ 941224 w 4911532"/>
                  <a:gd name="connsiteY7" fmla="*/ 353189 h 792536"/>
                  <a:gd name="connsiteX8" fmla="*/ 0 w 4911532"/>
                  <a:gd name="connsiteY8" fmla="*/ 463471 h 792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2" h="792536">
                    <a:moveTo>
                      <a:pt x="4911533" y="787963"/>
                    </a:moveTo>
                    <a:cubicBezTo>
                      <a:pt x="4891904" y="735999"/>
                      <a:pt x="4806138" y="529689"/>
                      <a:pt x="4550633" y="278663"/>
                    </a:cubicBezTo>
                    <a:cubicBezTo>
                      <a:pt x="4228259" y="-38010"/>
                      <a:pt x="4036446" y="-41512"/>
                      <a:pt x="3840398" y="56633"/>
                    </a:cubicBezTo>
                    <a:cubicBezTo>
                      <a:pt x="3812706" y="70480"/>
                      <a:pt x="3786886" y="87177"/>
                      <a:pt x="3762778" y="106399"/>
                    </a:cubicBezTo>
                    <a:cubicBezTo>
                      <a:pt x="3404321" y="391714"/>
                      <a:pt x="3414991" y="1071162"/>
                      <a:pt x="2490138" y="667826"/>
                    </a:cubicBezTo>
                    <a:cubicBezTo>
                      <a:pt x="2330987" y="598432"/>
                      <a:pt x="2162306" y="519508"/>
                      <a:pt x="1987680" y="399045"/>
                    </a:cubicBezTo>
                    <a:cubicBezTo>
                      <a:pt x="1674590" y="184753"/>
                      <a:pt x="1366306" y="213830"/>
                      <a:pt x="1090683" y="302202"/>
                    </a:cubicBezTo>
                    <a:cubicBezTo>
                      <a:pt x="1040266" y="318329"/>
                      <a:pt x="989930" y="333967"/>
                      <a:pt x="941224" y="353189"/>
                    </a:cubicBezTo>
                    <a:cubicBezTo>
                      <a:pt x="585781" y="493281"/>
                      <a:pt x="287596" y="612930"/>
                      <a:pt x="0" y="463471"/>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3DCF77DF-16F8-DA5E-4FF2-EF6DA131BE01}"/>
                  </a:ext>
                </a:extLst>
              </p:cNvPr>
              <p:cNvSpPr/>
              <p:nvPr/>
            </p:nvSpPr>
            <p:spPr>
              <a:xfrm>
                <a:off x="5746152" y="3674845"/>
                <a:ext cx="4911370" cy="794067"/>
              </a:xfrm>
              <a:custGeom>
                <a:avLst/>
                <a:gdLst>
                  <a:gd name="connsiteX0" fmla="*/ 4911371 w 4911370"/>
                  <a:gd name="connsiteY0" fmla="*/ 750193 h 794067"/>
                  <a:gd name="connsiteX1" fmla="*/ 4547131 w 4911370"/>
                  <a:gd name="connsiteY1" fmla="*/ 251319 h 794067"/>
                  <a:gd name="connsiteX2" fmla="*/ 3834616 w 4911370"/>
                  <a:gd name="connsiteY2" fmla="*/ 62927 h 794067"/>
                  <a:gd name="connsiteX3" fmla="*/ 3757158 w 4911370"/>
                  <a:gd name="connsiteY3" fmla="*/ 112285 h 794067"/>
                  <a:gd name="connsiteX4" fmla="*/ 2480201 w 4911370"/>
                  <a:gd name="connsiteY4" fmla="*/ 696763 h 794067"/>
                  <a:gd name="connsiteX5" fmla="*/ 1973996 w 4911370"/>
                  <a:gd name="connsiteY5" fmla="*/ 449484 h 794067"/>
                  <a:gd name="connsiteX6" fmla="*/ 1089054 w 4911370"/>
                  <a:gd name="connsiteY6" fmla="*/ 310532 h 794067"/>
                  <a:gd name="connsiteX7" fmla="*/ 939839 w 4911370"/>
                  <a:gd name="connsiteY7" fmla="*/ 347917 h 794067"/>
                  <a:gd name="connsiteX8" fmla="*/ 0 w 4911370"/>
                  <a:gd name="connsiteY8" fmla="*/ 427574 h 79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370" h="794067">
                    <a:moveTo>
                      <a:pt x="4911371" y="750193"/>
                    </a:moveTo>
                    <a:cubicBezTo>
                      <a:pt x="4887262" y="685686"/>
                      <a:pt x="4795387" y="484426"/>
                      <a:pt x="4547131" y="251319"/>
                    </a:cubicBezTo>
                    <a:cubicBezTo>
                      <a:pt x="4238521" y="-38395"/>
                      <a:pt x="4041170" y="-42060"/>
                      <a:pt x="3834616" y="62927"/>
                    </a:cubicBezTo>
                    <a:cubicBezTo>
                      <a:pt x="3807249" y="76855"/>
                      <a:pt x="3781511" y="93389"/>
                      <a:pt x="3757158" y="112285"/>
                    </a:cubicBezTo>
                    <a:cubicBezTo>
                      <a:pt x="3389823" y="397845"/>
                      <a:pt x="3358954" y="1037057"/>
                      <a:pt x="2480201" y="696763"/>
                    </a:cubicBezTo>
                    <a:cubicBezTo>
                      <a:pt x="2315430" y="632989"/>
                      <a:pt x="2146098" y="562698"/>
                      <a:pt x="1973996" y="449484"/>
                    </a:cubicBezTo>
                    <a:cubicBezTo>
                      <a:pt x="1664898" y="246106"/>
                      <a:pt x="1367528" y="247979"/>
                      <a:pt x="1089054" y="310532"/>
                    </a:cubicBezTo>
                    <a:cubicBezTo>
                      <a:pt x="1039125" y="321772"/>
                      <a:pt x="988871" y="332442"/>
                      <a:pt x="939839" y="347917"/>
                    </a:cubicBezTo>
                    <a:cubicBezTo>
                      <a:pt x="597428" y="455837"/>
                      <a:pt x="300628" y="559603"/>
                      <a:pt x="0" y="427574"/>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9DC49863-8015-1AE7-9030-F9A6090FC34E}"/>
                  </a:ext>
                </a:extLst>
              </p:cNvPr>
              <p:cNvSpPr/>
              <p:nvPr/>
            </p:nvSpPr>
            <p:spPr>
              <a:xfrm>
                <a:off x="5745256" y="3744081"/>
                <a:ext cx="4911533" cy="799106"/>
              </a:xfrm>
              <a:custGeom>
                <a:avLst/>
                <a:gdLst>
                  <a:gd name="connsiteX0" fmla="*/ 4911533 w 4911533"/>
                  <a:gd name="connsiteY0" fmla="*/ 712886 h 799106"/>
                  <a:gd name="connsiteX1" fmla="*/ 4543873 w 4911533"/>
                  <a:gd name="connsiteY1" fmla="*/ 224437 h 799106"/>
                  <a:gd name="connsiteX2" fmla="*/ 3828995 w 4911533"/>
                  <a:gd name="connsiteY2" fmla="*/ 69684 h 799106"/>
                  <a:gd name="connsiteX3" fmla="*/ 3751701 w 4911533"/>
                  <a:gd name="connsiteY3" fmla="*/ 118635 h 799106"/>
                  <a:gd name="connsiteX4" fmla="*/ 2470346 w 4911533"/>
                  <a:gd name="connsiteY4" fmla="*/ 726243 h 799106"/>
                  <a:gd name="connsiteX5" fmla="*/ 1960394 w 4911533"/>
                  <a:gd name="connsiteY5" fmla="*/ 500467 h 799106"/>
                  <a:gd name="connsiteX6" fmla="*/ 1087506 w 4911533"/>
                  <a:gd name="connsiteY6" fmla="*/ 319488 h 799106"/>
                  <a:gd name="connsiteX7" fmla="*/ 938536 w 4911533"/>
                  <a:gd name="connsiteY7" fmla="*/ 343189 h 799106"/>
                  <a:gd name="connsiteX8" fmla="*/ 0 w 4911533"/>
                  <a:gd name="connsiteY8" fmla="*/ 392221 h 799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799106">
                    <a:moveTo>
                      <a:pt x="4911533" y="712886"/>
                    </a:moveTo>
                    <a:cubicBezTo>
                      <a:pt x="4883026" y="635754"/>
                      <a:pt x="4784962" y="439544"/>
                      <a:pt x="4543873" y="224437"/>
                    </a:cubicBezTo>
                    <a:cubicBezTo>
                      <a:pt x="4249191" y="-38481"/>
                      <a:pt x="4046138" y="-42309"/>
                      <a:pt x="3828995" y="69684"/>
                    </a:cubicBezTo>
                    <a:cubicBezTo>
                      <a:pt x="3801873" y="83612"/>
                      <a:pt x="3776217" y="99983"/>
                      <a:pt x="3751701" y="118635"/>
                    </a:cubicBezTo>
                    <a:cubicBezTo>
                      <a:pt x="3375325" y="404357"/>
                      <a:pt x="3300636" y="1007324"/>
                      <a:pt x="2470346" y="726243"/>
                    </a:cubicBezTo>
                    <a:cubicBezTo>
                      <a:pt x="2299548" y="668415"/>
                      <a:pt x="2129645" y="606758"/>
                      <a:pt x="1960394" y="500467"/>
                    </a:cubicBezTo>
                    <a:cubicBezTo>
                      <a:pt x="1654798" y="308655"/>
                      <a:pt x="1369075" y="283080"/>
                      <a:pt x="1087506" y="319488"/>
                    </a:cubicBezTo>
                    <a:cubicBezTo>
                      <a:pt x="1038067" y="325841"/>
                      <a:pt x="988057" y="331623"/>
                      <a:pt x="938536" y="343189"/>
                    </a:cubicBezTo>
                    <a:cubicBezTo>
                      <a:pt x="610052" y="420077"/>
                      <a:pt x="313823" y="506820"/>
                      <a:pt x="0" y="392221"/>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AB70A042-5571-C116-C54B-1488E86E0BC8}"/>
                  </a:ext>
                </a:extLst>
              </p:cNvPr>
              <p:cNvSpPr/>
              <p:nvPr/>
            </p:nvSpPr>
            <p:spPr>
              <a:xfrm>
                <a:off x="5744605" y="3812910"/>
                <a:ext cx="4911532" cy="807741"/>
              </a:xfrm>
              <a:custGeom>
                <a:avLst/>
                <a:gdLst>
                  <a:gd name="connsiteX0" fmla="*/ 4911533 w 4911532"/>
                  <a:gd name="connsiteY0" fmla="*/ 675984 h 807741"/>
                  <a:gd name="connsiteX1" fmla="*/ 4540533 w 4911532"/>
                  <a:gd name="connsiteY1" fmla="*/ 197960 h 807741"/>
                  <a:gd name="connsiteX2" fmla="*/ 3823294 w 4911532"/>
                  <a:gd name="connsiteY2" fmla="*/ 76846 h 807741"/>
                  <a:gd name="connsiteX3" fmla="*/ 3746162 w 4911532"/>
                  <a:gd name="connsiteY3" fmla="*/ 125389 h 807741"/>
                  <a:gd name="connsiteX4" fmla="*/ 2460491 w 4911532"/>
                  <a:gd name="connsiteY4" fmla="*/ 756129 h 807741"/>
                  <a:gd name="connsiteX5" fmla="*/ 1946711 w 4911532"/>
                  <a:gd name="connsiteY5" fmla="*/ 551856 h 807741"/>
                  <a:gd name="connsiteX6" fmla="*/ 1085877 w 4911532"/>
                  <a:gd name="connsiteY6" fmla="*/ 328767 h 807741"/>
                  <a:gd name="connsiteX7" fmla="*/ 937233 w 4911532"/>
                  <a:gd name="connsiteY7" fmla="*/ 338785 h 807741"/>
                  <a:gd name="connsiteX8" fmla="*/ 0 w 4911532"/>
                  <a:gd name="connsiteY8" fmla="*/ 357193 h 807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2" h="807741">
                    <a:moveTo>
                      <a:pt x="4911533" y="675984"/>
                    </a:moveTo>
                    <a:cubicBezTo>
                      <a:pt x="4878546" y="586309"/>
                      <a:pt x="4774536" y="394985"/>
                      <a:pt x="4540533" y="197960"/>
                    </a:cubicBezTo>
                    <a:cubicBezTo>
                      <a:pt x="4259942" y="-38242"/>
                      <a:pt x="4050944" y="-42151"/>
                      <a:pt x="3823294" y="76846"/>
                    </a:cubicBezTo>
                    <a:cubicBezTo>
                      <a:pt x="3796498" y="90855"/>
                      <a:pt x="3770841" y="107063"/>
                      <a:pt x="3746162" y="125389"/>
                    </a:cubicBezTo>
                    <a:cubicBezTo>
                      <a:pt x="3360827" y="411275"/>
                      <a:pt x="3240446" y="981825"/>
                      <a:pt x="2460491" y="756129"/>
                    </a:cubicBezTo>
                    <a:cubicBezTo>
                      <a:pt x="2283421" y="704898"/>
                      <a:pt x="2113274" y="651224"/>
                      <a:pt x="1946711" y="551856"/>
                    </a:cubicBezTo>
                    <a:cubicBezTo>
                      <a:pt x="1644617" y="371609"/>
                      <a:pt x="1370704" y="319238"/>
                      <a:pt x="1085877" y="328767"/>
                    </a:cubicBezTo>
                    <a:cubicBezTo>
                      <a:pt x="1036926" y="330396"/>
                      <a:pt x="987161" y="331292"/>
                      <a:pt x="937233" y="338785"/>
                    </a:cubicBezTo>
                    <a:cubicBezTo>
                      <a:pt x="623329" y="386026"/>
                      <a:pt x="326936" y="454361"/>
                      <a:pt x="0" y="357193"/>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185C213D-E4DB-33F4-D3DF-F6999F85732E}"/>
                  </a:ext>
                </a:extLst>
              </p:cNvPr>
              <p:cNvSpPr/>
              <p:nvPr/>
            </p:nvSpPr>
            <p:spPr>
              <a:xfrm>
                <a:off x="5743953" y="3881196"/>
                <a:ext cx="4911533" cy="820267"/>
              </a:xfrm>
              <a:custGeom>
                <a:avLst/>
                <a:gdLst>
                  <a:gd name="connsiteX0" fmla="*/ 4911534 w 4911533"/>
                  <a:gd name="connsiteY0" fmla="*/ 639627 h 820267"/>
                  <a:gd name="connsiteX1" fmla="*/ 4537113 w 4911533"/>
                  <a:gd name="connsiteY1" fmla="*/ 172028 h 820267"/>
                  <a:gd name="connsiteX2" fmla="*/ 3817593 w 4911533"/>
                  <a:gd name="connsiteY2" fmla="*/ 84552 h 820267"/>
                  <a:gd name="connsiteX3" fmla="*/ 3740624 w 4911533"/>
                  <a:gd name="connsiteY3" fmla="*/ 132688 h 820267"/>
                  <a:gd name="connsiteX4" fmla="*/ 2450635 w 4911533"/>
                  <a:gd name="connsiteY4" fmla="*/ 786479 h 820267"/>
                  <a:gd name="connsiteX5" fmla="*/ 1933109 w 4911533"/>
                  <a:gd name="connsiteY5" fmla="*/ 603708 h 820267"/>
                  <a:gd name="connsiteX6" fmla="*/ 1084330 w 4911533"/>
                  <a:gd name="connsiteY6" fmla="*/ 338592 h 820267"/>
                  <a:gd name="connsiteX7" fmla="*/ 935930 w 4911533"/>
                  <a:gd name="connsiteY7" fmla="*/ 335008 h 820267"/>
                  <a:gd name="connsiteX8" fmla="*/ 0 w 4911533"/>
                  <a:gd name="connsiteY8" fmla="*/ 322709 h 8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820267">
                    <a:moveTo>
                      <a:pt x="4911534" y="639627"/>
                    </a:moveTo>
                    <a:cubicBezTo>
                      <a:pt x="4874067" y="537327"/>
                      <a:pt x="4764274" y="350809"/>
                      <a:pt x="4537113" y="172028"/>
                    </a:cubicBezTo>
                    <a:cubicBezTo>
                      <a:pt x="4270774" y="-37621"/>
                      <a:pt x="4055668" y="-41612"/>
                      <a:pt x="3817593" y="84552"/>
                    </a:cubicBezTo>
                    <a:cubicBezTo>
                      <a:pt x="3791122" y="98561"/>
                      <a:pt x="3765465" y="114607"/>
                      <a:pt x="3740624" y="132688"/>
                    </a:cubicBezTo>
                    <a:cubicBezTo>
                      <a:pt x="3346166" y="418574"/>
                      <a:pt x="3178952" y="960698"/>
                      <a:pt x="2450635" y="786479"/>
                    </a:cubicBezTo>
                    <a:cubicBezTo>
                      <a:pt x="2266968" y="742578"/>
                      <a:pt x="2096821" y="696152"/>
                      <a:pt x="1933109" y="603708"/>
                    </a:cubicBezTo>
                    <a:cubicBezTo>
                      <a:pt x="1634517" y="435027"/>
                      <a:pt x="1372414" y="356347"/>
                      <a:pt x="1084330" y="338592"/>
                    </a:cubicBezTo>
                    <a:cubicBezTo>
                      <a:pt x="1035949" y="335578"/>
                      <a:pt x="986428" y="331750"/>
                      <a:pt x="935930" y="335008"/>
                    </a:cubicBezTo>
                    <a:cubicBezTo>
                      <a:pt x="637012" y="354148"/>
                      <a:pt x="340131" y="402529"/>
                      <a:pt x="0" y="322709"/>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9C893F85-6902-0279-CEAD-2061CA816238}"/>
                  </a:ext>
                </a:extLst>
              </p:cNvPr>
              <p:cNvSpPr/>
              <p:nvPr/>
            </p:nvSpPr>
            <p:spPr>
              <a:xfrm>
                <a:off x="5743220" y="3949027"/>
                <a:ext cx="4911533" cy="836983"/>
              </a:xfrm>
              <a:custGeom>
                <a:avLst/>
                <a:gdLst>
                  <a:gd name="connsiteX0" fmla="*/ 4911533 w 4911533"/>
                  <a:gd name="connsiteY0" fmla="*/ 603805 h 836983"/>
                  <a:gd name="connsiteX1" fmla="*/ 4533773 w 4911533"/>
                  <a:gd name="connsiteY1" fmla="*/ 146632 h 836983"/>
                  <a:gd name="connsiteX2" fmla="*/ 3811891 w 4911533"/>
                  <a:gd name="connsiteY2" fmla="*/ 92795 h 836983"/>
                  <a:gd name="connsiteX3" fmla="*/ 3735085 w 4911533"/>
                  <a:gd name="connsiteY3" fmla="*/ 140524 h 836983"/>
                  <a:gd name="connsiteX4" fmla="*/ 2440699 w 4911533"/>
                  <a:gd name="connsiteY4" fmla="*/ 817446 h 836983"/>
                  <a:gd name="connsiteX5" fmla="*/ 1919425 w 4911533"/>
                  <a:gd name="connsiteY5" fmla="*/ 656177 h 836983"/>
                  <a:gd name="connsiteX6" fmla="*/ 1082701 w 4911533"/>
                  <a:gd name="connsiteY6" fmla="*/ 348952 h 836983"/>
                  <a:gd name="connsiteX7" fmla="*/ 934626 w 4911533"/>
                  <a:gd name="connsiteY7" fmla="*/ 331684 h 836983"/>
                  <a:gd name="connsiteX8" fmla="*/ 0 w 4911533"/>
                  <a:gd name="connsiteY8" fmla="*/ 288761 h 83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836983">
                    <a:moveTo>
                      <a:pt x="4911533" y="603805"/>
                    </a:moveTo>
                    <a:cubicBezTo>
                      <a:pt x="4869668" y="488962"/>
                      <a:pt x="4754174" y="307005"/>
                      <a:pt x="4533773" y="146632"/>
                    </a:cubicBezTo>
                    <a:cubicBezTo>
                      <a:pt x="4281852" y="-36628"/>
                      <a:pt x="4060392" y="-40537"/>
                      <a:pt x="3811891" y="92795"/>
                    </a:cubicBezTo>
                    <a:cubicBezTo>
                      <a:pt x="3785665" y="106885"/>
                      <a:pt x="3760090" y="122768"/>
                      <a:pt x="3735085" y="140524"/>
                    </a:cubicBezTo>
                    <a:cubicBezTo>
                      <a:pt x="3331506" y="426410"/>
                      <a:pt x="3116643" y="943854"/>
                      <a:pt x="2440699" y="817446"/>
                    </a:cubicBezTo>
                    <a:cubicBezTo>
                      <a:pt x="2250271" y="781853"/>
                      <a:pt x="2080369" y="741780"/>
                      <a:pt x="1919425" y="656177"/>
                    </a:cubicBezTo>
                    <a:cubicBezTo>
                      <a:pt x="1624255" y="499143"/>
                      <a:pt x="1373881" y="394726"/>
                      <a:pt x="1082701" y="348952"/>
                    </a:cubicBezTo>
                    <a:cubicBezTo>
                      <a:pt x="1034809" y="341458"/>
                      <a:pt x="985695" y="332987"/>
                      <a:pt x="934626" y="331684"/>
                    </a:cubicBezTo>
                    <a:cubicBezTo>
                      <a:pt x="650695" y="324272"/>
                      <a:pt x="353244" y="351151"/>
                      <a:pt x="0" y="288761"/>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6B635158-DEC6-A2B0-A9BA-2B3E85A56528}"/>
                  </a:ext>
                </a:extLst>
              </p:cNvPr>
              <p:cNvSpPr/>
              <p:nvPr/>
            </p:nvSpPr>
            <p:spPr>
              <a:xfrm>
                <a:off x="5742569" y="4016039"/>
                <a:ext cx="4911532" cy="858179"/>
              </a:xfrm>
              <a:custGeom>
                <a:avLst/>
                <a:gdLst>
                  <a:gd name="connsiteX0" fmla="*/ 4911533 w 4911532"/>
                  <a:gd name="connsiteY0" fmla="*/ 568721 h 858179"/>
                  <a:gd name="connsiteX1" fmla="*/ 4530352 w 4911532"/>
                  <a:gd name="connsiteY1" fmla="*/ 121974 h 858179"/>
                  <a:gd name="connsiteX2" fmla="*/ 3806190 w 4911532"/>
                  <a:gd name="connsiteY2" fmla="*/ 101774 h 858179"/>
                  <a:gd name="connsiteX3" fmla="*/ 3729547 w 4911532"/>
                  <a:gd name="connsiteY3" fmla="*/ 149096 h 858179"/>
                  <a:gd name="connsiteX4" fmla="*/ 2430843 w 4911532"/>
                  <a:gd name="connsiteY4" fmla="*/ 849150 h 858179"/>
                  <a:gd name="connsiteX5" fmla="*/ 1905823 w 4911532"/>
                  <a:gd name="connsiteY5" fmla="*/ 709383 h 858179"/>
                  <a:gd name="connsiteX6" fmla="*/ 1081153 w 4911532"/>
                  <a:gd name="connsiteY6" fmla="*/ 360049 h 858179"/>
                  <a:gd name="connsiteX7" fmla="*/ 933323 w 4911532"/>
                  <a:gd name="connsiteY7" fmla="*/ 329180 h 858179"/>
                  <a:gd name="connsiteX8" fmla="*/ 0 w 4911532"/>
                  <a:gd name="connsiteY8" fmla="*/ 255632 h 85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2" h="858179">
                    <a:moveTo>
                      <a:pt x="4911533" y="568721"/>
                    </a:moveTo>
                    <a:cubicBezTo>
                      <a:pt x="4865189" y="441253"/>
                      <a:pt x="4744237" y="263695"/>
                      <a:pt x="4530352" y="121974"/>
                    </a:cubicBezTo>
                    <a:cubicBezTo>
                      <a:pt x="4293173" y="-35304"/>
                      <a:pt x="4065034" y="-38807"/>
                      <a:pt x="3806190" y="101774"/>
                    </a:cubicBezTo>
                    <a:cubicBezTo>
                      <a:pt x="3780289" y="115865"/>
                      <a:pt x="3754796" y="131585"/>
                      <a:pt x="3729547" y="149096"/>
                    </a:cubicBezTo>
                    <a:cubicBezTo>
                      <a:pt x="3316763" y="434982"/>
                      <a:pt x="3054335" y="931169"/>
                      <a:pt x="2430843" y="849150"/>
                    </a:cubicBezTo>
                    <a:cubicBezTo>
                      <a:pt x="2233574" y="823168"/>
                      <a:pt x="2063916" y="788145"/>
                      <a:pt x="1905823" y="709383"/>
                    </a:cubicBezTo>
                    <a:cubicBezTo>
                      <a:pt x="1614073" y="564079"/>
                      <a:pt x="1375102" y="434412"/>
                      <a:pt x="1081153" y="360049"/>
                    </a:cubicBezTo>
                    <a:cubicBezTo>
                      <a:pt x="1033668" y="348076"/>
                      <a:pt x="984880" y="335370"/>
                      <a:pt x="933323" y="329180"/>
                    </a:cubicBezTo>
                    <a:cubicBezTo>
                      <a:pt x="663890" y="296763"/>
                      <a:pt x="366439" y="300591"/>
                      <a:pt x="0" y="255632"/>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6E865B8E-B6C2-4B57-BB2D-06C96FBC0AEE}"/>
                  </a:ext>
                </a:extLst>
              </p:cNvPr>
              <p:cNvSpPr/>
              <p:nvPr/>
            </p:nvSpPr>
            <p:spPr>
              <a:xfrm>
                <a:off x="5741917" y="4082142"/>
                <a:ext cx="4911533" cy="883983"/>
              </a:xfrm>
              <a:custGeom>
                <a:avLst/>
                <a:gdLst>
                  <a:gd name="connsiteX0" fmla="*/ 4911534 w 4911533"/>
                  <a:gd name="connsiteY0" fmla="*/ 534546 h 883983"/>
                  <a:gd name="connsiteX1" fmla="*/ 4527013 w 4911533"/>
                  <a:gd name="connsiteY1" fmla="*/ 98143 h 883983"/>
                  <a:gd name="connsiteX2" fmla="*/ 3800488 w 4911533"/>
                  <a:gd name="connsiteY2" fmla="*/ 111582 h 883983"/>
                  <a:gd name="connsiteX3" fmla="*/ 3724008 w 4911533"/>
                  <a:gd name="connsiteY3" fmla="*/ 158415 h 883983"/>
                  <a:gd name="connsiteX4" fmla="*/ 2420907 w 4911533"/>
                  <a:gd name="connsiteY4" fmla="*/ 881519 h 883983"/>
                  <a:gd name="connsiteX5" fmla="*/ 1892140 w 4911533"/>
                  <a:gd name="connsiteY5" fmla="*/ 763255 h 883983"/>
                  <a:gd name="connsiteX6" fmla="*/ 1079524 w 4911533"/>
                  <a:gd name="connsiteY6" fmla="*/ 371893 h 883983"/>
                  <a:gd name="connsiteX7" fmla="*/ 932020 w 4911533"/>
                  <a:gd name="connsiteY7" fmla="*/ 327340 h 883983"/>
                  <a:gd name="connsiteX8" fmla="*/ 0 w 4911533"/>
                  <a:gd name="connsiteY8" fmla="*/ 223086 h 883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883983">
                    <a:moveTo>
                      <a:pt x="4911534" y="534546"/>
                    </a:moveTo>
                    <a:cubicBezTo>
                      <a:pt x="4860709" y="394454"/>
                      <a:pt x="4734463" y="220968"/>
                      <a:pt x="4527013" y="98143"/>
                    </a:cubicBezTo>
                    <a:cubicBezTo>
                      <a:pt x="4304658" y="-33479"/>
                      <a:pt x="4069677" y="-36329"/>
                      <a:pt x="3800488" y="111582"/>
                    </a:cubicBezTo>
                    <a:cubicBezTo>
                      <a:pt x="3774832" y="125673"/>
                      <a:pt x="3749338" y="141230"/>
                      <a:pt x="3724008" y="158415"/>
                    </a:cubicBezTo>
                    <a:cubicBezTo>
                      <a:pt x="3301451" y="443242"/>
                      <a:pt x="2992678" y="922488"/>
                      <a:pt x="2420907" y="881519"/>
                    </a:cubicBezTo>
                    <a:cubicBezTo>
                      <a:pt x="2216795" y="866858"/>
                      <a:pt x="2047300" y="835419"/>
                      <a:pt x="1892140" y="763255"/>
                    </a:cubicBezTo>
                    <a:cubicBezTo>
                      <a:pt x="1603567" y="630167"/>
                      <a:pt x="1375754" y="475089"/>
                      <a:pt x="1079524" y="371893"/>
                    </a:cubicBezTo>
                    <a:cubicBezTo>
                      <a:pt x="1032447" y="355522"/>
                      <a:pt x="983822" y="338743"/>
                      <a:pt x="932020" y="327340"/>
                    </a:cubicBezTo>
                    <a:cubicBezTo>
                      <a:pt x="676189" y="271059"/>
                      <a:pt x="379552" y="250696"/>
                      <a:pt x="0" y="223086"/>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11D14316-B3F9-A189-3077-E1AD23C4EBA0}"/>
                  </a:ext>
                </a:extLst>
              </p:cNvPr>
              <p:cNvSpPr/>
              <p:nvPr/>
            </p:nvSpPr>
            <p:spPr>
              <a:xfrm>
                <a:off x="5741265" y="4147111"/>
                <a:ext cx="4911533" cy="915277"/>
              </a:xfrm>
              <a:custGeom>
                <a:avLst/>
                <a:gdLst>
                  <a:gd name="connsiteX0" fmla="*/ 4911533 w 4911533"/>
                  <a:gd name="connsiteY0" fmla="*/ 501505 h 915277"/>
                  <a:gd name="connsiteX1" fmla="*/ 4523592 w 4911533"/>
                  <a:gd name="connsiteY1" fmla="*/ 75527 h 915277"/>
                  <a:gd name="connsiteX2" fmla="*/ 3794787 w 4911533"/>
                  <a:gd name="connsiteY2" fmla="*/ 122605 h 915277"/>
                  <a:gd name="connsiteX3" fmla="*/ 3718469 w 4911533"/>
                  <a:gd name="connsiteY3" fmla="*/ 169031 h 915277"/>
                  <a:gd name="connsiteX4" fmla="*/ 2411051 w 4911533"/>
                  <a:gd name="connsiteY4" fmla="*/ 915266 h 915277"/>
                  <a:gd name="connsiteX5" fmla="*/ 1878538 w 4911533"/>
                  <a:gd name="connsiteY5" fmla="*/ 818504 h 915277"/>
                  <a:gd name="connsiteX6" fmla="*/ 1077977 w 4911533"/>
                  <a:gd name="connsiteY6" fmla="*/ 385033 h 915277"/>
                  <a:gd name="connsiteX7" fmla="*/ 930717 w 4911533"/>
                  <a:gd name="connsiteY7" fmla="*/ 326797 h 915277"/>
                  <a:gd name="connsiteX8" fmla="*/ 0 w 4911533"/>
                  <a:gd name="connsiteY8" fmla="*/ 191918 h 91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33" h="915277">
                    <a:moveTo>
                      <a:pt x="4911533" y="501505"/>
                    </a:moveTo>
                    <a:cubicBezTo>
                      <a:pt x="4856311" y="348870"/>
                      <a:pt x="4724934" y="178886"/>
                      <a:pt x="4523592" y="75527"/>
                    </a:cubicBezTo>
                    <a:cubicBezTo>
                      <a:pt x="4316305" y="-30845"/>
                      <a:pt x="4073913" y="-33289"/>
                      <a:pt x="3794787" y="122605"/>
                    </a:cubicBezTo>
                    <a:cubicBezTo>
                      <a:pt x="3769375" y="136696"/>
                      <a:pt x="3743963" y="152171"/>
                      <a:pt x="3718469" y="169031"/>
                    </a:cubicBezTo>
                    <a:cubicBezTo>
                      <a:pt x="3286872" y="454020"/>
                      <a:pt x="2932895" y="918035"/>
                      <a:pt x="2411051" y="915266"/>
                    </a:cubicBezTo>
                    <a:cubicBezTo>
                      <a:pt x="2200506" y="914126"/>
                      <a:pt x="2030848" y="883826"/>
                      <a:pt x="1878538" y="818504"/>
                    </a:cubicBezTo>
                    <a:cubicBezTo>
                      <a:pt x="1593467" y="696983"/>
                      <a:pt x="1376080" y="517469"/>
                      <a:pt x="1077977" y="385033"/>
                    </a:cubicBezTo>
                    <a:cubicBezTo>
                      <a:pt x="1031225" y="364264"/>
                      <a:pt x="982600" y="343739"/>
                      <a:pt x="930717" y="326797"/>
                    </a:cubicBezTo>
                    <a:cubicBezTo>
                      <a:pt x="687185" y="247466"/>
                      <a:pt x="392665" y="202099"/>
                      <a:pt x="0" y="191918"/>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5AB6CB8C-7706-7C6F-0EC5-18C7D43CF89F}"/>
                  </a:ext>
                </a:extLst>
              </p:cNvPr>
              <p:cNvSpPr/>
              <p:nvPr/>
            </p:nvSpPr>
            <p:spPr>
              <a:xfrm>
                <a:off x="5740451" y="4211079"/>
                <a:ext cx="4911614" cy="953796"/>
              </a:xfrm>
              <a:custGeom>
                <a:avLst/>
                <a:gdLst>
                  <a:gd name="connsiteX0" fmla="*/ 4911615 w 4911614"/>
                  <a:gd name="connsiteY0" fmla="*/ 469465 h 953796"/>
                  <a:gd name="connsiteX1" fmla="*/ 3713012 w 4911614"/>
                  <a:gd name="connsiteY1" fmla="*/ 180729 h 953796"/>
                  <a:gd name="connsiteX2" fmla="*/ 2401196 w 4911614"/>
                  <a:gd name="connsiteY2" fmla="*/ 950095 h 953796"/>
                  <a:gd name="connsiteX3" fmla="*/ 929414 w 4911614"/>
                  <a:gd name="connsiteY3" fmla="*/ 327418 h 953796"/>
                  <a:gd name="connsiteX4" fmla="*/ 0 w 4911614"/>
                  <a:gd name="connsiteY4" fmla="*/ 161914 h 953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1614" h="953796">
                    <a:moveTo>
                      <a:pt x="4911615" y="469465"/>
                    </a:moveTo>
                    <a:cubicBezTo>
                      <a:pt x="4788057" y="127542"/>
                      <a:pt x="4336422" y="-222688"/>
                      <a:pt x="3713012" y="180729"/>
                    </a:cubicBezTo>
                    <a:cubicBezTo>
                      <a:pt x="3272455" y="465800"/>
                      <a:pt x="2876043" y="917027"/>
                      <a:pt x="2401196" y="950095"/>
                    </a:cubicBezTo>
                    <a:cubicBezTo>
                      <a:pt x="1714663" y="997824"/>
                      <a:pt x="1489538" y="572661"/>
                      <a:pt x="929414" y="327418"/>
                    </a:cubicBezTo>
                    <a:cubicBezTo>
                      <a:pt x="696551" y="225526"/>
                      <a:pt x="405860" y="154665"/>
                      <a:pt x="0" y="161914"/>
                    </a:cubicBezTo>
                  </a:path>
                </a:pathLst>
              </a:custGeom>
              <a:grpFill/>
              <a:ln w="16279" cap="flat">
                <a:gradFill>
                  <a:gsLst>
                    <a:gs pos="24000">
                      <a:srgbClr val="0076A8">
                        <a:alpha val="5000"/>
                      </a:srgbClr>
                    </a:gs>
                    <a:gs pos="100000">
                      <a:srgbClr val="00ABAB">
                        <a:alpha val="11000"/>
                      </a:srgbClr>
                    </a:gs>
                  </a:gsLst>
                  <a:lin ang="5400000" scaled="1"/>
                </a:gradFill>
                <a:prstDash val="solid"/>
                <a:miter/>
              </a:ln>
            </p:spPr>
            <p:txBody>
              <a:bodyPr rtlCol="0" anchor="ctr"/>
              <a:lstStyle/>
              <a:p>
                <a:endParaRPr lang="en-US"/>
              </a:p>
            </p:txBody>
          </p:sp>
        </p:grpSp>
      </p:grpSp>
    </p:spTree>
    <p:extLst>
      <p:ext uri="{BB962C8B-B14F-4D97-AF65-F5344CB8AC3E}">
        <p14:creationId xmlns:p14="http://schemas.microsoft.com/office/powerpoint/2010/main" val="317564372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95341" y="378425"/>
            <a:ext cx="10179448" cy="369332"/>
          </a:xfrm>
        </p:spPr>
        <p:txBody>
          <a:bodyPr lIns="0" tIns="0" rIns="0" bIns="0"/>
          <a:lstStyle>
            <a:lvl1pPr>
              <a:defRPr sz="2400" b="0" kern="1200" dirty="0">
                <a:solidFill>
                  <a:srgbClr val="86BC25"/>
                </a:solidFill>
                <a:latin typeface="Segoe UI" panose="020B0502040204020203" pitchFamily="34" charset="0"/>
                <a:ea typeface="Cambria Math" panose="02040503050406030204" pitchFamily="18" charset="0"/>
                <a:cs typeface="Segoe UI" panose="020B0502040204020203" pitchFamily="34" charset="0"/>
              </a:defRPr>
            </a:lvl1pPr>
          </a:lstStyle>
          <a:p>
            <a:endParaRPr/>
          </a:p>
        </p:txBody>
      </p:sp>
    </p:spTree>
    <p:extLst>
      <p:ext uri="{BB962C8B-B14F-4D97-AF65-F5344CB8AC3E}">
        <p14:creationId xmlns:p14="http://schemas.microsoft.com/office/powerpoint/2010/main" val="32913960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5842888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950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95049"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8" name="Text Placeholder 7">
            <a:extLst>
              <a:ext uri="{FF2B5EF4-FFF2-40B4-BE49-F238E27FC236}">
                <a16:creationId xmlns:a16="http://schemas.microsoft.com/office/drawing/2014/main" id="{532100E2-06AC-F615-0E40-0B728747F199}"/>
              </a:ext>
            </a:extLst>
          </p:cNvPr>
          <p:cNvSpPr>
            <a:spLocks noGrp="1"/>
          </p:cNvSpPr>
          <p:nvPr>
            <p:ph type="body" sz="quarter" idx="14" hasCustomPrompt="1"/>
          </p:nvPr>
        </p:nvSpPr>
        <p:spPr>
          <a:xfrm>
            <a:off x="10655300" y="6464300"/>
            <a:ext cx="1041400" cy="334098"/>
          </a:xfrm>
        </p:spPr>
        <p:txBody>
          <a:bodyPr/>
          <a:lstStyle>
            <a:lvl1pPr>
              <a:defRPr/>
            </a:lvl1pPr>
          </a:lstStyle>
          <a:p>
            <a:pPr lvl="4"/>
            <a:fld id="{22E10C79-81EE-4F51-B97A-DDB1041C90AB}" type="slidenum">
              <a:rPr lang="en-US" smtClean="0"/>
              <a:t>​</a:t>
            </a:fld>
            <a:endParaRPr lang="en-US"/>
          </a:p>
        </p:txBody>
      </p:sp>
      <p:sp>
        <p:nvSpPr>
          <p:cNvPr id="2" name="Copyright">
            <a:extLst>
              <a:ext uri="{FF2B5EF4-FFF2-40B4-BE49-F238E27FC236}">
                <a16:creationId xmlns:a16="http://schemas.microsoft.com/office/drawing/2014/main" id="{D2D32742-DD20-D75F-9968-C56C9A5C3C80}"/>
              </a:ext>
            </a:extLst>
          </p:cNvPr>
          <p:cNvSpPr txBox="1"/>
          <p:nvPr userDrawn="1"/>
        </p:nvSpPr>
        <p:spPr>
          <a:xfrm>
            <a:off x="501650" y="6477002"/>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tx1"/>
                </a:solidFill>
                <a:latin typeface="Calibri" panose="020F0502020204030204" pitchFamily="34" charset="0"/>
                <a:cs typeface="Calibri" panose="020F0502020204030204" pitchFamily="34" charset="0"/>
              </a:rPr>
              <a:t>© 2025 Deloitte Touche Tohmatsu India LLP. </a:t>
            </a:r>
          </a:p>
        </p:txBody>
      </p:sp>
    </p:spTree>
    <p:extLst>
      <p:ext uri="{BB962C8B-B14F-4D97-AF65-F5344CB8AC3E}">
        <p14:creationId xmlns:p14="http://schemas.microsoft.com/office/powerpoint/2010/main" val="293431180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965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5863193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66764595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81210927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00426628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grpSp>
        <p:nvGrpSpPr>
          <p:cNvPr id="7" name="Group 6">
            <a:extLst>
              <a:ext uri="{FF2B5EF4-FFF2-40B4-BE49-F238E27FC236}">
                <a16:creationId xmlns:a16="http://schemas.microsoft.com/office/drawing/2014/main" id="{DDE5657C-A3D9-E070-1E77-982FC476372E}"/>
              </a:ext>
            </a:extLst>
          </p:cNvPr>
          <p:cNvGrpSpPr/>
          <p:nvPr userDrawn="1"/>
        </p:nvGrpSpPr>
        <p:grpSpPr>
          <a:xfrm>
            <a:off x="0" y="-10886"/>
            <a:ext cx="12192001" cy="514539"/>
            <a:chOff x="0" y="-122663"/>
            <a:chExt cx="12192001" cy="514539"/>
          </a:xfrm>
        </p:grpSpPr>
        <p:pic>
          <p:nvPicPr>
            <p:cNvPr id="8" name="Picture 7">
              <a:extLst>
                <a:ext uri="{FF2B5EF4-FFF2-40B4-BE49-F238E27FC236}">
                  <a16:creationId xmlns:a16="http://schemas.microsoft.com/office/drawing/2014/main" id="{1D4BAFAB-C41D-5A55-5D8F-009054454089}"/>
                </a:ext>
              </a:extLst>
            </p:cNvPr>
            <p:cNvPicPr>
              <a:picLocks noChangeAspect="1"/>
            </p:cNvPicPr>
            <p:nvPr/>
          </p:nvPicPr>
          <p:blipFill rotWithShape="1">
            <a:blip r:embed="rId2"/>
            <a:srcRect t="65846" r="24242" b="24086"/>
            <a:stretch/>
          </p:blipFill>
          <p:spPr>
            <a:xfrm>
              <a:off x="0" y="-122663"/>
              <a:ext cx="12192000" cy="333501"/>
            </a:xfrm>
            <a:prstGeom prst="rect">
              <a:avLst/>
            </a:prstGeom>
          </p:spPr>
        </p:pic>
        <p:pic>
          <p:nvPicPr>
            <p:cNvPr id="9" name="Picture 8">
              <a:extLst>
                <a:ext uri="{FF2B5EF4-FFF2-40B4-BE49-F238E27FC236}">
                  <a16:creationId xmlns:a16="http://schemas.microsoft.com/office/drawing/2014/main" id="{B6C83757-929E-4D4E-7707-7E57F1613FE4}"/>
                </a:ext>
              </a:extLst>
            </p:cNvPr>
            <p:cNvPicPr>
              <a:picLocks noChangeAspect="1"/>
            </p:cNvPicPr>
            <p:nvPr/>
          </p:nvPicPr>
          <p:blipFill rotWithShape="1">
            <a:blip r:embed="rId3"/>
            <a:srcRect r="51551" b="44433"/>
            <a:stretch/>
          </p:blipFill>
          <p:spPr>
            <a:xfrm>
              <a:off x="7938663" y="161520"/>
              <a:ext cx="4253338" cy="230356"/>
            </a:xfrm>
            <a:prstGeom prst="rect">
              <a:avLst/>
            </a:prstGeom>
          </p:spPr>
        </p:pic>
      </p:grpSp>
      <p:grpSp>
        <p:nvGrpSpPr>
          <p:cNvPr id="2" name="Group 1">
            <a:extLst>
              <a:ext uri="{FF2B5EF4-FFF2-40B4-BE49-F238E27FC236}">
                <a16:creationId xmlns:a16="http://schemas.microsoft.com/office/drawing/2014/main" id="{88545344-8A71-64DB-3765-C1C3A1DFB8B2}"/>
              </a:ext>
            </a:extLst>
          </p:cNvPr>
          <p:cNvGrpSpPr/>
          <p:nvPr userDrawn="1"/>
        </p:nvGrpSpPr>
        <p:grpSpPr>
          <a:xfrm rot="16200000" flipV="1">
            <a:off x="8751674" y="3417675"/>
            <a:ext cx="6365563" cy="515087"/>
            <a:chOff x="-257398" y="-122663"/>
            <a:chExt cx="12449399" cy="514539"/>
          </a:xfrm>
        </p:grpSpPr>
        <p:pic>
          <p:nvPicPr>
            <p:cNvPr id="3" name="Picture 2">
              <a:extLst>
                <a:ext uri="{FF2B5EF4-FFF2-40B4-BE49-F238E27FC236}">
                  <a16:creationId xmlns:a16="http://schemas.microsoft.com/office/drawing/2014/main" id="{77E6434D-FE6F-992D-529B-9CBB226CE2BC}"/>
                </a:ext>
              </a:extLst>
            </p:cNvPr>
            <p:cNvPicPr>
              <a:picLocks noChangeAspect="1"/>
            </p:cNvPicPr>
            <p:nvPr/>
          </p:nvPicPr>
          <p:blipFill rotWithShape="1">
            <a:blip r:embed="rId2"/>
            <a:srcRect t="65846" r="24242" b="24086"/>
            <a:stretch/>
          </p:blipFill>
          <p:spPr>
            <a:xfrm>
              <a:off x="-257398" y="-122663"/>
              <a:ext cx="12192003" cy="333501"/>
            </a:xfrm>
            <a:prstGeom prst="rect">
              <a:avLst/>
            </a:prstGeom>
          </p:spPr>
        </p:pic>
        <p:pic>
          <p:nvPicPr>
            <p:cNvPr id="6" name="Picture 5">
              <a:extLst>
                <a:ext uri="{FF2B5EF4-FFF2-40B4-BE49-F238E27FC236}">
                  <a16:creationId xmlns:a16="http://schemas.microsoft.com/office/drawing/2014/main" id="{2E225058-F342-92C4-8890-70FD2EDBBE11}"/>
                </a:ext>
              </a:extLst>
            </p:cNvPr>
            <p:cNvPicPr>
              <a:picLocks noChangeAspect="1"/>
            </p:cNvPicPr>
            <p:nvPr/>
          </p:nvPicPr>
          <p:blipFill rotWithShape="1">
            <a:blip r:embed="rId3"/>
            <a:srcRect r="51551" b="44433"/>
            <a:stretch/>
          </p:blipFill>
          <p:spPr>
            <a:xfrm>
              <a:off x="7938663" y="161520"/>
              <a:ext cx="4253338" cy="230356"/>
            </a:xfrm>
            <a:prstGeom prst="rect">
              <a:avLst/>
            </a:prstGeom>
          </p:spPr>
        </p:pic>
      </p:grpSp>
    </p:spTree>
    <p:extLst>
      <p:ext uri="{BB962C8B-B14F-4D97-AF65-F5344CB8AC3E}">
        <p14:creationId xmlns:p14="http://schemas.microsoft.com/office/powerpoint/2010/main" val="82370596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378979175"/>
      </p:ext>
    </p:extLst>
  </p:cSld>
  <p:clrMapOvr>
    <a:masterClrMapping/>
  </p:clrMapOvr>
  <p:transition>
    <p:fade/>
  </p:transition>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8133459"/>
      </p:ext>
    </p:extLst>
  </p:cSld>
  <p:clrMapOvr>
    <a:masterClrMapping/>
  </p:clrMapOvr>
  <p:transition>
    <p:fade/>
  </p:transition>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8B77339B-A2B6-482C-95CB-A0EE7CC782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054754" y="3672349"/>
            <a:ext cx="9137246" cy="3185652"/>
          </a:xfrm>
          <a:prstGeom prst="rect">
            <a:avLst/>
          </a:prstGeom>
        </p:spPr>
      </p:pic>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eloitte | Global Power, Utilities &amp; Renewables Secto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Global P&amp;UR Sales Deck</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27587775"/>
      </p:ext>
    </p:extLst>
  </p:cSld>
  <p:clrMapOvr>
    <a:masterClrMapping/>
  </p:clrMapOvr>
  <p:transition>
    <p:fade/>
  </p:transition>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78178289"/>
      </p:ext>
    </p:extLst>
  </p:cSld>
  <p:clrMapOvr>
    <a:masterClrMapping/>
  </p:clrMapOvr>
  <p:transition>
    <p:fade/>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49006778"/>
      </p:ext>
    </p:extLst>
  </p:cSld>
  <p:clrMapOvr>
    <a:masterClrMapping/>
  </p:clrMapOvr>
  <p:transition>
    <p:fade/>
  </p:transition>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82046648"/>
      </p:ext>
    </p:extLst>
  </p:cSld>
  <p:clrMapOvr>
    <a:masterClrMapping/>
  </p:clrMapOvr>
  <p:transition>
    <p:fade/>
  </p:transition>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026744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7801382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0603353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C9CD1BD6-2D2A-42EE-A26C-FEB7F682C886}"/>
              </a:ext>
            </a:extLst>
          </p:cNvPr>
          <p:cNvPicPr>
            <a:picLocks noChangeAspect="1"/>
          </p:cNvPicPr>
          <p:nvPr userDrawn="1"/>
        </p:nvPicPr>
        <p:blipFill rotWithShape="1">
          <a:blip r:embed="rId2"/>
          <a:srcRect r="5201" b="42882"/>
          <a:stretch/>
        </p:blipFill>
        <p:spPr>
          <a:xfrm rot="10800000">
            <a:off x="3054754" y="-1"/>
            <a:ext cx="9137246" cy="2743201"/>
          </a:xfrm>
          <a:prstGeom prst="rect">
            <a:avLst/>
          </a:prstGeom>
        </p:spPr>
      </p:pic>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973826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grpSp>
        <p:nvGrpSpPr>
          <p:cNvPr id="7" name="Group 6">
            <a:extLst>
              <a:ext uri="{FF2B5EF4-FFF2-40B4-BE49-F238E27FC236}">
                <a16:creationId xmlns:a16="http://schemas.microsoft.com/office/drawing/2014/main" id="{DDE5657C-A3D9-E070-1E77-982FC476372E}"/>
              </a:ext>
            </a:extLst>
          </p:cNvPr>
          <p:cNvGrpSpPr/>
          <p:nvPr userDrawn="1"/>
        </p:nvGrpSpPr>
        <p:grpSpPr>
          <a:xfrm>
            <a:off x="0" y="-10886"/>
            <a:ext cx="12192001" cy="514539"/>
            <a:chOff x="0" y="-122663"/>
            <a:chExt cx="12192001" cy="514539"/>
          </a:xfrm>
        </p:grpSpPr>
        <p:pic>
          <p:nvPicPr>
            <p:cNvPr id="8" name="Picture 7">
              <a:extLst>
                <a:ext uri="{FF2B5EF4-FFF2-40B4-BE49-F238E27FC236}">
                  <a16:creationId xmlns:a16="http://schemas.microsoft.com/office/drawing/2014/main" id="{1D4BAFAB-C41D-5A55-5D8F-009054454089}"/>
                </a:ext>
              </a:extLst>
            </p:cNvPr>
            <p:cNvPicPr>
              <a:picLocks noChangeAspect="1"/>
            </p:cNvPicPr>
            <p:nvPr/>
          </p:nvPicPr>
          <p:blipFill rotWithShape="1">
            <a:blip r:embed="rId2"/>
            <a:srcRect t="65846" r="24242" b="24086"/>
            <a:stretch/>
          </p:blipFill>
          <p:spPr>
            <a:xfrm>
              <a:off x="0" y="-122663"/>
              <a:ext cx="12192000" cy="333501"/>
            </a:xfrm>
            <a:prstGeom prst="rect">
              <a:avLst/>
            </a:prstGeom>
          </p:spPr>
        </p:pic>
        <p:pic>
          <p:nvPicPr>
            <p:cNvPr id="9" name="Picture 8">
              <a:extLst>
                <a:ext uri="{FF2B5EF4-FFF2-40B4-BE49-F238E27FC236}">
                  <a16:creationId xmlns:a16="http://schemas.microsoft.com/office/drawing/2014/main" id="{B6C83757-929E-4D4E-7707-7E57F1613FE4}"/>
                </a:ext>
              </a:extLst>
            </p:cNvPr>
            <p:cNvPicPr>
              <a:picLocks noChangeAspect="1"/>
            </p:cNvPicPr>
            <p:nvPr/>
          </p:nvPicPr>
          <p:blipFill rotWithShape="1">
            <a:blip r:embed="rId3"/>
            <a:srcRect r="51551" b="44433"/>
            <a:stretch/>
          </p:blipFill>
          <p:spPr>
            <a:xfrm>
              <a:off x="7938663" y="161520"/>
              <a:ext cx="4253338" cy="230356"/>
            </a:xfrm>
            <a:prstGeom prst="rect">
              <a:avLst/>
            </a:prstGeom>
          </p:spPr>
        </p:pic>
      </p:grpSp>
      <p:grpSp>
        <p:nvGrpSpPr>
          <p:cNvPr id="2" name="Group 1">
            <a:extLst>
              <a:ext uri="{FF2B5EF4-FFF2-40B4-BE49-F238E27FC236}">
                <a16:creationId xmlns:a16="http://schemas.microsoft.com/office/drawing/2014/main" id="{88545344-8A71-64DB-3765-C1C3A1DFB8B2}"/>
              </a:ext>
            </a:extLst>
          </p:cNvPr>
          <p:cNvGrpSpPr/>
          <p:nvPr userDrawn="1"/>
        </p:nvGrpSpPr>
        <p:grpSpPr>
          <a:xfrm rot="16200000" flipV="1">
            <a:off x="8751674" y="3417675"/>
            <a:ext cx="6365563" cy="515087"/>
            <a:chOff x="-257398" y="-122663"/>
            <a:chExt cx="12449399" cy="514539"/>
          </a:xfrm>
        </p:grpSpPr>
        <p:pic>
          <p:nvPicPr>
            <p:cNvPr id="3" name="Picture 2">
              <a:extLst>
                <a:ext uri="{FF2B5EF4-FFF2-40B4-BE49-F238E27FC236}">
                  <a16:creationId xmlns:a16="http://schemas.microsoft.com/office/drawing/2014/main" id="{77E6434D-FE6F-992D-529B-9CBB226CE2BC}"/>
                </a:ext>
              </a:extLst>
            </p:cNvPr>
            <p:cNvPicPr>
              <a:picLocks noChangeAspect="1"/>
            </p:cNvPicPr>
            <p:nvPr/>
          </p:nvPicPr>
          <p:blipFill rotWithShape="1">
            <a:blip r:embed="rId2"/>
            <a:srcRect t="65846" r="24242" b="24086"/>
            <a:stretch/>
          </p:blipFill>
          <p:spPr>
            <a:xfrm>
              <a:off x="-257398" y="-122663"/>
              <a:ext cx="12192003" cy="333501"/>
            </a:xfrm>
            <a:prstGeom prst="rect">
              <a:avLst/>
            </a:prstGeom>
          </p:spPr>
        </p:pic>
        <p:pic>
          <p:nvPicPr>
            <p:cNvPr id="6" name="Picture 5">
              <a:extLst>
                <a:ext uri="{FF2B5EF4-FFF2-40B4-BE49-F238E27FC236}">
                  <a16:creationId xmlns:a16="http://schemas.microsoft.com/office/drawing/2014/main" id="{2E225058-F342-92C4-8890-70FD2EDBBE11}"/>
                </a:ext>
              </a:extLst>
            </p:cNvPr>
            <p:cNvPicPr>
              <a:picLocks noChangeAspect="1"/>
            </p:cNvPicPr>
            <p:nvPr/>
          </p:nvPicPr>
          <p:blipFill rotWithShape="1">
            <a:blip r:embed="rId3"/>
            <a:srcRect r="51551" b="44433"/>
            <a:stretch/>
          </p:blipFill>
          <p:spPr>
            <a:xfrm>
              <a:off x="7938663" y="161520"/>
              <a:ext cx="4253338" cy="230356"/>
            </a:xfrm>
            <a:prstGeom prst="rect">
              <a:avLst/>
            </a:prstGeom>
          </p:spPr>
        </p:pic>
      </p:grpSp>
    </p:spTree>
    <p:extLst>
      <p:ext uri="{BB962C8B-B14F-4D97-AF65-F5344CB8AC3E}">
        <p14:creationId xmlns:p14="http://schemas.microsoft.com/office/powerpoint/2010/main" val="138406387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7822507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253032221"/>
      </p:ext>
    </p:extLst>
  </p:cSld>
  <p:clrMapOvr>
    <a:masterClrMapping/>
  </p:clrMapOvr>
  <p:transition>
    <p:fade/>
  </p:transition>
  <p:hf hd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3885986206"/>
      </p:ext>
    </p:extLst>
  </p:cSld>
  <p:clrMapOvr>
    <a:masterClrMapping/>
  </p:clrMapOvr>
  <p:transition>
    <p:fade/>
  </p:transition>
  <p:hf hdr="0" dt="0"/>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3751319834"/>
      </p:ext>
    </p:extLst>
  </p:cSld>
  <p:clrMapOvr>
    <a:masterClrMapping/>
  </p:clrMapOvr>
  <p:transition>
    <p:fade/>
  </p:transition>
  <p:hf hd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96543811"/>
      </p:ext>
    </p:extLst>
  </p:cSld>
  <p:clrMapOvr>
    <a:masterClrMapping/>
  </p:clrMapOvr>
  <p:transition>
    <p:fade/>
  </p:transition>
  <p:hf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30002846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5029868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04513945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8026787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62786874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3_Divider - Deloitte black">
    <p:bg bwMode="gray">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E74423-FD40-4F63-8EB9-2615440851C4}"/>
              </a:ext>
            </a:extLst>
          </p:cNvPr>
          <p:cNvSpPr/>
          <p:nvPr userDrawn="1"/>
        </p:nvSpPr>
        <p:spPr bwMode="gray">
          <a:xfrm>
            <a:off x="0" y="2376707"/>
            <a:ext cx="12192000" cy="1787087"/>
          </a:xfrm>
          <a:prstGeom prst="rect">
            <a:avLst/>
          </a:prstGeom>
          <a:solidFill>
            <a:srgbClr val="000000">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descr="A close up of a circuit board&#10;&#10;Description automatically generated">
            <a:extLst>
              <a:ext uri="{FF2B5EF4-FFF2-40B4-BE49-F238E27FC236}">
                <a16:creationId xmlns:a16="http://schemas.microsoft.com/office/drawing/2014/main" id="{CC50162E-219A-B1A2-649E-5AAA9F41C821}"/>
              </a:ext>
            </a:extLst>
          </p:cNvPr>
          <p:cNvPicPr>
            <a:picLocks noChangeAspect="1"/>
          </p:cNvPicPr>
          <p:nvPr userDrawn="1"/>
        </p:nvPicPr>
        <p:blipFill>
          <a:blip r:embed="rId2">
            <a:alphaModFix amt="48000"/>
            <a:extLst>
              <a:ext uri="{28A0092B-C50C-407E-A947-70E740481C1C}">
                <a14:useLocalDpi xmlns:a14="http://schemas.microsoft.com/office/drawing/2010/main" val="0"/>
              </a:ext>
            </a:extLst>
          </a:blip>
          <a:stretch>
            <a:fillRect/>
          </a:stretch>
        </p:blipFill>
        <p:spPr>
          <a:xfrm>
            <a:off x="0" y="199292"/>
            <a:ext cx="12192000" cy="6658708"/>
          </a:xfrm>
          <a:prstGeom prst="rect">
            <a:avLst/>
          </a:prstGeom>
          <a:blipFill>
            <a:blip r:embed="rId3">
              <a:extLst>
                <a:ext uri="{96DAC541-7B7A-43D3-8B79-37D633B846F1}">
                  <asvg:svgBlip xmlns:asvg="http://schemas.microsoft.com/office/drawing/2016/SVG/main" r:embed="rId4"/>
                </a:ext>
              </a:extLst>
            </a:blip>
            <a:stretch>
              <a:fillRect/>
            </a:stretch>
          </a:blipFill>
        </p:spPr>
      </p:pic>
      <p:sp>
        <p:nvSpPr>
          <p:cNvPr id="18" name="Title 1"/>
          <p:cNvSpPr>
            <a:spLocks noGrp="1"/>
          </p:cNvSpPr>
          <p:nvPr>
            <p:ph type="title"/>
          </p:nvPr>
        </p:nvSpPr>
        <p:spPr bwMode="gray">
          <a:xfrm>
            <a:off x="469900" y="2988827"/>
            <a:ext cx="10418233" cy="562846"/>
          </a:xfrm>
        </p:spPr>
        <p:txBody>
          <a:bodyPr vert="horz" lIns="0" tIns="0" rIns="0" bIns="0" rtlCol="0" anchor="b" anchorCtr="0">
            <a:spAutoFit/>
          </a:bodyPr>
          <a:lstStyle>
            <a:lvl1pPr>
              <a:defRPr lang="en-CA" sz="3850" noProof="0" dirty="0">
                <a:solidFill>
                  <a:schemeClr val="bg1"/>
                </a:solidFill>
                <a:ea typeface="Open Sans" panose="020B0606030504020204" pitchFamily="34" charset="0"/>
                <a:cs typeface="Open Sans" panose="020B0606030504020204" pitchFamily="34" charset="0"/>
              </a:defRPr>
            </a:lvl1pPr>
          </a:lstStyle>
          <a:p>
            <a:pPr lvl="0">
              <a:lnSpc>
                <a:spcPct val="95000"/>
              </a:lnSpc>
            </a:pPr>
            <a:r>
              <a:rPr lang="en-US" noProof="0"/>
              <a:t>Click to edit Master title style</a:t>
            </a:r>
            <a:endParaRPr lang="en-CA" noProof="0"/>
          </a:p>
        </p:txBody>
      </p:sp>
    </p:spTree>
    <p:extLst>
      <p:ext uri="{BB962C8B-B14F-4D97-AF65-F5344CB8AC3E}">
        <p14:creationId xmlns:p14="http://schemas.microsoft.com/office/powerpoint/2010/main" val="10205684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5654797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89087174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17365110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37051087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99214113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13577852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8841"/>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58424277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86454431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34B4A229-FF50-4050-8C22-828F5A79CA23}"/>
              </a:ext>
            </a:extLst>
          </p:cNvPr>
          <p:cNvPicPr>
            <a:picLocks noChangeAspect="1"/>
          </p:cNvPicPr>
          <p:nvPr userDrawn="1"/>
        </p:nvPicPr>
        <p:blipFill>
          <a:blip r:embed="rId2"/>
          <a:stretch>
            <a:fillRect/>
          </a:stretch>
        </p:blipFill>
        <p:spPr>
          <a:xfrm>
            <a:off x="2895600" y="457200"/>
            <a:ext cx="6400800" cy="6400800"/>
          </a:xfrm>
          <a:prstGeom prst="rect">
            <a:avLst/>
          </a:prstGeom>
        </p:spPr>
      </p:pic>
      <p:sp>
        <p:nvSpPr>
          <p:cNvPr id="2" name="Title 1">
            <a:extLst>
              <a:ext uri="{FF2B5EF4-FFF2-40B4-BE49-F238E27FC236}">
                <a16:creationId xmlns:a16="http://schemas.microsoft.com/office/drawing/2014/main" id="{15A97FB2-6419-45F1-ACC5-B5CDB8B3297E}"/>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258153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7681888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5_Divider - Deloitte black">
    <p:bg bwMode="gray">
      <p:bgPr>
        <a:blipFill dpi="0" rotWithShape="1">
          <a:blip r:embed="rId2">
            <a:lum/>
          </a:blip>
          <a:srcRect/>
          <a:stretch>
            <a:fillRect l="-19000" r="-12000"/>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E74423-FD40-4F63-8EB9-2615440851C4}"/>
              </a:ext>
            </a:extLst>
          </p:cNvPr>
          <p:cNvSpPr/>
          <p:nvPr userDrawn="1"/>
        </p:nvSpPr>
        <p:spPr bwMode="gray">
          <a:xfrm>
            <a:off x="0" y="2376707"/>
            <a:ext cx="12192000" cy="1787087"/>
          </a:xfrm>
          <a:prstGeom prst="rect">
            <a:avLst/>
          </a:prstGeom>
          <a:solidFill>
            <a:srgbClr val="000000">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Title 1"/>
          <p:cNvSpPr>
            <a:spLocks noGrp="1"/>
          </p:cNvSpPr>
          <p:nvPr>
            <p:ph type="title"/>
          </p:nvPr>
        </p:nvSpPr>
        <p:spPr bwMode="gray">
          <a:xfrm>
            <a:off x="469900" y="2988827"/>
            <a:ext cx="10418233" cy="562846"/>
          </a:xfrm>
        </p:spPr>
        <p:txBody>
          <a:bodyPr vert="horz" lIns="0" tIns="0" rIns="0" bIns="0" rtlCol="0" anchor="b" anchorCtr="0">
            <a:spAutoFit/>
          </a:bodyPr>
          <a:lstStyle>
            <a:lvl1pPr>
              <a:defRPr lang="en-CA" sz="3850" noProof="0" dirty="0">
                <a:solidFill>
                  <a:schemeClr val="bg1"/>
                </a:solidFill>
                <a:ea typeface="Open Sans" panose="020B0606030504020204" pitchFamily="34" charset="0"/>
                <a:cs typeface="Open Sans" panose="020B0606030504020204" pitchFamily="34" charset="0"/>
              </a:defRPr>
            </a:lvl1pPr>
          </a:lstStyle>
          <a:p>
            <a:pPr lvl="0">
              <a:lnSpc>
                <a:spcPct val="95000"/>
              </a:lnSpc>
            </a:pPr>
            <a:r>
              <a:rPr lang="en-US" noProof="0"/>
              <a:t>Click to edit Master title style</a:t>
            </a:r>
            <a:endParaRPr lang="en-CA" noProof="0"/>
          </a:p>
        </p:txBody>
      </p:sp>
    </p:spTree>
    <p:extLst>
      <p:ext uri="{BB962C8B-B14F-4D97-AF65-F5344CB8AC3E}">
        <p14:creationId xmlns:p14="http://schemas.microsoft.com/office/powerpoint/2010/main" val="24061157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D7F45A3-CA2D-4671-A53D-6CD40425AD09}"/>
              </a:ext>
            </a:extLst>
          </p:cNvPr>
          <p:cNvSpPr/>
          <p:nvPr userDrawn="1"/>
        </p:nvSpPr>
        <p:spPr bwMode="gray">
          <a:xfrm>
            <a:off x="0" y="-10144"/>
            <a:ext cx="12192000" cy="68681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8" name="Picture 7" descr="Background pattern&#10;&#10;Description automatically generated">
            <a:extLst>
              <a:ext uri="{FF2B5EF4-FFF2-40B4-BE49-F238E27FC236}">
                <a16:creationId xmlns:a16="http://schemas.microsoft.com/office/drawing/2014/main" id="{A3F9BAA7-6D5E-41BB-B6E3-29B1651927BF}"/>
              </a:ext>
            </a:extLst>
          </p:cNvPr>
          <p:cNvPicPr>
            <a:picLocks noChangeAspect="1"/>
          </p:cNvPicPr>
          <p:nvPr userDrawn="1"/>
        </p:nvPicPr>
        <p:blipFill rotWithShape="1">
          <a:blip r:embed="rId2" cstate="print">
            <a:alphaModFix amt="45000"/>
            <a:extLst>
              <a:ext uri="{28A0092B-C50C-407E-A947-70E740481C1C}">
                <a14:useLocalDpi xmlns:a14="http://schemas.microsoft.com/office/drawing/2010/main"/>
              </a:ext>
            </a:extLst>
          </a:blip>
          <a:srcRect/>
          <a:stretch/>
        </p:blipFill>
        <p:spPr>
          <a:xfrm>
            <a:off x="3054754" y="3672349"/>
            <a:ext cx="9137246" cy="3185652"/>
          </a:xfrm>
          <a:prstGeom prst="rect">
            <a:avLst/>
          </a:prstGeom>
        </p:spPr>
      </p:pic>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9" name="CaseCode">
            <a:extLst>
              <a:ext uri="{FF2B5EF4-FFF2-40B4-BE49-F238E27FC236}">
                <a16:creationId xmlns:a16="http://schemas.microsoft.com/office/drawing/2014/main" id="{21742B2F-F8A2-4D93-87FF-7BE0B03E8157}"/>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Global P&amp;UR Sales Deck</a:t>
            </a:r>
          </a:p>
        </p:txBody>
      </p:sp>
      <p:sp>
        <p:nvSpPr>
          <p:cNvPr id="10" name="Copyright">
            <a:extLst>
              <a:ext uri="{FF2B5EF4-FFF2-40B4-BE49-F238E27FC236}">
                <a16:creationId xmlns:a16="http://schemas.microsoft.com/office/drawing/2014/main" id="{F52D8E1D-77B0-4CD8-9D6B-68A46B750380}"/>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eloitte | Global Power, Utilities &amp; Renewables Sector</a:t>
            </a:r>
          </a:p>
        </p:txBody>
      </p:sp>
      <p:sp>
        <p:nvSpPr>
          <p:cNvPr id="11" name="TextBox 10">
            <a:extLst>
              <a:ext uri="{FF2B5EF4-FFF2-40B4-BE49-F238E27FC236}">
                <a16:creationId xmlns:a16="http://schemas.microsoft.com/office/drawing/2014/main" id="{BAC97FB9-FB71-4D68-B5D6-A79C2FAA421E}"/>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1489016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pic>
        <p:nvPicPr>
          <p:cNvPr id="12" name="Picture 11" descr="A picture containing art, drawing, graphics, illustration&#10;&#10;Description automatically generated">
            <a:extLst>
              <a:ext uri="{FF2B5EF4-FFF2-40B4-BE49-F238E27FC236}">
                <a16:creationId xmlns:a16="http://schemas.microsoft.com/office/drawing/2014/main" id="{C8344486-048F-4F38-A745-6572A340FAF9}"/>
              </a:ext>
            </a:extLst>
          </p:cNvPr>
          <p:cNvPicPr>
            <a:picLocks noChangeAspect="1"/>
          </p:cNvPicPr>
          <p:nvPr userDrawn="1"/>
        </p:nvPicPr>
        <p:blipFill>
          <a:blip r:embed="rId2">
            <a:alphaModFix amt="32000"/>
          </a:blip>
          <a:stretch>
            <a:fillRect/>
          </a:stretch>
        </p:blipFill>
        <p:spPr>
          <a:xfrm>
            <a:off x="0" y="0"/>
            <a:ext cx="12192000" cy="6858000"/>
          </a:xfrm>
          <a:prstGeom prst="rect">
            <a:avLst/>
          </a:prstGeom>
        </p:spPr>
      </p:pic>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1" name="TextBox 10">
            <a:extLst>
              <a:ext uri="{FF2B5EF4-FFF2-40B4-BE49-F238E27FC236}">
                <a16:creationId xmlns:a16="http://schemas.microsoft.com/office/drawing/2014/main" id="{BAC97FB9-FB71-4D68-B5D6-A79C2FAA421E}"/>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0509543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8344486-048F-4F38-A745-6572A340FAF9}"/>
              </a:ext>
            </a:extLst>
          </p:cNvPr>
          <p:cNvPicPr>
            <a:picLocks noChangeAspect="1"/>
          </p:cNvPicPr>
          <p:nvPr userDrawn="1"/>
        </p:nvPicPr>
        <p:blipFill>
          <a:blip r:embed="rId2">
            <a:alphaModFix amt="54000"/>
          </a:blip>
          <a:srcRect/>
          <a:stretch/>
        </p:blipFill>
        <p:spPr>
          <a:xfrm>
            <a:off x="0" y="0"/>
            <a:ext cx="12192000" cy="6857999"/>
          </a:xfrm>
          <a:prstGeom prst="rect">
            <a:avLst/>
          </a:prstGeom>
          <a:effectLst/>
        </p:spPr>
      </p:pic>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1" name="TextBox 10">
            <a:extLst>
              <a:ext uri="{FF2B5EF4-FFF2-40B4-BE49-F238E27FC236}">
                <a16:creationId xmlns:a16="http://schemas.microsoft.com/office/drawing/2014/main" id="{BAC97FB9-FB71-4D68-B5D6-A79C2FAA421E}"/>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7395059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bg>
      <p:bgPr>
        <a:solidFill>
          <a:schemeClr val="tx1"/>
        </a:solidFill>
        <a:effectLst/>
      </p:bgPr>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FF5B25D2-A7FE-4908-98AF-E924B3F85004}"/>
              </a:ext>
            </a:extLst>
          </p:cNvPr>
          <p:cNvPicPr>
            <a:picLocks noChangeAspect="1"/>
          </p:cNvPicPr>
          <p:nvPr userDrawn="1"/>
        </p:nvPicPr>
        <p:blipFill rotWithShape="1">
          <a:blip r:embed="rId2" cstate="print">
            <a:alphaModFix amt="45000"/>
            <a:extLst>
              <a:ext uri="{28A0092B-C50C-407E-A947-70E740481C1C}">
                <a14:useLocalDpi xmlns:a14="http://schemas.microsoft.com/office/drawing/2010/main"/>
              </a:ext>
            </a:extLst>
          </a:blip>
          <a:srcRect/>
          <a:stretch/>
        </p:blipFill>
        <p:spPr>
          <a:xfrm>
            <a:off x="3054754" y="3672349"/>
            <a:ext cx="9137246" cy="3185652"/>
          </a:xfrm>
          <a:prstGeom prst="rect">
            <a:avLst/>
          </a:prstGeom>
        </p:spPr>
      </p:pic>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2034120849"/>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281649385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9546774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gradFill>
          <a:gsLst>
            <a:gs pos="0">
              <a:schemeClr val="tx1">
                <a:lumMod val="75000"/>
                <a:lumOff val="25000"/>
              </a:schemeClr>
            </a:gs>
            <a:gs pos="63000">
              <a:schemeClr val="tx1"/>
            </a:gs>
          </a:gsLst>
          <a:lin ang="5400000" scaled="1"/>
        </a:gradFill>
        <a:effectLst/>
      </p:bgPr>
    </p:bg>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142F8518-7CC9-4162-9837-43F15B83D1AE}"/>
              </a:ext>
            </a:extLst>
          </p:cNvPr>
          <p:cNvPicPr>
            <a:picLocks noChangeAspect="1"/>
          </p:cNvPicPr>
          <p:nvPr userDrawn="1"/>
        </p:nvPicPr>
        <p:blipFill rotWithShape="1">
          <a:blip r:embed="rId2"/>
          <a:srcRect r="5201" b="33669"/>
          <a:stretch/>
        </p:blipFill>
        <p:spPr>
          <a:xfrm>
            <a:off x="6836830" y="4990949"/>
            <a:ext cx="5355169" cy="1867051"/>
          </a:xfrm>
          <a:prstGeom prst="rect">
            <a:avLst/>
          </a:prstGeom>
        </p:spPr>
      </p:pic>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ster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3754408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288782809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62190004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474620114"/>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6_Divider - Deloitte black">
    <p:bg bwMode="gray">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E74423-FD40-4F63-8EB9-2615440851C4}"/>
              </a:ext>
            </a:extLst>
          </p:cNvPr>
          <p:cNvSpPr/>
          <p:nvPr userDrawn="1"/>
        </p:nvSpPr>
        <p:spPr bwMode="gray">
          <a:xfrm>
            <a:off x="0" y="2376707"/>
            <a:ext cx="12192000" cy="1787087"/>
          </a:xfrm>
          <a:prstGeom prst="rect">
            <a:avLst/>
          </a:prstGeom>
          <a:solidFill>
            <a:srgbClr val="000000">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Title 1"/>
          <p:cNvSpPr>
            <a:spLocks noGrp="1"/>
          </p:cNvSpPr>
          <p:nvPr>
            <p:ph type="title"/>
          </p:nvPr>
        </p:nvSpPr>
        <p:spPr bwMode="gray">
          <a:xfrm>
            <a:off x="469900" y="2988827"/>
            <a:ext cx="10418233" cy="562846"/>
          </a:xfrm>
        </p:spPr>
        <p:txBody>
          <a:bodyPr vert="horz" lIns="0" tIns="0" rIns="0" bIns="0" rtlCol="0" anchor="b" anchorCtr="0">
            <a:spAutoFit/>
          </a:bodyPr>
          <a:lstStyle>
            <a:lvl1pPr>
              <a:defRPr lang="en-CA" sz="3850" noProof="0" dirty="0">
                <a:solidFill>
                  <a:schemeClr val="bg1"/>
                </a:solidFill>
                <a:ea typeface="Open Sans" panose="020B0606030504020204" pitchFamily="34" charset="0"/>
                <a:cs typeface="Open Sans" panose="020B0606030504020204" pitchFamily="34" charset="0"/>
              </a:defRPr>
            </a:lvl1pPr>
          </a:lstStyle>
          <a:p>
            <a:pPr lvl="0">
              <a:lnSpc>
                <a:spcPct val="95000"/>
              </a:lnSpc>
            </a:pPr>
            <a:r>
              <a:rPr lang="en-US" noProof="0"/>
              <a:t>Click to edit Master title style</a:t>
            </a:r>
            <a:endParaRPr lang="en-CA" noProof="0"/>
          </a:p>
        </p:txBody>
      </p:sp>
    </p:spTree>
    <p:extLst>
      <p:ext uri="{BB962C8B-B14F-4D97-AF65-F5344CB8AC3E}">
        <p14:creationId xmlns:p14="http://schemas.microsoft.com/office/powerpoint/2010/main" val="26085463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4_Title, subtitle &amp; 1 column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526076-639C-4E76-A028-7B2E2A8C077B}"/>
              </a:ext>
            </a:extLst>
          </p:cNvPr>
          <p:cNvGraphicFramePr>
            <a:graphicFrameLocks noChangeAspect="1"/>
          </p:cNvGraphicFramePr>
          <p:nvPr userDrawn="1">
            <p:custDataLst>
              <p:tags r:id="rId1"/>
            </p:custDataLst>
            <p:extLst>
              <p:ext uri="{D42A27DB-BD31-4B8C-83A1-F6EECF244321}">
                <p14:modId xmlns:p14="http://schemas.microsoft.com/office/powerpoint/2010/main" val="1887902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09526076-639C-4E76-A028-7B2E2A8C07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rtl="0">
              <a:buNone/>
              <a:defRPr sz="1800" b="0">
                <a:solidFill>
                  <a:srgbClr val="575757"/>
                </a:solidFill>
              </a:defRPr>
            </a:lvl1pPr>
          </a:lstStyle>
          <a:p>
            <a:pPr lvl="0"/>
            <a:r>
              <a:rPr lang="de-DE" noProof="0"/>
              <a:t>Click to add subtitle</a:t>
            </a:r>
          </a:p>
        </p:txBody>
      </p:sp>
      <p:sp>
        <p:nvSpPr>
          <p:cNvPr id="14" name="Title Placeholder 1"/>
          <p:cNvSpPr>
            <a:spLocks noGrp="1"/>
          </p:cNvSpPr>
          <p:nvPr>
            <p:ph type="title"/>
          </p:nvPr>
        </p:nvSpPr>
        <p:spPr>
          <a:xfrm>
            <a:off x="502920" y="341812"/>
            <a:ext cx="11252200" cy="334102"/>
          </a:xfrm>
          <a:prstGeom prst="rect">
            <a:avLst/>
          </a:prstGeom>
        </p:spPr>
        <p:txBody>
          <a:bodyPr vert="horz" lIns="0" tIns="0" rIns="0" bIns="0" rtlCol="0" anchor="t" anchorCtr="0">
            <a:noAutofit/>
          </a:bodyPr>
          <a:lstStyle>
            <a:lvl1pPr rtl="0">
              <a:defRPr sz="2100"/>
            </a:lvl1pPr>
          </a:lstStyle>
          <a:p>
            <a:r>
              <a:rPr lang="de-DE"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lvl1pPr rtl="0">
              <a:defRPr/>
            </a:lvl1pPr>
            <a:lvl2pPr rtl="0">
              <a:defRPr/>
            </a:lvl2pPr>
            <a:lvl3pPr rtl="0">
              <a:defRPr/>
            </a:lvl3pPr>
            <a:lvl4pPr rtl="0">
              <a:defRPr/>
            </a:lvl4pPr>
            <a:lvl5pPr rtl="0">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Tree>
    <p:extLst>
      <p:ext uri="{BB962C8B-B14F-4D97-AF65-F5344CB8AC3E}">
        <p14:creationId xmlns:p14="http://schemas.microsoft.com/office/powerpoint/2010/main" val="2755951717"/>
      </p:ext>
    </p:extLst>
  </p:cSld>
  <p:clrMapOvr>
    <a:masterClrMapping/>
  </p:clrMapOvr>
  <p:transition>
    <p:fade/>
  </p:transition>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136012590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6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78378241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7_Divider - Deloitte black">
    <p:bg bwMode="gray">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E74423-FD40-4F63-8EB9-2615440851C4}"/>
              </a:ext>
            </a:extLst>
          </p:cNvPr>
          <p:cNvSpPr/>
          <p:nvPr userDrawn="1"/>
        </p:nvSpPr>
        <p:spPr bwMode="gray">
          <a:xfrm>
            <a:off x="0" y="2376707"/>
            <a:ext cx="12192000" cy="1787087"/>
          </a:xfrm>
          <a:prstGeom prst="rect">
            <a:avLst/>
          </a:prstGeom>
          <a:solidFill>
            <a:srgbClr val="000000">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Title 1"/>
          <p:cNvSpPr>
            <a:spLocks noGrp="1"/>
          </p:cNvSpPr>
          <p:nvPr>
            <p:ph type="title"/>
          </p:nvPr>
        </p:nvSpPr>
        <p:spPr bwMode="gray">
          <a:xfrm>
            <a:off x="469900" y="2988827"/>
            <a:ext cx="10418233" cy="562846"/>
          </a:xfrm>
        </p:spPr>
        <p:txBody>
          <a:bodyPr vert="horz" lIns="0" tIns="0" rIns="0" bIns="0" rtlCol="0" anchor="b" anchorCtr="0">
            <a:spAutoFit/>
          </a:bodyPr>
          <a:lstStyle>
            <a:lvl1pPr>
              <a:defRPr lang="en-CA" sz="3850" noProof="0" dirty="0">
                <a:solidFill>
                  <a:schemeClr val="bg1"/>
                </a:solidFill>
                <a:ea typeface="Open Sans" panose="020B0606030504020204" pitchFamily="34" charset="0"/>
                <a:cs typeface="Open Sans" panose="020B0606030504020204" pitchFamily="34" charset="0"/>
              </a:defRPr>
            </a:lvl1pPr>
          </a:lstStyle>
          <a:p>
            <a:pPr lvl="0">
              <a:lnSpc>
                <a:spcPct val="95000"/>
              </a:lnSpc>
            </a:pPr>
            <a:r>
              <a:rPr lang="en-US" noProof="0"/>
              <a:t>Click to edit Master title style</a:t>
            </a:r>
            <a:endParaRPr lang="en-CA" noProof="0"/>
          </a:p>
        </p:txBody>
      </p:sp>
    </p:spTree>
    <p:extLst>
      <p:ext uri="{BB962C8B-B14F-4D97-AF65-F5344CB8AC3E}">
        <p14:creationId xmlns:p14="http://schemas.microsoft.com/office/powerpoint/2010/main" val="11478602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FE919537-8CE7-4809-834D-08D64026E9F1}" type="slidenum">
              <a:rPr lang="en-ZA" smtClean="0"/>
              <a:t>‹#›</a:t>
            </a:fld>
            <a:endParaRPr lang="en-ZA"/>
          </a:p>
        </p:txBody>
      </p:sp>
    </p:spTree>
    <p:extLst>
      <p:ext uri="{BB962C8B-B14F-4D97-AF65-F5344CB8AC3E}">
        <p14:creationId xmlns:p14="http://schemas.microsoft.com/office/powerpoint/2010/main" val="2226633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9_Divider - Deloitte black">
    <p:bg bwMode="gray">
      <p:bgPr>
        <a:blipFill dpi="0" rotWithShape="1">
          <a:blip r:embed="rId2">
            <a:lum/>
          </a:blip>
          <a:srcRect/>
          <a:stretch>
            <a:fillRect t="-8000" b="-8000"/>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E74423-FD40-4F63-8EB9-2615440851C4}"/>
              </a:ext>
            </a:extLst>
          </p:cNvPr>
          <p:cNvSpPr/>
          <p:nvPr userDrawn="1"/>
        </p:nvSpPr>
        <p:spPr bwMode="gray">
          <a:xfrm>
            <a:off x="0" y="2376707"/>
            <a:ext cx="12192000" cy="1787087"/>
          </a:xfrm>
          <a:prstGeom prst="rect">
            <a:avLst/>
          </a:prstGeom>
          <a:solidFill>
            <a:srgbClr val="000000">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Title 1"/>
          <p:cNvSpPr>
            <a:spLocks noGrp="1"/>
          </p:cNvSpPr>
          <p:nvPr>
            <p:ph type="title"/>
          </p:nvPr>
        </p:nvSpPr>
        <p:spPr bwMode="gray">
          <a:xfrm>
            <a:off x="469900" y="2988827"/>
            <a:ext cx="10418233" cy="562846"/>
          </a:xfrm>
        </p:spPr>
        <p:txBody>
          <a:bodyPr vert="horz" lIns="0" tIns="0" rIns="0" bIns="0" rtlCol="0" anchor="b" anchorCtr="0">
            <a:spAutoFit/>
          </a:bodyPr>
          <a:lstStyle>
            <a:lvl1pPr>
              <a:defRPr lang="en-CA" sz="3850" noProof="0" dirty="0">
                <a:solidFill>
                  <a:schemeClr val="bg1"/>
                </a:solidFill>
                <a:ea typeface="Open Sans" panose="020B0606030504020204" pitchFamily="34" charset="0"/>
                <a:cs typeface="Open Sans" panose="020B0606030504020204" pitchFamily="34" charset="0"/>
              </a:defRPr>
            </a:lvl1pPr>
          </a:lstStyle>
          <a:p>
            <a:pPr lvl="0">
              <a:lnSpc>
                <a:spcPct val="95000"/>
              </a:lnSpc>
            </a:pPr>
            <a:r>
              <a:rPr lang="en-US" noProof="0"/>
              <a:t>Click to edit Master title style</a:t>
            </a:r>
            <a:endParaRPr lang="en-CA" noProof="0"/>
          </a:p>
        </p:txBody>
      </p:sp>
    </p:spTree>
    <p:extLst>
      <p:ext uri="{BB962C8B-B14F-4D97-AF65-F5344CB8AC3E}">
        <p14:creationId xmlns:p14="http://schemas.microsoft.com/office/powerpoint/2010/main" val="30992445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0_Divider - Deloitte black">
    <p:bg bwMode="gray">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E74423-FD40-4F63-8EB9-2615440851C4}"/>
              </a:ext>
            </a:extLst>
          </p:cNvPr>
          <p:cNvSpPr/>
          <p:nvPr userDrawn="1"/>
        </p:nvSpPr>
        <p:spPr bwMode="gray">
          <a:xfrm>
            <a:off x="0" y="2376707"/>
            <a:ext cx="12192000" cy="1787087"/>
          </a:xfrm>
          <a:prstGeom prst="rect">
            <a:avLst/>
          </a:prstGeom>
          <a:solidFill>
            <a:srgbClr val="000000">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Title 1"/>
          <p:cNvSpPr>
            <a:spLocks noGrp="1"/>
          </p:cNvSpPr>
          <p:nvPr>
            <p:ph type="title"/>
          </p:nvPr>
        </p:nvSpPr>
        <p:spPr bwMode="gray">
          <a:xfrm>
            <a:off x="469900" y="2988827"/>
            <a:ext cx="10418233" cy="562846"/>
          </a:xfrm>
        </p:spPr>
        <p:txBody>
          <a:bodyPr vert="horz" lIns="0" tIns="0" rIns="0" bIns="0" rtlCol="0" anchor="b" anchorCtr="0">
            <a:spAutoFit/>
          </a:bodyPr>
          <a:lstStyle>
            <a:lvl1pPr>
              <a:defRPr lang="en-CA" sz="3850" noProof="0" dirty="0">
                <a:solidFill>
                  <a:schemeClr val="bg1"/>
                </a:solidFill>
                <a:ea typeface="Open Sans" panose="020B0606030504020204" pitchFamily="34" charset="0"/>
                <a:cs typeface="Open Sans" panose="020B0606030504020204" pitchFamily="34" charset="0"/>
              </a:defRPr>
            </a:lvl1pPr>
          </a:lstStyle>
          <a:p>
            <a:pPr lvl="0">
              <a:lnSpc>
                <a:spcPct val="95000"/>
              </a:lnSpc>
            </a:pPr>
            <a:r>
              <a:rPr lang="en-US" noProof="0"/>
              <a:t>Click to edit Master title style</a:t>
            </a:r>
            <a:endParaRPr lang="en-CA" noProof="0"/>
          </a:p>
        </p:txBody>
      </p:sp>
    </p:spTree>
    <p:extLst>
      <p:ext uri="{BB962C8B-B14F-4D97-AF65-F5344CB8AC3E}">
        <p14:creationId xmlns:p14="http://schemas.microsoft.com/office/powerpoint/2010/main" val="32624304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1_Divider - Deloitte black">
    <p:bg bwMode="gray">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E74423-FD40-4F63-8EB9-2615440851C4}"/>
              </a:ext>
            </a:extLst>
          </p:cNvPr>
          <p:cNvSpPr/>
          <p:nvPr userDrawn="1"/>
        </p:nvSpPr>
        <p:spPr bwMode="gray">
          <a:xfrm>
            <a:off x="0" y="2376707"/>
            <a:ext cx="12192000" cy="1787087"/>
          </a:xfrm>
          <a:prstGeom prst="rect">
            <a:avLst/>
          </a:prstGeom>
          <a:solidFill>
            <a:srgbClr val="000000">
              <a:alpha val="85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Title 1"/>
          <p:cNvSpPr>
            <a:spLocks noGrp="1"/>
          </p:cNvSpPr>
          <p:nvPr>
            <p:ph type="title"/>
          </p:nvPr>
        </p:nvSpPr>
        <p:spPr bwMode="gray">
          <a:xfrm>
            <a:off x="469900" y="2988827"/>
            <a:ext cx="10418233" cy="562846"/>
          </a:xfrm>
        </p:spPr>
        <p:txBody>
          <a:bodyPr vert="horz" lIns="0" tIns="0" rIns="0" bIns="0" rtlCol="0" anchor="b" anchorCtr="0">
            <a:spAutoFit/>
          </a:bodyPr>
          <a:lstStyle>
            <a:lvl1pPr>
              <a:defRPr lang="en-CA" sz="3850" noProof="0" dirty="0">
                <a:solidFill>
                  <a:schemeClr val="bg1"/>
                </a:solidFill>
                <a:ea typeface="Open Sans" panose="020B0606030504020204" pitchFamily="34" charset="0"/>
                <a:cs typeface="Open Sans" panose="020B0606030504020204" pitchFamily="34" charset="0"/>
              </a:defRPr>
            </a:lvl1pPr>
          </a:lstStyle>
          <a:p>
            <a:pPr lvl="0">
              <a:lnSpc>
                <a:spcPct val="95000"/>
              </a:lnSpc>
            </a:pPr>
            <a:r>
              <a:rPr lang="en-US" noProof="0"/>
              <a:t>Click to edit Master title style</a:t>
            </a:r>
            <a:endParaRPr lang="en-CA" noProof="0"/>
          </a:p>
        </p:txBody>
      </p:sp>
    </p:spTree>
    <p:extLst>
      <p:ext uri="{BB962C8B-B14F-4D97-AF65-F5344CB8AC3E}">
        <p14:creationId xmlns:p14="http://schemas.microsoft.com/office/powerpoint/2010/main" val="9766886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8_Divider - Deloitte black">
    <p:bg bwMode="gray">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E74423-FD40-4F63-8EB9-2615440851C4}"/>
              </a:ext>
            </a:extLst>
          </p:cNvPr>
          <p:cNvSpPr/>
          <p:nvPr userDrawn="1"/>
        </p:nvSpPr>
        <p:spPr bwMode="gray">
          <a:xfrm>
            <a:off x="0" y="2376707"/>
            <a:ext cx="12192000" cy="1787087"/>
          </a:xfrm>
          <a:prstGeom prst="rect">
            <a:avLst/>
          </a:prstGeom>
          <a:solidFill>
            <a:srgbClr val="000000">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Title 1"/>
          <p:cNvSpPr>
            <a:spLocks noGrp="1"/>
          </p:cNvSpPr>
          <p:nvPr>
            <p:ph type="title"/>
          </p:nvPr>
        </p:nvSpPr>
        <p:spPr bwMode="gray">
          <a:xfrm>
            <a:off x="469900" y="2988827"/>
            <a:ext cx="10418233" cy="562846"/>
          </a:xfrm>
        </p:spPr>
        <p:txBody>
          <a:bodyPr vert="horz" lIns="0" tIns="0" rIns="0" bIns="0" rtlCol="0" anchor="b" anchorCtr="0">
            <a:spAutoFit/>
          </a:bodyPr>
          <a:lstStyle>
            <a:lvl1pPr>
              <a:defRPr lang="en-CA" sz="3850" noProof="0" dirty="0">
                <a:solidFill>
                  <a:schemeClr val="bg1"/>
                </a:solidFill>
                <a:ea typeface="Open Sans" panose="020B0606030504020204" pitchFamily="34" charset="0"/>
                <a:cs typeface="Open Sans" panose="020B0606030504020204" pitchFamily="34" charset="0"/>
              </a:defRPr>
            </a:lvl1pPr>
          </a:lstStyle>
          <a:p>
            <a:pPr lvl="0">
              <a:lnSpc>
                <a:spcPct val="95000"/>
              </a:lnSpc>
            </a:pPr>
            <a:r>
              <a:rPr lang="en-US" noProof="0"/>
              <a:t>Click to edit Master title style</a:t>
            </a:r>
            <a:endParaRPr lang="en-CA" noProof="0"/>
          </a:p>
        </p:txBody>
      </p:sp>
    </p:spTree>
    <p:extLst>
      <p:ext uri="{BB962C8B-B14F-4D97-AF65-F5344CB8AC3E}">
        <p14:creationId xmlns:p14="http://schemas.microsoft.com/office/powerpoint/2010/main" val="42641570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3_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A light trails from a power line&#10;&#10;Description automatically generated">
            <a:extLst>
              <a:ext uri="{FF2B5EF4-FFF2-40B4-BE49-F238E27FC236}">
                <a16:creationId xmlns:a16="http://schemas.microsoft.com/office/drawing/2014/main" id="{CA4D1211-2377-1BA4-FC3E-BE200EBB08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63E74423-FD40-4F63-8EB9-2615440851C4}"/>
              </a:ext>
            </a:extLst>
          </p:cNvPr>
          <p:cNvSpPr/>
          <p:nvPr userDrawn="1"/>
        </p:nvSpPr>
        <p:spPr bwMode="gray">
          <a:xfrm>
            <a:off x="0" y="2535456"/>
            <a:ext cx="12192000" cy="1787087"/>
          </a:xfrm>
          <a:prstGeom prst="rect">
            <a:avLst/>
          </a:prstGeom>
          <a:solidFill>
            <a:srgbClr val="000000">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Title 1"/>
          <p:cNvSpPr>
            <a:spLocks noGrp="1"/>
          </p:cNvSpPr>
          <p:nvPr>
            <p:ph type="title"/>
          </p:nvPr>
        </p:nvSpPr>
        <p:spPr bwMode="gray">
          <a:xfrm>
            <a:off x="469900" y="2988827"/>
            <a:ext cx="10418233" cy="562846"/>
          </a:xfrm>
        </p:spPr>
        <p:txBody>
          <a:bodyPr vert="horz" lIns="0" tIns="0" rIns="0" bIns="0" rtlCol="0" anchor="b" anchorCtr="0">
            <a:spAutoFit/>
          </a:bodyPr>
          <a:lstStyle>
            <a:lvl1pPr>
              <a:defRPr lang="en-CA" sz="3850" noProof="0" dirty="0">
                <a:solidFill>
                  <a:schemeClr val="bg1"/>
                </a:solidFill>
                <a:ea typeface="Open Sans" panose="020B0606030504020204" pitchFamily="34" charset="0"/>
                <a:cs typeface="Open Sans" panose="020B0606030504020204" pitchFamily="34" charset="0"/>
              </a:defRPr>
            </a:lvl1pPr>
          </a:lstStyle>
          <a:p>
            <a:pPr lvl="0">
              <a:lnSpc>
                <a:spcPct val="95000"/>
              </a:lnSpc>
            </a:pPr>
            <a:r>
              <a:rPr lang="en-US" noProof="0"/>
              <a:t>Click to edit Master title style</a:t>
            </a:r>
            <a:endParaRPr lang="en-CA" noProof="0"/>
          </a:p>
        </p:txBody>
      </p:sp>
    </p:spTree>
    <p:extLst>
      <p:ext uri="{BB962C8B-B14F-4D97-AF65-F5344CB8AC3E}">
        <p14:creationId xmlns:p14="http://schemas.microsoft.com/office/powerpoint/2010/main" val="9178641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4_Divider - Deloitte black">
    <p:bg bwMode="gray">
      <p:bgPr>
        <a:solidFill>
          <a:schemeClr val="tx1"/>
        </a:solidFill>
        <a:effectLst/>
      </p:bgPr>
    </p:bg>
    <p:spTree>
      <p:nvGrpSpPr>
        <p:cNvPr id="1" name=""/>
        <p:cNvGrpSpPr/>
        <p:nvPr/>
      </p:nvGrpSpPr>
      <p:grpSpPr>
        <a:xfrm>
          <a:off x="0" y="0"/>
          <a:ext cx="0" cy="0"/>
          <a:chOff x="0" y="0"/>
          <a:chExt cx="0" cy="0"/>
        </a:xfrm>
      </p:grpSpPr>
      <p:pic>
        <p:nvPicPr>
          <p:cNvPr id="4" name="Picture 3" descr="A group of power lines&#10;&#10;Description automatically generated">
            <a:extLst>
              <a:ext uri="{FF2B5EF4-FFF2-40B4-BE49-F238E27FC236}">
                <a16:creationId xmlns:a16="http://schemas.microsoft.com/office/drawing/2014/main" id="{D68F6381-228F-E8B3-3B22-CA1B2DBE56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63E74423-FD40-4F63-8EB9-2615440851C4}"/>
              </a:ext>
            </a:extLst>
          </p:cNvPr>
          <p:cNvSpPr/>
          <p:nvPr userDrawn="1"/>
        </p:nvSpPr>
        <p:spPr bwMode="gray">
          <a:xfrm>
            <a:off x="0" y="2535456"/>
            <a:ext cx="12192000" cy="1787087"/>
          </a:xfrm>
          <a:prstGeom prst="rect">
            <a:avLst/>
          </a:prstGeom>
          <a:solidFill>
            <a:srgbClr val="000000">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Title 1"/>
          <p:cNvSpPr>
            <a:spLocks noGrp="1"/>
          </p:cNvSpPr>
          <p:nvPr>
            <p:ph type="title"/>
          </p:nvPr>
        </p:nvSpPr>
        <p:spPr bwMode="gray">
          <a:xfrm>
            <a:off x="469900" y="2988827"/>
            <a:ext cx="10418233" cy="562846"/>
          </a:xfrm>
        </p:spPr>
        <p:txBody>
          <a:bodyPr vert="horz" lIns="0" tIns="0" rIns="0" bIns="0" rtlCol="0" anchor="b" anchorCtr="0">
            <a:spAutoFit/>
          </a:bodyPr>
          <a:lstStyle>
            <a:lvl1pPr>
              <a:defRPr lang="en-CA" sz="3850" noProof="0" dirty="0">
                <a:solidFill>
                  <a:schemeClr val="bg1"/>
                </a:solidFill>
                <a:ea typeface="Open Sans" panose="020B0606030504020204" pitchFamily="34" charset="0"/>
                <a:cs typeface="Open Sans" panose="020B0606030504020204" pitchFamily="34" charset="0"/>
              </a:defRPr>
            </a:lvl1pPr>
          </a:lstStyle>
          <a:p>
            <a:pPr lvl="0">
              <a:lnSpc>
                <a:spcPct val="95000"/>
              </a:lnSpc>
            </a:pPr>
            <a:r>
              <a:rPr lang="en-US" noProof="0"/>
              <a:t>Click to edit Master title style</a:t>
            </a:r>
            <a:endParaRPr lang="en-CA" noProof="0"/>
          </a:p>
        </p:txBody>
      </p:sp>
    </p:spTree>
    <p:extLst>
      <p:ext uri="{BB962C8B-B14F-4D97-AF65-F5344CB8AC3E}">
        <p14:creationId xmlns:p14="http://schemas.microsoft.com/office/powerpoint/2010/main" val="3996684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2_Divider - Deloitte black">
    <p:bg bwMode="gray">
      <p:bgPr>
        <a:solidFill>
          <a:schemeClr val="tx1"/>
        </a:solidFill>
        <a:effectLst/>
      </p:bgPr>
    </p:bg>
    <p:spTree>
      <p:nvGrpSpPr>
        <p:cNvPr id="1" name=""/>
        <p:cNvGrpSpPr/>
        <p:nvPr/>
      </p:nvGrpSpPr>
      <p:grpSpPr>
        <a:xfrm>
          <a:off x="0" y="0"/>
          <a:ext cx="0" cy="0"/>
          <a:chOff x="0" y="0"/>
          <a:chExt cx="0" cy="0"/>
        </a:xfrm>
      </p:grpSpPr>
      <p:pic>
        <p:nvPicPr>
          <p:cNvPr id="4" name="Picture 3" descr="A group of power lines&#10;&#10;Description automatically generated">
            <a:extLst>
              <a:ext uri="{FF2B5EF4-FFF2-40B4-BE49-F238E27FC236}">
                <a16:creationId xmlns:a16="http://schemas.microsoft.com/office/drawing/2014/main" id="{D68F6381-228F-E8B3-3B22-CA1B2DBE56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63E74423-FD40-4F63-8EB9-2615440851C4}"/>
              </a:ext>
            </a:extLst>
          </p:cNvPr>
          <p:cNvSpPr/>
          <p:nvPr userDrawn="1"/>
        </p:nvSpPr>
        <p:spPr bwMode="gray">
          <a:xfrm>
            <a:off x="0" y="2535456"/>
            <a:ext cx="12192000" cy="1787087"/>
          </a:xfrm>
          <a:prstGeom prst="rect">
            <a:avLst/>
          </a:prstGeom>
          <a:solidFill>
            <a:srgbClr val="000000">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Title 1"/>
          <p:cNvSpPr>
            <a:spLocks noGrp="1"/>
          </p:cNvSpPr>
          <p:nvPr>
            <p:ph type="title"/>
          </p:nvPr>
        </p:nvSpPr>
        <p:spPr bwMode="gray">
          <a:xfrm>
            <a:off x="469900" y="2988827"/>
            <a:ext cx="10418233" cy="562846"/>
          </a:xfrm>
        </p:spPr>
        <p:txBody>
          <a:bodyPr vert="horz" lIns="0" tIns="0" rIns="0" bIns="0" rtlCol="0" anchor="b" anchorCtr="0">
            <a:spAutoFit/>
          </a:bodyPr>
          <a:lstStyle>
            <a:lvl1pPr>
              <a:defRPr lang="en-CA" sz="3850" noProof="0" dirty="0">
                <a:solidFill>
                  <a:schemeClr val="bg1"/>
                </a:solidFill>
                <a:ea typeface="Open Sans" panose="020B0606030504020204" pitchFamily="34" charset="0"/>
                <a:cs typeface="Open Sans" panose="020B0606030504020204" pitchFamily="34" charset="0"/>
              </a:defRPr>
            </a:lvl1pPr>
          </a:lstStyle>
          <a:p>
            <a:pPr lvl="0">
              <a:lnSpc>
                <a:spcPct val="95000"/>
              </a:lnSpc>
            </a:pPr>
            <a:r>
              <a:rPr lang="en-US" noProof="0"/>
              <a:t>Click to edit Master title style</a:t>
            </a:r>
            <a:endParaRPr lang="en-CA" noProof="0"/>
          </a:p>
        </p:txBody>
      </p:sp>
    </p:spTree>
    <p:extLst>
      <p:ext uri="{BB962C8B-B14F-4D97-AF65-F5344CB8AC3E}">
        <p14:creationId xmlns:p14="http://schemas.microsoft.com/office/powerpoint/2010/main" val="24491890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9E41BC9-CE6C-4E4F-87B3-88CC4E320519}"/>
              </a:ext>
            </a:extLst>
          </p:cNvPr>
          <p:cNvSpPr>
            <a:spLocks noGrp="1"/>
          </p:cNvSpPr>
          <p:nvPr>
            <p:ph type="pic" sz="quarter" idx="15"/>
          </p:nvPr>
        </p:nvSpPr>
        <p:spPr>
          <a:xfrm>
            <a:off x="3810000" y="1143746"/>
            <a:ext cx="4572000" cy="4570508"/>
          </a:xfrm>
        </p:spPr>
        <p:txBody>
          <a:bodyPr/>
          <a:lstStyle>
            <a:lvl1pPr>
              <a:defRPr>
                <a:solidFill>
                  <a:schemeClr val="bg1"/>
                </a:solidFill>
              </a:defRPr>
            </a:lvl1pPr>
          </a:lstStyle>
          <a:p>
            <a:endParaRPr lang="en-US"/>
          </a:p>
        </p:txBody>
      </p:sp>
      <p:sp>
        <p:nvSpPr>
          <p:cNvPr id="5" name="Text Placeholder 4">
            <a:extLst>
              <a:ext uri="{FF2B5EF4-FFF2-40B4-BE49-F238E27FC236}">
                <a16:creationId xmlns:a16="http://schemas.microsoft.com/office/drawing/2014/main" id="{A07C5999-CD77-401C-B367-400D2C754E8A}"/>
              </a:ext>
            </a:extLst>
          </p:cNvPr>
          <p:cNvSpPr>
            <a:spLocks noGrp="1"/>
          </p:cNvSpPr>
          <p:nvPr>
            <p:ph type="body" sz="quarter" idx="13"/>
          </p:nvPr>
        </p:nvSpPr>
        <p:spPr>
          <a:xfrm>
            <a:off x="501650" y="6225045"/>
            <a:ext cx="4048579" cy="219456"/>
          </a:xfrm>
        </p:spPr>
        <p:txBody>
          <a:bodyPr vert="horz" lIns="0" tIns="0" rIns="0" bIns="0" rtlCol="0" anchor="t" anchorCtr="0">
            <a:spAutoFit/>
          </a:bodyPr>
          <a:lstStyle>
            <a:lvl1pPr>
              <a:defRPr lang="en-US" sz="1400" b="1" smtClean="0">
                <a:solidFill>
                  <a:schemeClr val="tx1"/>
                </a:solidFill>
                <a:latin typeface="Calibri" panose="020F0502020204030204" pitchFamily="34" charset="0"/>
                <a:cs typeface="Calibri" panose="020F0502020204030204" pitchFamily="34" charset="0"/>
              </a:defRPr>
            </a:lvl1pPr>
            <a:lvl2pPr marL="0" indent="0">
              <a:buNone/>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IN">
                <a:solidFill>
                  <a:schemeClr val="bg1"/>
                </a:solidFill>
              </a:defRPr>
            </a:lvl5pPr>
          </a:lstStyle>
          <a:p>
            <a:pPr lvl="0">
              <a:spcAft>
                <a:spcPts val="0"/>
              </a:spcAft>
            </a:pPr>
            <a:r>
              <a:rPr lang="en-US"/>
              <a:t>Click to edit Master text styles</a:t>
            </a:r>
          </a:p>
        </p:txBody>
      </p:sp>
      <p:sp>
        <p:nvSpPr>
          <p:cNvPr id="44" name="Oval 5">
            <a:extLst>
              <a:ext uri="{FF2B5EF4-FFF2-40B4-BE49-F238E27FC236}">
                <a16:creationId xmlns:a16="http://schemas.microsoft.com/office/drawing/2014/main" id="{777F43A3-B540-4C30-B5D0-6A5EBDC6BBD2}"/>
              </a:ext>
            </a:extLst>
          </p:cNvPr>
          <p:cNvSpPr>
            <a:spLocks noChangeArrowheads="1"/>
          </p:cNvSpPr>
          <p:nvPr/>
        </p:nvSpPr>
        <p:spPr bwMode="auto">
          <a:xfrm>
            <a:off x="2392442" y="725455"/>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6">
            <a:extLst>
              <a:ext uri="{FF2B5EF4-FFF2-40B4-BE49-F238E27FC236}">
                <a16:creationId xmlns:a16="http://schemas.microsoft.com/office/drawing/2014/main" id="{9B8A23EC-1C0D-44B4-B665-86A3B5AEB8CD}"/>
              </a:ext>
            </a:extLst>
          </p:cNvPr>
          <p:cNvSpPr>
            <a:spLocks noEditPoints="1"/>
          </p:cNvSpPr>
          <p:nvPr/>
        </p:nvSpPr>
        <p:spPr bwMode="auto">
          <a:xfrm>
            <a:off x="501651" y="459130"/>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7">
            <a:extLst>
              <a:ext uri="{FF2B5EF4-FFF2-40B4-BE49-F238E27FC236}">
                <a16:creationId xmlns:a16="http://schemas.microsoft.com/office/drawing/2014/main" id="{CA307538-0E5D-42DF-AC3B-5BA9DEC6EA90}"/>
              </a:ext>
            </a:extLst>
          </p:cNvPr>
          <p:cNvSpPr>
            <a:spLocks noChangeArrowheads="1"/>
          </p:cNvSpPr>
          <p:nvPr/>
        </p:nvSpPr>
        <p:spPr bwMode="auto">
          <a:xfrm>
            <a:off x="1125417" y="457200"/>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Freeform 8">
            <a:extLst>
              <a:ext uri="{FF2B5EF4-FFF2-40B4-BE49-F238E27FC236}">
                <a16:creationId xmlns:a16="http://schemas.microsoft.com/office/drawing/2014/main" id="{4C1F0570-FD07-4AEA-951B-7D386E94A42B}"/>
              </a:ext>
            </a:extLst>
          </p:cNvPr>
          <p:cNvSpPr>
            <a:spLocks noEditPoints="1"/>
          </p:cNvSpPr>
          <p:nvPr/>
        </p:nvSpPr>
        <p:spPr bwMode="auto">
          <a:xfrm>
            <a:off x="1254069" y="547905"/>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Rectangle 9">
            <a:extLst>
              <a:ext uri="{FF2B5EF4-FFF2-40B4-BE49-F238E27FC236}">
                <a16:creationId xmlns:a16="http://schemas.microsoft.com/office/drawing/2014/main" id="{2F95A3EA-DBCD-4D9C-B9F9-54C27F627CB4}"/>
              </a:ext>
            </a:extLst>
          </p:cNvPr>
          <p:cNvSpPr>
            <a:spLocks noChangeArrowheads="1"/>
          </p:cNvSpPr>
          <p:nvPr/>
        </p:nvSpPr>
        <p:spPr bwMode="auto">
          <a:xfrm>
            <a:off x="1556205" y="551765"/>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Rectangle 10">
            <a:extLst>
              <a:ext uri="{FF2B5EF4-FFF2-40B4-BE49-F238E27FC236}">
                <a16:creationId xmlns:a16="http://schemas.microsoft.com/office/drawing/2014/main" id="{64960F3A-6B53-46DB-9B65-4D9969217CC8}"/>
              </a:ext>
            </a:extLst>
          </p:cNvPr>
          <p:cNvSpPr>
            <a:spLocks noChangeArrowheads="1"/>
          </p:cNvSpPr>
          <p:nvPr/>
        </p:nvSpPr>
        <p:spPr bwMode="auto">
          <a:xfrm>
            <a:off x="1556205" y="457200"/>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1">
            <a:extLst>
              <a:ext uri="{FF2B5EF4-FFF2-40B4-BE49-F238E27FC236}">
                <a16:creationId xmlns:a16="http://schemas.microsoft.com/office/drawing/2014/main" id="{CA8A5B87-6683-47AF-AF11-58D0ED995023}"/>
              </a:ext>
            </a:extLst>
          </p:cNvPr>
          <p:cNvSpPr>
            <a:spLocks/>
          </p:cNvSpPr>
          <p:nvPr/>
        </p:nvSpPr>
        <p:spPr bwMode="auto">
          <a:xfrm>
            <a:off x="1684857" y="464920"/>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2">
            <a:extLst>
              <a:ext uri="{FF2B5EF4-FFF2-40B4-BE49-F238E27FC236}">
                <a16:creationId xmlns:a16="http://schemas.microsoft.com/office/drawing/2014/main" id="{4AC21986-76FF-45E7-981B-FCD04FE7BF97}"/>
              </a:ext>
            </a:extLst>
          </p:cNvPr>
          <p:cNvSpPr>
            <a:spLocks/>
          </p:cNvSpPr>
          <p:nvPr/>
        </p:nvSpPr>
        <p:spPr bwMode="auto">
          <a:xfrm>
            <a:off x="1897328" y="464920"/>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2" name="Freeform 13">
            <a:extLst>
              <a:ext uri="{FF2B5EF4-FFF2-40B4-BE49-F238E27FC236}">
                <a16:creationId xmlns:a16="http://schemas.microsoft.com/office/drawing/2014/main" id="{963F5EC2-84E6-4D0E-A032-50341FE4C623}"/>
              </a:ext>
            </a:extLst>
          </p:cNvPr>
          <p:cNvSpPr>
            <a:spLocks noEditPoints="1"/>
          </p:cNvSpPr>
          <p:nvPr/>
        </p:nvSpPr>
        <p:spPr bwMode="auto">
          <a:xfrm>
            <a:off x="2111747" y="547905"/>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3" name="Freeform 14">
            <a:extLst>
              <a:ext uri="{FF2B5EF4-FFF2-40B4-BE49-F238E27FC236}">
                <a16:creationId xmlns:a16="http://schemas.microsoft.com/office/drawing/2014/main" id="{DB134A6D-01CD-4DC7-8589-97CF734B4452}"/>
              </a:ext>
            </a:extLst>
          </p:cNvPr>
          <p:cNvSpPr>
            <a:spLocks noEditPoints="1"/>
          </p:cNvSpPr>
          <p:nvPr/>
        </p:nvSpPr>
        <p:spPr bwMode="auto">
          <a:xfrm>
            <a:off x="833027" y="547905"/>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Title 1">
            <a:extLst>
              <a:ext uri="{FF2B5EF4-FFF2-40B4-BE49-F238E27FC236}">
                <a16:creationId xmlns:a16="http://schemas.microsoft.com/office/drawing/2014/main" id="{0F4DF337-A4AA-4B41-A7AD-9A4967B8C8A8}"/>
              </a:ext>
            </a:extLst>
          </p:cNvPr>
          <p:cNvSpPr>
            <a:spLocks noGrp="1"/>
          </p:cNvSpPr>
          <p:nvPr userDrawn="1">
            <p:ph type="ctrTitle"/>
          </p:nvPr>
        </p:nvSpPr>
        <p:spPr bwMode="gray">
          <a:xfrm>
            <a:off x="501650" y="5266262"/>
            <a:ext cx="3188607"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2" name="Text Placeholder 1">
            <a:extLst>
              <a:ext uri="{FF2B5EF4-FFF2-40B4-BE49-F238E27FC236}">
                <a16:creationId xmlns:a16="http://schemas.microsoft.com/office/drawing/2014/main" id="{254AFACF-9405-5436-DEC9-84A4B3BAD360}"/>
              </a:ext>
            </a:extLst>
          </p:cNvPr>
          <p:cNvSpPr>
            <a:spLocks noGrp="1"/>
          </p:cNvSpPr>
          <p:nvPr>
            <p:ph type="body" sz="quarter" idx="16"/>
          </p:nvPr>
        </p:nvSpPr>
        <p:spPr>
          <a:xfrm>
            <a:off x="504477" y="6454260"/>
            <a:ext cx="4045751" cy="182880"/>
          </a:xfrm>
        </p:spPr>
        <p:txBody>
          <a:bodyPr>
            <a:noAutofit/>
          </a:bodyPr>
          <a:lstStyle>
            <a:lvl1pPr>
              <a:defRPr lang="en-US" sz="1400" b="1" kern="1200" dirty="0" smtClean="0">
                <a:solidFill>
                  <a:schemeClr val="tx1"/>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spcBef>
                <a:spcPts val="0"/>
              </a:spcBef>
              <a:spcAft>
                <a:spcPts val="0"/>
              </a:spcAft>
              <a:buSzPct val="100000"/>
              <a:buFontTx/>
              <a:buNone/>
            </a:pPr>
            <a:endParaRPr lang="en-US"/>
          </a:p>
        </p:txBody>
      </p:sp>
    </p:spTree>
    <p:extLst>
      <p:ext uri="{BB962C8B-B14F-4D97-AF65-F5344CB8AC3E}">
        <p14:creationId xmlns:p14="http://schemas.microsoft.com/office/powerpoint/2010/main" val="376024044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End slide Black">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95300" y="4231995"/>
            <a:ext cx="11201400" cy="2169796"/>
          </a:xfrm>
        </p:spPr>
        <p:txBody>
          <a:bodyPr anchor="b" anchorCtr="0">
            <a:noAutofit/>
          </a:bodyPr>
          <a:lstStyle>
            <a:lvl1pPr>
              <a:lnSpc>
                <a:spcPct val="100000"/>
              </a:lnSpc>
              <a:spcAft>
                <a:spcPts val="450"/>
              </a:spcAft>
              <a:defRPr sz="900">
                <a:solidFill>
                  <a:schemeClr val="tx1"/>
                </a:solidFill>
              </a:defRPr>
            </a:lvl1pPr>
          </a:lstStyle>
          <a:p>
            <a:pPr lvl="0"/>
            <a:r>
              <a:rPr lang="en-US"/>
              <a:t>Click to edit Master text styles</a:t>
            </a:r>
          </a:p>
        </p:txBody>
      </p:sp>
      <p:grpSp>
        <p:nvGrpSpPr>
          <p:cNvPr id="2" name="Group 1">
            <a:extLst>
              <a:ext uri="{FF2B5EF4-FFF2-40B4-BE49-F238E27FC236}">
                <a16:creationId xmlns:a16="http://schemas.microsoft.com/office/drawing/2014/main" id="{B64FB299-0852-ABC6-EAA6-52214A9C12CB}"/>
              </a:ext>
            </a:extLst>
          </p:cNvPr>
          <p:cNvGrpSpPr/>
          <p:nvPr userDrawn="1"/>
        </p:nvGrpSpPr>
        <p:grpSpPr>
          <a:xfrm>
            <a:off x="463296" y="341312"/>
            <a:ext cx="1819656" cy="347472"/>
            <a:chOff x="463296" y="341312"/>
            <a:chExt cx="1819656" cy="347472"/>
          </a:xfrm>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2185312" y="590274"/>
              <a:ext cx="97640" cy="9851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463296" y="343104"/>
              <a:ext cx="276943" cy="340307"/>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1031384" y="341312"/>
              <a:ext cx="83437" cy="342098"/>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148552" y="425494"/>
              <a:ext cx="241437" cy="261499"/>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423719" y="429076"/>
              <a:ext cx="83437" cy="254334"/>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423719" y="341312"/>
              <a:ext cx="83437" cy="57315"/>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540887" y="348476"/>
              <a:ext cx="177527" cy="338516"/>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734393" y="348476"/>
              <a:ext cx="177527" cy="338516"/>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929673" y="425494"/>
              <a:ext cx="236111" cy="261499"/>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765093" y="425494"/>
              <a:ext cx="234336" cy="261499"/>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4045513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hasCustomPrompt="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atin typeface="Aptos" panose="020B0004020202020204" pitchFamily="34" charset="0"/>
              </a:defRPr>
            </a:lvl1pPr>
            <a:lvl2pPr>
              <a:spcBef>
                <a:spcPts val="200"/>
              </a:spcBef>
              <a:spcAft>
                <a:spcPts val="200"/>
              </a:spcAft>
              <a:defRPr>
                <a:latin typeface="Aptos" panose="020B0004020202020204" pitchFamily="34" charset="0"/>
              </a:defRPr>
            </a:lvl2pPr>
            <a:lvl3pPr>
              <a:spcBef>
                <a:spcPts val="200"/>
              </a:spcBef>
              <a:spcAft>
                <a:spcPts val="200"/>
              </a:spcAft>
              <a:defRPr>
                <a:latin typeface="Aptos" panose="020B0004020202020204" pitchFamily="34" charset="0"/>
              </a:defRPr>
            </a:lvl3pPr>
            <a:lvl4pPr>
              <a:spcBef>
                <a:spcPts val="200"/>
              </a:spcBef>
              <a:spcAft>
                <a:spcPts val="200"/>
              </a:spcAft>
              <a:defRPr>
                <a:latin typeface="Aptos" panose="020B0004020202020204" pitchFamily="34" charset="0"/>
              </a:defRPr>
            </a:lvl4pPr>
            <a:lvl5pPr>
              <a:spcBef>
                <a:spcPts val="200"/>
              </a:spcBef>
              <a:spcAft>
                <a:spcPts val="200"/>
              </a:spcAft>
              <a:defRPr>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178241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FE919537-8CE7-4809-834D-08D64026E9F1}" type="slidenum">
              <a:rPr lang="en-ZA" smtClean="0"/>
              <a:t>‹#›</a:t>
            </a:fld>
            <a:endParaRPr lang="en-ZA"/>
          </a:p>
        </p:txBody>
      </p:sp>
    </p:spTree>
    <p:extLst>
      <p:ext uri="{BB962C8B-B14F-4D97-AF65-F5344CB8AC3E}">
        <p14:creationId xmlns:p14="http://schemas.microsoft.com/office/powerpoint/2010/main" val="19609524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33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85016169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58297342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p:bg>
      <p:bgPr>
        <a:solidFill>
          <a:schemeClr val="tx1"/>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49" y="651600"/>
            <a:ext cx="11212513" cy="757255"/>
          </a:xfrm>
          <a:prstGeom prst="rect">
            <a:avLst/>
          </a:prstGeom>
        </p:spPr>
        <p:txBody>
          <a:bodyPr lIns="0" tIns="0" rIns="0" bIns="0">
            <a:noAutofit/>
          </a:bodyPr>
          <a:lstStyle>
            <a:lvl1pPr marL="0" indent="0">
              <a:buNone/>
              <a:defRPr sz="1800" b="0">
                <a:solidFill>
                  <a:schemeClr val="bg2">
                    <a:lumMod val="90000"/>
                  </a:schemeClr>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2014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633263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2014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143481133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14752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End slide">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AE605DD-E3FD-94C0-6061-FCF1C9364F6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 name="Oval 5">
              <a:extLst>
                <a:ext uri="{FF2B5EF4-FFF2-40B4-BE49-F238E27FC236}">
                  <a16:creationId xmlns:a16="http://schemas.microsoft.com/office/drawing/2014/main" id="{C2DBC98C-156D-3A25-5F8A-103725A9BA0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 name="Freeform 6">
              <a:extLst>
                <a:ext uri="{FF2B5EF4-FFF2-40B4-BE49-F238E27FC236}">
                  <a16:creationId xmlns:a16="http://schemas.microsoft.com/office/drawing/2014/main" id="{184D676F-9F52-F5E3-84AA-3F6FFBEEEB5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Rectangle 7">
              <a:extLst>
                <a:ext uri="{FF2B5EF4-FFF2-40B4-BE49-F238E27FC236}">
                  <a16:creationId xmlns:a16="http://schemas.microsoft.com/office/drawing/2014/main" id="{82CC123A-B4A7-91B9-DEF1-355522021303}"/>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6" name="Freeform 8">
              <a:extLst>
                <a:ext uri="{FF2B5EF4-FFF2-40B4-BE49-F238E27FC236}">
                  <a16:creationId xmlns:a16="http://schemas.microsoft.com/office/drawing/2014/main" id="{D537E75E-76E0-6009-1962-B347A5CB65B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7" name="Rectangle 9">
              <a:extLst>
                <a:ext uri="{FF2B5EF4-FFF2-40B4-BE49-F238E27FC236}">
                  <a16:creationId xmlns:a16="http://schemas.microsoft.com/office/drawing/2014/main" id="{5D39CBA7-1E49-BF16-0297-2C52C871E548}"/>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 name="Rectangle 10">
              <a:extLst>
                <a:ext uri="{FF2B5EF4-FFF2-40B4-BE49-F238E27FC236}">
                  <a16:creationId xmlns:a16="http://schemas.microsoft.com/office/drawing/2014/main" id="{ADB036DB-4A94-315F-FF2C-AFFE1EA302CB}"/>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 name="Freeform 11">
              <a:extLst>
                <a:ext uri="{FF2B5EF4-FFF2-40B4-BE49-F238E27FC236}">
                  <a16:creationId xmlns:a16="http://schemas.microsoft.com/office/drawing/2014/main" id="{515FEA5B-F9E0-45A5-5CCD-BC8EE0E77D6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2">
              <a:extLst>
                <a:ext uri="{FF2B5EF4-FFF2-40B4-BE49-F238E27FC236}">
                  <a16:creationId xmlns:a16="http://schemas.microsoft.com/office/drawing/2014/main" id="{5951573F-501C-BA5D-1C8B-E80D7E4B097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 name="Freeform 13">
              <a:extLst>
                <a:ext uri="{FF2B5EF4-FFF2-40B4-BE49-F238E27FC236}">
                  <a16:creationId xmlns:a16="http://schemas.microsoft.com/office/drawing/2014/main" id="{33217B6E-BB76-7CB5-67C2-0BA953C85B2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2" name="Freeform 14">
              <a:extLst>
                <a:ext uri="{FF2B5EF4-FFF2-40B4-BE49-F238E27FC236}">
                  <a16:creationId xmlns:a16="http://schemas.microsoft.com/office/drawing/2014/main" id="{4DB58BD3-9A84-E351-9CBE-0E13B8774AE0}"/>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431347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3838572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1" y="4193308"/>
            <a:ext cx="11195049" cy="2197101"/>
          </a:xfrm>
        </p:spPr>
        <p:txBody>
          <a:bodyPr anchor="b" anchorCtr="0">
            <a:noAutofit/>
          </a:bodyPr>
          <a:lstStyle>
            <a:lvl1pPr>
              <a:lnSpc>
                <a:spcPct val="100000"/>
              </a:lnSpc>
              <a:spcAft>
                <a:spcPts val="706"/>
              </a:spcAft>
              <a:defRPr sz="900">
                <a:solidFill>
                  <a:schemeClr val="tx1"/>
                </a:solidFill>
              </a:defRPr>
            </a:lvl1pPr>
          </a:lstStyle>
          <a:p>
            <a:endParaRPr lang="en-US"/>
          </a:p>
        </p:txBody>
      </p:sp>
      <p:sp>
        <p:nvSpPr>
          <p:cNvPr id="34" name="Oval 5">
            <a:extLst>
              <a:ext uri="{FF2B5EF4-FFF2-40B4-BE49-F238E27FC236}">
                <a16:creationId xmlns:a16="http://schemas.microsoft.com/office/drawing/2014/main" id="{AF5B02E1-22ED-4055-B938-185BB8F981A7}"/>
              </a:ext>
            </a:extLst>
          </p:cNvPr>
          <p:cNvSpPr>
            <a:spLocks noChangeArrowheads="1"/>
          </p:cNvSpPr>
          <p:nvPr/>
        </p:nvSpPr>
        <p:spPr bwMode="auto">
          <a:xfrm>
            <a:off x="2392442" y="725455"/>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6">
            <a:extLst>
              <a:ext uri="{FF2B5EF4-FFF2-40B4-BE49-F238E27FC236}">
                <a16:creationId xmlns:a16="http://schemas.microsoft.com/office/drawing/2014/main" id="{F1140876-8CC0-4120-8D0B-310C4D5DFB81}"/>
              </a:ext>
            </a:extLst>
          </p:cNvPr>
          <p:cNvSpPr>
            <a:spLocks noEditPoints="1"/>
          </p:cNvSpPr>
          <p:nvPr/>
        </p:nvSpPr>
        <p:spPr bwMode="auto">
          <a:xfrm>
            <a:off x="501651" y="459130"/>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7">
            <a:extLst>
              <a:ext uri="{FF2B5EF4-FFF2-40B4-BE49-F238E27FC236}">
                <a16:creationId xmlns:a16="http://schemas.microsoft.com/office/drawing/2014/main" id="{1E2AE0A6-A7AD-40E8-A30D-42228ED880FA}"/>
              </a:ext>
            </a:extLst>
          </p:cNvPr>
          <p:cNvSpPr>
            <a:spLocks noChangeArrowheads="1"/>
          </p:cNvSpPr>
          <p:nvPr/>
        </p:nvSpPr>
        <p:spPr bwMode="auto">
          <a:xfrm>
            <a:off x="1125417" y="457200"/>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8">
            <a:extLst>
              <a:ext uri="{FF2B5EF4-FFF2-40B4-BE49-F238E27FC236}">
                <a16:creationId xmlns:a16="http://schemas.microsoft.com/office/drawing/2014/main" id="{46CB8169-712D-4F0B-B8A6-AEB21ABD8491}"/>
              </a:ext>
            </a:extLst>
          </p:cNvPr>
          <p:cNvSpPr>
            <a:spLocks noEditPoints="1"/>
          </p:cNvSpPr>
          <p:nvPr/>
        </p:nvSpPr>
        <p:spPr bwMode="auto">
          <a:xfrm>
            <a:off x="1254069" y="547905"/>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Rectangle 9">
            <a:extLst>
              <a:ext uri="{FF2B5EF4-FFF2-40B4-BE49-F238E27FC236}">
                <a16:creationId xmlns:a16="http://schemas.microsoft.com/office/drawing/2014/main" id="{9FD35F83-275A-44CD-8376-5D815E9084B8}"/>
              </a:ext>
            </a:extLst>
          </p:cNvPr>
          <p:cNvSpPr>
            <a:spLocks noChangeArrowheads="1"/>
          </p:cNvSpPr>
          <p:nvPr/>
        </p:nvSpPr>
        <p:spPr bwMode="auto">
          <a:xfrm>
            <a:off x="1556205" y="551765"/>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Rectangle 10">
            <a:extLst>
              <a:ext uri="{FF2B5EF4-FFF2-40B4-BE49-F238E27FC236}">
                <a16:creationId xmlns:a16="http://schemas.microsoft.com/office/drawing/2014/main" id="{9CC8147A-CB68-4071-B01E-17D7CF439287}"/>
              </a:ext>
            </a:extLst>
          </p:cNvPr>
          <p:cNvSpPr>
            <a:spLocks noChangeArrowheads="1"/>
          </p:cNvSpPr>
          <p:nvPr/>
        </p:nvSpPr>
        <p:spPr bwMode="auto">
          <a:xfrm>
            <a:off x="1556205" y="457200"/>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1">
            <a:extLst>
              <a:ext uri="{FF2B5EF4-FFF2-40B4-BE49-F238E27FC236}">
                <a16:creationId xmlns:a16="http://schemas.microsoft.com/office/drawing/2014/main" id="{63693C9F-2233-44DE-9F18-A5008562AAE2}"/>
              </a:ext>
            </a:extLst>
          </p:cNvPr>
          <p:cNvSpPr>
            <a:spLocks/>
          </p:cNvSpPr>
          <p:nvPr/>
        </p:nvSpPr>
        <p:spPr bwMode="auto">
          <a:xfrm>
            <a:off x="1684857" y="464920"/>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Freeform 12">
            <a:extLst>
              <a:ext uri="{FF2B5EF4-FFF2-40B4-BE49-F238E27FC236}">
                <a16:creationId xmlns:a16="http://schemas.microsoft.com/office/drawing/2014/main" id="{D90E2F26-B54D-449B-871F-09C47FC992C6}"/>
              </a:ext>
            </a:extLst>
          </p:cNvPr>
          <p:cNvSpPr>
            <a:spLocks/>
          </p:cNvSpPr>
          <p:nvPr/>
        </p:nvSpPr>
        <p:spPr bwMode="auto">
          <a:xfrm>
            <a:off x="1897328" y="464920"/>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3">
            <a:extLst>
              <a:ext uri="{FF2B5EF4-FFF2-40B4-BE49-F238E27FC236}">
                <a16:creationId xmlns:a16="http://schemas.microsoft.com/office/drawing/2014/main" id="{1DEB5FD4-E143-4DD0-85FD-F054E553B89E}"/>
              </a:ext>
            </a:extLst>
          </p:cNvPr>
          <p:cNvSpPr>
            <a:spLocks noEditPoints="1"/>
          </p:cNvSpPr>
          <p:nvPr/>
        </p:nvSpPr>
        <p:spPr bwMode="auto">
          <a:xfrm>
            <a:off x="2111747" y="547905"/>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3" name="Freeform 14">
            <a:extLst>
              <a:ext uri="{FF2B5EF4-FFF2-40B4-BE49-F238E27FC236}">
                <a16:creationId xmlns:a16="http://schemas.microsoft.com/office/drawing/2014/main" id="{A74C5EDE-19DD-4988-906D-FB3D64D7D8CB}"/>
              </a:ext>
            </a:extLst>
          </p:cNvPr>
          <p:cNvSpPr>
            <a:spLocks noEditPoints="1"/>
          </p:cNvSpPr>
          <p:nvPr/>
        </p:nvSpPr>
        <p:spPr bwMode="auto">
          <a:xfrm>
            <a:off x="833027" y="547905"/>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Tree>
    <p:extLst>
      <p:ext uri="{BB962C8B-B14F-4D97-AF65-F5344CB8AC3E}">
        <p14:creationId xmlns:p14="http://schemas.microsoft.com/office/powerpoint/2010/main" val="16138078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950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95049"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8" name="Text Placeholder 7">
            <a:extLst>
              <a:ext uri="{FF2B5EF4-FFF2-40B4-BE49-F238E27FC236}">
                <a16:creationId xmlns:a16="http://schemas.microsoft.com/office/drawing/2014/main" id="{532100E2-06AC-F615-0E40-0B728747F199}"/>
              </a:ext>
            </a:extLst>
          </p:cNvPr>
          <p:cNvSpPr>
            <a:spLocks noGrp="1"/>
          </p:cNvSpPr>
          <p:nvPr>
            <p:ph type="body" sz="quarter" idx="14" hasCustomPrompt="1"/>
          </p:nvPr>
        </p:nvSpPr>
        <p:spPr>
          <a:xfrm>
            <a:off x="10655300" y="6464300"/>
            <a:ext cx="1041400" cy="334098"/>
          </a:xfrm>
        </p:spPr>
        <p:txBody>
          <a:bodyPr/>
          <a:lstStyle>
            <a:lvl1pPr>
              <a:defRPr/>
            </a:lvl1pPr>
          </a:lstStyle>
          <a:p>
            <a:pPr lvl="4"/>
            <a:fld id="{22E10C79-81EE-4F51-B97A-DDB1041C90AB}" type="slidenum">
              <a:rPr lang="en-US" smtClean="0"/>
              <a:t>​</a:t>
            </a:fld>
            <a:endParaRPr lang="en-US"/>
          </a:p>
        </p:txBody>
      </p:sp>
    </p:spTree>
    <p:extLst>
      <p:ext uri="{BB962C8B-B14F-4D97-AF65-F5344CB8AC3E}">
        <p14:creationId xmlns:p14="http://schemas.microsoft.com/office/powerpoint/2010/main" val="34415934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FE919537-8CE7-4809-834D-08D64026E9F1}" type="slidenum">
              <a:rPr lang="en-ZA" smtClean="0"/>
              <a:t>‹#›</a:t>
            </a:fld>
            <a:endParaRPr lang="en-ZA"/>
          </a:p>
        </p:txBody>
      </p:sp>
    </p:spTree>
    <p:extLst>
      <p:ext uri="{BB962C8B-B14F-4D97-AF65-F5344CB8AC3E}">
        <p14:creationId xmlns:p14="http://schemas.microsoft.com/office/powerpoint/2010/main" val="27875698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11070" y="658873"/>
            <a:ext cx="11193476" cy="757255"/>
          </a:xfrm>
          <a:prstGeom prst="rect">
            <a:avLst/>
          </a:prstGeom>
        </p:spPr>
        <p:txBody>
          <a:bodyPr lIns="0" tIns="0" rIns="0" bIns="0">
            <a:noAutofit/>
          </a:bodyPr>
          <a:lstStyle>
            <a:lvl1pPr marL="0" indent="0">
              <a:buNone/>
              <a:defRPr sz="1588"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11070" y="324773"/>
            <a:ext cx="11193476" cy="334102"/>
          </a:xfrm>
          <a:prstGeom prst="rect">
            <a:avLst/>
          </a:prstGeom>
        </p:spPr>
        <p:txBody>
          <a:bodyPr vert="horz" lIns="0" tIns="0" rIns="0" bIns="0" rtlCol="0" anchor="t" anchorCtr="0">
            <a:noAutofit/>
          </a:bodyPr>
          <a:lstStyle>
            <a:lvl1pPr>
              <a:defRPr sz="1765" b="0"/>
            </a:lvl1pPr>
          </a:lstStyle>
          <a:p>
            <a:r>
              <a:rPr lang="en-US" noProof="0"/>
              <a:t>Click to edit Master title style</a:t>
            </a:r>
          </a:p>
        </p:txBody>
      </p:sp>
    </p:spTree>
    <p:extLst>
      <p:ext uri="{BB962C8B-B14F-4D97-AF65-F5344CB8AC3E}">
        <p14:creationId xmlns:p14="http://schemas.microsoft.com/office/powerpoint/2010/main" val="26488536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4" name="Picture 3" descr="Deloitte logo">
            <a:extLst>
              <a:ext uri="{FF2B5EF4-FFF2-40B4-BE49-F238E27FC236}">
                <a16:creationId xmlns:a16="http://schemas.microsoft.com/office/drawing/2014/main" id="{885222D5-1719-1676-C66A-2EB4C1E3DBD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6319" y="-5466"/>
            <a:ext cx="2779773" cy="1308222"/>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secondary text</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97915358"/>
      </p:ext>
    </p:extLst>
  </p:cSld>
  <p:clrMapOvr>
    <a:masterClrMapping/>
  </p:clrMapOvr>
  <p:transition>
    <p:fade/>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 White with tagline logo lockup">
    <p:bg bwMode="gray">
      <p:bgPr>
        <a:solidFill>
          <a:schemeClr val="bg1"/>
        </a:solidFill>
        <a:effectLst/>
      </p:bgPr>
    </p:bg>
    <p:spTree>
      <p:nvGrpSpPr>
        <p:cNvPr id="1" name=""/>
        <p:cNvGrpSpPr/>
        <p:nvPr/>
      </p:nvGrpSpPr>
      <p:grpSpPr>
        <a:xfrm>
          <a:off x="0" y="0"/>
          <a:ext cx="0" cy="0"/>
          <a:chOff x="0" y="0"/>
          <a:chExt cx="0" cy="0"/>
        </a:xfrm>
      </p:grpSpPr>
      <p:pic>
        <p:nvPicPr>
          <p:cNvPr id="4" name="Picture 3" descr="Deloitte logo lockup with Together makes progress tagline">
            <a:extLst>
              <a:ext uri="{FF2B5EF4-FFF2-40B4-BE49-F238E27FC236}">
                <a16:creationId xmlns:a16="http://schemas.microsoft.com/office/drawing/2014/main" id="{885222D5-1719-1676-C66A-2EB4C1E3DB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18" y="-5466"/>
            <a:ext cx="2779776" cy="1308222"/>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secondary text</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948457290"/>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pic>
        <p:nvPicPr>
          <p:cNvPr id="4" name="Picture 3" descr="Deloitte logo">
            <a:extLst>
              <a:ext uri="{FF2B5EF4-FFF2-40B4-BE49-F238E27FC236}">
                <a16:creationId xmlns:a16="http://schemas.microsoft.com/office/drawing/2014/main" id="{885222D5-1719-1676-C66A-2EB4C1E3DBD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6319" y="-5466"/>
            <a:ext cx="2779773" cy="1308221"/>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bg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secondary text</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lvl1pPr>
              <a:defRPr>
                <a:solidFill>
                  <a:schemeClr val="bg1"/>
                </a:solidFill>
              </a:defRPr>
            </a:lvl1pPr>
          </a:lstStyle>
          <a:p>
            <a:r>
              <a:rPr lang="en-US" noProof="0"/>
              <a:t>Click icon to add picture</a:t>
            </a:r>
          </a:p>
        </p:txBody>
      </p:sp>
    </p:spTree>
    <p:extLst>
      <p:ext uri="{BB962C8B-B14F-4D97-AF65-F5344CB8AC3E}">
        <p14:creationId xmlns:p14="http://schemas.microsoft.com/office/powerpoint/2010/main" val="1688911410"/>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 Black with tagline logo lockup">
    <p:bg bwMode="gray">
      <p:bgPr>
        <a:solidFill>
          <a:schemeClr val="tx1"/>
        </a:solidFill>
        <a:effectLst/>
      </p:bgPr>
    </p:bg>
    <p:spTree>
      <p:nvGrpSpPr>
        <p:cNvPr id="1" name=""/>
        <p:cNvGrpSpPr/>
        <p:nvPr/>
      </p:nvGrpSpPr>
      <p:grpSpPr>
        <a:xfrm>
          <a:off x="0" y="0"/>
          <a:ext cx="0" cy="0"/>
          <a:chOff x="0" y="0"/>
          <a:chExt cx="0" cy="0"/>
        </a:xfrm>
      </p:grpSpPr>
      <p:pic>
        <p:nvPicPr>
          <p:cNvPr id="4" name="Picture 3" descr="Deloitte logo lockup with Together makes progress tagline">
            <a:extLst>
              <a:ext uri="{FF2B5EF4-FFF2-40B4-BE49-F238E27FC236}">
                <a16:creationId xmlns:a16="http://schemas.microsoft.com/office/drawing/2014/main" id="{885222D5-1719-1676-C66A-2EB4C1E3DBD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6319" y="-5466"/>
            <a:ext cx="2779773" cy="1308222"/>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bg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secondary text</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913220392"/>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 Full bleed image">
    <p:bg bwMode="gray">
      <p:bgPr>
        <a:solidFill>
          <a:schemeClr val="tx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A239FF85-CD49-BB35-3695-75C424AD973D}"/>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bg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secondary text</a:t>
            </a:r>
          </a:p>
        </p:txBody>
      </p:sp>
    </p:spTree>
    <p:extLst>
      <p:ext uri="{BB962C8B-B14F-4D97-AF65-F5344CB8AC3E}">
        <p14:creationId xmlns:p14="http://schemas.microsoft.com/office/powerpoint/2010/main" val="1184670471"/>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add subtitle</a:t>
            </a:r>
          </a:p>
        </p:txBody>
      </p:sp>
      <p:sp>
        <p:nvSpPr>
          <p:cNvPr id="4" name="CaseCode">
            <a:extLst>
              <a:ext uri="{FF2B5EF4-FFF2-40B4-BE49-F238E27FC236}">
                <a16:creationId xmlns:a16="http://schemas.microsoft.com/office/drawing/2014/main" id="{1BDC0FDC-0D9A-61CF-95C8-4BC8540608B8}"/>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Presentation title</a:t>
            </a:r>
            <a:br>
              <a:rPr lang="en-US" sz="800" noProof="0">
                <a:solidFill>
                  <a:schemeClr val="tx1"/>
                </a:solidFill>
                <a:latin typeface="Aptos" panose="020B0004020202020204" pitchFamily="34" charset="0"/>
                <a:cs typeface="Calibri" panose="020F0502020204030204" pitchFamily="34" charset="0"/>
              </a:rPr>
            </a:br>
            <a:r>
              <a:rPr lang="en-US" sz="800" noProof="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Member firms and DTTL: Insert appropriate copyright</a:t>
            </a:r>
            <a:br>
              <a:rPr lang="en-US" sz="800" noProof="0">
                <a:solidFill>
                  <a:schemeClr val="tx1"/>
                </a:solidFill>
                <a:latin typeface="Aptos" panose="020B0004020202020204" pitchFamily="34" charset="0"/>
                <a:cs typeface="Calibri" panose="020F0502020204030204" pitchFamily="34" charset="0"/>
              </a:rPr>
            </a:br>
            <a:r>
              <a:rPr lang="en-US" sz="800" noProof="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3707485025"/>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add subtitle</a:t>
            </a:r>
          </a:p>
        </p:txBody>
      </p:sp>
      <p:sp>
        <p:nvSpPr>
          <p:cNvPr id="4" name="CaseCode">
            <a:extLst>
              <a:ext uri="{FF2B5EF4-FFF2-40B4-BE49-F238E27FC236}">
                <a16:creationId xmlns:a16="http://schemas.microsoft.com/office/drawing/2014/main" id="{1BDC0FDC-0D9A-61CF-95C8-4BC8540608B8}"/>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785892526"/>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add subtitle</a:t>
            </a:r>
          </a:p>
        </p:txBody>
      </p:sp>
      <p:sp>
        <p:nvSpPr>
          <p:cNvPr id="4" name="CaseCode">
            <a:extLst>
              <a:ext uri="{FF2B5EF4-FFF2-40B4-BE49-F238E27FC236}">
                <a16:creationId xmlns:a16="http://schemas.microsoft.com/office/drawing/2014/main" id="{0B944744-9AF8-6F57-762F-A053E0C75A9F}"/>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524784868"/>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hasCustomPrompt="1"/>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19"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add subtitle</a:t>
            </a:r>
          </a:p>
        </p:txBody>
      </p:sp>
      <p:sp>
        <p:nvSpPr>
          <p:cNvPr id="2" name="CaseCode">
            <a:extLst>
              <a:ext uri="{FF2B5EF4-FFF2-40B4-BE49-F238E27FC236}">
                <a16:creationId xmlns:a16="http://schemas.microsoft.com/office/drawing/2014/main" id="{93E04509-01E9-4BE4-AE15-9290E9B2F0D8}"/>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190077220"/>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FE919537-8CE7-4809-834D-08D64026E9F1}" type="slidenum">
              <a:rPr lang="en-ZA" smtClean="0"/>
              <a:t>‹#›</a:t>
            </a:fld>
            <a:endParaRPr lang="en-ZA"/>
          </a:p>
        </p:txBody>
      </p:sp>
    </p:spTree>
    <p:extLst>
      <p:ext uri="{BB962C8B-B14F-4D97-AF65-F5344CB8AC3E}">
        <p14:creationId xmlns:p14="http://schemas.microsoft.com/office/powerpoint/2010/main" val="13459330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add subtitle</a:t>
            </a:r>
          </a:p>
        </p:txBody>
      </p:sp>
      <p:sp>
        <p:nvSpPr>
          <p:cNvPr id="4" name="CaseCode">
            <a:extLst>
              <a:ext uri="{FF2B5EF4-FFF2-40B4-BE49-F238E27FC236}">
                <a16:creationId xmlns:a16="http://schemas.microsoft.com/office/drawing/2014/main" id="{1BDC0FDC-0D9A-61CF-95C8-4BC8540608B8}"/>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845629579"/>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hasCustomPrompt="1"/>
          </p:nvPr>
        </p:nvSpPr>
        <p:spPr>
          <a:xfrm>
            <a:off x="450000" y="366547"/>
            <a:ext cx="5778080" cy="484791"/>
          </a:xfrm>
        </p:spPr>
        <p:txBody>
          <a:bodyPr>
            <a:noAutofit/>
          </a:bodyPr>
          <a:lstStyle>
            <a:lvl1pPr>
              <a:defRPr sz="3200" b="1">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add title</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hasCustomPrompt="1"/>
          </p:nvPr>
        </p:nvSpPr>
        <p:spPr>
          <a:xfrm>
            <a:off x="450000" y="851339"/>
            <a:ext cx="5465380" cy="863162"/>
          </a:xfrm>
        </p:spPr>
        <p:txBody>
          <a:bodyPr>
            <a:noAutofit/>
          </a:bodyPr>
          <a:lstStyle>
            <a:lvl1pPr>
              <a:defRPr sz="3200" b="0">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add subtitle</a:t>
            </a:r>
          </a:p>
        </p:txBody>
      </p:sp>
    </p:spTree>
    <p:extLst>
      <p:ext uri="{BB962C8B-B14F-4D97-AF65-F5344CB8AC3E}">
        <p14:creationId xmlns:p14="http://schemas.microsoft.com/office/powerpoint/2010/main" val="350836525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230311705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41205770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hasCustomPrompt="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atin typeface="Aptos" panose="020B0004020202020204" pitchFamily="34" charset="0"/>
              </a:defRPr>
            </a:lvl1pPr>
            <a:lvl2pPr>
              <a:spcBef>
                <a:spcPts val="200"/>
              </a:spcBef>
              <a:spcAft>
                <a:spcPts val="200"/>
              </a:spcAft>
              <a:defRPr>
                <a:latin typeface="Aptos" panose="020B0004020202020204" pitchFamily="34" charset="0"/>
              </a:defRPr>
            </a:lvl2pPr>
            <a:lvl3pPr>
              <a:spcBef>
                <a:spcPts val="200"/>
              </a:spcBef>
              <a:spcAft>
                <a:spcPts val="200"/>
              </a:spcAft>
              <a:defRPr>
                <a:latin typeface="Aptos" panose="020B0004020202020204" pitchFamily="34" charset="0"/>
              </a:defRPr>
            </a:lvl3pPr>
            <a:lvl4pPr>
              <a:spcBef>
                <a:spcPts val="200"/>
              </a:spcBef>
              <a:spcAft>
                <a:spcPts val="200"/>
              </a:spcAft>
              <a:defRPr>
                <a:latin typeface="Aptos" panose="020B0004020202020204" pitchFamily="34" charset="0"/>
              </a:defRPr>
            </a:lvl4pPr>
            <a:lvl5pPr>
              <a:spcBef>
                <a:spcPts val="200"/>
              </a:spcBef>
              <a:spcAft>
                <a:spcPts val="200"/>
              </a:spcAft>
              <a:defRPr>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057764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450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hasCustomPrompt="1"/>
          </p:nvPr>
        </p:nvSpPr>
        <p:spPr>
          <a:xfrm>
            <a:off x="6246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219658889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hasCustomPrompt="1"/>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hasCustomPrompt="1"/>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hasCustomPrompt="1"/>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72245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hasCustomPrompt="1"/>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hasCustomPrompt="1"/>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hasCustomPrompt="1"/>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hasCustomPrompt="1"/>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257897529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hasCustomPrompt="1"/>
          </p:nvPr>
        </p:nvSpPr>
        <p:spPr>
          <a:xfrm>
            <a:off x="2104052" y="1880213"/>
            <a:ext cx="3846100" cy="1944000"/>
          </a:xfrm>
        </p:spPr>
        <p:txBody>
          <a:bodyPr/>
          <a:lstStyle>
            <a:lvl1pPr>
              <a:spcBef>
                <a:spcPts val="200"/>
              </a:spcBef>
              <a:spcAft>
                <a:spcPts val="200"/>
              </a:spcAft>
              <a:defRPr sz="1200" b="1">
                <a:latin typeface="Aptos" panose="020B0004020202020204" pitchFamily="34" charset="0"/>
              </a:defRPr>
            </a:lvl1pPr>
            <a:lvl2pPr>
              <a:spcBef>
                <a:spcPts val="200"/>
              </a:spcBef>
              <a:spcAft>
                <a:spcPts val="200"/>
              </a:spcAft>
              <a:defRPr sz="1200" b="0">
                <a:latin typeface="Aptos" panose="020B0004020202020204" pitchFamily="34" charset="0"/>
              </a:defRPr>
            </a:lvl2pPr>
          </a:lstStyle>
          <a:p>
            <a:pPr lvl="0"/>
            <a:r>
              <a:rPr lang="en-US"/>
              <a:t>Click to add text</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hasCustomPrompt="1"/>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add text</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hasCustomPrompt="1"/>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add text</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hasCustomPrompt="1"/>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add text</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1" name="Rectangle 10">
            <a:extLst>
              <a:ext uri="{FF2B5EF4-FFF2-40B4-BE49-F238E27FC236}">
                <a16:creationId xmlns:a16="http://schemas.microsoft.com/office/drawing/2014/main" id="{96B116F3-3D63-C235-3E40-D7EA6B934CF2}"/>
              </a:ext>
            </a:extLst>
          </p:cNvPr>
          <p:cNvSpPr/>
          <p:nvPr/>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2" name="Rectangle 11">
            <a:extLst>
              <a:ext uri="{FF2B5EF4-FFF2-40B4-BE49-F238E27FC236}">
                <a16:creationId xmlns:a16="http://schemas.microsoft.com/office/drawing/2014/main" id="{4F46C436-A721-2D60-1AEA-13F0DD3A9223}"/>
              </a:ext>
            </a:extLst>
          </p:cNvPr>
          <p:cNvSpPr/>
          <p:nvPr/>
        </p:nvSpPr>
        <p:spPr>
          <a:xfrm>
            <a:off x="6256583"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3" name="Rectangle 12">
            <a:extLst>
              <a:ext uri="{FF2B5EF4-FFF2-40B4-BE49-F238E27FC236}">
                <a16:creationId xmlns:a16="http://schemas.microsoft.com/office/drawing/2014/main" id="{C62ED75E-FA16-E5BA-B5F1-A58E06F1A408}"/>
              </a:ext>
            </a:extLst>
          </p:cNvPr>
          <p:cNvSpPr/>
          <p:nvPr/>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228929632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01404A3-3D1B-CAC2-53D8-93DCBD242D52}"/>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8" name="Rectangle 7">
            <a:extLst>
              <a:ext uri="{FF2B5EF4-FFF2-40B4-BE49-F238E27FC236}">
                <a16:creationId xmlns:a16="http://schemas.microsoft.com/office/drawing/2014/main" id="{6338E903-BD7D-8064-2630-BCB86D2F8C65}"/>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9" name="Picture Placeholder 11">
            <a:extLst>
              <a:ext uri="{FF2B5EF4-FFF2-40B4-BE49-F238E27FC236}">
                <a16:creationId xmlns:a16="http://schemas.microsoft.com/office/drawing/2014/main" id="{53C11C8E-6979-DE7F-5ABB-FDBCDA568283}"/>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10" name="Picture Placeholder 11">
            <a:extLst>
              <a:ext uri="{FF2B5EF4-FFF2-40B4-BE49-F238E27FC236}">
                <a16:creationId xmlns:a16="http://schemas.microsoft.com/office/drawing/2014/main" id="{A299C075-0DD3-AA37-0EE8-7520EF51A8E7}"/>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11" name="Text Placeholder 8">
            <a:extLst>
              <a:ext uri="{FF2B5EF4-FFF2-40B4-BE49-F238E27FC236}">
                <a16:creationId xmlns:a16="http://schemas.microsoft.com/office/drawing/2014/main" id="{E83958E8-E949-420E-A281-0E092243F06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4B2F189-FF6E-DC14-30AF-3B72D12C7B7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
        <p:nvSpPr>
          <p:cNvPr id="14" name="Text Placeholder 12">
            <a:extLst>
              <a:ext uri="{FF2B5EF4-FFF2-40B4-BE49-F238E27FC236}">
                <a16:creationId xmlns:a16="http://schemas.microsoft.com/office/drawing/2014/main" id="{8D84274D-3962-64B3-2DD1-E4447B12870D}"/>
              </a:ext>
            </a:extLst>
          </p:cNvPr>
          <p:cNvSpPr>
            <a:spLocks noGrp="1"/>
          </p:cNvSpPr>
          <p:nvPr>
            <p:ph type="body" sz="quarter" idx="32"/>
          </p:nvPr>
        </p:nvSpPr>
        <p:spPr>
          <a:xfrm>
            <a:off x="449999" y="3498335"/>
            <a:ext cx="5506532" cy="2864365"/>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917C075-DAD7-CCF3-F99B-A22DD6B4CDF2}"/>
              </a:ext>
            </a:extLst>
          </p:cNvPr>
          <p:cNvSpPr>
            <a:spLocks noGrp="1"/>
          </p:cNvSpPr>
          <p:nvPr>
            <p:ph type="body" sz="quarter" idx="33"/>
          </p:nvPr>
        </p:nvSpPr>
        <p:spPr>
          <a:xfrm>
            <a:off x="6247468" y="3498336"/>
            <a:ext cx="5506532" cy="2864364"/>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FB467B8D-8A12-EDB1-0232-3F5DF88094DA}"/>
              </a:ext>
            </a:extLst>
          </p:cNvPr>
          <p:cNvSpPr>
            <a:spLocks noGrp="1"/>
          </p:cNvSpPr>
          <p:nvPr>
            <p:ph type="body" sz="quarter" idx="34"/>
          </p:nvPr>
        </p:nvSpPr>
        <p:spPr>
          <a:xfrm>
            <a:off x="438000" y="1876939"/>
            <a:ext cx="3922244" cy="1482725"/>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18" name="Text Placeholder 12">
            <a:extLst>
              <a:ext uri="{FF2B5EF4-FFF2-40B4-BE49-F238E27FC236}">
                <a16:creationId xmlns:a16="http://schemas.microsoft.com/office/drawing/2014/main" id="{426D9DDC-1DF4-E268-9E99-D7ADCF3E95C3}"/>
              </a:ext>
            </a:extLst>
          </p:cNvPr>
          <p:cNvSpPr>
            <a:spLocks noGrp="1"/>
          </p:cNvSpPr>
          <p:nvPr>
            <p:ph type="body" sz="quarter" idx="35"/>
          </p:nvPr>
        </p:nvSpPr>
        <p:spPr>
          <a:xfrm>
            <a:off x="6256583" y="1883664"/>
            <a:ext cx="3922244" cy="1482725"/>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4094050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FE919537-8CE7-4809-834D-08D64026E9F1}" type="slidenum">
              <a:rPr lang="en-ZA" smtClean="0"/>
              <a:t>‹#›</a:t>
            </a:fld>
            <a:endParaRPr lang="en-ZA"/>
          </a:p>
        </p:txBody>
      </p:sp>
    </p:spTree>
    <p:extLst>
      <p:ext uri="{BB962C8B-B14F-4D97-AF65-F5344CB8AC3E}">
        <p14:creationId xmlns:p14="http://schemas.microsoft.com/office/powerpoint/2010/main" val="8849143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add text</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7" name="Freeform 11">
              <a:extLst>
                <a:ext uri="{FF2B5EF4-FFF2-40B4-BE49-F238E27FC236}">
                  <a16:creationId xmlns:a16="http://schemas.microsoft.com/office/drawing/2014/main" id="{D31146A3-7248-4F9C-8242-2B343E0BCE4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8" name="Freeform 12">
              <a:extLst>
                <a:ext uri="{FF2B5EF4-FFF2-40B4-BE49-F238E27FC236}">
                  <a16:creationId xmlns:a16="http://schemas.microsoft.com/office/drawing/2014/main" id="{4BFA0610-A333-4B16-A20C-3ADB78A32CF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grpSp>
      <p:grpSp>
        <p:nvGrpSpPr>
          <p:cNvPr id="2" name="Group 1">
            <a:extLst>
              <a:ext uri="{FF2B5EF4-FFF2-40B4-BE49-F238E27FC236}">
                <a16:creationId xmlns:a16="http://schemas.microsoft.com/office/drawing/2014/main" id="{30A6BC99-D00B-1F3F-2A81-46C1F8A8357B}"/>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4" name="Oval 5">
              <a:extLst>
                <a:ext uri="{FF2B5EF4-FFF2-40B4-BE49-F238E27FC236}">
                  <a16:creationId xmlns:a16="http://schemas.microsoft.com/office/drawing/2014/main" id="{75797496-8D52-A17A-4927-BF4925D3ED9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5" name="Freeform 6">
              <a:extLst>
                <a:ext uri="{FF2B5EF4-FFF2-40B4-BE49-F238E27FC236}">
                  <a16:creationId xmlns:a16="http://schemas.microsoft.com/office/drawing/2014/main" id="{2D3F2330-217E-3A85-B76C-393F614C7B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7" name="Rectangle 7">
              <a:extLst>
                <a:ext uri="{FF2B5EF4-FFF2-40B4-BE49-F238E27FC236}">
                  <a16:creationId xmlns:a16="http://schemas.microsoft.com/office/drawing/2014/main" id="{4B974D85-2F57-6292-DD39-4C193222DC0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9" name="Freeform 8">
              <a:extLst>
                <a:ext uri="{FF2B5EF4-FFF2-40B4-BE49-F238E27FC236}">
                  <a16:creationId xmlns:a16="http://schemas.microsoft.com/office/drawing/2014/main" id="{B2AFD43E-4465-50C7-4307-D7E75FD66E0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0" name="Rectangle 9">
              <a:extLst>
                <a:ext uri="{FF2B5EF4-FFF2-40B4-BE49-F238E27FC236}">
                  <a16:creationId xmlns:a16="http://schemas.microsoft.com/office/drawing/2014/main" id="{39E20637-9BCB-1ECC-C592-79A60AAB8C4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1" name="Rectangle 10">
              <a:extLst>
                <a:ext uri="{FF2B5EF4-FFF2-40B4-BE49-F238E27FC236}">
                  <a16:creationId xmlns:a16="http://schemas.microsoft.com/office/drawing/2014/main" id="{27F4F4CF-4B02-807F-E356-4833B42D99C2}"/>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2" name="Freeform 11">
              <a:extLst>
                <a:ext uri="{FF2B5EF4-FFF2-40B4-BE49-F238E27FC236}">
                  <a16:creationId xmlns:a16="http://schemas.microsoft.com/office/drawing/2014/main" id="{0B57173B-0B5E-8B3B-35F8-A9E52F568E8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3" name="Freeform 12">
              <a:extLst>
                <a:ext uri="{FF2B5EF4-FFF2-40B4-BE49-F238E27FC236}">
                  <a16:creationId xmlns:a16="http://schemas.microsoft.com/office/drawing/2014/main" id="{8A4CFED4-82D9-0A35-BC77-DFDE6E17EF3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4" name="Freeform 13">
              <a:extLst>
                <a:ext uri="{FF2B5EF4-FFF2-40B4-BE49-F238E27FC236}">
                  <a16:creationId xmlns:a16="http://schemas.microsoft.com/office/drawing/2014/main" id="{705AB721-44C6-F888-DA55-3CDB722CC1F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5" name="Freeform 14">
              <a:extLst>
                <a:ext uri="{FF2B5EF4-FFF2-40B4-BE49-F238E27FC236}">
                  <a16:creationId xmlns:a16="http://schemas.microsoft.com/office/drawing/2014/main" id="{8235FA6E-AA8F-0A7D-9A39-D37CD2C869D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grpSp>
      <p:pic>
        <p:nvPicPr>
          <p:cNvPr id="16" name="Picture 15">
            <a:extLst>
              <a:ext uri="{FF2B5EF4-FFF2-40B4-BE49-F238E27FC236}">
                <a16:creationId xmlns:a16="http://schemas.microsoft.com/office/drawing/2014/main" id="{150D0DD4-DD4E-6F69-81EF-F3E939208544}"/>
              </a:ext>
            </a:extLst>
          </p:cNvPr>
          <p:cNvPicPr>
            <a:picLocks noChangeAspect="1"/>
          </p:cNvPicPr>
          <p:nvPr userDrawn="1"/>
        </p:nvPicPr>
        <p:blipFill>
          <a:blip r:embed="rId2"/>
          <a:srcRect/>
          <a:stretch/>
        </p:blipFill>
        <p:spPr>
          <a:xfrm>
            <a:off x="10694852" y="5391335"/>
            <a:ext cx="1198880" cy="1198880"/>
          </a:xfrm>
          <a:prstGeom prst="rect">
            <a:avLst/>
          </a:prstGeom>
        </p:spPr>
      </p:pic>
    </p:spTree>
    <p:extLst>
      <p:ext uri="{BB962C8B-B14F-4D97-AF65-F5344CB8AC3E}">
        <p14:creationId xmlns:p14="http://schemas.microsoft.com/office/powerpoint/2010/main" val="5291391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hasCustomPrompt="1"/>
          </p:nvPr>
        </p:nvSpPr>
        <p:spPr>
          <a:xfrm>
            <a:off x="450000" y="366547"/>
            <a:ext cx="5465380" cy="484791"/>
          </a:xfrm>
        </p:spPr>
        <p:txBody>
          <a:bodyPr>
            <a:noAutofit/>
          </a:bodyPr>
          <a:lstStyle>
            <a:lvl1pPr>
              <a:defRPr sz="3200" b="1">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add title</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hasCustomPrompt="1"/>
          </p:nvPr>
        </p:nvSpPr>
        <p:spPr>
          <a:xfrm>
            <a:off x="450000" y="851339"/>
            <a:ext cx="5465380" cy="863162"/>
          </a:xfrm>
        </p:spPr>
        <p:txBody>
          <a:bodyPr>
            <a:noAutofit/>
          </a:bodyPr>
          <a:lstStyle>
            <a:lvl1pPr>
              <a:defRPr sz="3200" b="0">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add subtitle</a:t>
            </a:r>
          </a:p>
        </p:txBody>
      </p:sp>
    </p:spTree>
    <p:extLst>
      <p:ext uri="{BB962C8B-B14F-4D97-AF65-F5344CB8AC3E}">
        <p14:creationId xmlns:p14="http://schemas.microsoft.com/office/powerpoint/2010/main" val="1231858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1922384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3422356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9C36FB10-1EF5-A9A4-577D-A18DA4D120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hasCustomPrompt="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latin typeface="Aptos" panose="020B0004020202020204" pitchFamily="34" charset="0"/>
              </a:defRPr>
            </a:lvl1pPr>
            <a:lvl2pPr>
              <a:spcBef>
                <a:spcPts val="200"/>
              </a:spcBef>
              <a:spcAft>
                <a:spcPts val="200"/>
              </a:spcAft>
              <a:defRPr>
                <a:solidFill>
                  <a:schemeClr val="bg1"/>
                </a:solidFill>
                <a:latin typeface="Aptos" panose="020B0004020202020204" pitchFamily="34" charset="0"/>
              </a:defRPr>
            </a:lvl2pPr>
            <a:lvl3pPr>
              <a:spcBef>
                <a:spcPts val="200"/>
              </a:spcBef>
              <a:spcAft>
                <a:spcPts val="200"/>
              </a:spcAft>
              <a:defRPr>
                <a:solidFill>
                  <a:schemeClr val="bg1"/>
                </a:solidFill>
                <a:latin typeface="Aptos" panose="020B0004020202020204" pitchFamily="34" charset="0"/>
              </a:defRPr>
            </a:lvl3pPr>
            <a:lvl4pPr>
              <a:spcBef>
                <a:spcPts val="200"/>
              </a:spcBef>
              <a:spcAft>
                <a:spcPts val="200"/>
              </a:spcAft>
              <a:defRPr>
                <a:solidFill>
                  <a:schemeClr val="bg1"/>
                </a:solidFill>
                <a:latin typeface="Aptos" panose="020B0004020202020204" pitchFamily="34" charset="0"/>
              </a:defRPr>
            </a:lvl4pPr>
            <a:lvl5pPr>
              <a:spcBef>
                <a:spcPts val="200"/>
              </a:spcBef>
              <a:spcAft>
                <a:spcPts val="200"/>
              </a:spcAft>
              <a:defRPr>
                <a:solidFill>
                  <a:schemeClr val="bg1"/>
                </a:solidFill>
                <a:latin typeface="Aptos" panose="020B0004020202020204" pitchFamily="34" charset="0"/>
              </a:defRPr>
            </a:lvl5pPr>
          </a:lstStyle>
          <a:p>
            <a:pPr marL="0" marR="0" lvl="0" indent="0" algn="l" defTabSz="685800" rtl="0" eaLnBrk="1" fontAlgn="auto" latinLnBrk="0" hangingPunct="1">
              <a:lnSpc>
                <a:spcPct val="100000"/>
              </a:lnSpc>
              <a:spcBef>
                <a:spcPts val="200"/>
              </a:spcBef>
              <a:spcAft>
                <a:spcPts val="200"/>
              </a:spcAft>
              <a:buClrTx/>
              <a:buSzPct val="100000"/>
              <a:buFontTx/>
              <a:buNone/>
              <a:tabLst/>
              <a:defRPr/>
            </a:pPr>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a:t>Click to add subtitle</a:t>
            </a:r>
          </a:p>
        </p:txBody>
      </p:sp>
    </p:spTree>
    <p:extLst>
      <p:ext uri="{BB962C8B-B14F-4D97-AF65-F5344CB8AC3E}">
        <p14:creationId xmlns:p14="http://schemas.microsoft.com/office/powerpoint/2010/main" val="2826916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05E6F299-A818-CA93-A927-F61A877DA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marL="0" marR="0" lvl="0" indent="0" algn="l" defTabSz="685800" rtl="0" eaLnBrk="1" fontAlgn="auto" latinLnBrk="0" hangingPunct="1">
              <a:lnSpc>
                <a:spcPct val="100000"/>
              </a:lnSpc>
              <a:spcBef>
                <a:spcPts val="200"/>
              </a:spcBef>
              <a:spcAft>
                <a:spcPts val="200"/>
              </a:spcAft>
              <a:buClrTx/>
              <a:buSzPct val="100000"/>
              <a:buFontTx/>
              <a:buNone/>
              <a:tabLst>
                <a:tab pos="3771900" algn="r"/>
              </a:tabLst>
              <a:defRPr/>
            </a:pPr>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FAA9AE1-07D6-1DEA-5444-4C520526B959}"/>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a:t>Click to add subtitle</a:t>
            </a:r>
          </a:p>
        </p:txBody>
      </p:sp>
      <p:sp>
        <p:nvSpPr>
          <p:cNvPr id="3" name="Content Placeholder 3">
            <a:extLst>
              <a:ext uri="{FF2B5EF4-FFF2-40B4-BE49-F238E27FC236}">
                <a16:creationId xmlns:a16="http://schemas.microsoft.com/office/drawing/2014/main" id="{45E59B36-2F4F-A0E8-D1A8-C198F28B171E}"/>
              </a:ext>
            </a:extLst>
          </p:cNvPr>
          <p:cNvSpPr>
            <a:spLocks noGrp="1"/>
          </p:cNvSpPr>
          <p:nvPr>
            <p:ph sz="quarter" idx="15" hasCustomPrompt="1"/>
          </p:nvPr>
        </p:nvSpPr>
        <p:spPr>
          <a:xfrm>
            <a:off x="6246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marL="0" marR="0" lvl="0" indent="0" algn="l" defTabSz="685800" rtl="0" eaLnBrk="1" fontAlgn="auto" latinLnBrk="0" hangingPunct="1">
              <a:lnSpc>
                <a:spcPct val="100000"/>
              </a:lnSpc>
              <a:spcBef>
                <a:spcPts val="200"/>
              </a:spcBef>
              <a:spcAft>
                <a:spcPts val="200"/>
              </a:spcAft>
              <a:buClrTx/>
              <a:buSzPct val="100000"/>
              <a:buFontTx/>
              <a:buNone/>
              <a:tabLst>
                <a:tab pos="3771900" algn="r"/>
              </a:tabLst>
              <a:defRPr/>
            </a:pPr>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7587613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D82120E2-D6C2-D764-40A5-E97D48121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hasCustomPrompt="1"/>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aseCode">
            <a:extLst>
              <a:ext uri="{FF2B5EF4-FFF2-40B4-BE49-F238E27FC236}">
                <a16:creationId xmlns:a16="http://schemas.microsoft.com/office/drawing/2014/main" id="{4C9C6FA1-DDE1-8073-D67E-BBF06C3542A3}"/>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Aptos" panose="020B0004020202020204" pitchFamily="34" charset="0"/>
              </a:defRPr>
            </a:lvl1pPr>
          </a:lstStyle>
          <a:p>
            <a:r>
              <a:rPr lang="en-US"/>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latin typeface="Aptos" panose="020B0004020202020204" pitchFamily="34" charset="0"/>
              </a:defRPr>
            </a:lvl1pPr>
          </a:lstStyle>
          <a:p>
            <a:pPr lvl="0"/>
            <a:r>
              <a:rPr lang="en-US"/>
              <a:t>Click to add subtitle</a:t>
            </a:r>
          </a:p>
        </p:txBody>
      </p:sp>
      <p:sp>
        <p:nvSpPr>
          <p:cNvPr id="4" name="Content Placeholder 3">
            <a:extLst>
              <a:ext uri="{FF2B5EF4-FFF2-40B4-BE49-F238E27FC236}">
                <a16:creationId xmlns:a16="http://schemas.microsoft.com/office/drawing/2014/main" id="{DF0E9C8C-3361-2EBB-1420-4D27917305A8}"/>
              </a:ext>
            </a:extLst>
          </p:cNvPr>
          <p:cNvSpPr>
            <a:spLocks noGrp="1"/>
          </p:cNvSpPr>
          <p:nvPr>
            <p:ph sz="quarter" idx="17" hasCustomPrompt="1"/>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CD594323-BB1E-32C6-75D1-37D14037392C}"/>
              </a:ext>
            </a:extLst>
          </p:cNvPr>
          <p:cNvSpPr>
            <a:spLocks noGrp="1"/>
          </p:cNvSpPr>
          <p:nvPr>
            <p:ph sz="quarter" idx="18" hasCustomPrompt="1"/>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918068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AF0D7E5-2029-3151-0D44-92D925760B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hasCustomPrompt="1"/>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AC6B5AE-2398-5F77-C242-BA82202FDB97}"/>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a:t>Click to add subtitle</a:t>
            </a:r>
          </a:p>
        </p:txBody>
      </p:sp>
      <p:sp>
        <p:nvSpPr>
          <p:cNvPr id="3" name="Content Placeholder 3">
            <a:extLst>
              <a:ext uri="{FF2B5EF4-FFF2-40B4-BE49-F238E27FC236}">
                <a16:creationId xmlns:a16="http://schemas.microsoft.com/office/drawing/2014/main" id="{39EE392B-1FEE-21B0-181D-C9962A3FE8E5}"/>
              </a:ext>
            </a:extLst>
          </p:cNvPr>
          <p:cNvSpPr>
            <a:spLocks noGrp="1"/>
          </p:cNvSpPr>
          <p:nvPr>
            <p:ph sz="quarter" idx="18" hasCustomPrompt="1"/>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EC71861D-BC3F-2DAD-BA49-86947F937CC5}"/>
              </a:ext>
            </a:extLst>
          </p:cNvPr>
          <p:cNvSpPr>
            <a:spLocks noGrp="1"/>
          </p:cNvSpPr>
          <p:nvPr>
            <p:ph sz="quarter" idx="19" hasCustomPrompt="1"/>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3">
            <a:extLst>
              <a:ext uri="{FF2B5EF4-FFF2-40B4-BE49-F238E27FC236}">
                <a16:creationId xmlns:a16="http://schemas.microsoft.com/office/drawing/2014/main" id="{6D62757C-35E9-6C73-1638-E2D99D8D412E}"/>
              </a:ext>
            </a:extLst>
          </p:cNvPr>
          <p:cNvSpPr>
            <a:spLocks noGrp="1"/>
          </p:cNvSpPr>
          <p:nvPr>
            <p:ph sz="quarter" idx="20" hasCustomPrompt="1"/>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7363450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3E4C1F1A-C2FD-0E2E-2497-1640B8CFB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hasCustomPrompt="1"/>
          </p:nvPr>
        </p:nvSpPr>
        <p:spPr>
          <a:xfrm>
            <a:off x="7902000" y="1880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a:t>Click to add text</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hasCustomPrompt="1"/>
          </p:nvPr>
        </p:nvSpPr>
        <p:spPr>
          <a:xfrm>
            <a:off x="2106000" y="4256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a:t>Click to add text</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hasCustomPrompt="1"/>
          </p:nvPr>
        </p:nvSpPr>
        <p:spPr>
          <a:xfrm>
            <a:off x="7902000" y="4256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a:t>Click to add text</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p:nvSpPr>
        <p:spPr>
          <a:xfrm>
            <a:off x="6246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1" name="Rectangle 10">
            <a:extLst>
              <a:ext uri="{FF2B5EF4-FFF2-40B4-BE49-F238E27FC236}">
                <a16:creationId xmlns:a16="http://schemas.microsoft.com/office/drawing/2014/main" id="{96B116F3-3D63-C235-3E40-D7EA6B934CF2}"/>
              </a:ext>
            </a:extLst>
          </p:cNvPr>
          <p:cNvSpPr/>
          <p:nvPr/>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2" name="Rectangle 11">
            <a:extLst>
              <a:ext uri="{FF2B5EF4-FFF2-40B4-BE49-F238E27FC236}">
                <a16:creationId xmlns:a16="http://schemas.microsoft.com/office/drawing/2014/main" id="{4F46C436-A721-2D60-1AEA-13F0DD3A9223}"/>
              </a:ext>
            </a:extLst>
          </p:cNvPr>
          <p:cNvSpPr/>
          <p:nvPr/>
        </p:nvSpPr>
        <p:spPr>
          <a:xfrm>
            <a:off x="6246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3" name="Rectangle 12">
            <a:extLst>
              <a:ext uri="{FF2B5EF4-FFF2-40B4-BE49-F238E27FC236}">
                <a16:creationId xmlns:a16="http://schemas.microsoft.com/office/drawing/2014/main" id="{C62ED75E-FA16-E5BA-B5F1-A58E06F1A408}"/>
              </a:ext>
            </a:extLst>
          </p:cNvPr>
          <p:cNvSpPr/>
          <p:nvPr/>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4" name="CaseCode">
            <a:extLst>
              <a:ext uri="{FF2B5EF4-FFF2-40B4-BE49-F238E27FC236}">
                <a16:creationId xmlns:a16="http://schemas.microsoft.com/office/drawing/2014/main" id="{FDC8E98C-87C9-16F4-A3B7-C5661C38BF7F}"/>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hasCustomPrompt="1"/>
          </p:nvPr>
        </p:nvSpPr>
        <p:spPr>
          <a:xfrm>
            <a:off x="2106000" y="1880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a:t>Click to add text</a:t>
            </a:r>
          </a:p>
          <a:p>
            <a:pPr lvl="1"/>
            <a:r>
              <a:rPr lang="en-US"/>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a:t>Click to add subtitle</a:t>
            </a:r>
          </a:p>
        </p:txBody>
      </p:sp>
    </p:spTree>
    <p:extLst>
      <p:ext uri="{BB962C8B-B14F-4D97-AF65-F5344CB8AC3E}">
        <p14:creationId xmlns:p14="http://schemas.microsoft.com/office/powerpoint/2010/main" val="179138842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7C7A401-E3C4-4448-BB60-24DC9B089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E54BDE75-7D63-5A8D-9586-2DF08152B9DB}"/>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23" name="Rectangle 22">
            <a:extLst>
              <a:ext uri="{FF2B5EF4-FFF2-40B4-BE49-F238E27FC236}">
                <a16:creationId xmlns:a16="http://schemas.microsoft.com/office/drawing/2014/main" id="{42EEB445-709C-2A60-111E-6C647F0A35CE}"/>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24" name="Picture Placeholder 11">
            <a:extLst>
              <a:ext uri="{FF2B5EF4-FFF2-40B4-BE49-F238E27FC236}">
                <a16:creationId xmlns:a16="http://schemas.microsoft.com/office/drawing/2014/main" id="{D607A458-E147-B9B7-9383-EC78896E9013}"/>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5" name="Picture Placeholder 11">
            <a:extLst>
              <a:ext uri="{FF2B5EF4-FFF2-40B4-BE49-F238E27FC236}">
                <a16:creationId xmlns:a16="http://schemas.microsoft.com/office/drawing/2014/main" id="{AB87BC03-0530-DD67-53AA-6112E3067D6F}"/>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6" name="Text Placeholder 8">
            <a:extLst>
              <a:ext uri="{FF2B5EF4-FFF2-40B4-BE49-F238E27FC236}">
                <a16:creationId xmlns:a16="http://schemas.microsoft.com/office/drawing/2014/main" id="{C4766941-9B9B-B0EB-7FEE-F054D92C5D17}"/>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rgbClr val="D0D0CE"/>
                </a:solidFill>
              </a:defRPr>
            </a:lvl1pPr>
          </a:lstStyle>
          <a:p>
            <a:pPr lvl="0"/>
            <a:r>
              <a:rPr lang="en-US"/>
              <a:t>Click to add subtitle</a:t>
            </a:r>
          </a:p>
        </p:txBody>
      </p:sp>
      <p:sp>
        <p:nvSpPr>
          <p:cNvPr id="27" name="Title Placeholder 1">
            <a:extLst>
              <a:ext uri="{FF2B5EF4-FFF2-40B4-BE49-F238E27FC236}">
                <a16:creationId xmlns:a16="http://schemas.microsoft.com/office/drawing/2014/main" id="{AC8509E0-F985-A0D0-509F-CAAABBE224FB}"/>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a:t>Click to add title</a:t>
            </a:r>
          </a:p>
        </p:txBody>
      </p:sp>
      <p:sp>
        <p:nvSpPr>
          <p:cNvPr id="28" name="Text Placeholder 12">
            <a:extLst>
              <a:ext uri="{FF2B5EF4-FFF2-40B4-BE49-F238E27FC236}">
                <a16:creationId xmlns:a16="http://schemas.microsoft.com/office/drawing/2014/main" id="{E65F5245-2618-9B16-69B7-53295FC0F9CD}"/>
              </a:ext>
            </a:extLst>
          </p:cNvPr>
          <p:cNvSpPr>
            <a:spLocks noGrp="1"/>
          </p:cNvSpPr>
          <p:nvPr>
            <p:ph type="body" sz="quarter" idx="32"/>
          </p:nvPr>
        </p:nvSpPr>
        <p:spPr>
          <a:xfrm>
            <a:off x="449999" y="3498335"/>
            <a:ext cx="5506532" cy="2864365"/>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29" name="Text Placeholder 12">
            <a:extLst>
              <a:ext uri="{FF2B5EF4-FFF2-40B4-BE49-F238E27FC236}">
                <a16:creationId xmlns:a16="http://schemas.microsoft.com/office/drawing/2014/main" id="{34626AF5-3859-62A9-EADF-EE5AEA88292C}"/>
              </a:ext>
            </a:extLst>
          </p:cNvPr>
          <p:cNvSpPr>
            <a:spLocks noGrp="1"/>
          </p:cNvSpPr>
          <p:nvPr>
            <p:ph type="body" sz="quarter" idx="33"/>
          </p:nvPr>
        </p:nvSpPr>
        <p:spPr>
          <a:xfrm>
            <a:off x="6247468" y="3498336"/>
            <a:ext cx="5506532" cy="2864364"/>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30" name="Text Placeholder 12">
            <a:extLst>
              <a:ext uri="{FF2B5EF4-FFF2-40B4-BE49-F238E27FC236}">
                <a16:creationId xmlns:a16="http://schemas.microsoft.com/office/drawing/2014/main" id="{7305BDFC-6521-9553-6397-2BA05F33F9CA}"/>
              </a:ext>
            </a:extLst>
          </p:cNvPr>
          <p:cNvSpPr>
            <a:spLocks noGrp="1"/>
          </p:cNvSpPr>
          <p:nvPr>
            <p:ph type="body" sz="quarter" idx="34"/>
          </p:nvPr>
        </p:nvSpPr>
        <p:spPr>
          <a:xfrm>
            <a:off x="438000" y="1876939"/>
            <a:ext cx="3922244" cy="1482725"/>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CAA5047E-9557-6425-CDBC-AAD24A09F4D5}"/>
              </a:ext>
            </a:extLst>
          </p:cNvPr>
          <p:cNvSpPr>
            <a:spLocks noGrp="1"/>
          </p:cNvSpPr>
          <p:nvPr>
            <p:ph type="body" sz="quarter" idx="35"/>
          </p:nvPr>
        </p:nvSpPr>
        <p:spPr>
          <a:xfrm>
            <a:off x="6256583" y="1883664"/>
            <a:ext cx="3922244" cy="1482725"/>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3713749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6374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add text</a:t>
            </a:r>
          </a:p>
        </p:txBody>
      </p:sp>
      <p:grpSp>
        <p:nvGrpSpPr>
          <p:cNvPr id="16" name="Group 15">
            <a:extLst>
              <a:ext uri="{FF2B5EF4-FFF2-40B4-BE49-F238E27FC236}">
                <a16:creationId xmlns:a16="http://schemas.microsoft.com/office/drawing/2014/main" id="{8AB860FC-9229-466C-B67B-E6B79E07BB2B}"/>
              </a:ext>
            </a:extLst>
          </p:cNvPr>
          <p:cNvGrpSpPr/>
          <p:nvPr/>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4" name="Freeform 11">
              <a:extLst>
                <a:ext uri="{FF2B5EF4-FFF2-40B4-BE49-F238E27FC236}">
                  <a16:creationId xmlns:a16="http://schemas.microsoft.com/office/drawing/2014/main" id="{593BFC01-C985-4400-9F59-CA3E701AB84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5" name="Freeform 12">
              <a:extLst>
                <a:ext uri="{FF2B5EF4-FFF2-40B4-BE49-F238E27FC236}">
                  <a16:creationId xmlns:a16="http://schemas.microsoft.com/office/drawing/2014/main" id="{4A67BA7C-21CB-474A-9E6A-BCA082851A8C}"/>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grpSp>
      <p:pic>
        <p:nvPicPr>
          <p:cNvPr id="2" name="Picture 1">
            <a:extLst>
              <a:ext uri="{FF2B5EF4-FFF2-40B4-BE49-F238E27FC236}">
                <a16:creationId xmlns:a16="http://schemas.microsoft.com/office/drawing/2014/main" id="{46E6B3E5-1B29-186D-8198-13EFDA7502F8}"/>
              </a:ext>
            </a:extLst>
          </p:cNvPr>
          <p:cNvPicPr>
            <a:picLocks noChangeAspect="1"/>
          </p:cNvPicPr>
          <p:nvPr userDrawn="1"/>
        </p:nvPicPr>
        <p:blipFill>
          <a:blip r:embed="rId2"/>
          <a:srcRect/>
          <a:stretch/>
        </p:blipFill>
        <p:spPr>
          <a:xfrm>
            <a:off x="10694852" y="5391335"/>
            <a:ext cx="1198880" cy="1198880"/>
          </a:xfrm>
          <a:prstGeom prst="rect">
            <a:avLst/>
          </a:prstGeom>
        </p:spPr>
      </p:pic>
    </p:spTree>
    <p:extLst>
      <p:ext uri="{BB962C8B-B14F-4D97-AF65-F5344CB8AC3E}">
        <p14:creationId xmlns:p14="http://schemas.microsoft.com/office/powerpoint/2010/main" val="401485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01BFC901-CBBD-C32B-84C9-76F5F9E0B694}"/>
              </a:ext>
            </a:extLst>
          </p:cNvPr>
          <p:cNvSpPr>
            <a:spLocks noGrp="1"/>
          </p:cNvSpPr>
          <p:nvPr>
            <p:ph type="pic" sz="quarter" idx="11"/>
          </p:nvPr>
        </p:nvSpPr>
        <p:spPr>
          <a:xfrm>
            <a:off x="3810000" y="1143000"/>
            <a:ext cx="4572000" cy="4572000"/>
          </a:xfrm>
          <a:prstGeom prst="rect">
            <a:avLst/>
          </a:prstGeom>
        </p:spPr>
        <p:txBody>
          <a:bodyPr/>
          <a:lstStyle>
            <a:lvl1pPr>
              <a:defRPr/>
            </a:lvl1pPr>
          </a:lstStyle>
          <a:p>
            <a:endParaRPr lang="en-US" noProof="0"/>
          </a:p>
        </p:txBody>
      </p:sp>
      <p:grpSp>
        <p:nvGrpSpPr>
          <p:cNvPr id="5" name="Group 4">
            <a:extLst>
              <a:ext uri="{FF2B5EF4-FFF2-40B4-BE49-F238E27FC236}">
                <a16:creationId xmlns:a16="http://schemas.microsoft.com/office/drawing/2014/main" id="{B22865B6-078C-8FCA-8EAE-CE9DFCC0CF14}"/>
              </a:ext>
            </a:extLst>
          </p:cNvPr>
          <p:cNvGrpSpPr>
            <a:grpSpLocks/>
          </p:cNvGrpSpPr>
          <p:nvPr userDrawn="1"/>
        </p:nvGrpSpPr>
        <p:grpSpPr>
          <a:xfrm>
            <a:off x="479955" y="337314"/>
            <a:ext cx="1670125" cy="314661"/>
            <a:chOff x="398463" y="404813"/>
            <a:chExt cx="1627187" cy="307976"/>
          </a:xfrm>
          <a:solidFill>
            <a:schemeClr val="bg1"/>
          </a:solidFill>
        </p:grpSpPr>
        <p:sp>
          <p:nvSpPr>
            <p:cNvPr id="6" name="Oval 5">
              <a:extLst>
                <a:ext uri="{FF2B5EF4-FFF2-40B4-BE49-F238E27FC236}">
                  <a16:creationId xmlns:a16="http://schemas.microsoft.com/office/drawing/2014/main" id="{0CA964B8-EE03-C3FA-B3FB-0BF450D3787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19" noProof="0">
                <a:solidFill>
                  <a:schemeClr val="bg1"/>
                </a:solidFill>
              </a:endParaRPr>
            </a:p>
          </p:txBody>
        </p:sp>
        <p:sp>
          <p:nvSpPr>
            <p:cNvPr id="7" name="Freeform 6">
              <a:extLst>
                <a:ext uri="{FF2B5EF4-FFF2-40B4-BE49-F238E27FC236}">
                  <a16:creationId xmlns:a16="http://schemas.microsoft.com/office/drawing/2014/main" id="{6DBE414D-FC14-7A2B-8531-A0F0323C5D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19" noProof="0">
                <a:solidFill>
                  <a:schemeClr val="bg1"/>
                </a:solidFill>
              </a:endParaRPr>
            </a:p>
          </p:txBody>
        </p:sp>
        <p:sp>
          <p:nvSpPr>
            <p:cNvPr id="8" name="Rectangle 7">
              <a:extLst>
                <a:ext uri="{FF2B5EF4-FFF2-40B4-BE49-F238E27FC236}">
                  <a16:creationId xmlns:a16="http://schemas.microsoft.com/office/drawing/2014/main" id="{FA8B0326-60D5-DD6B-0231-4D4504F2824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19" noProof="0">
                <a:solidFill>
                  <a:schemeClr val="bg1"/>
                </a:solidFill>
              </a:endParaRPr>
            </a:p>
          </p:txBody>
        </p:sp>
        <p:sp>
          <p:nvSpPr>
            <p:cNvPr id="9" name="Freeform 8">
              <a:extLst>
                <a:ext uri="{FF2B5EF4-FFF2-40B4-BE49-F238E27FC236}">
                  <a16:creationId xmlns:a16="http://schemas.microsoft.com/office/drawing/2014/main" id="{F35EF479-202D-F5B7-C357-6E66553C027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19" noProof="0">
                <a:solidFill>
                  <a:schemeClr val="bg1"/>
                </a:solidFill>
              </a:endParaRPr>
            </a:p>
          </p:txBody>
        </p:sp>
        <p:sp>
          <p:nvSpPr>
            <p:cNvPr id="10" name="Rectangle 9">
              <a:extLst>
                <a:ext uri="{FF2B5EF4-FFF2-40B4-BE49-F238E27FC236}">
                  <a16:creationId xmlns:a16="http://schemas.microsoft.com/office/drawing/2014/main" id="{418FC540-0047-CFAF-60A1-742A1EC87DC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19" noProof="0">
                <a:solidFill>
                  <a:schemeClr val="bg1"/>
                </a:solidFill>
              </a:endParaRPr>
            </a:p>
          </p:txBody>
        </p:sp>
        <p:sp>
          <p:nvSpPr>
            <p:cNvPr id="11" name="Rectangle 10">
              <a:extLst>
                <a:ext uri="{FF2B5EF4-FFF2-40B4-BE49-F238E27FC236}">
                  <a16:creationId xmlns:a16="http://schemas.microsoft.com/office/drawing/2014/main" id="{606D7930-B3C6-A53B-8D0A-E8481AD49B1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19" noProof="0">
                <a:solidFill>
                  <a:schemeClr val="bg1"/>
                </a:solidFill>
              </a:endParaRPr>
            </a:p>
          </p:txBody>
        </p:sp>
        <p:sp>
          <p:nvSpPr>
            <p:cNvPr id="12" name="Freeform 11">
              <a:extLst>
                <a:ext uri="{FF2B5EF4-FFF2-40B4-BE49-F238E27FC236}">
                  <a16:creationId xmlns:a16="http://schemas.microsoft.com/office/drawing/2014/main" id="{741C9059-7DAF-D393-D36E-449A8C8A2A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19" noProof="0">
                <a:solidFill>
                  <a:schemeClr val="bg1"/>
                </a:solidFill>
              </a:endParaRPr>
            </a:p>
          </p:txBody>
        </p:sp>
        <p:sp>
          <p:nvSpPr>
            <p:cNvPr id="13" name="Freeform 12">
              <a:extLst>
                <a:ext uri="{FF2B5EF4-FFF2-40B4-BE49-F238E27FC236}">
                  <a16:creationId xmlns:a16="http://schemas.microsoft.com/office/drawing/2014/main" id="{EA80F932-7634-76DE-720E-0557F81E918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19" noProof="0">
                <a:solidFill>
                  <a:schemeClr val="bg1"/>
                </a:solidFill>
              </a:endParaRPr>
            </a:p>
          </p:txBody>
        </p:sp>
        <p:sp>
          <p:nvSpPr>
            <p:cNvPr id="14" name="Freeform 13">
              <a:extLst>
                <a:ext uri="{FF2B5EF4-FFF2-40B4-BE49-F238E27FC236}">
                  <a16:creationId xmlns:a16="http://schemas.microsoft.com/office/drawing/2014/main" id="{1FD4AA1E-AE3C-5B3A-2824-C127D934908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19" noProof="0">
                <a:solidFill>
                  <a:schemeClr val="bg1"/>
                </a:solidFill>
              </a:endParaRPr>
            </a:p>
          </p:txBody>
        </p:sp>
        <p:sp>
          <p:nvSpPr>
            <p:cNvPr id="15" name="Freeform 14">
              <a:extLst>
                <a:ext uri="{FF2B5EF4-FFF2-40B4-BE49-F238E27FC236}">
                  <a16:creationId xmlns:a16="http://schemas.microsoft.com/office/drawing/2014/main" id="{0C252E08-B30C-E244-3DAB-FF83E3034D7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19" noProof="0">
                <a:solidFill>
                  <a:schemeClr val="bg1"/>
                </a:solidFill>
              </a:endParaRPr>
            </a:p>
          </p:txBody>
        </p:sp>
      </p:grpSp>
      <p:sp>
        <p:nvSpPr>
          <p:cNvPr id="17" name="Title 1">
            <a:extLst>
              <a:ext uri="{FF2B5EF4-FFF2-40B4-BE49-F238E27FC236}">
                <a16:creationId xmlns:a16="http://schemas.microsoft.com/office/drawing/2014/main" id="{7E36DA75-CBB2-7B91-DD03-A6D54A37FF38}"/>
              </a:ext>
            </a:extLst>
          </p:cNvPr>
          <p:cNvSpPr>
            <a:spLocks noGrp="1"/>
          </p:cNvSpPr>
          <p:nvPr>
            <p:ph type="ctrTitle"/>
          </p:nvPr>
        </p:nvSpPr>
        <p:spPr bwMode="gray">
          <a:xfrm>
            <a:off x="478638" y="4198076"/>
            <a:ext cx="5039105" cy="1015447"/>
          </a:xfrm>
          <a:prstGeom prst="rect">
            <a:avLst/>
          </a:prstGeom>
        </p:spPr>
        <p:txBody>
          <a:bodyPr anchor="b" anchorCtr="0">
            <a:noAutofit/>
          </a:bodyPr>
          <a:lstStyle>
            <a:lvl1pPr algn="l">
              <a:lnSpc>
                <a:spcPts val="2975"/>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8" name="Text Placeholder 4">
            <a:extLst>
              <a:ext uri="{FF2B5EF4-FFF2-40B4-BE49-F238E27FC236}">
                <a16:creationId xmlns:a16="http://schemas.microsoft.com/office/drawing/2014/main" id="{86F9D17F-08C8-9D22-7DA1-7EAB95493C81}"/>
              </a:ext>
            </a:extLst>
          </p:cNvPr>
          <p:cNvSpPr>
            <a:spLocks noGrp="1"/>
          </p:cNvSpPr>
          <p:nvPr>
            <p:ph type="body" sz="quarter" idx="10"/>
          </p:nvPr>
        </p:nvSpPr>
        <p:spPr>
          <a:xfrm>
            <a:off x="478638" y="6061692"/>
            <a:ext cx="5039105" cy="309457"/>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19" name="Text Placeholder 2">
            <a:extLst>
              <a:ext uri="{FF2B5EF4-FFF2-40B4-BE49-F238E27FC236}">
                <a16:creationId xmlns:a16="http://schemas.microsoft.com/office/drawing/2014/main" id="{AF2DD722-641B-10E7-888A-9BC6976B3823}"/>
              </a:ext>
            </a:extLst>
          </p:cNvPr>
          <p:cNvSpPr>
            <a:spLocks noGrp="1"/>
          </p:cNvSpPr>
          <p:nvPr>
            <p:ph type="body" sz="quarter" idx="12"/>
          </p:nvPr>
        </p:nvSpPr>
        <p:spPr>
          <a:xfrm>
            <a:off x="478638" y="5306423"/>
            <a:ext cx="5038200" cy="773874"/>
          </a:xfrm>
        </p:spPr>
        <p:txBody>
          <a:bodyPr>
            <a:normAutofit/>
          </a:bodyPr>
          <a:lstStyle>
            <a:lvl1pPr>
              <a:defRPr sz="2100" b="0">
                <a:solidFill>
                  <a:schemeClr val="bg1"/>
                </a:solidFill>
              </a:defRPr>
            </a:lvl1pPr>
          </a:lstStyle>
          <a:p>
            <a:pPr lvl="0"/>
            <a:endParaRPr lang="en-US"/>
          </a:p>
        </p:txBody>
      </p:sp>
    </p:spTree>
    <p:extLst>
      <p:ext uri="{BB962C8B-B14F-4D97-AF65-F5344CB8AC3E}">
        <p14:creationId xmlns:p14="http://schemas.microsoft.com/office/powerpoint/2010/main" val="259160219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6068572-8182-83C1-7DFE-210AB3EFBBDA}"/>
              </a:ext>
            </a:extLst>
          </p:cNvPr>
          <p:cNvSpPr>
            <a:spLocks noGrp="1"/>
          </p:cNvSpPr>
          <p:nvPr>
            <p:ph type="pic" sz="quarter" idx="11"/>
          </p:nvPr>
        </p:nvSpPr>
        <p:spPr>
          <a:xfrm>
            <a:off x="3810000" y="1143000"/>
            <a:ext cx="4572000" cy="4572000"/>
          </a:xfrm>
          <a:prstGeom prst="rect">
            <a:avLst/>
          </a:prstGeom>
        </p:spPr>
        <p:txBody>
          <a:bodyPr/>
          <a:lstStyle>
            <a:lvl1pPr>
              <a:defRPr/>
            </a:lvl1pPr>
          </a:lstStyle>
          <a:p>
            <a:endParaRPr lang="en-US" noProof="0"/>
          </a:p>
        </p:txBody>
      </p:sp>
      <p:grpSp>
        <p:nvGrpSpPr>
          <p:cNvPr id="6" name="Group 5">
            <a:extLst>
              <a:ext uri="{FF2B5EF4-FFF2-40B4-BE49-F238E27FC236}">
                <a16:creationId xmlns:a16="http://schemas.microsoft.com/office/drawing/2014/main" id="{5B496DC2-E756-3DB8-BEFA-499BB6B014F8}"/>
              </a:ext>
            </a:extLst>
          </p:cNvPr>
          <p:cNvGrpSpPr>
            <a:grpSpLocks noChangeAspect="1"/>
          </p:cNvGrpSpPr>
          <p:nvPr userDrawn="1"/>
        </p:nvGrpSpPr>
        <p:grpSpPr>
          <a:xfrm>
            <a:off x="478638" y="328001"/>
            <a:ext cx="1892808" cy="359839"/>
            <a:chOff x="398463" y="404813"/>
            <a:chExt cx="1627187" cy="307976"/>
          </a:xfrm>
          <a:solidFill>
            <a:schemeClr val="bg1"/>
          </a:solidFill>
        </p:grpSpPr>
        <p:sp>
          <p:nvSpPr>
            <p:cNvPr id="7" name="Oval 5">
              <a:extLst>
                <a:ext uri="{FF2B5EF4-FFF2-40B4-BE49-F238E27FC236}">
                  <a16:creationId xmlns:a16="http://schemas.microsoft.com/office/drawing/2014/main" id="{A06D920A-7447-2BAE-7362-2D114CC3657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8" name="Freeform 6">
              <a:extLst>
                <a:ext uri="{FF2B5EF4-FFF2-40B4-BE49-F238E27FC236}">
                  <a16:creationId xmlns:a16="http://schemas.microsoft.com/office/drawing/2014/main" id="{6DF5BDF9-F782-84E8-98C7-6C23DD33663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tx1"/>
                </a:solidFill>
              </a:endParaRPr>
            </a:p>
          </p:txBody>
        </p:sp>
        <p:sp>
          <p:nvSpPr>
            <p:cNvPr id="9" name="Rectangle 7">
              <a:extLst>
                <a:ext uri="{FF2B5EF4-FFF2-40B4-BE49-F238E27FC236}">
                  <a16:creationId xmlns:a16="http://schemas.microsoft.com/office/drawing/2014/main" id="{30330235-F2E3-65E4-6495-993697EE8058}"/>
                </a:ext>
              </a:extLst>
            </p:cNvPr>
            <p:cNvSpPr>
              <a:spLocks noChangeArrowheads="1"/>
            </p:cNvSpPr>
            <p:nvPr userDrawn="1"/>
          </p:nvSpPr>
          <p:spPr bwMode="auto">
            <a:xfrm>
              <a:off x="906462"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tx1"/>
                </a:solidFill>
              </a:endParaRPr>
            </a:p>
          </p:txBody>
        </p:sp>
        <p:sp>
          <p:nvSpPr>
            <p:cNvPr id="10" name="Freeform 8">
              <a:extLst>
                <a:ext uri="{FF2B5EF4-FFF2-40B4-BE49-F238E27FC236}">
                  <a16:creationId xmlns:a16="http://schemas.microsoft.com/office/drawing/2014/main" id="{0DA809A5-9FAD-1AEB-E5F7-E1BC48B1176A}"/>
                </a:ext>
              </a:extLst>
            </p:cNvPr>
            <p:cNvSpPr>
              <a:spLocks noEditPoints="1"/>
            </p:cNvSpPr>
            <p:nvPr userDrawn="1"/>
          </p:nvSpPr>
          <p:spPr bwMode="auto">
            <a:xfrm>
              <a:off x="1014083"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tx1"/>
                </a:solidFill>
              </a:endParaRPr>
            </a:p>
          </p:txBody>
        </p:sp>
        <p:sp>
          <p:nvSpPr>
            <p:cNvPr id="11" name="Rectangle 9">
              <a:extLst>
                <a:ext uri="{FF2B5EF4-FFF2-40B4-BE49-F238E27FC236}">
                  <a16:creationId xmlns:a16="http://schemas.microsoft.com/office/drawing/2014/main" id="{E10671BF-9CCB-1737-04A4-8CA9ADB3B220}"/>
                </a:ext>
              </a:extLst>
            </p:cNvPr>
            <p:cNvSpPr>
              <a:spLocks noChangeArrowheads="1"/>
            </p:cNvSpPr>
            <p:nvPr userDrawn="1"/>
          </p:nvSpPr>
          <p:spPr bwMode="auto">
            <a:xfrm>
              <a:off x="1260145"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tx1"/>
                </a:solidFill>
              </a:endParaRPr>
            </a:p>
          </p:txBody>
        </p:sp>
        <p:sp>
          <p:nvSpPr>
            <p:cNvPr id="12" name="Rectangle 10">
              <a:extLst>
                <a:ext uri="{FF2B5EF4-FFF2-40B4-BE49-F238E27FC236}">
                  <a16:creationId xmlns:a16="http://schemas.microsoft.com/office/drawing/2014/main" id="{74D200F1-BF0F-8A19-BFA8-65202A88FE2D}"/>
                </a:ext>
              </a:extLst>
            </p:cNvPr>
            <p:cNvSpPr>
              <a:spLocks noChangeArrowheads="1"/>
            </p:cNvSpPr>
            <p:nvPr userDrawn="1"/>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3" name="Freeform 11">
              <a:extLst>
                <a:ext uri="{FF2B5EF4-FFF2-40B4-BE49-F238E27FC236}">
                  <a16:creationId xmlns:a16="http://schemas.microsoft.com/office/drawing/2014/main" id="{2C0D40E0-9D69-8D79-A921-8C77989A594D}"/>
                </a:ext>
              </a:extLst>
            </p:cNvPr>
            <p:cNvSpPr>
              <a:spLocks/>
            </p:cNvSpPr>
            <p:nvPr userDrawn="1"/>
          </p:nvSpPr>
          <p:spPr bwMode="auto">
            <a:xfrm>
              <a:off x="1364920"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tx1"/>
                </a:solidFill>
              </a:endParaRPr>
            </a:p>
          </p:txBody>
        </p:sp>
        <p:sp>
          <p:nvSpPr>
            <p:cNvPr id="14" name="Freeform 12">
              <a:extLst>
                <a:ext uri="{FF2B5EF4-FFF2-40B4-BE49-F238E27FC236}">
                  <a16:creationId xmlns:a16="http://schemas.microsoft.com/office/drawing/2014/main" id="{9AA9607B-6072-4E90-A499-3BDF846B7865}"/>
                </a:ext>
              </a:extLst>
            </p:cNvPr>
            <p:cNvSpPr>
              <a:spLocks/>
            </p:cNvSpPr>
            <p:nvPr userDrawn="1"/>
          </p:nvSpPr>
          <p:spPr bwMode="auto">
            <a:xfrm>
              <a:off x="1537958"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tx1"/>
                </a:solidFill>
              </a:endParaRPr>
            </a:p>
          </p:txBody>
        </p:sp>
        <p:sp>
          <p:nvSpPr>
            <p:cNvPr id="15" name="Freeform 13">
              <a:extLst>
                <a:ext uri="{FF2B5EF4-FFF2-40B4-BE49-F238E27FC236}">
                  <a16:creationId xmlns:a16="http://schemas.microsoft.com/office/drawing/2014/main" id="{F3630F04-CA63-FF87-8986-FEB0D45CC3B8}"/>
                </a:ext>
              </a:extLst>
            </p:cNvPr>
            <p:cNvSpPr>
              <a:spLocks noEditPoints="1"/>
            </p:cNvSpPr>
            <p:nvPr userDrawn="1"/>
          </p:nvSpPr>
          <p:spPr bwMode="auto">
            <a:xfrm>
              <a:off x="1712584"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tx1"/>
                </a:solidFill>
              </a:endParaRPr>
            </a:p>
          </p:txBody>
        </p:sp>
        <p:sp>
          <p:nvSpPr>
            <p:cNvPr id="16" name="Freeform 14">
              <a:extLst>
                <a:ext uri="{FF2B5EF4-FFF2-40B4-BE49-F238E27FC236}">
                  <a16:creationId xmlns:a16="http://schemas.microsoft.com/office/drawing/2014/main" id="{CE5CC09D-BF96-A789-8446-6EEA9B37007D}"/>
                </a:ext>
              </a:extLst>
            </p:cNvPr>
            <p:cNvSpPr>
              <a:spLocks noEditPoints="1"/>
            </p:cNvSpPr>
            <p:nvPr userDrawn="1"/>
          </p:nvSpPr>
          <p:spPr bwMode="auto">
            <a:xfrm>
              <a:off x="668339"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tx1"/>
                </a:solidFill>
              </a:endParaRPr>
            </a:p>
          </p:txBody>
        </p:sp>
      </p:grpSp>
      <p:sp>
        <p:nvSpPr>
          <p:cNvPr id="17" name="Title 1">
            <a:extLst>
              <a:ext uri="{FF2B5EF4-FFF2-40B4-BE49-F238E27FC236}">
                <a16:creationId xmlns:a16="http://schemas.microsoft.com/office/drawing/2014/main" id="{7DA06CD8-FCCD-A62B-60D7-06194DF0F0F6}"/>
              </a:ext>
            </a:extLst>
          </p:cNvPr>
          <p:cNvSpPr>
            <a:spLocks noGrp="1"/>
          </p:cNvSpPr>
          <p:nvPr>
            <p:ph type="ctrTitle"/>
          </p:nvPr>
        </p:nvSpPr>
        <p:spPr bwMode="gray">
          <a:xfrm>
            <a:off x="478638" y="4198076"/>
            <a:ext cx="5039105" cy="1015447"/>
          </a:xfrm>
          <a:prstGeom prst="rect">
            <a:avLst/>
          </a:prstGeom>
        </p:spPr>
        <p:txBody>
          <a:bodyPr anchor="b" anchorCtr="0">
            <a:noAutofit/>
          </a:bodyPr>
          <a:lstStyle>
            <a:lvl1pPr algn="l">
              <a:lnSpc>
                <a:spcPts val="2975"/>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8" name="Text Placeholder 4">
            <a:extLst>
              <a:ext uri="{FF2B5EF4-FFF2-40B4-BE49-F238E27FC236}">
                <a16:creationId xmlns:a16="http://schemas.microsoft.com/office/drawing/2014/main" id="{A6B23DFC-068B-4577-D7FB-08E5FFF6D235}"/>
              </a:ext>
            </a:extLst>
          </p:cNvPr>
          <p:cNvSpPr>
            <a:spLocks noGrp="1"/>
          </p:cNvSpPr>
          <p:nvPr>
            <p:ph type="body" sz="quarter" idx="10"/>
          </p:nvPr>
        </p:nvSpPr>
        <p:spPr>
          <a:xfrm>
            <a:off x="478638" y="6061692"/>
            <a:ext cx="5039105" cy="309457"/>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19" name="Text Placeholder 2">
            <a:extLst>
              <a:ext uri="{FF2B5EF4-FFF2-40B4-BE49-F238E27FC236}">
                <a16:creationId xmlns:a16="http://schemas.microsoft.com/office/drawing/2014/main" id="{0789459C-9BBF-DD5E-0E66-5C0DCCE92746}"/>
              </a:ext>
            </a:extLst>
          </p:cNvPr>
          <p:cNvSpPr>
            <a:spLocks noGrp="1"/>
          </p:cNvSpPr>
          <p:nvPr>
            <p:ph type="body" sz="quarter" idx="12"/>
          </p:nvPr>
        </p:nvSpPr>
        <p:spPr>
          <a:xfrm>
            <a:off x="478638" y="5306423"/>
            <a:ext cx="5038200" cy="773874"/>
          </a:xfrm>
        </p:spPr>
        <p:txBody>
          <a:bodyPr>
            <a:normAutofit/>
          </a:bodyPr>
          <a:lstStyle>
            <a:lvl1pPr>
              <a:defRPr sz="2100" b="0">
                <a:solidFill>
                  <a:schemeClr val="tx1"/>
                </a:solidFill>
              </a:defRPr>
            </a:lvl1pPr>
          </a:lstStyle>
          <a:p>
            <a:pPr lvl="0"/>
            <a:endParaRPr lang="en-US"/>
          </a:p>
        </p:txBody>
      </p:sp>
    </p:spTree>
    <p:extLst>
      <p:ext uri="{BB962C8B-B14F-4D97-AF65-F5344CB8AC3E}">
        <p14:creationId xmlns:p14="http://schemas.microsoft.com/office/powerpoint/2010/main" val="40315573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84B599E9-8204-CE1F-B3FB-68CBB87546B2}"/>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4" name="Title Placeholder 1">
            <a:extLst>
              <a:ext uri="{FF2B5EF4-FFF2-40B4-BE49-F238E27FC236}">
                <a16:creationId xmlns:a16="http://schemas.microsoft.com/office/drawing/2014/main" id="{46E67F0F-EE28-D153-20B6-4ABED86A86E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6579813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Title &amp; subtitle">
    <p:bg>
      <p:bgRef idx="1001">
        <a:schemeClr val="bg1"/>
      </p:bgRef>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627358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5B435661-FD7C-92B3-3F2A-4E28ABB546BA}"/>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91321727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129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9201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592FC0DA-A036-DE44-F0E0-78F86154D39B}"/>
              </a:ext>
            </a:extLst>
          </p:cNvPr>
          <p:cNvSpPr>
            <a:spLocks noGrp="1"/>
          </p:cNvSpPr>
          <p:nvPr>
            <p:ph type="body" sz="quarter" idx="13"/>
          </p:nvPr>
        </p:nvSpPr>
        <p:spPr>
          <a:xfrm>
            <a:off x="472227" y="4198870"/>
            <a:ext cx="11211307" cy="2169796"/>
          </a:xfrm>
        </p:spPr>
        <p:txBody>
          <a:bodyPr anchor="b" anchorCtr="0">
            <a:normAutofit/>
          </a:bodyPr>
          <a:lstStyle>
            <a:lvl1pPr>
              <a:lnSpc>
                <a:spcPct val="100000"/>
              </a:lnSpc>
              <a:spcAft>
                <a:spcPts val="550"/>
              </a:spcAft>
              <a:defRPr sz="1000"/>
            </a:lvl1pPr>
          </a:lstStyle>
          <a:p>
            <a:pPr lvl="0"/>
            <a:endParaRPr lang="en-US" noProof="0"/>
          </a:p>
        </p:txBody>
      </p:sp>
      <p:grpSp>
        <p:nvGrpSpPr>
          <p:cNvPr id="4" name="Group 3">
            <a:extLst>
              <a:ext uri="{FF2B5EF4-FFF2-40B4-BE49-F238E27FC236}">
                <a16:creationId xmlns:a16="http://schemas.microsoft.com/office/drawing/2014/main" id="{1015F488-404F-8861-5F0C-8F9B1FF616BB}"/>
              </a:ext>
            </a:extLst>
          </p:cNvPr>
          <p:cNvGrpSpPr>
            <a:grpSpLocks noChangeAspect="1"/>
          </p:cNvGrpSpPr>
          <p:nvPr userDrawn="1"/>
        </p:nvGrpSpPr>
        <p:grpSpPr>
          <a:xfrm>
            <a:off x="544886" y="381331"/>
            <a:ext cx="1670125" cy="317505"/>
            <a:chOff x="398463" y="404813"/>
            <a:chExt cx="1627187" cy="307976"/>
          </a:xfrm>
          <a:solidFill>
            <a:schemeClr val="bg1"/>
          </a:solidFill>
        </p:grpSpPr>
        <p:sp>
          <p:nvSpPr>
            <p:cNvPr id="5" name="Oval 5">
              <a:extLst>
                <a:ext uri="{FF2B5EF4-FFF2-40B4-BE49-F238E27FC236}">
                  <a16:creationId xmlns:a16="http://schemas.microsoft.com/office/drawing/2014/main" id="{79C0405A-3891-84EF-B7CF-7EFCD756260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bg1"/>
                </a:solidFill>
              </a:endParaRPr>
            </a:p>
          </p:txBody>
        </p:sp>
        <p:sp>
          <p:nvSpPr>
            <p:cNvPr id="7" name="Freeform 6">
              <a:extLst>
                <a:ext uri="{FF2B5EF4-FFF2-40B4-BE49-F238E27FC236}">
                  <a16:creationId xmlns:a16="http://schemas.microsoft.com/office/drawing/2014/main" id="{1E6C9A50-AD47-ABC9-23D0-394E91698D5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9" name="Rectangle 7">
              <a:extLst>
                <a:ext uri="{FF2B5EF4-FFF2-40B4-BE49-F238E27FC236}">
                  <a16:creationId xmlns:a16="http://schemas.microsoft.com/office/drawing/2014/main" id="{C78255FE-113B-23BF-6008-B2EA6429C0F5}"/>
                </a:ext>
              </a:extLst>
            </p:cNvPr>
            <p:cNvSpPr>
              <a:spLocks noChangeArrowheads="1"/>
            </p:cNvSpPr>
            <p:nvPr userDrawn="1"/>
          </p:nvSpPr>
          <p:spPr bwMode="auto">
            <a:xfrm>
              <a:off x="906462"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0" name="Freeform 8">
              <a:extLst>
                <a:ext uri="{FF2B5EF4-FFF2-40B4-BE49-F238E27FC236}">
                  <a16:creationId xmlns:a16="http://schemas.microsoft.com/office/drawing/2014/main" id="{0022507D-7ED7-2B1E-E6BD-DE3EA1B3C5F1}"/>
                </a:ext>
              </a:extLst>
            </p:cNvPr>
            <p:cNvSpPr>
              <a:spLocks noEditPoints="1"/>
            </p:cNvSpPr>
            <p:nvPr userDrawn="1"/>
          </p:nvSpPr>
          <p:spPr bwMode="auto">
            <a:xfrm>
              <a:off x="1014083"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1" name="Rectangle 9">
              <a:extLst>
                <a:ext uri="{FF2B5EF4-FFF2-40B4-BE49-F238E27FC236}">
                  <a16:creationId xmlns:a16="http://schemas.microsoft.com/office/drawing/2014/main" id="{FCCA47C2-376F-C8C0-2F9E-B94036F1A300}"/>
                </a:ext>
              </a:extLst>
            </p:cNvPr>
            <p:cNvSpPr>
              <a:spLocks noChangeArrowheads="1"/>
            </p:cNvSpPr>
            <p:nvPr userDrawn="1"/>
          </p:nvSpPr>
          <p:spPr bwMode="auto">
            <a:xfrm>
              <a:off x="1260145"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2" name="Rectangle 10">
              <a:extLst>
                <a:ext uri="{FF2B5EF4-FFF2-40B4-BE49-F238E27FC236}">
                  <a16:creationId xmlns:a16="http://schemas.microsoft.com/office/drawing/2014/main" id="{2B0234BF-CDFC-0B09-CBFF-581A76061695}"/>
                </a:ext>
              </a:extLst>
            </p:cNvPr>
            <p:cNvSpPr>
              <a:spLocks noChangeArrowheads="1"/>
            </p:cNvSpPr>
            <p:nvPr userDrawn="1"/>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bg1"/>
                </a:solidFill>
              </a:endParaRPr>
            </a:p>
          </p:txBody>
        </p:sp>
        <p:sp>
          <p:nvSpPr>
            <p:cNvPr id="13" name="Freeform 11">
              <a:extLst>
                <a:ext uri="{FF2B5EF4-FFF2-40B4-BE49-F238E27FC236}">
                  <a16:creationId xmlns:a16="http://schemas.microsoft.com/office/drawing/2014/main" id="{6F861FB9-6933-A321-4399-AB2E8ECA98CD}"/>
                </a:ext>
              </a:extLst>
            </p:cNvPr>
            <p:cNvSpPr>
              <a:spLocks/>
            </p:cNvSpPr>
            <p:nvPr userDrawn="1"/>
          </p:nvSpPr>
          <p:spPr bwMode="auto">
            <a:xfrm>
              <a:off x="1364920"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4" name="Freeform 12">
              <a:extLst>
                <a:ext uri="{FF2B5EF4-FFF2-40B4-BE49-F238E27FC236}">
                  <a16:creationId xmlns:a16="http://schemas.microsoft.com/office/drawing/2014/main" id="{32673AC2-8EED-6636-FAB8-55A8013A98A7}"/>
                </a:ext>
              </a:extLst>
            </p:cNvPr>
            <p:cNvSpPr>
              <a:spLocks/>
            </p:cNvSpPr>
            <p:nvPr userDrawn="1"/>
          </p:nvSpPr>
          <p:spPr bwMode="auto">
            <a:xfrm>
              <a:off x="1537958"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5" name="Freeform 13">
              <a:extLst>
                <a:ext uri="{FF2B5EF4-FFF2-40B4-BE49-F238E27FC236}">
                  <a16:creationId xmlns:a16="http://schemas.microsoft.com/office/drawing/2014/main" id="{078BF1A3-6140-0C31-4539-996A86EAE711}"/>
                </a:ext>
              </a:extLst>
            </p:cNvPr>
            <p:cNvSpPr>
              <a:spLocks noEditPoints="1"/>
            </p:cNvSpPr>
            <p:nvPr userDrawn="1"/>
          </p:nvSpPr>
          <p:spPr bwMode="auto">
            <a:xfrm>
              <a:off x="1712584"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6" name="Freeform 14">
              <a:extLst>
                <a:ext uri="{FF2B5EF4-FFF2-40B4-BE49-F238E27FC236}">
                  <a16:creationId xmlns:a16="http://schemas.microsoft.com/office/drawing/2014/main" id="{5DC49A21-A95A-AB25-E8CF-6CC2728DE07B}"/>
                </a:ext>
              </a:extLst>
            </p:cNvPr>
            <p:cNvSpPr>
              <a:spLocks noEditPoints="1"/>
            </p:cNvSpPr>
            <p:nvPr userDrawn="1"/>
          </p:nvSpPr>
          <p:spPr bwMode="auto">
            <a:xfrm>
              <a:off x="668339"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grpSp>
    </p:spTree>
    <p:extLst>
      <p:ext uri="{BB962C8B-B14F-4D97-AF65-F5344CB8AC3E}">
        <p14:creationId xmlns:p14="http://schemas.microsoft.com/office/powerpoint/2010/main" val="39481530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Ref idx="1001">
        <a:schemeClr val="bg1"/>
      </p:bgRef>
    </p:b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592FC0DA-A036-DE44-F0E0-78F86154D39B}"/>
              </a:ext>
            </a:extLst>
          </p:cNvPr>
          <p:cNvSpPr>
            <a:spLocks noGrp="1"/>
          </p:cNvSpPr>
          <p:nvPr>
            <p:ph type="body" sz="quarter" idx="13"/>
          </p:nvPr>
        </p:nvSpPr>
        <p:spPr>
          <a:xfrm>
            <a:off x="472227" y="4198870"/>
            <a:ext cx="11211307" cy="2169796"/>
          </a:xfrm>
        </p:spPr>
        <p:txBody>
          <a:bodyPr anchor="b" anchorCtr="0">
            <a:normAutofit/>
          </a:bodyPr>
          <a:lstStyle>
            <a:lvl1pPr>
              <a:lnSpc>
                <a:spcPct val="100000"/>
              </a:lnSpc>
              <a:spcAft>
                <a:spcPts val="550"/>
              </a:spcAft>
              <a:defRPr sz="1000"/>
            </a:lvl1pPr>
          </a:lstStyle>
          <a:p>
            <a:pPr lvl="0"/>
            <a:endParaRPr lang="en-US" noProof="0"/>
          </a:p>
        </p:txBody>
      </p:sp>
      <p:grpSp>
        <p:nvGrpSpPr>
          <p:cNvPr id="4" name="Group 3">
            <a:extLst>
              <a:ext uri="{FF2B5EF4-FFF2-40B4-BE49-F238E27FC236}">
                <a16:creationId xmlns:a16="http://schemas.microsoft.com/office/drawing/2014/main" id="{1015F488-404F-8861-5F0C-8F9B1FF616BB}"/>
              </a:ext>
            </a:extLst>
          </p:cNvPr>
          <p:cNvGrpSpPr>
            <a:grpSpLocks noChangeAspect="1"/>
          </p:cNvGrpSpPr>
          <p:nvPr userDrawn="1"/>
        </p:nvGrpSpPr>
        <p:grpSpPr>
          <a:xfrm>
            <a:off x="544886" y="381331"/>
            <a:ext cx="1670125" cy="317505"/>
            <a:chOff x="398463" y="404813"/>
            <a:chExt cx="1627187" cy="307976"/>
          </a:xfrm>
          <a:solidFill>
            <a:schemeClr val="bg1"/>
          </a:solidFill>
        </p:grpSpPr>
        <p:sp>
          <p:nvSpPr>
            <p:cNvPr id="5" name="Oval 5">
              <a:extLst>
                <a:ext uri="{FF2B5EF4-FFF2-40B4-BE49-F238E27FC236}">
                  <a16:creationId xmlns:a16="http://schemas.microsoft.com/office/drawing/2014/main" id="{79C0405A-3891-84EF-B7CF-7EFCD756260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bg1"/>
                </a:solidFill>
              </a:endParaRPr>
            </a:p>
          </p:txBody>
        </p:sp>
        <p:sp>
          <p:nvSpPr>
            <p:cNvPr id="7" name="Freeform 6">
              <a:extLst>
                <a:ext uri="{FF2B5EF4-FFF2-40B4-BE49-F238E27FC236}">
                  <a16:creationId xmlns:a16="http://schemas.microsoft.com/office/drawing/2014/main" id="{1E6C9A50-AD47-ABC9-23D0-394E91698D5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9" name="Rectangle 7">
              <a:extLst>
                <a:ext uri="{FF2B5EF4-FFF2-40B4-BE49-F238E27FC236}">
                  <a16:creationId xmlns:a16="http://schemas.microsoft.com/office/drawing/2014/main" id="{C78255FE-113B-23BF-6008-B2EA6429C0F5}"/>
                </a:ext>
              </a:extLst>
            </p:cNvPr>
            <p:cNvSpPr>
              <a:spLocks noChangeArrowheads="1"/>
            </p:cNvSpPr>
            <p:nvPr userDrawn="1"/>
          </p:nvSpPr>
          <p:spPr bwMode="auto">
            <a:xfrm>
              <a:off x="906462"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0" name="Freeform 8">
              <a:extLst>
                <a:ext uri="{FF2B5EF4-FFF2-40B4-BE49-F238E27FC236}">
                  <a16:creationId xmlns:a16="http://schemas.microsoft.com/office/drawing/2014/main" id="{0022507D-7ED7-2B1E-E6BD-DE3EA1B3C5F1}"/>
                </a:ext>
              </a:extLst>
            </p:cNvPr>
            <p:cNvSpPr>
              <a:spLocks noEditPoints="1"/>
            </p:cNvSpPr>
            <p:nvPr userDrawn="1"/>
          </p:nvSpPr>
          <p:spPr bwMode="auto">
            <a:xfrm>
              <a:off x="1014083"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1" name="Rectangle 9">
              <a:extLst>
                <a:ext uri="{FF2B5EF4-FFF2-40B4-BE49-F238E27FC236}">
                  <a16:creationId xmlns:a16="http://schemas.microsoft.com/office/drawing/2014/main" id="{FCCA47C2-376F-C8C0-2F9E-B94036F1A300}"/>
                </a:ext>
              </a:extLst>
            </p:cNvPr>
            <p:cNvSpPr>
              <a:spLocks noChangeArrowheads="1"/>
            </p:cNvSpPr>
            <p:nvPr userDrawn="1"/>
          </p:nvSpPr>
          <p:spPr bwMode="auto">
            <a:xfrm>
              <a:off x="1260145"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2" name="Rectangle 10">
              <a:extLst>
                <a:ext uri="{FF2B5EF4-FFF2-40B4-BE49-F238E27FC236}">
                  <a16:creationId xmlns:a16="http://schemas.microsoft.com/office/drawing/2014/main" id="{2B0234BF-CDFC-0B09-CBFF-581A76061695}"/>
                </a:ext>
              </a:extLst>
            </p:cNvPr>
            <p:cNvSpPr>
              <a:spLocks noChangeArrowheads="1"/>
            </p:cNvSpPr>
            <p:nvPr userDrawn="1"/>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bg1"/>
                </a:solidFill>
              </a:endParaRPr>
            </a:p>
          </p:txBody>
        </p:sp>
        <p:sp>
          <p:nvSpPr>
            <p:cNvPr id="13" name="Freeform 11">
              <a:extLst>
                <a:ext uri="{FF2B5EF4-FFF2-40B4-BE49-F238E27FC236}">
                  <a16:creationId xmlns:a16="http://schemas.microsoft.com/office/drawing/2014/main" id="{6F861FB9-6933-A321-4399-AB2E8ECA98CD}"/>
                </a:ext>
              </a:extLst>
            </p:cNvPr>
            <p:cNvSpPr>
              <a:spLocks/>
            </p:cNvSpPr>
            <p:nvPr userDrawn="1"/>
          </p:nvSpPr>
          <p:spPr bwMode="auto">
            <a:xfrm>
              <a:off x="1364920"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4" name="Freeform 12">
              <a:extLst>
                <a:ext uri="{FF2B5EF4-FFF2-40B4-BE49-F238E27FC236}">
                  <a16:creationId xmlns:a16="http://schemas.microsoft.com/office/drawing/2014/main" id="{32673AC2-8EED-6636-FAB8-55A8013A98A7}"/>
                </a:ext>
              </a:extLst>
            </p:cNvPr>
            <p:cNvSpPr>
              <a:spLocks/>
            </p:cNvSpPr>
            <p:nvPr userDrawn="1"/>
          </p:nvSpPr>
          <p:spPr bwMode="auto">
            <a:xfrm>
              <a:off x="1537958"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5" name="Freeform 13">
              <a:extLst>
                <a:ext uri="{FF2B5EF4-FFF2-40B4-BE49-F238E27FC236}">
                  <a16:creationId xmlns:a16="http://schemas.microsoft.com/office/drawing/2014/main" id="{078BF1A3-6140-0C31-4539-996A86EAE711}"/>
                </a:ext>
              </a:extLst>
            </p:cNvPr>
            <p:cNvSpPr>
              <a:spLocks noEditPoints="1"/>
            </p:cNvSpPr>
            <p:nvPr userDrawn="1"/>
          </p:nvSpPr>
          <p:spPr bwMode="auto">
            <a:xfrm>
              <a:off x="1712584"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sp>
          <p:nvSpPr>
            <p:cNvPr id="16" name="Freeform 14">
              <a:extLst>
                <a:ext uri="{FF2B5EF4-FFF2-40B4-BE49-F238E27FC236}">
                  <a16:creationId xmlns:a16="http://schemas.microsoft.com/office/drawing/2014/main" id="{5DC49A21-A95A-AB25-E8CF-6CC2728DE07B}"/>
                </a:ext>
              </a:extLst>
            </p:cNvPr>
            <p:cNvSpPr>
              <a:spLocks noEditPoints="1"/>
            </p:cNvSpPr>
            <p:nvPr userDrawn="1"/>
          </p:nvSpPr>
          <p:spPr bwMode="auto">
            <a:xfrm>
              <a:off x="668339"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noProof="0">
                <a:solidFill>
                  <a:schemeClr val="tx1"/>
                </a:solidFill>
              </a:endParaRPr>
            </a:p>
          </p:txBody>
        </p:sp>
      </p:grpSp>
    </p:spTree>
    <p:extLst>
      <p:ext uri="{BB962C8B-B14F-4D97-AF65-F5344CB8AC3E}">
        <p14:creationId xmlns:p14="http://schemas.microsoft.com/office/powerpoint/2010/main" val="1140673031"/>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FE919537-8CE7-4809-834D-08D64026E9F1}" type="slidenum">
              <a:rPr lang="en-ZA" smtClean="0"/>
              <a:t>‹#›</a:t>
            </a:fld>
            <a:endParaRPr lang="en-ZA"/>
          </a:p>
        </p:txBody>
      </p:sp>
    </p:spTree>
    <p:extLst>
      <p:ext uri="{BB962C8B-B14F-4D97-AF65-F5344CB8AC3E}">
        <p14:creationId xmlns:p14="http://schemas.microsoft.com/office/powerpoint/2010/main" val="22264910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chemeClr val="tx1">
                    <a:lumMod val="50000"/>
                    <a:lumOff val="50000"/>
                  </a:schemeClr>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a:t>Click to add title</a:t>
            </a:r>
          </a:p>
        </p:txBody>
      </p:sp>
    </p:spTree>
    <p:extLst>
      <p:ext uri="{BB962C8B-B14F-4D97-AF65-F5344CB8AC3E}">
        <p14:creationId xmlns:p14="http://schemas.microsoft.com/office/powerpoint/2010/main" val="110145790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05670"/>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1"/>
            <a:ext cx="4896560" cy="107722"/>
          </a:xfrm>
          <a:prstGeom prst="rect">
            <a:avLst/>
          </a:prstGeom>
          <a:noFill/>
        </p:spPr>
        <p:txBody>
          <a:bodyPr wrap="square" lIns="0" tIns="0" rIns="0" bIns="0" rtlCol="0">
            <a:spAutoFit/>
          </a:bodyPr>
          <a:lstStyle/>
          <a:p>
            <a:pPr marL="0" indent="0" algn="r">
              <a:spcBef>
                <a:spcPts val="0"/>
              </a:spcBef>
              <a:buSzPct val="100000"/>
              <a:buFont typeface="Arial"/>
              <a:buNone/>
            </a:pPr>
            <a:r>
              <a:rPr lang="en-US" sz="700" noProof="0">
                <a:solidFill>
                  <a:schemeClr val="bg1"/>
                </a:solidFill>
                <a:latin typeface="Calibri" panose="020F0502020204030204" pitchFamily="34" charset="0"/>
              </a:rPr>
              <a:t>Industry Deck Oil, Gas and Chemicals (OGC)</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69253"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Copyright">
            <a:extLst>
              <a:ext uri="{FF2B5EF4-FFF2-40B4-BE49-F238E27FC236}">
                <a16:creationId xmlns:a16="http://schemas.microsoft.com/office/drawing/2014/main" id="{CA24B28E-5B13-4779-8D72-C52A20B99FE7}"/>
              </a:ext>
            </a:extLst>
          </p:cNvPr>
          <p:cNvSpPr txBox="1"/>
          <p:nvPr userDrawn="1"/>
        </p:nvSpPr>
        <p:spPr>
          <a:xfrm>
            <a:off x="469900" y="647700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fr-FR" sz="675" noProof="0">
                <a:solidFill>
                  <a:schemeClr val="bg1"/>
                </a:solidFill>
                <a:latin typeface="Calibri" panose="020F0502020204030204" pitchFamily="34" charset="0"/>
                <a:cs typeface="Calibri" panose="020F0502020204030204" pitchFamily="34" charset="0"/>
              </a:rPr>
              <a:t>© 2023 Deloitte Touche Tohmatsu India LLP. </a:t>
            </a:r>
          </a:p>
        </p:txBody>
      </p:sp>
    </p:spTree>
    <p:extLst>
      <p:ext uri="{BB962C8B-B14F-4D97-AF65-F5344CB8AC3E}">
        <p14:creationId xmlns:p14="http://schemas.microsoft.com/office/powerpoint/2010/main" val="37962192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14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1" y="1665291"/>
            <a:ext cx="9348787" cy="4633910"/>
          </a:xfrm>
          <a:prstGeom prst="rect">
            <a:avLst/>
          </a:prstGeom>
        </p:spPr>
        <p:txBody>
          <a:bodyPr>
            <a:normAutofit/>
          </a:bodyPr>
          <a:lstStyle>
            <a:lvl1pPr>
              <a:tabLst>
                <a:tab pos="6729245" algn="r"/>
              </a:tabLst>
              <a:defRPr sz="1300"/>
            </a:lvl1pPr>
            <a:lvl2pPr>
              <a:tabLst>
                <a:tab pos="6729245" algn="r"/>
              </a:tabLst>
              <a:defRPr sz="1300"/>
            </a:lvl2pPr>
            <a:lvl3pPr>
              <a:tabLst>
                <a:tab pos="6729245" algn="r"/>
              </a:tabLst>
              <a:defRPr sz="1300"/>
            </a:lvl3pPr>
            <a:lvl4pPr>
              <a:tabLst>
                <a:tab pos="6729245" algn="r"/>
              </a:tabLst>
              <a:defRPr sz="1300"/>
            </a:lvl4pPr>
            <a:lvl5pPr>
              <a:tabLst>
                <a:tab pos="5029074" algn="r"/>
              </a:tabLst>
              <a:defRPr sz="1300"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32342090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12192000" cy="6858000"/>
          </a:xfrm>
        </p:spPr>
        <p:txBody>
          <a:bodyPr/>
          <a:lstStyle/>
          <a:p>
            <a:endParaRPr lang="en-IN"/>
          </a:p>
        </p:txBody>
      </p:sp>
      <p:sp>
        <p:nvSpPr>
          <p:cNvPr id="2" name="Title 1"/>
          <p:cNvSpPr>
            <a:spLocks noGrp="1"/>
          </p:cNvSpPr>
          <p:nvPr>
            <p:ph type="title"/>
          </p:nvPr>
        </p:nvSpPr>
        <p:spPr bwMode="gray">
          <a:xfrm>
            <a:off x="0" y="4403189"/>
            <a:ext cx="8393723" cy="1289868"/>
          </a:xfrm>
          <a:solidFill>
            <a:schemeClr val="tx1">
              <a:alpha val="70000"/>
            </a:schemeClr>
          </a:solidFill>
        </p:spPr>
        <p:txBody>
          <a:bodyPr lIns="365760" rIns="182880" anchor="ctr"/>
          <a:lstStyle>
            <a:lvl1pPr>
              <a:lnSpc>
                <a:spcPct val="95000"/>
              </a:lnSpc>
              <a:defRPr sz="2800" b="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endParaRPr lang="en-CA" noProof="0"/>
          </a:p>
        </p:txBody>
      </p:sp>
      <p:sp>
        <p:nvSpPr>
          <p:cNvPr id="4" name="Copyright">
            <a:extLst>
              <a:ext uri="{FF2B5EF4-FFF2-40B4-BE49-F238E27FC236}">
                <a16:creationId xmlns:a16="http://schemas.microsoft.com/office/drawing/2014/main" id="{EAC763BA-9E35-4187-B2FD-8724F0D065CA}"/>
              </a:ext>
            </a:extLst>
          </p:cNvPr>
          <p:cNvSpPr txBox="1"/>
          <p:nvPr userDrawn="1"/>
        </p:nvSpPr>
        <p:spPr>
          <a:xfrm>
            <a:off x="501649" y="647700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fr-FR" sz="675" noProof="0">
                <a:solidFill>
                  <a:schemeClr val="bg1"/>
                </a:solidFill>
                <a:latin typeface="Calibri" panose="020F0502020204030204" pitchFamily="34" charset="0"/>
                <a:cs typeface="Calibri" panose="020F0502020204030204" pitchFamily="34" charset="0"/>
              </a:rPr>
              <a:t>© 2023 Deloitte Touche Tohmatsu India LLP. </a:t>
            </a:r>
          </a:p>
        </p:txBody>
      </p:sp>
    </p:spTree>
    <p:custDataLst>
      <p:tags r:id="rId1"/>
    </p:custDataLst>
    <p:extLst>
      <p:ext uri="{BB962C8B-B14F-4D97-AF65-F5344CB8AC3E}">
        <p14:creationId xmlns:p14="http://schemas.microsoft.com/office/powerpoint/2010/main" val="16508029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74910186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97561487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38675706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69314112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014692957"/>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22538202"/>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FE919537-8CE7-4809-834D-08D64026E9F1}" type="slidenum">
              <a:rPr lang="en-ZA" smtClean="0"/>
              <a:t>‹#›</a:t>
            </a:fld>
            <a:endParaRPr lang="en-ZA"/>
          </a:p>
        </p:txBody>
      </p:sp>
    </p:spTree>
    <p:extLst>
      <p:ext uri="{BB962C8B-B14F-4D97-AF65-F5344CB8AC3E}">
        <p14:creationId xmlns:p14="http://schemas.microsoft.com/office/powerpoint/2010/main" val="28469438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8B77339B-A2B6-482C-95CB-A0EE7CC782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054754" y="3672349"/>
            <a:ext cx="9137246" cy="3185652"/>
          </a:xfrm>
          <a:prstGeom prst="rect">
            <a:avLst/>
          </a:prstGeom>
        </p:spPr>
      </p:pic>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eloitte | Global Power, Utilities &amp; Renewables Secto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Global P&amp;UR Sales Deck</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33537270"/>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57503637"/>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24083256"/>
      </p:ext>
    </p:extLst>
  </p:cSld>
  <p:clrMapOvr>
    <a:masterClrMapping/>
  </p:clrMapOvr>
  <p:transition>
    <p:fade/>
  </p:transition>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14693058"/>
      </p:ext>
    </p:extLst>
  </p:cSld>
  <p:clrMapOvr>
    <a:masterClrMapping/>
  </p:clrMapOvr>
  <p:transition>
    <p:fade/>
  </p:transition>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956532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9276826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0193829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C9CD1BD6-2D2A-42EE-A26C-FEB7F682C886}"/>
              </a:ext>
            </a:extLst>
          </p:cNvPr>
          <p:cNvPicPr>
            <a:picLocks noChangeAspect="1"/>
          </p:cNvPicPr>
          <p:nvPr userDrawn="1"/>
        </p:nvPicPr>
        <p:blipFill rotWithShape="1">
          <a:blip r:embed="rId2"/>
          <a:srcRect r="5201" b="42882"/>
          <a:stretch/>
        </p:blipFill>
        <p:spPr>
          <a:xfrm rot="10800000">
            <a:off x="3054754" y="-1"/>
            <a:ext cx="9137246" cy="2743201"/>
          </a:xfrm>
          <a:prstGeom prst="rect">
            <a:avLst/>
          </a:prstGeom>
        </p:spPr>
      </p:pic>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7860840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6426355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333691168"/>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oleObject" Target="../embeddings/oleObject3.bin"/><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ags" Target="../tags/tag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2.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18.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image" Target="../media/image18.emf"/><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oleObject" Target="../embeddings/oleObject4.bin"/><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tags" Target="../tags/tag5.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theme" Target="../theme/theme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8"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image" Target="../media/image18.emf"/><Relationship Id="rId2" Type="http://schemas.openxmlformats.org/officeDocument/2006/relationships/slideLayout" Target="../slideLayouts/slideLayout72.xml"/><Relationship Id="rId16" Type="http://schemas.openxmlformats.org/officeDocument/2006/relationships/oleObject" Target="../embeddings/oleObject3.bin"/><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ags" Target="../tags/tag22.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slideLayout" Target="../slideLayouts/slideLayout125.xml"/><Relationship Id="rId47" Type="http://schemas.openxmlformats.org/officeDocument/2006/relationships/slideLayout" Target="../slideLayouts/slideLayout130.xml"/><Relationship Id="rId50" Type="http://schemas.openxmlformats.org/officeDocument/2006/relationships/slideLayout" Target="../slideLayouts/slideLayout133.xml"/><Relationship Id="rId55" Type="http://schemas.openxmlformats.org/officeDocument/2006/relationships/oleObject" Target="../embeddings/oleObject6.bin"/><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9" Type="http://schemas.openxmlformats.org/officeDocument/2006/relationships/slideLayout" Target="../slideLayouts/slideLayout112.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slideLayout" Target="../slideLayouts/slideLayout123.xml"/><Relationship Id="rId45" Type="http://schemas.openxmlformats.org/officeDocument/2006/relationships/slideLayout" Target="../slideLayouts/slideLayout128.xml"/><Relationship Id="rId53" Type="http://schemas.openxmlformats.org/officeDocument/2006/relationships/theme" Target="../theme/theme5.xml"/><Relationship Id="rId5" Type="http://schemas.openxmlformats.org/officeDocument/2006/relationships/slideLayout" Target="../slideLayouts/slideLayout88.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slideLayout" Target="../slideLayouts/slideLayout126.xml"/><Relationship Id="rId48" Type="http://schemas.openxmlformats.org/officeDocument/2006/relationships/slideLayout" Target="../slideLayouts/slideLayout131.xml"/><Relationship Id="rId56" Type="http://schemas.openxmlformats.org/officeDocument/2006/relationships/image" Target="../media/image18.emf"/><Relationship Id="rId8" Type="http://schemas.openxmlformats.org/officeDocument/2006/relationships/slideLayout" Target="../slideLayouts/slideLayout91.xml"/><Relationship Id="rId51" Type="http://schemas.openxmlformats.org/officeDocument/2006/relationships/slideLayout" Target="../slideLayouts/slideLayout134.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 Id="rId46" Type="http://schemas.openxmlformats.org/officeDocument/2006/relationships/slideLayout" Target="../slideLayouts/slideLayout129.xml"/><Relationship Id="rId20" Type="http://schemas.openxmlformats.org/officeDocument/2006/relationships/slideLayout" Target="../slideLayouts/slideLayout103.xml"/><Relationship Id="rId41" Type="http://schemas.openxmlformats.org/officeDocument/2006/relationships/slideLayout" Target="../slideLayouts/slideLayout124.xml"/><Relationship Id="rId54" Type="http://schemas.openxmlformats.org/officeDocument/2006/relationships/tags" Target="../tags/tag24.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49" Type="http://schemas.openxmlformats.org/officeDocument/2006/relationships/slideLayout" Target="../slideLayouts/slideLayout132.xml"/><Relationship Id="rId57" Type="http://schemas.openxmlformats.org/officeDocument/2006/relationships/image" Target="../media/image25.png"/><Relationship Id="rId10" Type="http://schemas.openxmlformats.org/officeDocument/2006/relationships/slideLayout" Target="../slideLayouts/slideLayout93.xml"/><Relationship Id="rId31" Type="http://schemas.openxmlformats.org/officeDocument/2006/relationships/slideLayout" Target="../slideLayouts/slideLayout114.xml"/><Relationship Id="rId44" Type="http://schemas.openxmlformats.org/officeDocument/2006/relationships/slideLayout" Target="../slideLayouts/slideLayout127.xml"/><Relationship Id="rId52" Type="http://schemas.openxmlformats.org/officeDocument/2006/relationships/slideLayout" Target="../slideLayouts/slideLayout13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9" Type="http://schemas.openxmlformats.org/officeDocument/2006/relationships/slideLayout" Target="../slideLayouts/slideLayout174.xml"/><Relationship Id="rId21" Type="http://schemas.openxmlformats.org/officeDocument/2006/relationships/slideLayout" Target="../slideLayouts/slideLayout156.xml"/><Relationship Id="rId34" Type="http://schemas.openxmlformats.org/officeDocument/2006/relationships/slideLayout" Target="../slideLayouts/slideLayout169.xml"/><Relationship Id="rId42" Type="http://schemas.openxmlformats.org/officeDocument/2006/relationships/slideLayout" Target="../slideLayouts/slideLayout177.xml"/><Relationship Id="rId47" Type="http://schemas.openxmlformats.org/officeDocument/2006/relationships/slideLayout" Target="../slideLayouts/slideLayout182.xml"/><Relationship Id="rId50" Type="http://schemas.openxmlformats.org/officeDocument/2006/relationships/oleObject" Target="../embeddings/oleObject6.bin"/><Relationship Id="rId7" Type="http://schemas.openxmlformats.org/officeDocument/2006/relationships/slideLayout" Target="../slideLayouts/slideLayout14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9" Type="http://schemas.openxmlformats.org/officeDocument/2006/relationships/slideLayout" Target="../slideLayouts/slideLayout164.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slideLayout" Target="../slideLayouts/slideLayout167.xml"/><Relationship Id="rId37" Type="http://schemas.openxmlformats.org/officeDocument/2006/relationships/slideLayout" Target="../slideLayouts/slideLayout172.xml"/><Relationship Id="rId40" Type="http://schemas.openxmlformats.org/officeDocument/2006/relationships/slideLayout" Target="../slideLayouts/slideLayout175.xml"/><Relationship Id="rId45" Type="http://schemas.openxmlformats.org/officeDocument/2006/relationships/slideLayout" Target="../slideLayouts/slideLayout180.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slideLayout" Target="../slideLayouts/slideLayout171.xml"/><Relationship Id="rId49" Type="http://schemas.openxmlformats.org/officeDocument/2006/relationships/tags" Target="../tags/tag26.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4" Type="http://schemas.openxmlformats.org/officeDocument/2006/relationships/slideLayout" Target="../slideLayouts/slideLayout17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slideLayout" Target="../slideLayouts/slideLayout170.xml"/><Relationship Id="rId43" Type="http://schemas.openxmlformats.org/officeDocument/2006/relationships/slideLayout" Target="../slideLayouts/slideLayout178.xml"/><Relationship Id="rId48" Type="http://schemas.openxmlformats.org/officeDocument/2006/relationships/theme" Target="../theme/theme6.xml"/><Relationship Id="rId8" Type="http://schemas.openxmlformats.org/officeDocument/2006/relationships/slideLayout" Target="../slideLayouts/slideLayout143.xml"/><Relationship Id="rId51" Type="http://schemas.openxmlformats.org/officeDocument/2006/relationships/image" Target="../media/image18.emf"/><Relationship Id="rId3" Type="http://schemas.openxmlformats.org/officeDocument/2006/relationships/slideLayout" Target="../slideLayouts/slideLayout138.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slideLayout" Target="../slideLayouts/slideLayout168.xml"/><Relationship Id="rId38" Type="http://schemas.openxmlformats.org/officeDocument/2006/relationships/slideLayout" Target="../slideLayouts/slideLayout173.xml"/><Relationship Id="rId46" Type="http://schemas.openxmlformats.org/officeDocument/2006/relationships/slideLayout" Target="../slideLayouts/slideLayout181.xml"/><Relationship Id="rId20" Type="http://schemas.openxmlformats.org/officeDocument/2006/relationships/slideLayout" Target="../slideLayouts/slideLayout155.xml"/><Relationship Id="rId41" Type="http://schemas.openxmlformats.org/officeDocument/2006/relationships/slideLayout" Target="../slideLayouts/slideLayout176.xml"/><Relationship Id="rId1" Type="http://schemas.openxmlformats.org/officeDocument/2006/relationships/slideLayout" Target="../slideLayouts/slideLayout136.xml"/><Relationship Id="rId6" Type="http://schemas.openxmlformats.org/officeDocument/2006/relationships/slideLayout" Target="../slideLayouts/slideLayout1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919537-8CE7-4809-834D-08D64026E9F1}" type="slidenum">
              <a:rPr lang="en-ZA" smtClean="0"/>
              <a:t>‹#›</a:t>
            </a:fld>
            <a:endParaRPr lang="en-ZA"/>
          </a:p>
        </p:txBody>
      </p:sp>
      <p:graphicFrame>
        <p:nvGraphicFramePr>
          <p:cNvPr id="7" name="Object 6" hidden="1">
            <a:extLst>
              <a:ext uri="{FF2B5EF4-FFF2-40B4-BE49-F238E27FC236}">
                <a16:creationId xmlns:a16="http://schemas.microsoft.com/office/drawing/2014/main" id="{60BA8CC1-2C98-0AA4-4CEE-F0C1F913B931}"/>
              </a:ext>
            </a:extLst>
          </p:cNvPr>
          <p:cNvGraphicFramePr>
            <a:graphicFrameLocks noChangeAspect="1"/>
          </p:cNvGraphicFramePr>
          <p:nvPr userDrawn="1">
            <p:custDataLst>
              <p:tags r:id="rId32"/>
            </p:custDataLst>
            <p:extLst>
              <p:ext uri="{D42A27DB-BD31-4B8C-83A1-F6EECF244321}">
                <p14:modId xmlns:p14="http://schemas.microsoft.com/office/powerpoint/2010/main" val="245586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84" imgH="484" progId="TCLayout.ActiveDocument.1">
                  <p:embed/>
                </p:oleObj>
              </mc:Choice>
              <mc:Fallback>
                <p:oleObj name="think-cell Slide" r:id="rId33" imgW="484" imgH="484" progId="TCLayout.ActiveDocument.1">
                  <p:embed/>
                  <p:pic>
                    <p:nvPicPr>
                      <p:cNvPr id="7" name="Object 6" hidden="1">
                        <a:extLst>
                          <a:ext uri="{FF2B5EF4-FFF2-40B4-BE49-F238E27FC236}">
                            <a16:creationId xmlns:a16="http://schemas.microsoft.com/office/drawing/2014/main" id="{60BA8CC1-2C98-0AA4-4CEE-F0C1F913B93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6441720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49" r:id="rId12"/>
    <p:sldLayoutId id="2147483709" r:id="rId13"/>
    <p:sldLayoutId id="2147483750" r:id="rId14"/>
    <p:sldLayoutId id="2147483751" r:id="rId15"/>
    <p:sldLayoutId id="2147483752" r:id="rId16"/>
    <p:sldLayoutId id="2147483741" r:id="rId17"/>
    <p:sldLayoutId id="2147483742" r:id="rId18"/>
    <p:sldLayoutId id="2147483743" r:id="rId19"/>
    <p:sldLayoutId id="2147483745" r:id="rId20"/>
    <p:sldLayoutId id="2147483746" r:id="rId21"/>
    <p:sldLayoutId id="2147483747" r:id="rId22"/>
    <p:sldLayoutId id="2147483744" r:id="rId23"/>
    <p:sldLayoutId id="2147483739" r:id="rId24"/>
    <p:sldLayoutId id="2147483740" r:id="rId25"/>
    <p:sldLayoutId id="2147483748" r:id="rId26"/>
    <p:sldLayoutId id="2147483764" r:id="rId27"/>
    <p:sldLayoutId id="2147483767" r:id="rId28"/>
    <p:sldLayoutId id="2147483768" r:id="rId29"/>
    <p:sldLayoutId id="2147483814" r:id="rId30"/>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2"/>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2014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413840"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Deloitte Overview</a:t>
            </a:r>
          </a:p>
        </p:txBody>
      </p:sp>
      <p:sp>
        <p:nvSpPr>
          <p:cNvPr id="18" name="Copyright"/>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900" noProof="0">
                <a:solidFill>
                  <a:schemeClr val="bg1"/>
                </a:solidFill>
                <a:latin typeface="Calibri" panose="020F0502020204030204" pitchFamily="34" charset="0"/>
                <a:cs typeface="Calibri" panose="020F0502020204030204" pitchFamily="34" charset="0"/>
              </a:rPr>
              <a:t>© 2025 Deloitte Touche </a:t>
            </a:r>
            <a:r>
              <a:rPr lang="fr-FR" sz="900" noProof="0" err="1">
                <a:solidFill>
                  <a:schemeClr val="bg1"/>
                </a:solidFill>
                <a:latin typeface="Calibri" panose="020F0502020204030204" pitchFamily="34" charset="0"/>
                <a:cs typeface="Calibri" panose="020F0502020204030204" pitchFamily="34" charset="0"/>
              </a:rPr>
              <a:t>Tohmatsu</a:t>
            </a:r>
            <a:r>
              <a:rPr lang="fr-FR" sz="900" noProof="0">
                <a:solidFill>
                  <a:schemeClr val="bg1"/>
                </a:solidFill>
                <a:latin typeface="Calibri" panose="020F0502020204030204" pitchFamily="34" charset="0"/>
                <a:cs typeface="Calibri" panose="020F0502020204030204" pitchFamily="34" charset="0"/>
              </a:rPr>
              <a:t> </a:t>
            </a:r>
            <a:r>
              <a:rPr lang="fr-FR" sz="900" noProof="0" err="1">
                <a:solidFill>
                  <a:schemeClr val="bg1"/>
                </a:solidFill>
                <a:latin typeface="Calibri" panose="020F0502020204030204" pitchFamily="34" charset="0"/>
                <a:cs typeface="Calibri" panose="020F0502020204030204" pitchFamily="34" charset="0"/>
              </a:rPr>
              <a:t>India</a:t>
            </a:r>
            <a:r>
              <a:rPr lang="fr-FR" sz="900" noProof="0">
                <a:solidFill>
                  <a:schemeClr val="bg1"/>
                </a:solidFill>
                <a:latin typeface="Calibri" panose="020F0502020204030204" pitchFamily="34" charset="0"/>
                <a:cs typeface="Calibri" panose="020F0502020204030204" pitchFamily="34" charset="0"/>
              </a:rPr>
              <a:t> LLP. </a:t>
            </a:r>
          </a:p>
        </p:txBody>
      </p:sp>
      <p:sp>
        <p:nvSpPr>
          <p:cNvPr id="19" name="Text Placeholder 18"/>
          <p:cNvSpPr>
            <a:spLocks noGrp="1"/>
          </p:cNvSpPr>
          <p:nvPr>
            <p:ph type="body" idx="1"/>
          </p:nvPr>
        </p:nvSpPr>
        <p:spPr>
          <a:xfrm>
            <a:off x="501650" y="1665289"/>
            <a:ext cx="11201400"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a:solidFill>
                <a:schemeClr val="bg1"/>
              </a:solidFill>
            </a:endParaRPr>
          </a:p>
        </p:txBody>
      </p:sp>
    </p:spTree>
    <p:extLst>
      <p:ext uri="{BB962C8B-B14F-4D97-AF65-F5344CB8AC3E}">
        <p14:creationId xmlns:p14="http://schemas.microsoft.com/office/powerpoint/2010/main" val="3504727760"/>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916" r:id="rId10"/>
  </p:sldLayoutIdLst>
  <p:transition>
    <p:fade/>
  </p:transition>
  <p:hf sldNum="0"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82880" indent="-18288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65760" indent="-18288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3pPr>
      <a:lvl4pPr marL="548640" indent="-182880" algn="l" defTabSz="914400" rtl="0" eaLnBrk="1" latinLnBrk="0" hangingPunct="1">
        <a:spcBef>
          <a:spcPts val="0"/>
        </a:spcBef>
        <a:spcAft>
          <a:spcPts val="1000"/>
        </a:spcAft>
        <a:buClrTx/>
        <a:buSzPct val="100000"/>
        <a:buFont typeface="Arial" panose="020B0604020202020204" pitchFamily="34" charset="0"/>
        <a:buChar char="◦"/>
        <a:defRPr lang="en-US" sz="1300" b="0" kern="1200" baseline="0" dirty="0" smtClean="0">
          <a:solidFill>
            <a:schemeClr val="tx1"/>
          </a:solidFill>
          <a:latin typeface="+mn-lt"/>
          <a:ea typeface="+mn-ea"/>
          <a:cs typeface="Calibri Light" panose="020F0302020204030204" pitchFamily="34" charset="0"/>
        </a:defRPr>
      </a:lvl4pPr>
      <a:lvl5pPr marL="731520" indent="-182880" algn="l" defTabSz="798513" rtl="0" eaLnBrk="1" latinLnBrk="0" hangingPunct="1">
        <a:spcBef>
          <a:spcPts val="0"/>
        </a:spcBef>
        <a:spcAft>
          <a:spcPts val="1000"/>
        </a:spcAft>
        <a:buClrTx/>
        <a:buSzPct val="100000"/>
        <a:buFont typeface="Arial" panose="020B0604020202020204" pitchFamily="34" charset="0"/>
        <a:buChar char="−"/>
        <a:tabLst/>
        <a:defRPr lang="en-US" sz="1300" b="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7" pos="3768">
          <p15:clr>
            <a:srgbClr val="F26B43"/>
          </p15:clr>
        </p15:guide>
        <p15:guide id="8" pos="7379">
          <p15:clr>
            <a:srgbClr val="F26B43"/>
          </p15:clr>
        </p15:guide>
        <p15:guide id="13" pos="3912">
          <p15:clr>
            <a:srgbClr val="F26B43"/>
          </p15:clr>
        </p15:guide>
        <p15:guide id="15" orient="horz" pos="4032">
          <p15:clr>
            <a:srgbClr val="F26B43"/>
          </p15:clr>
        </p15:guide>
        <p15:guide id="17" orient="horz" pos="1056">
          <p15:clr>
            <a:srgbClr val="F26B43"/>
          </p15:clr>
        </p15:guide>
        <p15:guide id="18" orient="horz" pos="199">
          <p15:clr>
            <a:srgbClr val="F26B43"/>
          </p15:clr>
        </p15:guide>
        <p15:guide id="19" orient="horz" pos="1000">
          <p15:clr>
            <a:srgbClr val="F26B43"/>
          </p15:clr>
        </p15:guide>
        <p15:guide id="20" orient="horz" pos="409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2"/>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22900" cy="340136"/>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Presentation title</a:t>
            </a:r>
            <a:br>
              <a:rPr lang="en-US" sz="800" noProof="0">
                <a:solidFill>
                  <a:schemeClr val="tx1"/>
                </a:solidFill>
                <a:latin typeface="Aptos" panose="020B0004020202020204" pitchFamily="34" charset="0"/>
                <a:cs typeface="Calibri" panose="020F0502020204030204" pitchFamily="34" charset="0"/>
              </a:rPr>
            </a:br>
            <a:r>
              <a:rPr lang="en-US" sz="800" noProof="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18" name="Copyright"/>
          <p:cNvSpPr txBox="1"/>
          <p:nvPr/>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Member firms and DTTL: Insert appropriate copyright</a:t>
            </a:r>
            <a:br>
              <a:rPr lang="en-US" sz="800" noProof="0">
                <a:solidFill>
                  <a:schemeClr val="tx1"/>
                </a:solidFill>
                <a:latin typeface="Aptos" panose="020B0004020202020204" pitchFamily="34" charset="0"/>
                <a:cs typeface="Calibri" panose="020F0502020204030204" pitchFamily="34" charset="0"/>
              </a:rPr>
            </a:br>
            <a:r>
              <a:rPr lang="en-US" sz="800" noProof="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498004638"/>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 id="2147483797" r:id="rId28"/>
    <p:sldLayoutId id="2147483798" r:id="rId29"/>
    <p:sldLayoutId id="2147483799" r:id="rId30"/>
  </p:sldLayoutIdLst>
  <p:transition>
    <p:fade/>
  </p:transition>
  <p:hf sldNum="0" hdr="0" dt="0"/>
  <p:txStyles>
    <p:titleStyle>
      <a:lvl1pPr algn="l" defTabSz="685800" rtl="0" eaLnBrk="1" latinLnBrk="0" hangingPunct="1">
        <a:spcBef>
          <a:spcPct val="0"/>
        </a:spcBef>
        <a:buNone/>
        <a:defRPr sz="2100" kern="1200">
          <a:solidFill>
            <a:schemeClr val="tx1"/>
          </a:solidFill>
          <a:latin typeface="Aptos" panose="020B0004020202020204" pitchFamily="34" charset="0"/>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Aptos" panose="020B0004020202020204" pitchFamily="34" charset="0"/>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85" orient="horz" pos="4008">
          <p15:clr>
            <a:srgbClr val="F26B43"/>
          </p15:clr>
        </p15:guide>
        <p15:guide id="87" orient="horz" pos="4104">
          <p15:clr>
            <a:srgbClr val="F26B43"/>
          </p15:clr>
        </p15:guide>
        <p15:guide id="88" orient="horz" pos="1080">
          <p15:clr>
            <a:srgbClr val="F26B43"/>
          </p15:clr>
        </p15:guide>
        <p15:guide id="90" pos="3840">
          <p15:clr>
            <a:srgbClr val="F26B43"/>
          </p15:clr>
        </p15:guide>
        <p15:guide id="93" pos="3744">
          <p15:clr>
            <a:srgbClr val="F26B43"/>
          </p15:clr>
        </p15:guide>
        <p15:guide id="94" pos="7392">
          <p15:clr>
            <a:srgbClr val="F26B43"/>
          </p15:clr>
        </p15:guide>
        <p15:guide id="95" pos="3936">
          <p15:clr>
            <a:srgbClr val="F26B43"/>
          </p15:clr>
        </p15:guide>
        <p15:guide id="96" orient="horz" pos="216">
          <p15:clr>
            <a:srgbClr val="F26B43"/>
          </p15:clr>
        </p15:guide>
        <p15:guide id="97" orient="horz" pos="432">
          <p15:clr>
            <a:srgbClr val="F26B43"/>
          </p15:clr>
        </p15:guide>
        <p15:guide id="98" pos="26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0"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501650" y="6477002"/>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tx1"/>
                </a:solidFill>
                <a:latin typeface="Calibri" panose="020F0502020204030204" pitchFamily="34" charset="0"/>
                <a:cs typeface="Calibri" panose="020F0502020204030204" pitchFamily="34" charset="0"/>
              </a:rPr>
              <a:t>© 2025 Deloitte Touche Tohmatsu India LLP. </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76026" y="6478589"/>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02285658"/>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Lst>
  <p:transition>
    <p:fade/>
  </p:transition>
  <p:hf sldNum="0" hdr="0" dt="0"/>
  <p:txStyles>
    <p:titleStyle>
      <a:lvl1pPr algn="l" defTabSz="685800" rtl="0" eaLnBrk="1" latinLnBrk="0" hangingPunct="1">
        <a:spcBef>
          <a:spcPct val="0"/>
        </a:spcBef>
        <a:buNone/>
        <a:defRPr sz="1575"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080">
          <p15:clr>
            <a:srgbClr val="F26B43"/>
          </p15:clr>
        </p15:guide>
        <p15:guide id="68" orient="horz" pos="4081">
          <p15:clr>
            <a:srgbClr val="F26B43"/>
          </p15:clr>
        </p15:guide>
        <p15:guide id="69" orient="horz" pos="2184">
          <p15:clr>
            <a:srgbClr val="F26B43"/>
          </p15:clr>
        </p15:guide>
        <p15:guide id="70" orient="horz" pos="1032">
          <p15:clr>
            <a:srgbClr val="F26B43"/>
          </p15:clr>
        </p15:guide>
        <p15:guide id="71" orient="horz" pos="192">
          <p15:clr>
            <a:srgbClr val="F26B43"/>
          </p15:clr>
        </p15:guide>
        <p15:guide id="72" pos="3840">
          <p15:clr>
            <a:srgbClr val="F26B43"/>
          </p15:clr>
        </p15:guide>
        <p15:guide id="73" pos="3904">
          <p15:clr>
            <a:srgbClr val="F26B43"/>
          </p15:clr>
        </p15:guide>
        <p15:guide id="74" pos="288">
          <p15:clr>
            <a:srgbClr val="F26B43"/>
          </p15:clr>
        </p15:guide>
        <p15:guide id="76" pos="3776">
          <p15:clr>
            <a:srgbClr val="F26B43"/>
          </p15:clr>
        </p15:guide>
        <p15:guide id="84" pos="73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4"/>
            </p:custDataLst>
            <p:extLst>
              <p:ext uri="{D42A27DB-BD31-4B8C-83A1-F6EECF244321}">
                <p14:modId xmlns:p14="http://schemas.microsoft.com/office/powerpoint/2010/main" val="428053550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5" imgW="270" imgH="270" progId="TCLayout.ActiveDocument.1">
                  <p:embed/>
                </p:oleObj>
              </mc:Choice>
              <mc:Fallback>
                <p:oleObj name="think-cell Slide" r:id="rId55" imgW="270" imgH="270" progId="TCLayout.ActiveDocument.1">
                  <p:embed/>
                  <p:pic>
                    <p:nvPicPr>
                      <p:cNvPr id="4" name="Object 3" hidden="1"/>
                      <p:cNvPicPr/>
                      <p:nvPr/>
                    </p:nvPicPr>
                    <p:blipFill>
                      <a:blip r:embed="rId56"/>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defTabSz="914400">
              <a:defRPr/>
            </a:pPr>
            <a:r>
              <a:rPr lang="en-GB" sz="800">
                <a:latin typeface="Calibri" panose="020F0502020204030204" pitchFamily="34" charset="0"/>
                <a:ea typeface="Verdana" panose="020B0604030504040204" pitchFamily="34" charset="0"/>
                <a:cs typeface="Calibri" panose="020F0502020204030204" pitchFamily="34" charset="0"/>
              </a:rPr>
              <a:t>© 2025. For information, contact Deloitte Global.</a:t>
            </a:r>
            <a:endParaRPr lang="en-US" sz="800">
              <a:latin typeface="Calibri" panose="020F0502020204030204" pitchFamily="34" charset="0"/>
              <a:ea typeface="Verdana" panose="020B0604030504040204" pitchFamily="34" charset="0"/>
              <a:cs typeface="Calibri" panose="020F0502020204030204" pitchFamily="34" charset="0"/>
            </a:endParaRP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pic>
        <p:nvPicPr>
          <p:cNvPr id="7" name="Picture 6">
            <a:extLst>
              <a:ext uri="{FF2B5EF4-FFF2-40B4-BE49-F238E27FC236}">
                <a16:creationId xmlns:a16="http://schemas.microsoft.com/office/drawing/2014/main" id="{24CFC13B-2403-D5B8-26F5-E91185FF48C5}"/>
              </a:ext>
            </a:extLst>
          </p:cNvPr>
          <p:cNvPicPr>
            <a:picLocks noChangeAspect="1"/>
          </p:cNvPicPr>
          <p:nvPr userDrawn="1"/>
        </p:nvPicPr>
        <p:blipFill rotWithShape="1">
          <a:blip r:embed="rId57" cstate="screen">
            <a:alphaModFix amt="10000"/>
            <a:extLst>
              <a:ext uri="{28A0092B-C50C-407E-A947-70E740481C1C}">
                <a14:useLocalDpi xmlns:a14="http://schemas.microsoft.com/office/drawing/2010/main"/>
              </a:ext>
            </a:extLst>
          </a:blip>
          <a:srcRect/>
          <a:stretch/>
        </p:blipFill>
        <p:spPr>
          <a:xfrm>
            <a:off x="-169177" y="1030227"/>
            <a:ext cx="12192000" cy="4996357"/>
          </a:xfrm>
          <a:prstGeom prst="rect">
            <a:avLst/>
          </a:prstGeom>
        </p:spPr>
      </p:pic>
    </p:spTree>
    <p:extLst>
      <p:ext uri="{BB962C8B-B14F-4D97-AF65-F5344CB8AC3E}">
        <p14:creationId xmlns:p14="http://schemas.microsoft.com/office/powerpoint/2010/main" val="377745328"/>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39" r:id="rId24"/>
    <p:sldLayoutId id="2147483840" r:id="rId25"/>
    <p:sldLayoutId id="2147483841" r:id="rId26"/>
    <p:sldLayoutId id="2147483842" r:id="rId27"/>
    <p:sldLayoutId id="2147483843" r:id="rId28"/>
    <p:sldLayoutId id="2147483844" r:id="rId29"/>
    <p:sldLayoutId id="2147483845" r:id="rId30"/>
    <p:sldLayoutId id="2147483846" r:id="rId31"/>
    <p:sldLayoutId id="2147483847" r:id="rId32"/>
    <p:sldLayoutId id="2147483848" r:id="rId33"/>
    <p:sldLayoutId id="2147483849" r:id="rId34"/>
    <p:sldLayoutId id="2147483850" r:id="rId35"/>
    <p:sldLayoutId id="2147483851" r:id="rId36"/>
    <p:sldLayoutId id="2147483852" r:id="rId37"/>
    <p:sldLayoutId id="2147483853" r:id="rId38"/>
    <p:sldLayoutId id="2147483854" r:id="rId39"/>
    <p:sldLayoutId id="2147483855" r:id="rId40"/>
    <p:sldLayoutId id="2147483856" r:id="rId41"/>
    <p:sldLayoutId id="2147483857" r:id="rId42"/>
    <p:sldLayoutId id="2147483858" r:id="rId43"/>
    <p:sldLayoutId id="2147483859" r:id="rId44"/>
    <p:sldLayoutId id="2147483860" r:id="rId45"/>
    <p:sldLayoutId id="2147483861" r:id="rId46"/>
    <p:sldLayoutId id="2147483862" r:id="rId47"/>
    <p:sldLayoutId id="2147483863" r:id="rId48"/>
    <p:sldLayoutId id="2147483864" r:id="rId49"/>
    <p:sldLayoutId id="2147483865" r:id="rId50"/>
    <p:sldLayoutId id="2147483866" r:id="rId51"/>
    <p:sldLayoutId id="2147483867" r:id="rId52"/>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9"/>
            </p:custDataLst>
            <p:extLst>
              <p:ext uri="{D42A27DB-BD31-4B8C-83A1-F6EECF244321}">
                <p14:modId xmlns:p14="http://schemas.microsoft.com/office/powerpoint/2010/main" val="428053550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0" imgW="270" imgH="270" progId="TCLayout.ActiveDocument.1">
                  <p:embed/>
                </p:oleObj>
              </mc:Choice>
              <mc:Fallback>
                <p:oleObj name="think-cell Slide" r:id="rId50" imgW="270" imgH="270" progId="TCLayout.ActiveDocument.1">
                  <p:embed/>
                  <p:pic>
                    <p:nvPicPr>
                      <p:cNvPr id="4" name="Object 3" hidden="1"/>
                      <p:cNvPicPr/>
                      <p:nvPr/>
                    </p:nvPicPr>
                    <p:blipFill>
                      <a:blip r:embed="rId51"/>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defTabSz="914400">
              <a:defRPr/>
            </a:pPr>
            <a:r>
              <a:rPr lang="en-GB" sz="800">
                <a:latin typeface="Calibri" panose="020F0502020204030204" pitchFamily="34" charset="0"/>
                <a:ea typeface="Verdana" panose="020B0604030504040204" pitchFamily="34" charset="0"/>
                <a:cs typeface="Calibri" panose="020F0502020204030204" pitchFamily="34" charset="0"/>
              </a:rPr>
              <a:t>© 2025. For information, contact Deloitte Global.</a:t>
            </a:r>
            <a:endParaRPr lang="en-US" sz="800">
              <a:latin typeface="Calibri" panose="020F0502020204030204" pitchFamily="34" charset="0"/>
              <a:ea typeface="Verdana" panose="020B0604030504040204" pitchFamily="34" charset="0"/>
              <a:cs typeface="Calibri" panose="020F0502020204030204" pitchFamily="34" charset="0"/>
            </a:endParaRP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Tree>
    <p:extLst>
      <p:ext uri="{BB962C8B-B14F-4D97-AF65-F5344CB8AC3E}">
        <p14:creationId xmlns:p14="http://schemas.microsoft.com/office/powerpoint/2010/main" val="3017957232"/>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 id="2147483895" r:id="rId27"/>
    <p:sldLayoutId id="2147483896" r:id="rId28"/>
    <p:sldLayoutId id="2147483897" r:id="rId29"/>
    <p:sldLayoutId id="2147483898" r:id="rId30"/>
    <p:sldLayoutId id="2147483899" r:id="rId31"/>
    <p:sldLayoutId id="2147483900" r:id="rId32"/>
    <p:sldLayoutId id="2147483901" r:id="rId33"/>
    <p:sldLayoutId id="2147483902" r:id="rId34"/>
    <p:sldLayoutId id="2147483903" r:id="rId35"/>
    <p:sldLayoutId id="2147483904" r:id="rId36"/>
    <p:sldLayoutId id="2147483905" r:id="rId37"/>
    <p:sldLayoutId id="2147483906" r:id="rId38"/>
    <p:sldLayoutId id="2147483907" r:id="rId39"/>
    <p:sldLayoutId id="2147483908" r:id="rId40"/>
    <p:sldLayoutId id="2147483909" r:id="rId41"/>
    <p:sldLayoutId id="2147483910" r:id="rId42"/>
    <p:sldLayoutId id="2147483911" r:id="rId43"/>
    <p:sldLayoutId id="2147483912" r:id="rId44"/>
    <p:sldLayoutId id="2147483913" r:id="rId45"/>
    <p:sldLayoutId id="2147483914" r:id="rId46"/>
    <p:sldLayoutId id="2147483915" r:id="rId47"/>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 Type="http://schemas.openxmlformats.org/officeDocument/2006/relationships/notesSlide" Target="../notesSlides/notesSlide4.xml"/><Relationship Id="rId16" Type="http://schemas.openxmlformats.org/officeDocument/2006/relationships/image" Target="../media/image55.jpeg"/><Relationship Id="rId1" Type="http://schemas.openxmlformats.org/officeDocument/2006/relationships/slideLayout" Target="../slideLayouts/slideLayout134.xml"/><Relationship Id="rId6" Type="http://schemas.openxmlformats.org/officeDocument/2006/relationships/image" Target="../media/image45.jpeg"/><Relationship Id="rId11" Type="http://schemas.openxmlformats.org/officeDocument/2006/relationships/image" Target="../media/image50.png"/><Relationship Id="rId5" Type="http://schemas.openxmlformats.org/officeDocument/2006/relationships/image" Target="../media/image44.jpeg"/><Relationship Id="rId15" Type="http://schemas.openxmlformats.org/officeDocument/2006/relationships/image" Target="../media/image54.png"/><Relationship Id="rId10" Type="http://schemas.openxmlformats.org/officeDocument/2006/relationships/image" Target="../media/image49.jpeg"/><Relationship Id="rId4" Type="http://schemas.openxmlformats.org/officeDocument/2006/relationships/image" Target="../media/image43.png"/><Relationship Id="rId9" Type="http://schemas.openxmlformats.org/officeDocument/2006/relationships/image" Target="../media/image48.jpeg"/><Relationship Id="rId14" Type="http://schemas.openxmlformats.org/officeDocument/2006/relationships/image" Target="../media/image53.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8" Type="http://schemas.openxmlformats.org/officeDocument/2006/relationships/image" Target="../media/image63.jpeg"/><Relationship Id="rId13" Type="http://schemas.openxmlformats.org/officeDocument/2006/relationships/image" Target="../media/image67.jpeg"/><Relationship Id="rId3" Type="http://schemas.openxmlformats.org/officeDocument/2006/relationships/image" Target="../media/image58.jpeg"/><Relationship Id="rId7" Type="http://schemas.openxmlformats.org/officeDocument/2006/relationships/image" Target="../media/image62.png"/><Relationship Id="rId12" Type="http://schemas.openxmlformats.org/officeDocument/2006/relationships/image" Target="../media/image66.jpeg"/><Relationship Id="rId2" Type="http://schemas.openxmlformats.org/officeDocument/2006/relationships/image" Target="../media/image57.png"/><Relationship Id="rId16" Type="http://schemas.microsoft.com/office/2007/relationships/hdphoto" Target="../media/hdphoto1.wdp"/><Relationship Id="rId1" Type="http://schemas.openxmlformats.org/officeDocument/2006/relationships/slideLayout" Target="../slideLayouts/slideLayout39.xml"/><Relationship Id="rId6" Type="http://schemas.openxmlformats.org/officeDocument/2006/relationships/image" Target="../media/image61.jpeg"/><Relationship Id="rId11" Type="http://schemas.openxmlformats.org/officeDocument/2006/relationships/image" Target="../media/image65.jpeg"/><Relationship Id="rId5" Type="http://schemas.openxmlformats.org/officeDocument/2006/relationships/image" Target="../media/image60.png"/><Relationship Id="rId15" Type="http://schemas.openxmlformats.org/officeDocument/2006/relationships/image" Target="../media/image69.png"/><Relationship Id="rId10" Type="http://schemas.openxmlformats.org/officeDocument/2006/relationships/image" Target="../media/image64.jpeg"/><Relationship Id="rId4" Type="http://schemas.openxmlformats.org/officeDocument/2006/relationships/image" Target="../media/image59.png"/><Relationship Id="rId9" Type="http://schemas.openxmlformats.org/officeDocument/2006/relationships/image" Target="../media/image43.png"/><Relationship Id="rId14" Type="http://schemas.openxmlformats.org/officeDocument/2006/relationships/image" Target="../media/image68.jpeg"/></Relationships>
</file>

<file path=ppt/slides/_rels/slide13.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5.png"/><Relationship Id="rId18" Type="http://schemas.openxmlformats.org/officeDocument/2006/relationships/image" Target="../media/image47.png"/><Relationship Id="rId3" Type="http://schemas.openxmlformats.org/officeDocument/2006/relationships/image" Target="../media/image51.png"/><Relationship Id="rId7" Type="http://schemas.openxmlformats.org/officeDocument/2006/relationships/image" Target="../media/image52.png"/><Relationship Id="rId12" Type="http://schemas.openxmlformats.org/officeDocument/2006/relationships/image" Target="../media/image74.png"/><Relationship Id="rId17" Type="http://schemas.openxmlformats.org/officeDocument/2006/relationships/image" Target="../media/image77.png"/><Relationship Id="rId2" Type="http://schemas.openxmlformats.org/officeDocument/2006/relationships/notesSlide" Target="../notesSlides/notesSlide6.xml"/><Relationship Id="rId16" Type="http://schemas.openxmlformats.org/officeDocument/2006/relationships/image" Target="../media/image45.jpeg"/><Relationship Id="rId1" Type="http://schemas.openxmlformats.org/officeDocument/2006/relationships/slideLayout" Target="../slideLayouts/slideLayout39.xml"/><Relationship Id="rId6" Type="http://schemas.openxmlformats.org/officeDocument/2006/relationships/image" Target="../media/image71.gif"/><Relationship Id="rId11" Type="http://schemas.openxmlformats.org/officeDocument/2006/relationships/image" Target="../media/image67.jpeg"/><Relationship Id="rId5" Type="http://schemas.openxmlformats.org/officeDocument/2006/relationships/image" Target="../media/image70.jpeg"/><Relationship Id="rId15" Type="http://schemas.openxmlformats.org/officeDocument/2006/relationships/image" Target="../media/image49.jpeg"/><Relationship Id="rId10" Type="http://schemas.openxmlformats.org/officeDocument/2006/relationships/image" Target="../media/image68.jpeg"/><Relationship Id="rId19" Type="http://schemas.openxmlformats.org/officeDocument/2006/relationships/image" Target="../media/image78.png"/><Relationship Id="rId4" Type="http://schemas.openxmlformats.org/officeDocument/2006/relationships/image" Target="../media/image50.png"/><Relationship Id="rId9" Type="http://schemas.openxmlformats.org/officeDocument/2006/relationships/image" Target="../media/image73.png"/><Relationship Id="rId14" Type="http://schemas.openxmlformats.org/officeDocument/2006/relationships/image" Target="../media/image76.png"/></Relationships>
</file>

<file path=ppt/slides/_rels/slide14.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76.xml"/></Relationships>
</file>

<file path=ppt/slides/_rels/slide1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Layout" Target="../slideLayouts/slideLayout73.xml"/></Relationships>
</file>

<file path=ppt/slides/_rels/slide18.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18" Type="http://schemas.openxmlformats.org/officeDocument/2006/relationships/image" Target="../media/image95.png"/><Relationship Id="rId3" Type="http://schemas.openxmlformats.org/officeDocument/2006/relationships/notesSlide" Target="../notesSlides/notesSlide7.xml"/><Relationship Id="rId7" Type="http://schemas.openxmlformats.org/officeDocument/2006/relationships/image" Target="../media/image84.png"/><Relationship Id="rId12" Type="http://schemas.openxmlformats.org/officeDocument/2006/relationships/image" Target="../media/image89.png"/><Relationship Id="rId17" Type="http://schemas.openxmlformats.org/officeDocument/2006/relationships/image" Target="../media/image94.png"/><Relationship Id="rId2" Type="http://schemas.openxmlformats.org/officeDocument/2006/relationships/slideLayout" Target="../slideLayouts/slideLayout73.xml"/><Relationship Id="rId16" Type="http://schemas.openxmlformats.org/officeDocument/2006/relationships/image" Target="../media/image93.png"/><Relationship Id="rId1" Type="http://schemas.openxmlformats.org/officeDocument/2006/relationships/tags" Target="../tags/tag34.xml"/><Relationship Id="rId6" Type="http://schemas.openxmlformats.org/officeDocument/2006/relationships/image" Target="../media/image83.png"/><Relationship Id="rId11" Type="http://schemas.openxmlformats.org/officeDocument/2006/relationships/image" Target="../media/image88.jpg"/><Relationship Id="rId5" Type="http://schemas.openxmlformats.org/officeDocument/2006/relationships/image" Target="../media/image82.emf"/><Relationship Id="rId15" Type="http://schemas.openxmlformats.org/officeDocument/2006/relationships/image" Target="../media/image92.png"/><Relationship Id="rId10" Type="http://schemas.openxmlformats.org/officeDocument/2006/relationships/image" Target="../media/image87.png"/><Relationship Id="rId4" Type="http://schemas.openxmlformats.org/officeDocument/2006/relationships/oleObject" Target="../embeddings/oleObject9.bin"/><Relationship Id="rId9" Type="http://schemas.openxmlformats.org/officeDocument/2006/relationships/image" Target="../media/image86.png"/><Relationship Id="rId14" Type="http://schemas.openxmlformats.org/officeDocument/2006/relationships/image" Target="../media/image9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microsoft.com/office/2007/relationships/hdphoto" Target="../media/hdphoto2.wdp"/><Relationship Id="rId2" Type="http://schemas.openxmlformats.org/officeDocument/2006/relationships/slideLayout" Target="../slideLayouts/slideLayout73.xml"/><Relationship Id="rId1" Type="http://schemas.openxmlformats.org/officeDocument/2006/relationships/tags" Target="../tags/tag35.xml"/><Relationship Id="rId6" Type="http://schemas.openxmlformats.org/officeDocument/2006/relationships/image" Target="../media/image96.png"/><Relationship Id="rId5" Type="http://schemas.openxmlformats.org/officeDocument/2006/relationships/image" Target="../media/image82.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3.xml"/><Relationship Id="rId1" Type="http://schemas.openxmlformats.org/officeDocument/2006/relationships/tags" Target="../tags/tag36.xml"/><Relationship Id="rId6" Type="http://schemas.openxmlformats.org/officeDocument/2006/relationships/image" Target="../media/image97.png"/><Relationship Id="rId5" Type="http://schemas.openxmlformats.org/officeDocument/2006/relationships/image" Target="../media/image82.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emf"/><Relationship Id="rId3" Type="http://schemas.openxmlformats.org/officeDocument/2006/relationships/notesSlide" Target="../notesSlides/notesSlide10.xml"/><Relationship Id="rId7" Type="http://schemas.openxmlformats.org/officeDocument/2006/relationships/image" Target="../media/image99.svg"/><Relationship Id="rId12" Type="http://schemas.openxmlformats.org/officeDocument/2006/relationships/image" Target="../media/image104.jpeg"/><Relationship Id="rId2" Type="http://schemas.openxmlformats.org/officeDocument/2006/relationships/slideLayout" Target="../slideLayouts/slideLayout80.xml"/><Relationship Id="rId1" Type="http://schemas.openxmlformats.org/officeDocument/2006/relationships/tags" Target="../tags/tag37.xml"/><Relationship Id="rId6" Type="http://schemas.openxmlformats.org/officeDocument/2006/relationships/image" Target="../media/image98.png"/><Relationship Id="rId11" Type="http://schemas.openxmlformats.org/officeDocument/2006/relationships/image" Target="../media/image103.png"/><Relationship Id="rId5" Type="http://schemas.openxmlformats.org/officeDocument/2006/relationships/image" Target="../media/image82.emf"/><Relationship Id="rId15" Type="http://schemas.openxmlformats.org/officeDocument/2006/relationships/image" Target="../media/image107.png"/><Relationship Id="rId10" Type="http://schemas.openxmlformats.org/officeDocument/2006/relationships/image" Target="../media/image102.png"/><Relationship Id="rId4" Type="http://schemas.openxmlformats.org/officeDocument/2006/relationships/oleObject" Target="../embeddings/oleObject10.bin"/><Relationship Id="rId9" Type="http://schemas.openxmlformats.org/officeDocument/2006/relationships/image" Target="../media/image101.svg"/><Relationship Id="rId14" Type="http://schemas.openxmlformats.org/officeDocument/2006/relationships/image" Target="../media/image106.emf"/></Relationships>
</file>

<file path=ppt/slides/_rels/slide23.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0.xml"/><Relationship Id="rId1" Type="http://schemas.openxmlformats.org/officeDocument/2006/relationships/tags" Target="../tags/tag38.xml"/><Relationship Id="rId6" Type="http://schemas.openxmlformats.org/officeDocument/2006/relationships/image" Target="../media/image108.png"/><Relationship Id="rId5" Type="http://schemas.openxmlformats.org/officeDocument/2006/relationships/image" Target="../media/image82.emf"/><Relationship Id="rId4" Type="http://schemas.openxmlformats.org/officeDocument/2006/relationships/oleObject" Target="../embeddings/oleObject9.bin"/></Relationships>
</file>

<file path=ppt/slides/_rels/slide25.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notesSlide" Target="../notesSlides/notesSlide12.xml"/><Relationship Id="rId7" Type="http://schemas.openxmlformats.org/officeDocument/2006/relationships/image" Target="../media/image110.png"/><Relationship Id="rId2" Type="http://schemas.openxmlformats.org/officeDocument/2006/relationships/slideLayout" Target="../slideLayouts/slideLayout80.xml"/><Relationship Id="rId1" Type="http://schemas.openxmlformats.org/officeDocument/2006/relationships/tags" Target="../tags/tag39.xml"/><Relationship Id="rId6" Type="http://schemas.openxmlformats.org/officeDocument/2006/relationships/image" Target="../media/image109.png"/><Relationship Id="rId5" Type="http://schemas.openxmlformats.org/officeDocument/2006/relationships/image" Target="../media/image82.emf"/><Relationship Id="rId4" Type="http://schemas.openxmlformats.org/officeDocument/2006/relationships/oleObject" Target="../embeddings/oleObject9.bin"/><Relationship Id="rId9" Type="http://schemas.openxmlformats.org/officeDocument/2006/relationships/image" Target="../media/image112.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0.xml"/><Relationship Id="rId1" Type="http://schemas.openxmlformats.org/officeDocument/2006/relationships/tags" Target="../tags/tag40.xml"/><Relationship Id="rId6" Type="http://schemas.openxmlformats.org/officeDocument/2006/relationships/image" Target="../media/image113.png"/><Relationship Id="rId5" Type="http://schemas.openxmlformats.org/officeDocument/2006/relationships/image" Target="../media/image82.emf"/><Relationship Id="rId4" Type="http://schemas.openxmlformats.org/officeDocument/2006/relationships/oleObject" Target="../embeddings/oleObject9.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tags" Target="../tags/tag41.xml"/><Relationship Id="rId7" Type="http://schemas.openxmlformats.org/officeDocument/2006/relationships/image" Target="../media/image114.png"/><Relationship Id="rId2" Type="http://schemas.openxmlformats.org/officeDocument/2006/relationships/customXml" Target="../../customXml/item9.xml"/><Relationship Id="rId1" Type="http://schemas.openxmlformats.org/officeDocument/2006/relationships/customXml" Target="../../customXml/item8.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8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36.xml"/><Relationship Id="rId4" Type="http://schemas.openxmlformats.org/officeDocument/2006/relationships/image" Target="../media/image37.sv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notesSlide" Target="../notesSlides/notesSlide16.xml"/><Relationship Id="rId7" Type="http://schemas.openxmlformats.org/officeDocument/2006/relationships/image" Target="../media/image129.svg"/><Relationship Id="rId2" Type="http://schemas.openxmlformats.org/officeDocument/2006/relationships/slideLayout" Target="../slideLayouts/slideLayout80.xml"/><Relationship Id="rId1" Type="http://schemas.openxmlformats.org/officeDocument/2006/relationships/tags" Target="../tags/tag42.xml"/><Relationship Id="rId6" Type="http://schemas.openxmlformats.org/officeDocument/2006/relationships/image" Target="../media/image128.png"/><Relationship Id="rId5" Type="http://schemas.openxmlformats.org/officeDocument/2006/relationships/image" Target="../media/image82.emf"/><Relationship Id="rId4" Type="http://schemas.openxmlformats.org/officeDocument/2006/relationships/oleObject" Target="../embeddings/oleObject9.bin"/></Relationships>
</file>

<file path=ppt/slides/_rels/slide3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76.png"/><Relationship Id="rId7" Type="http://schemas.openxmlformats.org/officeDocument/2006/relationships/image" Target="../media/image132.jpeg"/><Relationship Id="rId2" Type="http://schemas.openxmlformats.org/officeDocument/2006/relationships/image" Target="../media/image131.png"/><Relationship Id="rId1" Type="http://schemas.openxmlformats.org/officeDocument/2006/relationships/slideLayout" Target="../slideLayouts/slideLayout39.xml"/><Relationship Id="rId6" Type="http://schemas.openxmlformats.org/officeDocument/2006/relationships/image" Target="../media/image77.png"/><Relationship Id="rId5" Type="http://schemas.openxmlformats.org/officeDocument/2006/relationships/image" Target="../media/image45.jpeg"/><Relationship Id="rId4" Type="http://schemas.openxmlformats.org/officeDocument/2006/relationships/image" Target="../media/image49.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8.png"/><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2.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0.xml"/><Relationship Id="rId7" Type="http://schemas.openxmlformats.org/officeDocument/2006/relationships/slideLayout" Target="../slideLayouts/slideLayout13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41.emf"/><Relationship Id="rId4" Type="http://schemas.openxmlformats.org/officeDocument/2006/relationships/tags" Target="../tags/tag31.xml"/><Relationship Id="rId9"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E56D3ABE-8C89-547D-8BAC-9D8552BAAF4F}"/>
              </a:ext>
            </a:extLst>
          </p:cNvPr>
          <p:cNvSpPr>
            <a:spLocks noGrp="1"/>
          </p:cNvSpPr>
          <p:nvPr>
            <p:ph type="body" sz="quarter" idx="13"/>
          </p:nvPr>
        </p:nvSpPr>
        <p:spPr>
          <a:xfrm>
            <a:off x="501650" y="5889291"/>
            <a:ext cx="7875434" cy="516039"/>
          </a:xfrm>
        </p:spPr>
        <p:txBody>
          <a:bodyPr/>
          <a:lstStyle/>
          <a:p>
            <a:pPr marL="0" indent="0">
              <a:buNone/>
            </a:pPr>
            <a:r>
              <a:rPr lang="en-US"/>
              <a:t>Development, Implementation &amp; AMC (05 years) of National RCO Portal, Bureau of Energy Efficiency</a:t>
            </a:r>
          </a:p>
          <a:p>
            <a:pPr marL="0" indent="0">
              <a:buNone/>
            </a:pPr>
            <a:r>
              <a:rPr lang="en-US"/>
              <a:t>Bid Number: GEM/2024/B/5588857</a:t>
            </a:r>
          </a:p>
        </p:txBody>
      </p:sp>
      <p:sp>
        <p:nvSpPr>
          <p:cNvPr id="3" name="Title 2">
            <a:extLst>
              <a:ext uri="{FF2B5EF4-FFF2-40B4-BE49-F238E27FC236}">
                <a16:creationId xmlns:a16="http://schemas.microsoft.com/office/drawing/2014/main" id="{3C2B8273-CC5D-19CE-E9A4-380B28EF476C}"/>
              </a:ext>
            </a:extLst>
          </p:cNvPr>
          <p:cNvSpPr>
            <a:spLocks noGrp="1"/>
          </p:cNvSpPr>
          <p:nvPr>
            <p:ph type="ctrTitle"/>
          </p:nvPr>
        </p:nvSpPr>
        <p:spPr>
          <a:xfrm>
            <a:off x="383663" y="5266262"/>
            <a:ext cx="4748776" cy="574099"/>
          </a:xfrm>
        </p:spPr>
        <p:txBody>
          <a:bodyPr/>
          <a:lstStyle/>
          <a:p>
            <a:r>
              <a:rPr lang="en-US"/>
              <a:t>Technical Presentation</a:t>
            </a:r>
          </a:p>
        </p:txBody>
      </p:sp>
      <p:sp>
        <p:nvSpPr>
          <p:cNvPr id="44" name="Text Placeholder 43">
            <a:extLst>
              <a:ext uri="{FF2B5EF4-FFF2-40B4-BE49-F238E27FC236}">
                <a16:creationId xmlns:a16="http://schemas.microsoft.com/office/drawing/2014/main" id="{80C28944-3FE5-CE7E-1D09-18E0C3622F76}"/>
              </a:ext>
            </a:extLst>
          </p:cNvPr>
          <p:cNvSpPr>
            <a:spLocks noGrp="1"/>
          </p:cNvSpPr>
          <p:nvPr>
            <p:ph type="body" sz="quarter" idx="16"/>
          </p:nvPr>
        </p:nvSpPr>
        <p:spPr>
          <a:xfrm>
            <a:off x="393616" y="6562415"/>
            <a:ext cx="4045751" cy="182880"/>
          </a:xfrm>
        </p:spPr>
        <p:txBody>
          <a:bodyPr/>
          <a:lstStyle/>
          <a:p>
            <a:pPr marL="0" indent="0">
              <a:buNone/>
            </a:pPr>
            <a:r>
              <a:rPr lang="en-US" sz="900"/>
              <a:t>January 2025</a:t>
            </a:r>
          </a:p>
        </p:txBody>
      </p:sp>
      <p:pic>
        <p:nvPicPr>
          <p:cNvPr id="19" name="Picture 18">
            <a:extLst>
              <a:ext uri="{FF2B5EF4-FFF2-40B4-BE49-F238E27FC236}">
                <a16:creationId xmlns:a16="http://schemas.microsoft.com/office/drawing/2014/main" id="{9D072890-0AAB-E3AF-2C6A-CFE9DE0D133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074519" y="1407520"/>
            <a:ext cx="4042961" cy="4042961"/>
          </a:xfrm>
          <a:prstGeom prst="rect">
            <a:avLst/>
          </a:prstGeom>
        </p:spPr>
      </p:pic>
    </p:spTree>
    <p:extLst>
      <p:ext uri="{BB962C8B-B14F-4D97-AF65-F5344CB8AC3E}">
        <p14:creationId xmlns:p14="http://schemas.microsoft.com/office/powerpoint/2010/main" val="180663860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798D2-249F-E7F7-BF50-DB9CB06F45E6}"/>
            </a:ext>
          </a:extLst>
        </p:cNvPr>
        <p:cNvGrpSpPr/>
        <p:nvPr/>
      </p:nvGrpSpPr>
      <p:grpSpPr>
        <a:xfrm>
          <a:off x="0" y="0"/>
          <a:ext cx="0" cy="0"/>
          <a:chOff x="0" y="0"/>
          <a:chExt cx="0" cy="0"/>
        </a:xfrm>
      </p:grpSpPr>
      <p:sp>
        <p:nvSpPr>
          <p:cNvPr id="91" name="TextBox 90">
            <a:extLst>
              <a:ext uri="{FF2B5EF4-FFF2-40B4-BE49-F238E27FC236}">
                <a16:creationId xmlns:a16="http://schemas.microsoft.com/office/drawing/2014/main" id="{3C93E8EE-0441-CE6C-8D0C-CBBA483B2050}"/>
              </a:ext>
            </a:extLst>
          </p:cNvPr>
          <p:cNvSpPr txBox="1"/>
          <p:nvPr/>
        </p:nvSpPr>
        <p:spPr>
          <a:xfrm>
            <a:off x="6985988" y="4148244"/>
            <a:ext cx="2472002" cy="1189431"/>
          </a:xfrm>
          <a:prstGeom prst="rect">
            <a:avLst/>
          </a:prstGeom>
          <a:noFill/>
          <a:ln w="12700">
            <a:solidFill>
              <a:srgbClr val="00ABAB"/>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42011080-BC82-89FD-AE50-7766C65F93AF}"/>
              </a:ext>
            </a:extLst>
          </p:cNvPr>
          <p:cNvSpPr/>
          <p:nvPr/>
        </p:nvSpPr>
        <p:spPr bwMode="gray">
          <a:xfrm>
            <a:off x="353960" y="4110947"/>
            <a:ext cx="11838039" cy="2590982"/>
          </a:xfrm>
          <a:prstGeom prst="rect">
            <a:avLst/>
          </a:prstGeom>
          <a:solidFill>
            <a:schemeClr val="accent1">
              <a:lumMod val="20000"/>
              <a:lumOff val="80000"/>
            </a:schemeClr>
          </a:solidFill>
          <a:ln w="19050"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7" name="Rectangle 6">
            <a:extLst>
              <a:ext uri="{FF2B5EF4-FFF2-40B4-BE49-F238E27FC236}">
                <a16:creationId xmlns:a16="http://schemas.microsoft.com/office/drawing/2014/main" id="{8613314F-E2DE-126C-AA4E-C2E96EB70761}"/>
              </a:ext>
            </a:extLst>
          </p:cNvPr>
          <p:cNvSpPr/>
          <p:nvPr/>
        </p:nvSpPr>
        <p:spPr bwMode="gray">
          <a:xfrm>
            <a:off x="353961" y="1142763"/>
            <a:ext cx="11838039" cy="2915381"/>
          </a:xfrm>
          <a:prstGeom prst="rect">
            <a:avLst/>
          </a:prstGeom>
          <a:solidFill>
            <a:schemeClr val="accent1">
              <a:lumMod val="20000"/>
              <a:lumOff val="80000"/>
            </a:schemeClr>
          </a:solidFill>
          <a:ln w="19050"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6" name="TextBox 85">
            <a:extLst>
              <a:ext uri="{FF2B5EF4-FFF2-40B4-BE49-F238E27FC236}">
                <a16:creationId xmlns:a16="http://schemas.microsoft.com/office/drawing/2014/main" id="{3891682A-E2AE-4EE2-F439-F98403194D36}"/>
              </a:ext>
            </a:extLst>
          </p:cNvPr>
          <p:cNvSpPr txBox="1"/>
          <p:nvPr/>
        </p:nvSpPr>
        <p:spPr>
          <a:xfrm>
            <a:off x="1807442" y="4114836"/>
            <a:ext cx="2472002" cy="1189431"/>
          </a:xfrm>
          <a:prstGeom prst="rect">
            <a:avLst/>
          </a:prstGeom>
          <a:noFill/>
          <a:ln w="12700">
            <a:solidFill>
              <a:srgbClr val="00ABAB"/>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pic>
        <p:nvPicPr>
          <p:cNvPr id="158" name="Picture 157" descr="A blue and white rectangle with text&#10;&#10;Description automatically generated">
            <a:extLst>
              <a:ext uri="{FF2B5EF4-FFF2-40B4-BE49-F238E27FC236}">
                <a16:creationId xmlns:a16="http://schemas.microsoft.com/office/drawing/2014/main" id="{9E79DBB0-37A9-982A-E919-58F1C9EEC0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986" y="4184854"/>
            <a:ext cx="616156" cy="579912"/>
          </a:xfrm>
          <a:prstGeom prst="rect">
            <a:avLst/>
          </a:prstGeom>
        </p:spPr>
      </p:pic>
      <p:pic>
        <p:nvPicPr>
          <p:cNvPr id="152" name="Picture 151">
            <a:extLst>
              <a:ext uri="{FF2B5EF4-FFF2-40B4-BE49-F238E27FC236}">
                <a16:creationId xmlns:a16="http://schemas.microsoft.com/office/drawing/2014/main" id="{8ED2F03C-2910-2E0B-FFE9-A05C49953E76}"/>
              </a:ext>
            </a:extLst>
          </p:cNvPr>
          <p:cNvPicPr>
            <a:picLocks noChangeAspect="1"/>
          </p:cNvPicPr>
          <p:nvPr/>
        </p:nvPicPr>
        <p:blipFill>
          <a:blip r:embed="rId4" cstate="screen">
            <a:extLst>
              <a:ext uri="{28A0092B-C50C-407E-A947-70E740481C1C}">
                <a14:useLocalDpi xmlns:a14="http://schemas.microsoft.com/office/drawing/2010/main"/>
              </a:ext>
            </a:extLst>
          </a:blip>
          <a:srcRect l="27940" t="42" r="31927" b="-42"/>
          <a:stretch/>
        </p:blipFill>
        <p:spPr>
          <a:xfrm>
            <a:off x="7179663" y="4320748"/>
            <a:ext cx="596885" cy="888036"/>
          </a:xfrm>
          <a:prstGeom prst="rect">
            <a:avLst/>
          </a:prstGeom>
        </p:spPr>
      </p:pic>
      <p:sp>
        <p:nvSpPr>
          <p:cNvPr id="148" name="TextBox 147">
            <a:extLst>
              <a:ext uri="{FF2B5EF4-FFF2-40B4-BE49-F238E27FC236}">
                <a16:creationId xmlns:a16="http://schemas.microsoft.com/office/drawing/2014/main" id="{5C8FD05D-67BE-335D-E178-18809F9168AE}"/>
              </a:ext>
            </a:extLst>
          </p:cNvPr>
          <p:cNvSpPr txBox="1"/>
          <p:nvPr/>
        </p:nvSpPr>
        <p:spPr>
          <a:xfrm>
            <a:off x="7984457" y="4342646"/>
            <a:ext cx="1511567"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gital Sansad - Reorganized and reimagined 200 years of data from 13 different portals</a:t>
            </a:r>
          </a:p>
        </p:txBody>
      </p:sp>
      <p:pic>
        <p:nvPicPr>
          <p:cNvPr id="135" name="Picture 134">
            <a:extLst>
              <a:ext uri="{FF2B5EF4-FFF2-40B4-BE49-F238E27FC236}">
                <a16:creationId xmlns:a16="http://schemas.microsoft.com/office/drawing/2014/main" id="{26C8F3AF-305A-8F9E-2D17-A8FBBE3E9FC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55779" y="1526439"/>
            <a:ext cx="1284827" cy="949293"/>
          </a:xfrm>
          <a:prstGeom prst="rect">
            <a:avLst/>
          </a:prstGeom>
        </p:spPr>
      </p:pic>
      <p:pic>
        <p:nvPicPr>
          <p:cNvPr id="101" name="Picture 100">
            <a:extLst>
              <a:ext uri="{FF2B5EF4-FFF2-40B4-BE49-F238E27FC236}">
                <a16:creationId xmlns:a16="http://schemas.microsoft.com/office/drawing/2014/main" id="{2A0E443F-94F2-8389-BCDF-24E6E17916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40709" y="1456033"/>
            <a:ext cx="1538031" cy="1055813"/>
          </a:xfrm>
          <a:prstGeom prst="rect">
            <a:avLst/>
          </a:prstGeom>
        </p:spPr>
      </p:pic>
      <p:sp>
        <p:nvSpPr>
          <p:cNvPr id="4" name="Text Placeholder 1">
            <a:extLst>
              <a:ext uri="{FF2B5EF4-FFF2-40B4-BE49-F238E27FC236}">
                <a16:creationId xmlns:a16="http://schemas.microsoft.com/office/drawing/2014/main" id="{926CB3C2-158D-041A-C2E9-761E64D3215A}"/>
              </a:ext>
            </a:extLst>
          </p:cNvPr>
          <p:cNvSpPr>
            <a:spLocks noGrp="1"/>
          </p:cNvSpPr>
          <p:nvPr>
            <p:ph type="body" sz="quarter" idx="13"/>
          </p:nvPr>
        </p:nvSpPr>
        <p:spPr>
          <a:xfrm>
            <a:off x="501649" y="651600"/>
            <a:ext cx="11188698" cy="491163"/>
          </a:xfrm>
        </p:spPr>
        <p:txBody>
          <a:bodyPr/>
          <a:lstStyle/>
          <a:p>
            <a:r>
              <a:rPr lang="en-US">
                <a:latin typeface="Aptos" panose="020B0004020202020204" pitchFamily="34" charset="0"/>
              </a:rPr>
              <a:t>Unique mix of technology and sectoral expertise distinguishes us vis a vis a pure technology player</a:t>
            </a:r>
          </a:p>
        </p:txBody>
      </p:sp>
      <p:grpSp>
        <p:nvGrpSpPr>
          <p:cNvPr id="31" name="Graphic 4">
            <a:extLst>
              <a:ext uri="{FF2B5EF4-FFF2-40B4-BE49-F238E27FC236}">
                <a16:creationId xmlns:a16="http://schemas.microsoft.com/office/drawing/2014/main" id="{C8929125-CCE4-C942-FBD4-EAE4EF7E893E}"/>
              </a:ext>
            </a:extLst>
          </p:cNvPr>
          <p:cNvGrpSpPr>
            <a:grpSpLocks noChangeAspect="1"/>
          </p:cNvGrpSpPr>
          <p:nvPr/>
        </p:nvGrpSpPr>
        <p:grpSpPr>
          <a:xfrm>
            <a:off x="794771" y="1756544"/>
            <a:ext cx="583504" cy="582959"/>
            <a:chOff x="905454" y="1402723"/>
            <a:chExt cx="362309" cy="361971"/>
          </a:xfrm>
          <a:solidFill>
            <a:schemeClr val="bg1"/>
          </a:solidFill>
        </p:grpSpPr>
        <p:sp>
          <p:nvSpPr>
            <p:cNvPr id="32" name="Graphic 4">
              <a:extLst>
                <a:ext uri="{FF2B5EF4-FFF2-40B4-BE49-F238E27FC236}">
                  <a16:creationId xmlns:a16="http://schemas.microsoft.com/office/drawing/2014/main" id="{D56AA1FC-E9D7-50E3-8DEA-424147320AAA}"/>
                </a:ext>
              </a:extLst>
            </p:cNvPr>
            <p:cNvSpPr/>
            <p:nvPr/>
          </p:nvSpPr>
          <p:spPr>
            <a:xfrm>
              <a:off x="1011527" y="1558652"/>
              <a:ext cx="109267" cy="126243"/>
            </a:xfrm>
            <a:custGeom>
              <a:avLst/>
              <a:gdLst>
                <a:gd name="connsiteX0" fmla="*/ 93932 w 109267"/>
                <a:gd name="connsiteY0" fmla="*/ 47720 h 126243"/>
                <a:gd name="connsiteX1" fmla="*/ 93932 w 109267"/>
                <a:gd name="connsiteY1" fmla="*/ 6224 h 126243"/>
                <a:gd name="connsiteX2" fmla="*/ 14058 w 109267"/>
                <a:gd name="connsiteY2" fmla="*/ 6224 h 126243"/>
                <a:gd name="connsiteX3" fmla="*/ 14058 w 109267"/>
                <a:gd name="connsiteY3" fmla="*/ 47720 h 126243"/>
                <a:gd name="connsiteX4" fmla="*/ 14058 w 109267"/>
                <a:gd name="connsiteY4" fmla="*/ 48997 h 126243"/>
                <a:gd name="connsiteX5" fmla="*/ 0 w 109267"/>
                <a:gd name="connsiteY5" fmla="*/ 126243 h 126243"/>
                <a:gd name="connsiteX6" fmla="*/ 109268 w 109267"/>
                <a:gd name="connsiteY6" fmla="*/ 126243 h 126243"/>
                <a:gd name="connsiteX7" fmla="*/ 93932 w 109267"/>
                <a:gd name="connsiteY7" fmla="*/ 48997 h 126243"/>
                <a:gd name="connsiteX8" fmla="*/ 93932 w 109267"/>
                <a:gd name="connsiteY8" fmla="*/ 47720 h 1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267" h="126243">
                  <a:moveTo>
                    <a:pt x="93932" y="47720"/>
                  </a:moveTo>
                  <a:lnTo>
                    <a:pt x="93932" y="6224"/>
                  </a:lnTo>
                  <a:cubicBezTo>
                    <a:pt x="67733" y="-2075"/>
                    <a:pt x="40257" y="-2075"/>
                    <a:pt x="14058" y="6224"/>
                  </a:cubicBezTo>
                  <a:lnTo>
                    <a:pt x="14058" y="47720"/>
                  </a:lnTo>
                  <a:cubicBezTo>
                    <a:pt x="14058" y="48359"/>
                    <a:pt x="14058" y="48359"/>
                    <a:pt x="14058" y="48997"/>
                  </a:cubicBezTo>
                  <a:lnTo>
                    <a:pt x="0" y="126243"/>
                  </a:lnTo>
                  <a:lnTo>
                    <a:pt x="109268" y="126243"/>
                  </a:lnTo>
                  <a:lnTo>
                    <a:pt x="93932" y="48997"/>
                  </a:lnTo>
                  <a:cubicBezTo>
                    <a:pt x="93932" y="48359"/>
                    <a:pt x="93932" y="48359"/>
                    <a:pt x="93932" y="4772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 name="Graphic 4">
              <a:extLst>
                <a:ext uri="{FF2B5EF4-FFF2-40B4-BE49-F238E27FC236}">
                  <a16:creationId xmlns:a16="http://schemas.microsoft.com/office/drawing/2014/main" id="{633BD8FF-0B63-925B-59A8-FA9C962532D3}"/>
                </a:ext>
              </a:extLst>
            </p:cNvPr>
            <p:cNvSpPr/>
            <p:nvPr/>
          </p:nvSpPr>
          <p:spPr>
            <a:xfrm>
              <a:off x="905454" y="1402723"/>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362309 w 362309"/>
                <a:gd name="connsiteY4" fmla="*/ 181305 h 361971"/>
                <a:gd name="connsiteX5" fmla="*/ 180835 w 362309"/>
                <a:gd name="connsiteY5" fmla="*/ 0 h 361971"/>
                <a:gd name="connsiteX6" fmla="*/ 227482 w 362309"/>
                <a:gd name="connsiteY6" fmla="*/ 292386 h 361971"/>
                <a:gd name="connsiteX7" fmla="*/ 222370 w 362309"/>
                <a:gd name="connsiteY7" fmla="*/ 294940 h 361971"/>
                <a:gd name="connsiteX8" fmla="*/ 97766 w 362309"/>
                <a:gd name="connsiteY8" fmla="*/ 294940 h 361971"/>
                <a:gd name="connsiteX9" fmla="*/ 91376 w 362309"/>
                <a:gd name="connsiteY9" fmla="*/ 288556 h 361971"/>
                <a:gd name="connsiteX10" fmla="*/ 91376 w 362309"/>
                <a:gd name="connsiteY10" fmla="*/ 287279 h 361971"/>
                <a:gd name="connsiteX11" fmla="*/ 106712 w 362309"/>
                <a:gd name="connsiteY11" fmla="*/ 203011 h 361971"/>
                <a:gd name="connsiteX12" fmla="*/ 106712 w 362309"/>
                <a:gd name="connsiteY12" fmla="*/ 157046 h 361971"/>
                <a:gd name="connsiteX13" fmla="*/ 111185 w 362309"/>
                <a:gd name="connsiteY13" fmla="*/ 150662 h 361971"/>
                <a:gd name="connsiteX14" fmla="*/ 207673 w 362309"/>
                <a:gd name="connsiteY14" fmla="*/ 150662 h 361971"/>
                <a:gd name="connsiteX15" fmla="*/ 212146 w 362309"/>
                <a:gd name="connsiteY15" fmla="*/ 157046 h 361971"/>
                <a:gd name="connsiteX16" fmla="*/ 212146 w 362309"/>
                <a:gd name="connsiteY16" fmla="*/ 202372 h 361971"/>
                <a:gd name="connsiteX17" fmla="*/ 228760 w 362309"/>
                <a:gd name="connsiteY17" fmla="*/ 286641 h 361971"/>
                <a:gd name="connsiteX18" fmla="*/ 227482 w 362309"/>
                <a:gd name="connsiteY18" fmla="*/ 292386 h 361971"/>
                <a:gd name="connsiteX19" fmla="*/ 227482 w 362309"/>
                <a:gd name="connsiteY19" fmla="*/ 292386 h 361971"/>
                <a:gd name="connsiteX20" fmla="*/ 244735 w 362309"/>
                <a:gd name="connsiteY20" fmla="*/ 148747 h 361971"/>
                <a:gd name="connsiteX21" fmla="*/ 237067 w 362309"/>
                <a:gd name="connsiteY21" fmla="*/ 148747 h 361971"/>
                <a:gd name="connsiteX22" fmla="*/ 230677 w 362309"/>
                <a:gd name="connsiteY22" fmla="*/ 142363 h 361971"/>
                <a:gd name="connsiteX23" fmla="*/ 237067 w 362309"/>
                <a:gd name="connsiteY23" fmla="*/ 135979 h 361971"/>
                <a:gd name="connsiteX24" fmla="*/ 244735 w 362309"/>
                <a:gd name="connsiteY24" fmla="*/ 135979 h 361971"/>
                <a:gd name="connsiteX25" fmla="*/ 257514 w 362309"/>
                <a:gd name="connsiteY25" fmla="*/ 123211 h 361971"/>
                <a:gd name="connsiteX26" fmla="*/ 244735 w 362309"/>
                <a:gd name="connsiteY26" fmla="*/ 110443 h 361971"/>
                <a:gd name="connsiteX27" fmla="*/ 238345 w 362309"/>
                <a:gd name="connsiteY27" fmla="*/ 104059 h 361971"/>
                <a:gd name="connsiteX28" fmla="*/ 214063 w 362309"/>
                <a:gd name="connsiteY28" fmla="*/ 79161 h 361971"/>
                <a:gd name="connsiteX29" fmla="*/ 189781 w 362309"/>
                <a:gd name="connsiteY29" fmla="*/ 98952 h 361971"/>
                <a:gd name="connsiteX30" fmla="*/ 182113 w 362309"/>
                <a:gd name="connsiteY30" fmla="*/ 104059 h 361971"/>
                <a:gd name="connsiteX31" fmla="*/ 180835 w 362309"/>
                <a:gd name="connsiteY31" fmla="*/ 104059 h 361971"/>
                <a:gd name="connsiteX32" fmla="*/ 159110 w 362309"/>
                <a:gd name="connsiteY32" fmla="*/ 113635 h 361971"/>
                <a:gd name="connsiteX33" fmla="*/ 157831 w 362309"/>
                <a:gd name="connsiteY33" fmla="*/ 119380 h 361971"/>
                <a:gd name="connsiteX34" fmla="*/ 151441 w 362309"/>
                <a:gd name="connsiteY34" fmla="*/ 125764 h 361971"/>
                <a:gd name="connsiteX35" fmla="*/ 145052 w 362309"/>
                <a:gd name="connsiteY35" fmla="*/ 119380 h 361971"/>
                <a:gd name="connsiteX36" fmla="*/ 174445 w 362309"/>
                <a:gd name="connsiteY36" fmla="*/ 90014 h 361971"/>
                <a:gd name="connsiteX37" fmla="*/ 178279 w 362309"/>
                <a:gd name="connsiteY37" fmla="*/ 90653 h 361971"/>
                <a:gd name="connsiteX38" fmla="*/ 226843 w 362309"/>
                <a:gd name="connsiteY38" fmla="*/ 69585 h 361971"/>
                <a:gd name="connsiteX39" fmla="*/ 249847 w 362309"/>
                <a:gd name="connsiteY39" fmla="*/ 98313 h 361971"/>
                <a:gd name="connsiteX40" fmla="*/ 270294 w 362309"/>
                <a:gd name="connsiteY40" fmla="*/ 127680 h 361971"/>
                <a:gd name="connsiteX41" fmla="*/ 244735 w 362309"/>
                <a:gd name="connsiteY41" fmla="*/ 148747 h 361971"/>
                <a:gd name="connsiteX42" fmla="*/ 244735 w 362309"/>
                <a:gd name="connsiteY42" fmla="*/ 14874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181305"/>
                    <a:pt x="362309" y="181305"/>
                    <a:pt x="362309" y="181305"/>
                  </a:cubicBezTo>
                  <a:cubicBezTo>
                    <a:pt x="361670" y="80438"/>
                    <a:pt x="281157" y="0"/>
                    <a:pt x="180835" y="0"/>
                  </a:cubicBezTo>
                  <a:close/>
                  <a:moveTo>
                    <a:pt x="227482" y="292386"/>
                  </a:moveTo>
                  <a:cubicBezTo>
                    <a:pt x="226204" y="293663"/>
                    <a:pt x="224287" y="294940"/>
                    <a:pt x="222370" y="294940"/>
                  </a:cubicBezTo>
                  <a:lnTo>
                    <a:pt x="97766" y="294940"/>
                  </a:lnTo>
                  <a:cubicBezTo>
                    <a:pt x="93932" y="294940"/>
                    <a:pt x="91376" y="292386"/>
                    <a:pt x="91376" y="288556"/>
                  </a:cubicBezTo>
                  <a:cubicBezTo>
                    <a:pt x="91376" y="287918"/>
                    <a:pt x="91376" y="287918"/>
                    <a:pt x="91376" y="287279"/>
                  </a:cubicBezTo>
                  <a:lnTo>
                    <a:pt x="106712" y="203011"/>
                  </a:lnTo>
                  <a:lnTo>
                    <a:pt x="106712" y="157046"/>
                  </a:lnTo>
                  <a:cubicBezTo>
                    <a:pt x="106712" y="153854"/>
                    <a:pt x="108629" y="151300"/>
                    <a:pt x="111185" y="150662"/>
                  </a:cubicBezTo>
                  <a:cubicBezTo>
                    <a:pt x="142496" y="139809"/>
                    <a:pt x="176362" y="139809"/>
                    <a:pt x="207673" y="150662"/>
                  </a:cubicBezTo>
                  <a:cubicBezTo>
                    <a:pt x="210229" y="151300"/>
                    <a:pt x="212146" y="153854"/>
                    <a:pt x="212146" y="157046"/>
                  </a:cubicBezTo>
                  <a:lnTo>
                    <a:pt x="212146" y="202372"/>
                  </a:lnTo>
                  <a:lnTo>
                    <a:pt x="228760" y="286641"/>
                  </a:lnTo>
                  <a:cubicBezTo>
                    <a:pt x="229399" y="289194"/>
                    <a:pt x="228760" y="291110"/>
                    <a:pt x="227482" y="292386"/>
                  </a:cubicBezTo>
                  <a:lnTo>
                    <a:pt x="227482" y="292386"/>
                  </a:lnTo>
                  <a:close/>
                  <a:moveTo>
                    <a:pt x="244735" y="148747"/>
                  </a:moveTo>
                  <a:lnTo>
                    <a:pt x="237067" y="148747"/>
                  </a:lnTo>
                  <a:cubicBezTo>
                    <a:pt x="233233" y="148747"/>
                    <a:pt x="230677" y="146193"/>
                    <a:pt x="230677" y="142363"/>
                  </a:cubicBezTo>
                  <a:cubicBezTo>
                    <a:pt x="230677" y="138532"/>
                    <a:pt x="233233" y="135979"/>
                    <a:pt x="237067" y="135979"/>
                  </a:cubicBezTo>
                  <a:lnTo>
                    <a:pt x="244735" y="135979"/>
                  </a:lnTo>
                  <a:cubicBezTo>
                    <a:pt x="251764" y="135979"/>
                    <a:pt x="257514" y="130233"/>
                    <a:pt x="257514" y="123211"/>
                  </a:cubicBezTo>
                  <a:cubicBezTo>
                    <a:pt x="257514" y="116188"/>
                    <a:pt x="251764" y="110443"/>
                    <a:pt x="244735" y="110443"/>
                  </a:cubicBezTo>
                  <a:cubicBezTo>
                    <a:pt x="240901" y="110443"/>
                    <a:pt x="238345" y="107889"/>
                    <a:pt x="238345" y="104059"/>
                  </a:cubicBezTo>
                  <a:cubicBezTo>
                    <a:pt x="238345" y="90653"/>
                    <a:pt x="227482" y="79800"/>
                    <a:pt x="214063" y="79161"/>
                  </a:cubicBezTo>
                  <a:cubicBezTo>
                    <a:pt x="202561" y="79161"/>
                    <a:pt x="192337" y="87461"/>
                    <a:pt x="189781" y="98952"/>
                  </a:cubicBezTo>
                  <a:cubicBezTo>
                    <a:pt x="189142" y="102144"/>
                    <a:pt x="185947" y="104697"/>
                    <a:pt x="182113" y="104059"/>
                  </a:cubicBezTo>
                  <a:cubicBezTo>
                    <a:pt x="181474" y="104059"/>
                    <a:pt x="181474" y="104059"/>
                    <a:pt x="180835" y="104059"/>
                  </a:cubicBezTo>
                  <a:cubicBezTo>
                    <a:pt x="172528" y="100867"/>
                    <a:pt x="162304" y="104697"/>
                    <a:pt x="159110" y="113635"/>
                  </a:cubicBezTo>
                  <a:cubicBezTo>
                    <a:pt x="158470" y="115550"/>
                    <a:pt x="157831" y="117465"/>
                    <a:pt x="157831" y="119380"/>
                  </a:cubicBezTo>
                  <a:cubicBezTo>
                    <a:pt x="157831" y="123211"/>
                    <a:pt x="155275" y="125764"/>
                    <a:pt x="151441" y="125764"/>
                  </a:cubicBezTo>
                  <a:cubicBezTo>
                    <a:pt x="147608" y="125764"/>
                    <a:pt x="145052" y="123211"/>
                    <a:pt x="145052" y="119380"/>
                  </a:cubicBezTo>
                  <a:cubicBezTo>
                    <a:pt x="145052" y="102782"/>
                    <a:pt x="158470" y="90014"/>
                    <a:pt x="174445" y="90014"/>
                  </a:cubicBezTo>
                  <a:cubicBezTo>
                    <a:pt x="175723" y="90014"/>
                    <a:pt x="177001" y="90014"/>
                    <a:pt x="178279" y="90653"/>
                  </a:cubicBezTo>
                  <a:cubicBezTo>
                    <a:pt x="185947" y="71501"/>
                    <a:pt x="207673" y="61925"/>
                    <a:pt x="226843" y="69585"/>
                  </a:cubicBezTo>
                  <a:cubicBezTo>
                    <a:pt x="238984" y="74693"/>
                    <a:pt x="247930" y="85545"/>
                    <a:pt x="249847" y="98313"/>
                  </a:cubicBezTo>
                  <a:cubicBezTo>
                    <a:pt x="263904" y="100867"/>
                    <a:pt x="272850" y="114273"/>
                    <a:pt x="270294" y="127680"/>
                  </a:cubicBezTo>
                  <a:cubicBezTo>
                    <a:pt x="269016" y="140448"/>
                    <a:pt x="257514" y="149385"/>
                    <a:pt x="244735" y="148747"/>
                  </a:cubicBezTo>
                  <a:lnTo>
                    <a:pt x="244735" y="14874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 name="Graphic 4">
            <a:extLst>
              <a:ext uri="{FF2B5EF4-FFF2-40B4-BE49-F238E27FC236}">
                <a16:creationId xmlns:a16="http://schemas.microsoft.com/office/drawing/2014/main" id="{190D9E7B-B5A1-6550-A899-FF56A07D4253}"/>
              </a:ext>
            </a:extLst>
          </p:cNvPr>
          <p:cNvGrpSpPr>
            <a:grpSpLocks noChangeAspect="1"/>
          </p:cNvGrpSpPr>
          <p:nvPr/>
        </p:nvGrpSpPr>
        <p:grpSpPr>
          <a:xfrm>
            <a:off x="783097" y="5008276"/>
            <a:ext cx="610700" cy="617321"/>
            <a:chOff x="905454" y="1885990"/>
            <a:chExt cx="362309" cy="362610"/>
          </a:xfrm>
          <a:solidFill>
            <a:schemeClr val="bg1"/>
          </a:solidFill>
        </p:grpSpPr>
        <p:sp>
          <p:nvSpPr>
            <p:cNvPr id="11" name="Graphic 4">
              <a:extLst>
                <a:ext uri="{FF2B5EF4-FFF2-40B4-BE49-F238E27FC236}">
                  <a16:creationId xmlns:a16="http://schemas.microsoft.com/office/drawing/2014/main" id="{52D496C0-EE3E-92C1-1E9C-5AED1A8F4683}"/>
                </a:ext>
              </a:extLst>
            </p:cNvPr>
            <p:cNvSpPr/>
            <p:nvPr/>
          </p:nvSpPr>
          <p:spPr>
            <a:xfrm>
              <a:off x="986606" y="2030268"/>
              <a:ext cx="198727" cy="107889"/>
            </a:xfrm>
            <a:custGeom>
              <a:avLst/>
              <a:gdLst>
                <a:gd name="connsiteX0" fmla="*/ 177001 w 198727"/>
                <a:gd name="connsiteY0" fmla="*/ 15960 h 107889"/>
                <a:gd name="connsiteX1" fmla="*/ 177001 w 198727"/>
                <a:gd name="connsiteY1" fmla="*/ 0 h 107889"/>
                <a:gd name="connsiteX2" fmla="*/ 23004 w 198727"/>
                <a:gd name="connsiteY2" fmla="*/ 0 h 107889"/>
                <a:gd name="connsiteX3" fmla="*/ 23004 w 198727"/>
                <a:gd name="connsiteY3" fmla="*/ 15960 h 107889"/>
                <a:gd name="connsiteX4" fmla="*/ 16614 w 198727"/>
                <a:gd name="connsiteY4" fmla="*/ 22344 h 107889"/>
                <a:gd name="connsiteX5" fmla="*/ 0 w 198727"/>
                <a:gd name="connsiteY5" fmla="*/ 22344 h 107889"/>
                <a:gd name="connsiteX6" fmla="*/ 0 w 198727"/>
                <a:gd name="connsiteY6" fmla="*/ 107889 h 107889"/>
                <a:gd name="connsiteX7" fmla="*/ 17253 w 198727"/>
                <a:gd name="connsiteY7" fmla="*/ 107889 h 107889"/>
                <a:gd name="connsiteX8" fmla="*/ 17253 w 198727"/>
                <a:gd name="connsiteY8" fmla="*/ 84269 h 107889"/>
                <a:gd name="connsiteX9" fmla="*/ 23643 w 198727"/>
                <a:gd name="connsiteY9" fmla="*/ 77885 h 107889"/>
                <a:gd name="connsiteX10" fmla="*/ 30033 w 198727"/>
                <a:gd name="connsiteY10" fmla="*/ 84269 h 107889"/>
                <a:gd name="connsiteX11" fmla="*/ 30033 w 198727"/>
                <a:gd name="connsiteY11" fmla="*/ 107889 h 107889"/>
                <a:gd name="connsiteX12" fmla="*/ 198727 w 198727"/>
                <a:gd name="connsiteY12" fmla="*/ 107889 h 107889"/>
                <a:gd name="connsiteX13" fmla="*/ 198727 w 198727"/>
                <a:gd name="connsiteY13" fmla="*/ 22344 h 107889"/>
                <a:gd name="connsiteX14" fmla="*/ 182113 w 198727"/>
                <a:gd name="connsiteY14" fmla="*/ 22344 h 107889"/>
                <a:gd name="connsiteX15" fmla="*/ 177001 w 198727"/>
                <a:gd name="connsiteY15" fmla="*/ 15960 h 107889"/>
                <a:gd name="connsiteX16" fmla="*/ 28755 w 198727"/>
                <a:gd name="connsiteY16" fmla="*/ 58094 h 107889"/>
                <a:gd name="connsiteX17" fmla="*/ 24282 w 198727"/>
                <a:gd name="connsiteY17" fmla="*/ 60009 h 107889"/>
                <a:gd name="connsiteX18" fmla="*/ 19809 w 198727"/>
                <a:gd name="connsiteY18" fmla="*/ 58094 h 107889"/>
                <a:gd name="connsiteX19" fmla="*/ 17892 w 198727"/>
                <a:gd name="connsiteY19" fmla="*/ 53625 h 107889"/>
                <a:gd name="connsiteX20" fmla="*/ 18531 w 198727"/>
                <a:gd name="connsiteY20" fmla="*/ 51072 h 107889"/>
                <a:gd name="connsiteX21" fmla="*/ 21726 w 198727"/>
                <a:gd name="connsiteY21" fmla="*/ 47880 h 107889"/>
                <a:gd name="connsiteX22" fmla="*/ 26838 w 198727"/>
                <a:gd name="connsiteY22" fmla="*/ 47880 h 107889"/>
                <a:gd name="connsiteX23" fmla="*/ 28755 w 198727"/>
                <a:gd name="connsiteY23" fmla="*/ 49157 h 107889"/>
                <a:gd name="connsiteX24" fmla="*/ 30672 w 198727"/>
                <a:gd name="connsiteY24" fmla="*/ 53625 h 107889"/>
                <a:gd name="connsiteX25" fmla="*/ 28755 w 198727"/>
                <a:gd name="connsiteY25" fmla="*/ 58094 h 107889"/>
                <a:gd name="connsiteX26" fmla="*/ 58788 w 198727"/>
                <a:gd name="connsiteY26" fmla="*/ 88737 h 107889"/>
                <a:gd name="connsiteX27" fmla="*/ 54314 w 198727"/>
                <a:gd name="connsiteY27" fmla="*/ 90653 h 107889"/>
                <a:gd name="connsiteX28" fmla="*/ 49842 w 198727"/>
                <a:gd name="connsiteY28" fmla="*/ 88737 h 107889"/>
                <a:gd name="connsiteX29" fmla="*/ 47925 w 198727"/>
                <a:gd name="connsiteY29" fmla="*/ 84269 h 107889"/>
                <a:gd name="connsiteX30" fmla="*/ 48564 w 198727"/>
                <a:gd name="connsiteY30" fmla="*/ 81715 h 107889"/>
                <a:gd name="connsiteX31" fmla="*/ 49842 w 198727"/>
                <a:gd name="connsiteY31" fmla="*/ 79800 h 107889"/>
                <a:gd name="connsiteX32" fmla="*/ 50481 w 198727"/>
                <a:gd name="connsiteY32" fmla="*/ 79161 h 107889"/>
                <a:gd name="connsiteX33" fmla="*/ 51759 w 198727"/>
                <a:gd name="connsiteY33" fmla="*/ 78523 h 107889"/>
                <a:gd name="connsiteX34" fmla="*/ 53036 w 198727"/>
                <a:gd name="connsiteY34" fmla="*/ 77885 h 107889"/>
                <a:gd name="connsiteX35" fmla="*/ 56871 w 198727"/>
                <a:gd name="connsiteY35" fmla="*/ 78523 h 107889"/>
                <a:gd name="connsiteX36" fmla="*/ 58788 w 198727"/>
                <a:gd name="connsiteY36" fmla="*/ 79800 h 107889"/>
                <a:gd name="connsiteX37" fmla="*/ 60704 w 198727"/>
                <a:gd name="connsiteY37" fmla="*/ 84269 h 107889"/>
                <a:gd name="connsiteX38" fmla="*/ 58788 w 198727"/>
                <a:gd name="connsiteY38" fmla="*/ 88737 h 107889"/>
                <a:gd name="connsiteX39" fmla="*/ 58788 w 198727"/>
                <a:gd name="connsiteY39" fmla="*/ 58094 h 107889"/>
                <a:gd name="connsiteX40" fmla="*/ 54314 w 198727"/>
                <a:gd name="connsiteY40" fmla="*/ 60009 h 107889"/>
                <a:gd name="connsiteX41" fmla="*/ 47925 w 198727"/>
                <a:gd name="connsiteY41" fmla="*/ 53625 h 107889"/>
                <a:gd name="connsiteX42" fmla="*/ 48564 w 198727"/>
                <a:gd name="connsiteY42" fmla="*/ 51072 h 107889"/>
                <a:gd name="connsiteX43" fmla="*/ 49842 w 198727"/>
                <a:gd name="connsiteY43" fmla="*/ 49157 h 107889"/>
                <a:gd name="connsiteX44" fmla="*/ 50481 w 198727"/>
                <a:gd name="connsiteY44" fmla="*/ 48518 h 107889"/>
                <a:gd name="connsiteX45" fmla="*/ 51759 w 198727"/>
                <a:gd name="connsiteY45" fmla="*/ 47880 h 107889"/>
                <a:gd name="connsiteX46" fmla="*/ 53036 w 198727"/>
                <a:gd name="connsiteY46" fmla="*/ 47880 h 107889"/>
                <a:gd name="connsiteX47" fmla="*/ 56871 w 198727"/>
                <a:gd name="connsiteY47" fmla="*/ 47880 h 107889"/>
                <a:gd name="connsiteX48" fmla="*/ 58788 w 198727"/>
                <a:gd name="connsiteY48" fmla="*/ 49157 h 107889"/>
                <a:gd name="connsiteX49" fmla="*/ 60065 w 198727"/>
                <a:gd name="connsiteY49" fmla="*/ 51072 h 107889"/>
                <a:gd name="connsiteX50" fmla="*/ 60704 w 198727"/>
                <a:gd name="connsiteY50" fmla="*/ 53625 h 107889"/>
                <a:gd name="connsiteX51" fmla="*/ 58788 w 198727"/>
                <a:gd name="connsiteY51" fmla="*/ 58094 h 107889"/>
                <a:gd name="connsiteX52" fmla="*/ 58788 w 198727"/>
                <a:gd name="connsiteY52" fmla="*/ 28089 h 107889"/>
                <a:gd name="connsiteX53" fmla="*/ 54314 w 198727"/>
                <a:gd name="connsiteY53" fmla="*/ 30005 h 107889"/>
                <a:gd name="connsiteX54" fmla="*/ 47925 w 198727"/>
                <a:gd name="connsiteY54" fmla="*/ 23621 h 107889"/>
                <a:gd name="connsiteX55" fmla="*/ 48564 w 198727"/>
                <a:gd name="connsiteY55" fmla="*/ 21067 h 107889"/>
                <a:gd name="connsiteX56" fmla="*/ 49842 w 198727"/>
                <a:gd name="connsiteY56" fmla="*/ 19152 h 107889"/>
                <a:gd name="connsiteX57" fmla="*/ 50481 w 198727"/>
                <a:gd name="connsiteY57" fmla="*/ 18514 h 107889"/>
                <a:gd name="connsiteX58" fmla="*/ 51759 w 198727"/>
                <a:gd name="connsiteY58" fmla="*/ 17875 h 107889"/>
                <a:gd name="connsiteX59" fmla="*/ 53036 w 198727"/>
                <a:gd name="connsiteY59" fmla="*/ 17237 h 107889"/>
                <a:gd name="connsiteX60" fmla="*/ 58788 w 198727"/>
                <a:gd name="connsiteY60" fmla="*/ 19152 h 107889"/>
                <a:gd name="connsiteX61" fmla="*/ 60065 w 198727"/>
                <a:gd name="connsiteY61" fmla="*/ 21067 h 107889"/>
                <a:gd name="connsiteX62" fmla="*/ 58788 w 198727"/>
                <a:gd name="connsiteY62" fmla="*/ 28089 h 107889"/>
                <a:gd name="connsiteX63" fmla="*/ 58788 w 198727"/>
                <a:gd name="connsiteY63" fmla="*/ 28089 h 107889"/>
                <a:gd name="connsiteX64" fmla="*/ 89459 w 198727"/>
                <a:gd name="connsiteY64" fmla="*/ 88737 h 107889"/>
                <a:gd name="connsiteX65" fmla="*/ 87542 w 198727"/>
                <a:gd name="connsiteY65" fmla="*/ 90014 h 107889"/>
                <a:gd name="connsiteX66" fmla="*/ 84986 w 198727"/>
                <a:gd name="connsiteY66" fmla="*/ 90653 h 107889"/>
                <a:gd name="connsiteX67" fmla="*/ 78596 w 198727"/>
                <a:gd name="connsiteY67" fmla="*/ 84269 h 107889"/>
                <a:gd name="connsiteX68" fmla="*/ 80513 w 198727"/>
                <a:gd name="connsiteY68" fmla="*/ 79800 h 107889"/>
                <a:gd name="connsiteX69" fmla="*/ 82430 w 198727"/>
                <a:gd name="connsiteY69" fmla="*/ 78523 h 107889"/>
                <a:gd name="connsiteX70" fmla="*/ 87542 w 198727"/>
                <a:gd name="connsiteY70" fmla="*/ 78523 h 107889"/>
                <a:gd name="connsiteX71" fmla="*/ 88820 w 198727"/>
                <a:gd name="connsiteY71" fmla="*/ 79161 h 107889"/>
                <a:gd name="connsiteX72" fmla="*/ 89459 w 198727"/>
                <a:gd name="connsiteY72" fmla="*/ 79800 h 107889"/>
                <a:gd name="connsiteX73" fmla="*/ 91376 w 198727"/>
                <a:gd name="connsiteY73" fmla="*/ 84269 h 107889"/>
                <a:gd name="connsiteX74" fmla="*/ 89459 w 198727"/>
                <a:gd name="connsiteY74" fmla="*/ 88737 h 107889"/>
                <a:gd name="connsiteX75" fmla="*/ 89459 w 198727"/>
                <a:gd name="connsiteY75" fmla="*/ 88737 h 107889"/>
                <a:gd name="connsiteX76" fmla="*/ 89459 w 198727"/>
                <a:gd name="connsiteY76" fmla="*/ 58094 h 107889"/>
                <a:gd name="connsiteX77" fmla="*/ 87542 w 198727"/>
                <a:gd name="connsiteY77" fmla="*/ 59371 h 107889"/>
                <a:gd name="connsiteX78" fmla="*/ 84986 w 198727"/>
                <a:gd name="connsiteY78" fmla="*/ 60009 h 107889"/>
                <a:gd name="connsiteX79" fmla="*/ 82430 w 198727"/>
                <a:gd name="connsiteY79" fmla="*/ 59371 h 107889"/>
                <a:gd name="connsiteX80" fmla="*/ 80513 w 198727"/>
                <a:gd name="connsiteY80" fmla="*/ 58094 h 107889"/>
                <a:gd name="connsiteX81" fmla="*/ 78596 w 198727"/>
                <a:gd name="connsiteY81" fmla="*/ 53625 h 107889"/>
                <a:gd name="connsiteX82" fmla="*/ 79235 w 198727"/>
                <a:gd name="connsiteY82" fmla="*/ 51072 h 107889"/>
                <a:gd name="connsiteX83" fmla="*/ 80513 w 198727"/>
                <a:gd name="connsiteY83" fmla="*/ 49157 h 107889"/>
                <a:gd name="connsiteX84" fmla="*/ 81152 w 198727"/>
                <a:gd name="connsiteY84" fmla="*/ 48518 h 107889"/>
                <a:gd name="connsiteX85" fmla="*/ 82430 w 198727"/>
                <a:gd name="connsiteY85" fmla="*/ 47880 h 107889"/>
                <a:gd name="connsiteX86" fmla="*/ 83708 w 198727"/>
                <a:gd name="connsiteY86" fmla="*/ 47880 h 107889"/>
                <a:gd name="connsiteX87" fmla="*/ 86264 w 198727"/>
                <a:gd name="connsiteY87" fmla="*/ 47880 h 107889"/>
                <a:gd name="connsiteX88" fmla="*/ 87542 w 198727"/>
                <a:gd name="connsiteY88" fmla="*/ 47880 h 107889"/>
                <a:gd name="connsiteX89" fmla="*/ 88820 w 198727"/>
                <a:gd name="connsiteY89" fmla="*/ 48518 h 107889"/>
                <a:gd name="connsiteX90" fmla="*/ 89459 w 198727"/>
                <a:gd name="connsiteY90" fmla="*/ 49157 h 107889"/>
                <a:gd name="connsiteX91" fmla="*/ 90737 w 198727"/>
                <a:gd name="connsiteY91" fmla="*/ 51072 h 107889"/>
                <a:gd name="connsiteX92" fmla="*/ 91376 w 198727"/>
                <a:gd name="connsiteY92" fmla="*/ 53625 h 107889"/>
                <a:gd name="connsiteX93" fmla="*/ 89459 w 198727"/>
                <a:gd name="connsiteY93" fmla="*/ 58094 h 107889"/>
                <a:gd name="connsiteX94" fmla="*/ 89459 w 198727"/>
                <a:gd name="connsiteY94" fmla="*/ 58094 h 107889"/>
                <a:gd name="connsiteX95" fmla="*/ 89459 w 198727"/>
                <a:gd name="connsiteY95" fmla="*/ 28089 h 107889"/>
                <a:gd name="connsiteX96" fmla="*/ 84986 w 198727"/>
                <a:gd name="connsiteY96" fmla="*/ 30005 h 107889"/>
                <a:gd name="connsiteX97" fmla="*/ 82430 w 198727"/>
                <a:gd name="connsiteY97" fmla="*/ 29366 h 107889"/>
                <a:gd name="connsiteX98" fmla="*/ 80513 w 198727"/>
                <a:gd name="connsiteY98" fmla="*/ 28089 h 107889"/>
                <a:gd name="connsiteX99" fmla="*/ 80513 w 198727"/>
                <a:gd name="connsiteY99" fmla="*/ 19152 h 107889"/>
                <a:gd name="connsiteX100" fmla="*/ 80513 w 198727"/>
                <a:gd name="connsiteY100" fmla="*/ 19152 h 107889"/>
                <a:gd name="connsiteX101" fmla="*/ 82430 w 198727"/>
                <a:gd name="connsiteY101" fmla="*/ 17875 h 107889"/>
                <a:gd name="connsiteX102" fmla="*/ 87542 w 198727"/>
                <a:gd name="connsiteY102" fmla="*/ 17875 h 107889"/>
                <a:gd name="connsiteX103" fmla="*/ 89459 w 198727"/>
                <a:gd name="connsiteY103" fmla="*/ 19152 h 107889"/>
                <a:gd name="connsiteX104" fmla="*/ 90737 w 198727"/>
                <a:gd name="connsiteY104" fmla="*/ 21067 h 107889"/>
                <a:gd name="connsiteX105" fmla="*/ 89459 w 198727"/>
                <a:gd name="connsiteY105" fmla="*/ 28089 h 107889"/>
                <a:gd name="connsiteX106" fmla="*/ 171250 w 198727"/>
                <a:gd name="connsiteY106" fmla="*/ 49157 h 107889"/>
                <a:gd name="connsiteX107" fmla="*/ 173167 w 198727"/>
                <a:gd name="connsiteY107" fmla="*/ 47880 h 107889"/>
                <a:gd name="connsiteX108" fmla="*/ 180196 w 198727"/>
                <a:gd name="connsiteY108" fmla="*/ 49157 h 107889"/>
                <a:gd name="connsiteX109" fmla="*/ 181474 w 198727"/>
                <a:gd name="connsiteY109" fmla="*/ 51072 h 107889"/>
                <a:gd name="connsiteX110" fmla="*/ 182113 w 198727"/>
                <a:gd name="connsiteY110" fmla="*/ 53625 h 107889"/>
                <a:gd name="connsiteX111" fmla="*/ 180196 w 198727"/>
                <a:gd name="connsiteY111" fmla="*/ 58094 h 107889"/>
                <a:gd name="connsiteX112" fmla="*/ 178279 w 198727"/>
                <a:gd name="connsiteY112" fmla="*/ 59371 h 107889"/>
                <a:gd name="connsiteX113" fmla="*/ 175723 w 198727"/>
                <a:gd name="connsiteY113" fmla="*/ 60009 h 107889"/>
                <a:gd name="connsiteX114" fmla="*/ 171250 w 198727"/>
                <a:gd name="connsiteY114" fmla="*/ 58094 h 107889"/>
                <a:gd name="connsiteX115" fmla="*/ 169333 w 198727"/>
                <a:gd name="connsiteY115" fmla="*/ 53625 h 107889"/>
                <a:gd name="connsiteX116" fmla="*/ 171250 w 198727"/>
                <a:gd name="connsiteY116" fmla="*/ 49157 h 107889"/>
                <a:gd name="connsiteX117" fmla="*/ 171250 w 198727"/>
                <a:gd name="connsiteY117" fmla="*/ 49157 h 107889"/>
                <a:gd name="connsiteX118" fmla="*/ 119492 w 198727"/>
                <a:gd name="connsiteY118" fmla="*/ 88737 h 107889"/>
                <a:gd name="connsiteX119" fmla="*/ 112463 w 198727"/>
                <a:gd name="connsiteY119" fmla="*/ 90014 h 107889"/>
                <a:gd name="connsiteX120" fmla="*/ 110546 w 198727"/>
                <a:gd name="connsiteY120" fmla="*/ 88737 h 107889"/>
                <a:gd name="connsiteX121" fmla="*/ 108629 w 198727"/>
                <a:gd name="connsiteY121" fmla="*/ 84269 h 107889"/>
                <a:gd name="connsiteX122" fmla="*/ 109268 w 198727"/>
                <a:gd name="connsiteY122" fmla="*/ 81715 h 107889"/>
                <a:gd name="connsiteX123" fmla="*/ 110546 w 198727"/>
                <a:gd name="connsiteY123" fmla="*/ 79800 h 107889"/>
                <a:gd name="connsiteX124" fmla="*/ 119492 w 198727"/>
                <a:gd name="connsiteY124" fmla="*/ 79800 h 107889"/>
                <a:gd name="connsiteX125" fmla="*/ 120770 w 198727"/>
                <a:gd name="connsiteY125" fmla="*/ 81715 h 107889"/>
                <a:gd name="connsiteX126" fmla="*/ 121409 w 198727"/>
                <a:gd name="connsiteY126" fmla="*/ 84269 h 107889"/>
                <a:gd name="connsiteX127" fmla="*/ 119492 w 198727"/>
                <a:gd name="connsiteY127" fmla="*/ 88737 h 107889"/>
                <a:gd name="connsiteX128" fmla="*/ 119492 w 198727"/>
                <a:gd name="connsiteY128" fmla="*/ 88737 h 107889"/>
                <a:gd name="connsiteX129" fmla="*/ 108629 w 198727"/>
                <a:gd name="connsiteY129" fmla="*/ 53625 h 107889"/>
                <a:gd name="connsiteX130" fmla="*/ 109268 w 198727"/>
                <a:gd name="connsiteY130" fmla="*/ 51072 h 107889"/>
                <a:gd name="connsiteX131" fmla="*/ 112463 w 198727"/>
                <a:gd name="connsiteY131" fmla="*/ 47880 h 107889"/>
                <a:gd name="connsiteX132" fmla="*/ 116297 w 198727"/>
                <a:gd name="connsiteY132" fmla="*/ 47880 h 107889"/>
                <a:gd name="connsiteX133" fmla="*/ 117575 w 198727"/>
                <a:gd name="connsiteY133" fmla="*/ 47880 h 107889"/>
                <a:gd name="connsiteX134" fmla="*/ 118853 w 198727"/>
                <a:gd name="connsiteY134" fmla="*/ 48518 h 107889"/>
                <a:gd name="connsiteX135" fmla="*/ 119492 w 198727"/>
                <a:gd name="connsiteY135" fmla="*/ 49157 h 107889"/>
                <a:gd name="connsiteX136" fmla="*/ 120770 w 198727"/>
                <a:gd name="connsiteY136" fmla="*/ 51072 h 107889"/>
                <a:gd name="connsiteX137" fmla="*/ 121409 w 198727"/>
                <a:gd name="connsiteY137" fmla="*/ 53625 h 107889"/>
                <a:gd name="connsiteX138" fmla="*/ 119492 w 198727"/>
                <a:gd name="connsiteY138" fmla="*/ 58094 h 107889"/>
                <a:gd name="connsiteX139" fmla="*/ 110546 w 198727"/>
                <a:gd name="connsiteY139" fmla="*/ 58094 h 107889"/>
                <a:gd name="connsiteX140" fmla="*/ 108629 w 198727"/>
                <a:gd name="connsiteY140" fmla="*/ 53625 h 107889"/>
                <a:gd name="connsiteX141" fmla="*/ 108629 w 198727"/>
                <a:gd name="connsiteY141" fmla="*/ 53625 h 107889"/>
                <a:gd name="connsiteX142" fmla="*/ 120770 w 198727"/>
                <a:gd name="connsiteY142" fmla="*/ 26174 h 107889"/>
                <a:gd name="connsiteX143" fmla="*/ 119492 w 198727"/>
                <a:gd name="connsiteY143" fmla="*/ 28089 h 107889"/>
                <a:gd name="connsiteX144" fmla="*/ 117575 w 198727"/>
                <a:gd name="connsiteY144" fmla="*/ 29366 h 107889"/>
                <a:gd name="connsiteX145" fmla="*/ 115019 w 198727"/>
                <a:gd name="connsiteY145" fmla="*/ 30005 h 107889"/>
                <a:gd name="connsiteX146" fmla="*/ 110546 w 198727"/>
                <a:gd name="connsiteY146" fmla="*/ 28089 h 107889"/>
                <a:gd name="connsiteX147" fmla="*/ 109268 w 198727"/>
                <a:gd name="connsiteY147" fmla="*/ 26174 h 107889"/>
                <a:gd name="connsiteX148" fmla="*/ 108629 w 198727"/>
                <a:gd name="connsiteY148" fmla="*/ 23621 h 107889"/>
                <a:gd name="connsiteX149" fmla="*/ 110546 w 198727"/>
                <a:gd name="connsiteY149" fmla="*/ 19152 h 107889"/>
                <a:gd name="connsiteX150" fmla="*/ 112463 w 198727"/>
                <a:gd name="connsiteY150" fmla="*/ 17875 h 107889"/>
                <a:gd name="connsiteX151" fmla="*/ 117575 w 198727"/>
                <a:gd name="connsiteY151" fmla="*/ 17875 h 107889"/>
                <a:gd name="connsiteX152" fmla="*/ 119492 w 198727"/>
                <a:gd name="connsiteY152" fmla="*/ 19152 h 107889"/>
                <a:gd name="connsiteX153" fmla="*/ 121409 w 198727"/>
                <a:gd name="connsiteY153" fmla="*/ 23621 h 107889"/>
                <a:gd name="connsiteX154" fmla="*/ 120770 w 198727"/>
                <a:gd name="connsiteY154" fmla="*/ 26174 h 107889"/>
                <a:gd name="connsiteX155" fmla="*/ 120770 w 198727"/>
                <a:gd name="connsiteY155" fmla="*/ 26174 h 107889"/>
                <a:gd name="connsiteX156" fmla="*/ 150164 w 198727"/>
                <a:gd name="connsiteY156" fmla="*/ 88737 h 107889"/>
                <a:gd name="connsiteX157" fmla="*/ 141218 w 198727"/>
                <a:gd name="connsiteY157" fmla="*/ 88737 h 107889"/>
                <a:gd name="connsiteX158" fmla="*/ 139301 w 198727"/>
                <a:gd name="connsiteY158" fmla="*/ 84269 h 107889"/>
                <a:gd name="connsiteX159" fmla="*/ 145691 w 198727"/>
                <a:gd name="connsiteY159" fmla="*/ 77885 h 107889"/>
                <a:gd name="connsiteX160" fmla="*/ 152081 w 198727"/>
                <a:gd name="connsiteY160" fmla="*/ 84269 h 107889"/>
                <a:gd name="connsiteX161" fmla="*/ 150164 w 198727"/>
                <a:gd name="connsiteY161" fmla="*/ 88737 h 107889"/>
                <a:gd name="connsiteX162" fmla="*/ 150164 w 198727"/>
                <a:gd name="connsiteY162" fmla="*/ 88737 h 107889"/>
                <a:gd name="connsiteX163" fmla="*/ 150164 w 198727"/>
                <a:gd name="connsiteY163" fmla="*/ 58094 h 107889"/>
                <a:gd name="connsiteX164" fmla="*/ 141218 w 198727"/>
                <a:gd name="connsiteY164" fmla="*/ 58094 h 107889"/>
                <a:gd name="connsiteX165" fmla="*/ 139301 w 198727"/>
                <a:gd name="connsiteY165" fmla="*/ 53625 h 107889"/>
                <a:gd name="connsiteX166" fmla="*/ 139940 w 198727"/>
                <a:gd name="connsiteY166" fmla="*/ 51072 h 107889"/>
                <a:gd name="connsiteX167" fmla="*/ 141218 w 198727"/>
                <a:gd name="connsiteY167" fmla="*/ 49157 h 107889"/>
                <a:gd name="connsiteX168" fmla="*/ 143135 w 198727"/>
                <a:gd name="connsiteY168" fmla="*/ 47880 h 107889"/>
                <a:gd name="connsiteX169" fmla="*/ 148247 w 198727"/>
                <a:gd name="connsiteY169" fmla="*/ 47880 h 107889"/>
                <a:gd name="connsiteX170" fmla="*/ 150164 w 198727"/>
                <a:gd name="connsiteY170" fmla="*/ 49157 h 107889"/>
                <a:gd name="connsiteX171" fmla="*/ 152081 w 198727"/>
                <a:gd name="connsiteY171" fmla="*/ 53625 h 107889"/>
                <a:gd name="connsiteX172" fmla="*/ 150164 w 198727"/>
                <a:gd name="connsiteY172" fmla="*/ 58094 h 107889"/>
                <a:gd name="connsiteX173" fmla="*/ 150164 w 198727"/>
                <a:gd name="connsiteY173" fmla="*/ 58094 h 107889"/>
                <a:gd name="connsiteX174" fmla="*/ 150164 w 198727"/>
                <a:gd name="connsiteY174" fmla="*/ 28089 h 107889"/>
                <a:gd name="connsiteX175" fmla="*/ 145691 w 198727"/>
                <a:gd name="connsiteY175" fmla="*/ 30005 h 107889"/>
                <a:gd name="connsiteX176" fmla="*/ 141218 w 198727"/>
                <a:gd name="connsiteY176" fmla="*/ 28089 h 107889"/>
                <a:gd name="connsiteX177" fmla="*/ 141218 w 198727"/>
                <a:gd name="connsiteY177" fmla="*/ 19152 h 107889"/>
                <a:gd name="connsiteX178" fmla="*/ 141218 w 198727"/>
                <a:gd name="connsiteY178" fmla="*/ 19152 h 107889"/>
                <a:gd name="connsiteX179" fmla="*/ 143135 w 198727"/>
                <a:gd name="connsiteY179" fmla="*/ 17875 h 107889"/>
                <a:gd name="connsiteX180" fmla="*/ 150164 w 198727"/>
                <a:gd name="connsiteY180" fmla="*/ 19152 h 107889"/>
                <a:gd name="connsiteX181" fmla="*/ 151442 w 198727"/>
                <a:gd name="connsiteY181" fmla="*/ 21067 h 107889"/>
                <a:gd name="connsiteX182" fmla="*/ 150164 w 198727"/>
                <a:gd name="connsiteY182" fmla="*/ 28089 h 107889"/>
                <a:gd name="connsiteX183" fmla="*/ 150164 w 198727"/>
                <a:gd name="connsiteY183" fmla="*/ 28089 h 107889"/>
                <a:gd name="connsiteX184" fmla="*/ 180196 w 198727"/>
                <a:gd name="connsiteY184" fmla="*/ 88737 h 107889"/>
                <a:gd name="connsiteX185" fmla="*/ 171250 w 198727"/>
                <a:gd name="connsiteY185" fmla="*/ 88737 h 107889"/>
                <a:gd name="connsiteX186" fmla="*/ 169333 w 198727"/>
                <a:gd name="connsiteY186" fmla="*/ 84269 h 107889"/>
                <a:gd name="connsiteX187" fmla="*/ 169972 w 198727"/>
                <a:gd name="connsiteY187" fmla="*/ 81715 h 107889"/>
                <a:gd name="connsiteX188" fmla="*/ 171250 w 198727"/>
                <a:gd name="connsiteY188" fmla="*/ 79800 h 107889"/>
                <a:gd name="connsiteX189" fmla="*/ 171889 w 198727"/>
                <a:gd name="connsiteY189" fmla="*/ 79161 h 107889"/>
                <a:gd name="connsiteX190" fmla="*/ 173167 w 198727"/>
                <a:gd name="connsiteY190" fmla="*/ 78523 h 107889"/>
                <a:gd name="connsiteX191" fmla="*/ 174445 w 198727"/>
                <a:gd name="connsiteY191" fmla="*/ 77885 h 107889"/>
                <a:gd name="connsiteX192" fmla="*/ 178279 w 198727"/>
                <a:gd name="connsiteY192" fmla="*/ 78523 h 107889"/>
                <a:gd name="connsiteX193" fmla="*/ 180196 w 198727"/>
                <a:gd name="connsiteY193" fmla="*/ 79800 h 107889"/>
                <a:gd name="connsiteX194" fmla="*/ 181474 w 198727"/>
                <a:gd name="connsiteY194" fmla="*/ 81715 h 107889"/>
                <a:gd name="connsiteX195" fmla="*/ 182113 w 198727"/>
                <a:gd name="connsiteY195" fmla="*/ 84269 h 107889"/>
                <a:gd name="connsiteX196" fmla="*/ 180196 w 198727"/>
                <a:gd name="connsiteY196" fmla="*/ 88737 h 107889"/>
                <a:gd name="connsiteX197" fmla="*/ 180196 w 198727"/>
                <a:gd name="connsiteY197" fmla="*/ 88737 h 107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98727" h="107889">
                  <a:moveTo>
                    <a:pt x="177001" y="15960"/>
                  </a:moveTo>
                  <a:lnTo>
                    <a:pt x="177001" y="0"/>
                  </a:lnTo>
                  <a:lnTo>
                    <a:pt x="23004" y="0"/>
                  </a:lnTo>
                  <a:lnTo>
                    <a:pt x="23004" y="15960"/>
                  </a:lnTo>
                  <a:cubicBezTo>
                    <a:pt x="23004" y="19790"/>
                    <a:pt x="20448" y="22344"/>
                    <a:pt x="16614" y="22344"/>
                  </a:cubicBezTo>
                  <a:lnTo>
                    <a:pt x="0" y="22344"/>
                  </a:lnTo>
                  <a:lnTo>
                    <a:pt x="0" y="107889"/>
                  </a:lnTo>
                  <a:lnTo>
                    <a:pt x="17253" y="107889"/>
                  </a:lnTo>
                  <a:lnTo>
                    <a:pt x="17253" y="84269"/>
                  </a:lnTo>
                  <a:cubicBezTo>
                    <a:pt x="17253" y="80438"/>
                    <a:pt x="19809" y="77885"/>
                    <a:pt x="23643" y="77885"/>
                  </a:cubicBezTo>
                  <a:cubicBezTo>
                    <a:pt x="27477" y="77885"/>
                    <a:pt x="30033" y="80438"/>
                    <a:pt x="30033" y="84269"/>
                  </a:cubicBezTo>
                  <a:lnTo>
                    <a:pt x="30033" y="107889"/>
                  </a:lnTo>
                  <a:lnTo>
                    <a:pt x="198727" y="107889"/>
                  </a:lnTo>
                  <a:lnTo>
                    <a:pt x="198727" y="22344"/>
                  </a:lnTo>
                  <a:lnTo>
                    <a:pt x="182113" y="22344"/>
                  </a:lnTo>
                  <a:cubicBezTo>
                    <a:pt x="179557" y="22344"/>
                    <a:pt x="177001" y="19790"/>
                    <a:pt x="177001" y="15960"/>
                  </a:cubicBezTo>
                  <a:close/>
                  <a:moveTo>
                    <a:pt x="28755" y="58094"/>
                  </a:moveTo>
                  <a:cubicBezTo>
                    <a:pt x="27477" y="59371"/>
                    <a:pt x="26199" y="60009"/>
                    <a:pt x="24282" y="60009"/>
                  </a:cubicBezTo>
                  <a:cubicBezTo>
                    <a:pt x="22365" y="60009"/>
                    <a:pt x="21087" y="59371"/>
                    <a:pt x="19809" y="58094"/>
                  </a:cubicBezTo>
                  <a:cubicBezTo>
                    <a:pt x="18531" y="56817"/>
                    <a:pt x="17892" y="55541"/>
                    <a:pt x="17892" y="53625"/>
                  </a:cubicBezTo>
                  <a:cubicBezTo>
                    <a:pt x="17892" y="52987"/>
                    <a:pt x="17892" y="51710"/>
                    <a:pt x="18531" y="51072"/>
                  </a:cubicBezTo>
                  <a:cubicBezTo>
                    <a:pt x="19170" y="49795"/>
                    <a:pt x="20448" y="48518"/>
                    <a:pt x="21726" y="47880"/>
                  </a:cubicBezTo>
                  <a:cubicBezTo>
                    <a:pt x="23004" y="47241"/>
                    <a:pt x="24921" y="47241"/>
                    <a:pt x="26838" y="47880"/>
                  </a:cubicBezTo>
                  <a:cubicBezTo>
                    <a:pt x="27477" y="47880"/>
                    <a:pt x="28116" y="48518"/>
                    <a:pt x="28755" y="49157"/>
                  </a:cubicBezTo>
                  <a:cubicBezTo>
                    <a:pt x="30033" y="50433"/>
                    <a:pt x="30672" y="51710"/>
                    <a:pt x="30672" y="53625"/>
                  </a:cubicBezTo>
                  <a:cubicBezTo>
                    <a:pt x="30672" y="55541"/>
                    <a:pt x="30033" y="57456"/>
                    <a:pt x="28755" y="58094"/>
                  </a:cubicBezTo>
                  <a:close/>
                  <a:moveTo>
                    <a:pt x="58788" y="88737"/>
                  </a:moveTo>
                  <a:cubicBezTo>
                    <a:pt x="57509" y="90014"/>
                    <a:pt x="56231" y="90653"/>
                    <a:pt x="54314" y="90653"/>
                  </a:cubicBezTo>
                  <a:cubicBezTo>
                    <a:pt x="52398" y="90653"/>
                    <a:pt x="51119" y="90014"/>
                    <a:pt x="49842" y="88737"/>
                  </a:cubicBezTo>
                  <a:cubicBezTo>
                    <a:pt x="48564" y="87461"/>
                    <a:pt x="47925" y="86184"/>
                    <a:pt x="47925" y="84269"/>
                  </a:cubicBezTo>
                  <a:cubicBezTo>
                    <a:pt x="47925" y="83630"/>
                    <a:pt x="47925" y="82353"/>
                    <a:pt x="48564" y="81715"/>
                  </a:cubicBezTo>
                  <a:cubicBezTo>
                    <a:pt x="48564" y="81077"/>
                    <a:pt x="49203" y="80438"/>
                    <a:pt x="49842" y="79800"/>
                  </a:cubicBezTo>
                  <a:cubicBezTo>
                    <a:pt x="49842" y="79161"/>
                    <a:pt x="50481" y="79161"/>
                    <a:pt x="50481" y="79161"/>
                  </a:cubicBezTo>
                  <a:cubicBezTo>
                    <a:pt x="51119" y="79161"/>
                    <a:pt x="51119" y="78523"/>
                    <a:pt x="51759" y="78523"/>
                  </a:cubicBezTo>
                  <a:cubicBezTo>
                    <a:pt x="52398" y="78523"/>
                    <a:pt x="52398" y="78523"/>
                    <a:pt x="53036" y="77885"/>
                  </a:cubicBezTo>
                  <a:cubicBezTo>
                    <a:pt x="54314" y="77885"/>
                    <a:pt x="55593" y="77885"/>
                    <a:pt x="56871" y="78523"/>
                  </a:cubicBezTo>
                  <a:cubicBezTo>
                    <a:pt x="57509" y="79161"/>
                    <a:pt x="58148" y="79161"/>
                    <a:pt x="58788" y="79800"/>
                  </a:cubicBezTo>
                  <a:cubicBezTo>
                    <a:pt x="60065" y="81077"/>
                    <a:pt x="60704" y="82353"/>
                    <a:pt x="60704" y="84269"/>
                  </a:cubicBezTo>
                  <a:cubicBezTo>
                    <a:pt x="60704" y="85545"/>
                    <a:pt x="60065" y="87461"/>
                    <a:pt x="58788" y="88737"/>
                  </a:cubicBezTo>
                  <a:close/>
                  <a:moveTo>
                    <a:pt x="58788" y="58094"/>
                  </a:moveTo>
                  <a:cubicBezTo>
                    <a:pt x="57509" y="59371"/>
                    <a:pt x="56231" y="60009"/>
                    <a:pt x="54314" y="60009"/>
                  </a:cubicBezTo>
                  <a:cubicBezTo>
                    <a:pt x="50481" y="60009"/>
                    <a:pt x="47925" y="57456"/>
                    <a:pt x="47925" y="53625"/>
                  </a:cubicBezTo>
                  <a:cubicBezTo>
                    <a:pt x="47925" y="52987"/>
                    <a:pt x="47925" y="51710"/>
                    <a:pt x="48564" y="51072"/>
                  </a:cubicBezTo>
                  <a:cubicBezTo>
                    <a:pt x="48564" y="50433"/>
                    <a:pt x="49203" y="49795"/>
                    <a:pt x="49842" y="49157"/>
                  </a:cubicBezTo>
                  <a:cubicBezTo>
                    <a:pt x="49842" y="48518"/>
                    <a:pt x="50481" y="48518"/>
                    <a:pt x="50481" y="48518"/>
                  </a:cubicBezTo>
                  <a:lnTo>
                    <a:pt x="51759" y="47880"/>
                  </a:lnTo>
                  <a:cubicBezTo>
                    <a:pt x="52398" y="47880"/>
                    <a:pt x="52398" y="47880"/>
                    <a:pt x="53036" y="47880"/>
                  </a:cubicBezTo>
                  <a:cubicBezTo>
                    <a:pt x="54314" y="47880"/>
                    <a:pt x="55593" y="47880"/>
                    <a:pt x="56871" y="47880"/>
                  </a:cubicBezTo>
                  <a:cubicBezTo>
                    <a:pt x="57509" y="47880"/>
                    <a:pt x="58148" y="48518"/>
                    <a:pt x="58788" y="49157"/>
                  </a:cubicBezTo>
                  <a:cubicBezTo>
                    <a:pt x="59426" y="49795"/>
                    <a:pt x="60065" y="50433"/>
                    <a:pt x="60065" y="51072"/>
                  </a:cubicBezTo>
                  <a:cubicBezTo>
                    <a:pt x="60065" y="51710"/>
                    <a:pt x="60704" y="52349"/>
                    <a:pt x="60704" y="53625"/>
                  </a:cubicBezTo>
                  <a:cubicBezTo>
                    <a:pt x="60704" y="55541"/>
                    <a:pt x="60065" y="57456"/>
                    <a:pt x="58788" y="58094"/>
                  </a:cubicBezTo>
                  <a:close/>
                  <a:moveTo>
                    <a:pt x="58788" y="28089"/>
                  </a:moveTo>
                  <a:cubicBezTo>
                    <a:pt x="57509" y="29366"/>
                    <a:pt x="56231" y="30005"/>
                    <a:pt x="54314" y="30005"/>
                  </a:cubicBezTo>
                  <a:cubicBezTo>
                    <a:pt x="50481" y="30005"/>
                    <a:pt x="47925" y="26813"/>
                    <a:pt x="47925" y="23621"/>
                  </a:cubicBezTo>
                  <a:cubicBezTo>
                    <a:pt x="47925" y="22982"/>
                    <a:pt x="47925" y="21706"/>
                    <a:pt x="48564" y="21067"/>
                  </a:cubicBezTo>
                  <a:cubicBezTo>
                    <a:pt x="49203" y="20429"/>
                    <a:pt x="49203" y="19790"/>
                    <a:pt x="49842" y="19152"/>
                  </a:cubicBezTo>
                  <a:cubicBezTo>
                    <a:pt x="49842" y="19152"/>
                    <a:pt x="50481" y="18514"/>
                    <a:pt x="50481" y="18514"/>
                  </a:cubicBezTo>
                  <a:cubicBezTo>
                    <a:pt x="51119" y="18514"/>
                    <a:pt x="51119" y="17875"/>
                    <a:pt x="51759" y="17875"/>
                  </a:cubicBezTo>
                  <a:cubicBezTo>
                    <a:pt x="52398" y="17875"/>
                    <a:pt x="52398" y="17875"/>
                    <a:pt x="53036" y="17237"/>
                  </a:cubicBezTo>
                  <a:cubicBezTo>
                    <a:pt x="54954" y="16598"/>
                    <a:pt x="57509" y="17237"/>
                    <a:pt x="58788" y="19152"/>
                  </a:cubicBezTo>
                  <a:cubicBezTo>
                    <a:pt x="59426" y="19790"/>
                    <a:pt x="60065" y="20429"/>
                    <a:pt x="60065" y="21067"/>
                  </a:cubicBezTo>
                  <a:cubicBezTo>
                    <a:pt x="61343" y="23621"/>
                    <a:pt x="60704" y="26174"/>
                    <a:pt x="58788" y="28089"/>
                  </a:cubicBezTo>
                  <a:lnTo>
                    <a:pt x="58788" y="28089"/>
                  </a:lnTo>
                  <a:close/>
                  <a:moveTo>
                    <a:pt x="89459" y="88737"/>
                  </a:moveTo>
                  <a:cubicBezTo>
                    <a:pt x="88820" y="89376"/>
                    <a:pt x="88181" y="90014"/>
                    <a:pt x="87542" y="90014"/>
                  </a:cubicBezTo>
                  <a:cubicBezTo>
                    <a:pt x="86903" y="90014"/>
                    <a:pt x="85625" y="90653"/>
                    <a:pt x="84986" y="90653"/>
                  </a:cubicBezTo>
                  <a:cubicBezTo>
                    <a:pt x="81152" y="90653"/>
                    <a:pt x="78596" y="88099"/>
                    <a:pt x="78596" y="84269"/>
                  </a:cubicBezTo>
                  <a:cubicBezTo>
                    <a:pt x="78596" y="82353"/>
                    <a:pt x="79235" y="81077"/>
                    <a:pt x="80513" y="79800"/>
                  </a:cubicBezTo>
                  <a:cubicBezTo>
                    <a:pt x="81152" y="79161"/>
                    <a:pt x="81791" y="78523"/>
                    <a:pt x="82430" y="78523"/>
                  </a:cubicBezTo>
                  <a:cubicBezTo>
                    <a:pt x="83708" y="77885"/>
                    <a:pt x="85625" y="77885"/>
                    <a:pt x="87542" y="78523"/>
                  </a:cubicBezTo>
                  <a:cubicBezTo>
                    <a:pt x="88181" y="78523"/>
                    <a:pt x="88181" y="79161"/>
                    <a:pt x="88820" y="79161"/>
                  </a:cubicBezTo>
                  <a:lnTo>
                    <a:pt x="89459" y="79800"/>
                  </a:lnTo>
                  <a:cubicBezTo>
                    <a:pt x="90737" y="81077"/>
                    <a:pt x="91376" y="82353"/>
                    <a:pt x="91376" y="84269"/>
                  </a:cubicBezTo>
                  <a:cubicBezTo>
                    <a:pt x="91376" y="85545"/>
                    <a:pt x="90737" y="87461"/>
                    <a:pt x="89459" y="88737"/>
                  </a:cubicBezTo>
                  <a:lnTo>
                    <a:pt x="89459" y="88737"/>
                  </a:lnTo>
                  <a:close/>
                  <a:moveTo>
                    <a:pt x="89459" y="58094"/>
                  </a:moveTo>
                  <a:cubicBezTo>
                    <a:pt x="88820" y="58733"/>
                    <a:pt x="88181" y="59371"/>
                    <a:pt x="87542" y="59371"/>
                  </a:cubicBezTo>
                  <a:cubicBezTo>
                    <a:pt x="86903" y="60009"/>
                    <a:pt x="85625" y="60009"/>
                    <a:pt x="84986" y="60009"/>
                  </a:cubicBezTo>
                  <a:cubicBezTo>
                    <a:pt x="84347" y="60009"/>
                    <a:pt x="83069" y="60009"/>
                    <a:pt x="82430" y="59371"/>
                  </a:cubicBezTo>
                  <a:cubicBezTo>
                    <a:pt x="81791" y="58733"/>
                    <a:pt x="81152" y="58733"/>
                    <a:pt x="80513" y="58094"/>
                  </a:cubicBezTo>
                  <a:cubicBezTo>
                    <a:pt x="79235" y="56817"/>
                    <a:pt x="78596" y="55541"/>
                    <a:pt x="78596" y="53625"/>
                  </a:cubicBezTo>
                  <a:cubicBezTo>
                    <a:pt x="78596" y="52987"/>
                    <a:pt x="78596" y="51710"/>
                    <a:pt x="79235" y="51072"/>
                  </a:cubicBezTo>
                  <a:cubicBezTo>
                    <a:pt x="79235" y="50433"/>
                    <a:pt x="79874" y="49795"/>
                    <a:pt x="80513" y="49157"/>
                  </a:cubicBezTo>
                  <a:cubicBezTo>
                    <a:pt x="80513" y="48518"/>
                    <a:pt x="81152" y="48518"/>
                    <a:pt x="81152" y="48518"/>
                  </a:cubicBezTo>
                  <a:lnTo>
                    <a:pt x="82430" y="47880"/>
                  </a:lnTo>
                  <a:cubicBezTo>
                    <a:pt x="83069" y="47880"/>
                    <a:pt x="83069" y="47880"/>
                    <a:pt x="83708" y="47880"/>
                  </a:cubicBezTo>
                  <a:cubicBezTo>
                    <a:pt x="84347" y="47880"/>
                    <a:pt x="85625" y="47880"/>
                    <a:pt x="86264" y="47880"/>
                  </a:cubicBezTo>
                  <a:cubicBezTo>
                    <a:pt x="86903" y="47880"/>
                    <a:pt x="86903" y="47880"/>
                    <a:pt x="87542" y="47880"/>
                  </a:cubicBezTo>
                  <a:lnTo>
                    <a:pt x="88820" y="48518"/>
                  </a:lnTo>
                  <a:lnTo>
                    <a:pt x="89459" y="49157"/>
                  </a:lnTo>
                  <a:cubicBezTo>
                    <a:pt x="90098" y="49795"/>
                    <a:pt x="90737" y="50433"/>
                    <a:pt x="90737" y="51072"/>
                  </a:cubicBezTo>
                  <a:cubicBezTo>
                    <a:pt x="90737" y="51710"/>
                    <a:pt x="91376" y="52349"/>
                    <a:pt x="91376" y="53625"/>
                  </a:cubicBezTo>
                  <a:cubicBezTo>
                    <a:pt x="91376" y="55541"/>
                    <a:pt x="90737" y="57456"/>
                    <a:pt x="89459" y="58094"/>
                  </a:cubicBezTo>
                  <a:lnTo>
                    <a:pt x="89459" y="58094"/>
                  </a:lnTo>
                  <a:close/>
                  <a:moveTo>
                    <a:pt x="89459" y="28089"/>
                  </a:moveTo>
                  <a:cubicBezTo>
                    <a:pt x="88181" y="29366"/>
                    <a:pt x="86903" y="30005"/>
                    <a:pt x="84986" y="30005"/>
                  </a:cubicBezTo>
                  <a:cubicBezTo>
                    <a:pt x="84347" y="30005"/>
                    <a:pt x="83069" y="30005"/>
                    <a:pt x="82430" y="29366"/>
                  </a:cubicBezTo>
                  <a:cubicBezTo>
                    <a:pt x="81791" y="29366"/>
                    <a:pt x="81152" y="28728"/>
                    <a:pt x="80513" y="28089"/>
                  </a:cubicBezTo>
                  <a:cubicBezTo>
                    <a:pt x="77957" y="25536"/>
                    <a:pt x="77957" y="21706"/>
                    <a:pt x="80513" y="19152"/>
                  </a:cubicBezTo>
                  <a:cubicBezTo>
                    <a:pt x="80513" y="19152"/>
                    <a:pt x="80513" y="19152"/>
                    <a:pt x="80513" y="19152"/>
                  </a:cubicBezTo>
                  <a:cubicBezTo>
                    <a:pt x="81152" y="18514"/>
                    <a:pt x="81791" y="17875"/>
                    <a:pt x="82430" y="17875"/>
                  </a:cubicBezTo>
                  <a:cubicBezTo>
                    <a:pt x="83708" y="17237"/>
                    <a:pt x="85625" y="17237"/>
                    <a:pt x="87542" y="17875"/>
                  </a:cubicBezTo>
                  <a:cubicBezTo>
                    <a:pt x="88181" y="17875"/>
                    <a:pt x="88820" y="18514"/>
                    <a:pt x="89459" y="19152"/>
                  </a:cubicBezTo>
                  <a:cubicBezTo>
                    <a:pt x="90098" y="19790"/>
                    <a:pt x="90737" y="20429"/>
                    <a:pt x="90737" y="21067"/>
                  </a:cubicBezTo>
                  <a:cubicBezTo>
                    <a:pt x="92015" y="23621"/>
                    <a:pt x="91376" y="26174"/>
                    <a:pt x="89459" y="28089"/>
                  </a:cubicBezTo>
                  <a:close/>
                  <a:moveTo>
                    <a:pt x="171250" y="49157"/>
                  </a:moveTo>
                  <a:cubicBezTo>
                    <a:pt x="171889" y="48518"/>
                    <a:pt x="172528" y="47880"/>
                    <a:pt x="173167" y="47880"/>
                  </a:cubicBezTo>
                  <a:cubicBezTo>
                    <a:pt x="175723" y="46603"/>
                    <a:pt x="178279" y="47241"/>
                    <a:pt x="180196" y="49157"/>
                  </a:cubicBezTo>
                  <a:cubicBezTo>
                    <a:pt x="180835" y="49795"/>
                    <a:pt x="181474" y="50433"/>
                    <a:pt x="181474" y="51072"/>
                  </a:cubicBezTo>
                  <a:cubicBezTo>
                    <a:pt x="181474" y="51710"/>
                    <a:pt x="182113" y="52349"/>
                    <a:pt x="182113" y="53625"/>
                  </a:cubicBezTo>
                  <a:cubicBezTo>
                    <a:pt x="182113" y="55541"/>
                    <a:pt x="181474" y="56817"/>
                    <a:pt x="180196" y="58094"/>
                  </a:cubicBezTo>
                  <a:cubicBezTo>
                    <a:pt x="179557" y="58733"/>
                    <a:pt x="178918" y="59371"/>
                    <a:pt x="178279" y="59371"/>
                  </a:cubicBezTo>
                  <a:cubicBezTo>
                    <a:pt x="177640" y="60009"/>
                    <a:pt x="177001" y="60009"/>
                    <a:pt x="175723" y="60009"/>
                  </a:cubicBezTo>
                  <a:cubicBezTo>
                    <a:pt x="173806" y="60009"/>
                    <a:pt x="172528" y="59371"/>
                    <a:pt x="171250" y="58094"/>
                  </a:cubicBezTo>
                  <a:cubicBezTo>
                    <a:pt x="169972" y="56817"/>
                    <a:pt x="169333" y="55541"/>
                    <a:pt x="169333" y="53625"/>
                  </a:cubicBezTo>
                  <a:cubicBezTo>
                    <a:pt x="169333" y="52349"/>
                    <a:pt x="169972" y="50433"/>
                    <a:pt x="171250" y="49157"/>
                  </a:cubicBezTo>
                  <a:lnTo>
                    <a:pt x="171250" y="49157"/>
                  </a:lnTo>
                  <a:close/>
                  <a:moveTo>
                    <a:pt x="119492" y="88737"/>
                  </a:moveTo>
                  <a:cubicBezTo>
                    <a:pt x="117575" y="90653"/>
                    <a:pt x="115019" y="91291"/>
                    <a:pt x="112463" y="90014"/>
                  </a:cubicBezTo>
                  <a:cubicBezTo>
                    <a:pt x="111824" y="89376"/>
                    <a:pt x="111185" y="89376"/>
                    <a:pt x="110546" y="88737"/>
                  </a:cubicBezTo>
                  <a:cubicBezTo>
                    <a:pt x="109268" y="87461"/>
                    <a:pt x="108629" y="86184"/>
                    <a:pt x="108629" y="84269"/>
                  </a:cubicBezTo>
                  <a:cubicBezTo>
                    <a:pt x="108629" y="83630"/>
                    <a:pt x="108629" y="82353"/>
                    <a:pt x="109268" y="81715"/>
                  </a:cubicBezTo>
                  <a:cubicBezTo>
                    <a:pt x="109268" y="81077"/>
                    <a:pt x="109907" y="80438"/>
                    <a:pt x="110546" y="79800"/>
                  </a:cubicBezTo>
                  <a:cubicBezTo>
                    <a:pt x="113102" y="77246"/>
                    <a:pt x="116936" y="77246"/>
                    <a:pt x="119492" y="79800"/>
                  </a:cubicBezTo>
                  <a:cubicBezTo>
                    <a:pt x="120131" y="80438"/>
                    <a:pt x="120770" y="81077"/>
                    <a:pt x="120770" y="81715"/>
                  </a:cubicBezTo>
                  <a:cubicBezTo>
                    <a:pt x="121409" y="82353"/>
                    <a:pt x="121409" y="82992"/>
                    <a:pt x="121409" y="84269"/>
                  </a:cubicBezTo>
                  <a:cubicBezTo>
                    <a:pt x="121409" y="85545"/>
                    <a:pt x="120770" y="87461"/>
                    <a:pt x="119492" y="88737"/>
                  </a:cubicBezTo>
                  <a:lnTo>
                    <a:pt x="119492" y="88737"/>
                  </a:lnTo>
                  <a:close/>
                  <a:moveTo>
                    <a:pt x="108629" y="53625"/>
                  </a:moveTo>
                  <a:cubicBezTo>
                    <a:pt x="108629" y="52987"/>
                    <a:pt x="108629" y="51710"/>
                    <a:pt x="109268" y="51072"/>
                  </a:cubicBezTo>
                  <a:cubicBezTo>
                    <a:pt x="109907" y="49795"/>
                    <a:pt x="111185" y="48518"/>
                    <a:pt x="112463" y="47880"/>
                  </a:cubicBezTo>
                  <a:cubicBezTo>
                    <a:pt x="113741" y="47241"/>
                    <a:pt x="115019" y="47241"/>
                    <a:pt x="116297" y="47880"/>
                  </a:cubicBezTo>
                  <a:cubicBezTo>
                    <a:pt x="116936" y="47880"/>
                    <a:pt x="116936" y="47880"/>
                    <a:pt x="117575" y="47880"/>
                  </a:cubicBezTo>
                  <a:lnTo>
                    <a:pt x="118853" y="48518"/>
                  </a:lnTo>
                  <a:cubicBezTo>
                    <a:pt x="119492" y="48518"/>
                    <a:pt x="119492" y="49157"/>
                    <a:pt x="119492" y="49157"/>
                  </a:cubicBezTo>
                  <a:cubicBezTo>
                    <a:pt x="120131" y="49795"/>
                    <a:pt x="120770" y="50433"/>
                    <a:pt x="120770" y="51072"/>
                  </a:cubicBezTo>
                  <a:cubicBezTo>
                    <a:pt x="120770" y="51710"/>
                    <a:pt x="121409" y="52349"/>
                    <a:pt x="121409" y="53625"/>
                  </a:cubicBezTo>
                  <a:cubicBezTo>
                    <a:pt x="121409" y="55541"/>
                    <a:pt x="120770" y="56817"/>
                    <a:pt x="119492" y="58094"/>
                  </a:cubicBezTo>
                  <a:cubicBezTo>
                    <a:pt x="116936" y="60648"/>
                    <a:pt x="113102" y="60648"/>
                    <a:pt x="110546" y="58094"/>
                  </a:cubicBezTo>
                  <a:cubicBezTo>
                    <a:pt x="109268" y="57456"/>
                    <a:pt x="108629" y="55541"/>
                    <a:pt x="108629" y="53625"/>
                  </a:cubicBezTo>
                  <a:lnTo>
                    <a:pt x="108629" y="53625"/>
                  </a:lnTo>
                  <a:close/>
                  <a:moveTo>
                    <a:pt x="120770" y="26174"/>
                  </a:moveTo>
                  <a:cubicBezTo>
                    <a:pt x="120131" y="26813"/>
                    <a:pt x="120131" y="27451"/>
                    <a:pt x="119492" y="28089"/>
                  </a:cubicBezTo>
                  <a:cubicBezTo>
                    <a:pt x="118853" y="28728"/>
                    <a:pt x="118214" y="29366"/>
                    <a:pt x="117575" y="29366"/>
                  </a:cubicBezTo>
                  <a:cubicBezTo>
                    <a:pt x="116936" y="30005"/>
                    <a:pt x="116297" y="30005"/>
                    <a:pt x="115019" y="30005"/>
                  </a:cubicBezTo>
                  <a:cubicBezTo>
                    <a:pt x="113102" y="30005"/>
                    <a:pt x="111824" y="29366"/>
                    <a:pt x="110546" y="28089"/>
                  </a:cubicBezTo>
                  <a:cubicBezTo>
                    <a:pt x="109907" y="27451"/>
                    <a:pt x="109268" y="26813"/>
                    <a:pt x="109268" y="26174"/>
                  </a:cubicBezTo>
                  <a:cubicBezTo>
                    <a:pt x="108629" y="25536"/>
                    <a:pt x="108629" y="24897"/>
                    <a:pt x="108629" y="23621"/>
                  </a:cubicBezTo>
                  <a:cubicBezTo>
                    <a:pt x="108629" y="21706"/>
                    <a:pt x="109268" y="20429"/>
                    <a:pt x="110546" y="19152"/>
                  </a:cubicBezTo>
                  <a:cubicBezTo>
                    <a:pt x="111185" y="18514"/>
                    <a:pt x="111824" y="17875"/>
                    <a:pt x="112463" y="17875"/>
                  </a:cubicBezTo>
                  <a:cubicBezTo>
                    <a:pt x="113741" y="17237"/>
                    <a:pt x="115658" y="17237"/>
                    <a:pt x="117575" y="17875"/>
                  </a:cubicBezTo>
                  <a:cubicBezTo>
                    <a:pt x="118214" y="17875"/>
                    <a:pt x="118853" y="18514"/>
                    <a:pt x="119492" y="19152"/>
                  </a:cubicBezTo>
                  <a:cubicBezTo>
                    <a:pt x="120770" y="20429"/>
                    <a:pt x="121409" y="21706"/>
                    <a:pt x="121409" y="23621"/>
                  </a:cubicBezTo>
                  <a:cubicBezTo>
                    <a:pt x="121409" y="24259"/>
                    <a:pt x="121409" y="24897"/>
                    <a:pt x="120770" y="26174"/>
                  </a:cubicBezTo>
                  <a:lnTo>
                    <a:pt x="120770" y="26174"/>
                  </a:lnTo>
                  <a:close/>
                  <a:moveTo>
                    <a:pt x="150164" y="88737"/>
                  </a:moveTo>
                  <a:cubicBezTo>
                    <a:pt x="147608" y="91291"/>
                    <a:pt x="143774" y="91291"/>
                    <a:pt x="141218" y="88737"/>
                  </a:cubicBezTo>
                  <a:cubicBezTo>
                    <a:pt x="139940" y="87461"/>
                    <a:pt x="139301" y="86184"/>
                    <a:pt x="139301" y="84269"/>
                  </a:cubicBezTo>
                  <a:cubicBezTo>
                    <a:pt x="139301" y="80438"/>
                    <a:pt x="141857" y="77885"/>
                    <a:pt x="145691" y="77885"/>
                  </a:cubicBezTo>
                  <a:cubicBezTo>
                    <a:pt x="149525" y="77885"/>
                    <a:pt x="152081" y="80438"/>
                    <a:pt x="152081" y="84269"/>
                  </a:cubicBezTo>
                  <a:cubicBezTo>
                    <a:pt x="152081" y="85545"/>
                    <a:pt x="151442" y="87461"/>
                    <a:pt x="150164" y="88737"/>
                  </a:cubicBezTo>
                  <a:lnTo>
                    <a:pt x="150164" y="88737"/>
                  </a:lnTo>
                  <a:close/>
                  <a:moveTo>
                    <a:pt x="150164" y="58094"/>
                  </a:moveTo>
                  <a:cubicBezTo>
                    <a:pt x="147608" y="60648"/>
                    <a:pt x="143774" y="60648"/>
                    <a:pt x="141218" y="58094"/>
                  </a:cubicBezTo>
                  <a:cubicBezTo>
                    <a:pt x="139940" y="56817"/>
                    <a:pt x="139301" y="55541"/>
                    <a:pt x="139301" y="53625"/>
                  </a:cubicBezTo>
                  <a:cubicBezTo>
                    <a:pt x="139301" y="52987"/>
                    <a:pt x="139301" y="51710"/>
                    <a:pt x="139940" y="51072"/>
                  </a:cubicBezTo>
                  <a:cubicBezTo>
                    <a:pt x="140579" y="50433"/>
                    <a:pt x="140579" y="49795"/>
                    <a:pt x="141218" y="49157"/>
                  </a:cubicBezTo>
                  <a:cubicBezTo>
                    <a:pt x="141857" y="48518"/>
                    <a:pt x="142496" y="47880"/>
                    <a:pt x="143135" y="47880"/>
                  </a:cubicBezTo>
                  <a:cubicBezTo>
                    <a:pt x="144413" y="47241"/>
                    <a:pt x="146330" y="47241"/>
                    <a:pt x="148247" y="47880"/>
                  </a:cubicBezTo>
                  <a:cubicBezTo>
                    <a:pt x="148886" y="47880"/>
                    <a:pt x="149525" y="48518"/>
                    <a:pt x="150164" y="49157"/>
                  </a:cubicBezTo>
                  <a:cubicBezTo>
                    <a:pt x="151442" y="50433"/>
                    <a:pt x="152081" y="51710"/>
                    <a:pt x="152081" y="53625"/>
                  </a:cubicBezTo>
                  <a:cubicBezTo>
                    <a:pt x="152081" y="55541"/>
                    <a:pt x="151442" y="57456"/>
                    <a:pt x="150164" y="58094"/>
                  </a:cubicBezTo>
                  <a:lnTo>
                    <a:pt x="150164" y="58094"/>
                  </a:lnTo>
                  <a:close/>
                  <a:moveTo>
                    <a:pt x="150164" y="28089"/>
                  </a:moveTo>
                  <a:cubicBezTo>
                    <a:pt x="148886" y="29366"/>
                    <a:pt x="147608" y="30005"/>
                    <a:pt x="145691" y="30005"/>
                  </a:cubicBezTo>
                  <a:cubicBezTo>
                    <a:pt x="143774" y="30005"/>
                    <a:pt x="142496" y="29366"/>
                    <a:pt x="141218" y="28089"/>
                  </a:cubicBezTo>
                  <a:cubicBezTo>
                    <a:pt x="138662" y="25536"/>
                    <a:pt x="138662" y="21706"/>
                    <a:pt x="141218" y="19152"/>
                  </a:cubicBezTo>
                  <a:cubicBezTo>
                    <a:pt x="141218" y="19152"/>
                    <a:pt x="141218" y="19152"/>
                    <a:pt x="141218" y="19152"/>
                  </a:cubicBezTo>
                  <a:cubicBezTo>
                    <a:pt x="141857" y="18514"/>
                    <a:pt x="142496" y="17875"/>
                    <a:pt x="143135" y="17875"/>
                  </a:cubicBezTo>
                  <a:cubicBezTo>
                    <a:pt x="145691" y="16598"/>
                    <a:pt x="148247" y="17237"/>
                    <a:pt x="150164" y="19152"/>
                  </a:cubicBezTo>
                  <a:cubicBezTo>
                    <a:pt x="150803" y="19790"/>
                    <a:pt x="151442" y="20429"/>
                    <a:pt x="151442" y="21067"/>
                  </a:cubicBezTo>
                  <a:cubicBezTo>
                    <a:pt x="152081" y="23621"/>
                    <a:pt x="151442" y="26174"/>
                    <a:pt x="150164" y="28089"/>
                  </a:cubicBezTo>
                  <a:lnTo>
                    <a:pt x="150164" y="28089"/>
                  </a:lnTo>
                  <a:close/>
                  <a:moveTo>
                    <a:pt x="180196" y="88737"/>
                  </a:moveTo>
                  <a:cubicBezTo>
                    <a:pt x="177640" y="91291"/>
                    <a:pt x="173806" y="91291"/>
                    <a:pt x="171250" y="88737"/>
                  </a:cubicBezTo>
                  <a:cubicBezTo>
                    <a:pt x="169972" y="87461"/>
                    <a:pt x="169333" y="86184"/>
                    <a:pt x="169333" y="84269"/>
                  </a:cubicBezTo>
                  <a:cubicBezTo>
                    <a:pt x="169333" y="83630"/>
                    <a:pt x="169333" y="82353"/>
                    <a:pt x="169972" y="81715"/>
                  </a:cubicBezTo>
                  <a:cubicBezTo>
                    <a:pt x="170611" y="81077"/>
                    <a:pt x="170611" y="80438"/>
                    <a:pt x="171250" y="79800"/>
                  </a:cubicBezTo>
                  <a:cubicBezTo>
                    <a:pt x="171250" y="79800"/>
                    <a:pt x="171889" y="79161"/>
                    <a:pt x="171889" y="79161"/>
                  </a:cubicBezTo>
                  <a:cubicBezTo>
                    <a:pt x="172528" y="79161"/>
                    <a:pt x="172528" y="78523"/>
                    <a:pt x="173167" y="78523"/>
                  </a:cubicBezTo>
                  <a:cubicBezTo>
                    <a:pt x="173806" y="78523"/>
                    <a:pt x="173806" y="78523"/>
                    <a:pt x="174445" y="77885"/>
                  </a:cubicBezTo>
                  <a:cubicBezTo>
                    <a:pt x="175723" y="77885"/>
                    <a:pt x="177001" y="77885"/>
                    <a:pt x="178279" y="78523"/>
                  </a:cubicBezTo>
                  <a:cubicBezTo>
                    <a:pt x="178918" y="79161"/>
                    <a:pt x="179557" y="79161"/>
                    <a:pt x="180196" y="79800"/>
                  </a:cubicBezTo>
                  <a:cubicBezTo>
                    <a:pt x="180835" y="80438"/>
                    <a:pt x="181474" y="81077"/>
                    <a:pt x="181474" y="81715"/>
                  </a:cubicBezTo>
                  <a:cubicBezTo>
                    <a:pt x="182113" y="82353"/>
                    <a:pt x="182113" y="82992"/>
                    <a:pt x="182113" y="84269"/>
                  </a:cubicBezTo>
                  <a:cubicBezTo>
                    <a:pt x="182113" y="85545"/>
                    <a:pt x="181474" y="87461"/>
                    <a:pt x="180196" y="88737"/>
                  </a:cubicBezTo>
                  <a:lnTo>
                    <a:pt x="180196" y="8873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 name="Graphic 4">
              <a:extLst>
                <a:ext uri="{FF2B5EF4-FFF2-40B4-BE49-F238E27FC236}">
                  <a16:creationId xmlns:a16="http://schemas.microsoft.com/office/drawing/2014/main" id="{5C0B1A07-456D-FD5C-399D-E2ACF9D9FCB8}"/>
                </a:ext>
              </a:extLst>
            </p:cNvPr>
            <p:cNvSpPr/>
            <p:nvPr/>
          </p:nvSpPr>
          <p:spPr>
            <a:xfrm>
              <a:off x="1092679" y="1969621"/>
              <a:ext cx="32588" cy="17236"/>
            </a:xfrm>
            <a:custGeom>
              <a:avLst/>
              <a:gdLst>
                <a:gd name="connsiteX0" fmla="*/ 0 w 32588"/>
                <a:gd name="connsiteY0" fmla="*/ 0 h 17236"/>
                <a:gd name="connsiteX1" fmla="*/ 32589 w 32588"/>
                <a:gd name="connsiteY1" fmla="*/ 0 h 17236"/>
                <a:gd name="connsiteX2" fmla="*/ 32589 w 32588"/>
                <a:gd name="connsiteY2" fmla="*/ 17237 h 17236"/>
                <a:gd name="connsiteX3" fmla="*/ 0 w 32588"/>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2588" h="17236">
                  <a:moveTo>
                    <a:pt x="0" y="0"/>
                  </a:moveTo>
                  <a:lnTo>
                    <a:pt x="32589" y="0"/>
                  </a:lnTo>
                  <a:lnTo>
                    <a:pt x="32589" y="17237"/>
                  </a:lnTo>
                  <a:lnTo>
                    <a:pt x="0" y="1723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 name="Graphic 4">
              <a:extLst>
                <a:ext uri="{FF2B5EF4-FFF2-40B4-BE49-F238E27FC236}">
                  <a16:creationId xmlns:a16="http://schemas.microsoft.com/office/drawing/2014/main" id="{02374144-C43C-7E96-FACA-22679888CE83}"/>
                </a:ext>
              </a:extLst>
            </p:cNvPr>
            <p:cNvSpPr/>
            <p:nvPr/>
          </p:nvSpPr>
          <p:spPr>
            <a:xfrm>
              <a:off x="905454" y="1885990"/>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293298 w 362309"/>
                <a:gd name="connsiteY6" fmla="*/ 258551 h 362610"/>
                <a:gd name="connsiteX7" fmla="*/ 286908 w 362309"/>
                <a:gd name="connsiteY7" fmla="*/ 264935 h 362610"/>
                <a:gd name="connsiteX8" fmla="*/ 75401 w 362309"/>
                <a:gd name="connsiteY8" fmla="*/ 264935 h 362610"/>
                <a:gd name="connsiteX9" fmla="*/ 69011 w 362309"/>
                <a:gd name="connsiteY9" fmla="*/ 258551 h 362610"/>
                <a:gd name="connsiteX10" fmla="*/ 69011 w 362309"/>
                <a:gd name="connsiteY10" fmla="*/ 160238 h 362610"/>
                <a:gd name="connsiteX11" fmla="*/ 75401 w 362309"/>
                <a:gd name="connsiteY11" fmla="*/ 153854 h 362610"/>
                <a:gd name="connsiteX12" fmla="*/ 92015 w 362309"/>
                <a:gd name="connsiteY12" fmla="*/ 153854 h 362610"/>
                <a:gd name="connsiteX13" fmla="*/ 92015 w 362309"/>
                <a:gd name="connsiteY13" fmla="*/ 137894 h 362610"/>
                <a:gd name="connsiteX14" fmla="*/ 98405 w 362309"/>
                <a:gd name="connsiteY14" fmla="*/ 131510 h 362610"/>
                <a:gd name="connsiteX15" fmla="*/ 175084 w 362309"/>
                <a:gd name="connsiteY15" fmla="*/ 131510 h 362610"/>
                <a:gd name="connsiteX16" fmla="*/ 175084 w 362309"/>
                <a:gd name="connsiteY16" fmla="*/ 77246 h 362610"/>
                <a:gd name="connsiteX17" fmla="*/ 181474 w 362309"/>
                <a:gd name="connsiteY17" fmla="*/ 70862 h 362610"/>
                <a:gd name="connsiteX18" fmla="*/ 226843 w 362309"/>
                <a:gd name="connsiteY18" fmla="*/ 70862 h 362610"/>
                <a:gd name="connsiteX19" fmla="*/ 233233 w 362309"/>
                <a:gd name="connsiteY19" fmla="*/ 77246 h 362610"/>
                <a:gd name="connsiteX20" fmla="*/ 233233 w 362309"/>
                <a:gd name="connsiteY20" fmla="*/ 107251 h 362610"/>
                <a:gd name="connsiteX21" fmla="*/ 226843 w 362309"/>
                <a:gd name="connsiteY21" fmla="*/ 113635 h 362610"/>
                <a:gd name="connsiteX22" fmla="*/ 187225 w 362309"/>
                <a:gd name="connsiteY22" fmla="*/ 113635 h 362610"/>
                <a:gd name="connsiteX23" fmla="*/ 187225 w 362309"/>
                <a:gd name="connsiteY23" fmla="*/ 131510 h 362610"/>
                <a:gd name="connsiteX24" fmla="*/ 263904 w 362309"/>
                <a:gd name="connsiteY24" fmla="*/ 131510 h 362610"/>
                <a:gd name="connsiteX25" fmla="*/ 270294 w 362309"/>
                <a:gd name="connsiteY25" fmla="*/ 137894 h 362610"/>
                <a:gd name="connsiteX26" fmla="*/ 270294 w 362309"/>
                <a:gd name="connsiteY26" fmla="*/ 153854 h 362610"/>
                <a:gd name="connsiteX27" fmla="*/ 286908 w 362309"/>
                <a:gd name="connsiteY27" fmla="*/ 153854 h 362610"/>
                <a:gd name="connsiteX28" fmla="*/ 293298 w 362309"/>
                <a:gd name="connsiteY28" fmla="*/ 160238 h 362610"/>
                <a:gd name="connsiteX29" fmla="*/ 293298 w 362309"/>
                <a:gd name="connsiteY29" fmla="*/ 258551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2309" y="80438"/>
                    <a:pt x="281157" y="0"/>
                    <a:pt x="180835" y="0"/>
                  </a:cubicBezTo>
                  <a:cubicBezTo>
                    <a:pt x="180835" y="0"/>
                    <a:pt x="180835" y="0"/>
                    <a:pt x="180835" y="0"/>
                  </a:cubicBezTo>
                  <a:close/>
                  <a:moveTo>
                    <a:pt x="293298" y="258551"/>
                  </a:moveTo>
                  <a:cubicBezTo>
                    <a:pt x="293298" y="262382"/>
                    <a:pt x="290742" y="264935"/>
                    <a:pt x="286908" y="264935"/>
                  </a:cubicBezTo>
                  <a:lnTo>
                    <a:pt x="75401" y="264935"/>
                  </a:lnTo>
                  <a:cubicBezTo>
                    <a:pt x="71567" y="264935"/>
                    <a:pt x="69011" y="262382"/>
                    <a:pt x="69011" y="258551"/>
                  </a:cubicBezTo>
                  <a:lnTo>
                    <a:pt x="69011" y="160238"/>
                  </a:lnTo>
                  <a:cubicBezTo>
                    <a:pt x="69011" y="156408"/>
                    <a:pt x="71567" y="153854"/>
                    <a:pt x="75401" y="153854"/>
                  </a:cubicBezTo>
                  <a:lnTo>
                    <a:pt x="92015" y="153854"/>
                  </a:lnTo>
                  <a:lnTo>
                    <a:pt x="92015" y="137894"/>
                  </a:lnTo>
                  <a:cubicBezTo>
                    <a:pt x="92015" y="134064"/>
                    <a:pt x="94571" y="131510"/>
                    <a:pt x="98405" y="131510"/>
                  </a:cubicBezTo>
                  <a:lnTo>
                    <a:pt x="175084" y="131510"/>
                  </a:lnTo>
                  <a:lnTo>
                    <a:pt x="175084" y="77246"/>
                  </a:lnTo>
                  <a:cubicBezTo>
                    <a:pt x="175084" y="73416"/>
                    <a:pt x="177640" y="70862"/>
                    <a:pt x="181474" y="70862"/>
                  </a:cubicBezTo>
                  <a:lnTo>
                    <a:pt x="226843" y="70862"/>
                  </a:lnTo>
                  <a:cubicBezTo>
                    <a:pt x="230677" y="70862"/>
                    <a:pt x="233233" y="73416"/>
                    <a:pt x="233233" y="77246"/>
                  </a:cubicBezTo>
                  <a:lnTo>
                    <a:pt x="233233" y="107251"/>
                  </a:lnTo>
                  <a:cubicBezTo>
                    <a:pt x="233233" y="111081"/>
                    <a:pt x="230677" y="113635"/>
                    <a:pt x="226843" y="113635"/>
                  </a:cubicBezTo>
                  <a:lnTo>
                    <a:pt x="187225" y="113635"/>
                  </a:lnTo>
                  <a:lnTo>
                    <a:pt x="187225" y="131510"/>
                  </a:lnTo>
                  <a:lnTo>
                    <a:pt x="263904" y="131510"/>
                  </a:lnTo>
                  <a:cubicBezTo>
                    <a:pt x="267738" y="131510"/>
                    <a:pt x="270294" y="134064"/>
                    <a:pt x="270294" y="137894"/>
                  </a:cubicBezTo>
                  <a:lnTo>
                    <a:pt x="270294" y="153854"/>
                  </a:lnTo>
                  <a:lnTo>
                    <a:pt x="286908" y="153854"/>
                  </a:lnTo>
                  <a:cubicBezTo>
                    <a:pt x="290742" y="153854"/>
                    <a:pt x="293298" y="156408"/>
                    <a:pt x="293298" y="160238"/>
                  </a:cubicBezTo>
                  <a:lnTo>
                    <a:pt x="293298" y="258551"/>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7" name="TextBox 16">
            <a:extLst>
              <a:ext uri="{FF2B5EF4-FFF2-40B4-BE49-F238E27FC236}">
                <a16:creationId xmlns:a16="http://schemas.microsoft.com/office/drawing/2014/main" id="{9590837A-EB64-59E2-0754-FE307EE2EDC8}"/>
              </a:ext>
            </a:extLst>
          </p:cNvPr>
          <p:cNvSpPr txBox="1"/>
          <p:nvPr/>
        </p:nvSpPr>
        <p:spPr>
          <a:xfrm>
            <a:off x="504853" y="1309096"/>
            <a:ext cx="1026152" cy="2560446"/>
          </a:xfrm>
          <a:prstGeom prst="rect">
            <a:avLst/>
          </a:prstGeom>
          <a:solidFill>
            <a:srgbClr val="0076A8"/>
          </a:solidFill>
          <a:ln w="2997" cap="flat">
            <a:noFill/>
            <a:prstDash val="solid"/>
            <a:miter/>
          </a:ln>
        </p:spPr>
        <p:txBody>
          <a:bodyPr rtlCol="0" anchor="ctr"/>
          <a:lstStyle>
            <a:defPPr>
              <a:defRPr lang="en-US"/>
            </a:defPPr>
            <a:lvl1pPr algn="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prstClr val="white"/>
                </a:solidFill>
                <a:effectLst/>
                <a:uLnTx/>
                <a:uFillTx/>
                <a:latin typeface="Aptos" panose="020B0004020202020204" pitchFamily="34" charset="0"/>
                <a:ea typeface="+mn-ea"/>
                <a:cs typeface="+mn-cs"/>
              </a:rPr>
              <a:t>Power Sector Credentials</a:t>
            </a:r>
          </a:p>
        </p:txBody>
      </p:sp>
      <p:sp>
        <p:nvSpPr>
          <p:cNvPr id="30" name="Title 2">
            <a:extLst>
              <a:ext uri="{FF2B5EF4-FFF2-40B4-BE49-F238E27FC236}">
                <a16:creationId xmlns:a16="http://schemas.microsoft.com/office/drawing/2014/main" id="{BED6981D-7A78-0144-8B48-523FF2B82BD1}"/>
              </a:ext>
            </a:extLst>
          </p:cNvPr>
          <p:cNvSpPr txBox="1">
            <a:spLocks noGrp="1"/>
          </p:cNvSpPr>
          <p:nvPr>
            <p:ph type="title"/>
          </p:nvPr>
        </p:nvSpPr>
        <p:spPr bwMode="gray">
          <a:xfrm>
            <a:off x="501650" y="317500"/>
            <a:ext cx="8504238" cy="333375"/>
          </a:xfrm>
          <a:prstGeom prst="rect">
            <a:avLst/>
          </a:prstGeom>
        </p:spPr>
        <p:txBody>
          <a:bodyPr vert="horz" lIns="0" tIns="0" rIns="0" bIns="0" rtlCol="0" anchor="t" anchorCtr="0">
            <a:noAutofit/>
          </a:bodyPr>
          <a:lstStyle>
            <a:lvl1pPr defTabSz="685800">
              <a:spcBef>
                <a:spcPct val="0"/>
              </a:spcBef>
              <a:buNone/>
              <a:defRPr sz="2400" b="1">
                <a:solidFill>
                  <a:schemeClr val="accent2"/>
                </a:solidFill>
                <a:latin typeface="+mj-lt"/>
                <a:ea typeface="+mj-ea"/>
                <a:cs typeface="Calibri Light" panose="020F0302020204030204" pitchFamily="34" charset="0"/>
              </a:defRPr>
            </a:lvl1pPr>
          </a:lstStyle>
          <a:p>
            <a:r>
              <a:rPr lang="en-US" sz="2100">
                <a:solidFill>
                  <a:schemeClr val="tx1"/>
                </a:solidFill>
                <a:latin typeface="Aptos ExtraBold" panose="020B0004020202020204" pitchFamily="34" charset="0"/>
              </a:rPr>
              <a:t>Key Relevant Credentials </a:t>
            </a:r>
            <a:endParaRPr lang="en-IN" sz="2100">
              <a:solidFill>
                <a:schemeClr val="tx1"/>
              </a:solidFill>
              <a:latin typeface="Aptos ExtraBold" panose="020B0004020202020204" pitchFamily="34" charset="0"/>
            </a:endParaRPr>
          </a:p>
        </p:txBody>
      </p:sp>
      <p:sp>
        <p:nvSpPr>
          <p:cNvPr id="15" name="TextBox 14">
            <a:extLst>
              <a:ext uri="{FF2B5EF4-FFF2-40B4-BE49-F238E27FC236}">
                <a16:creationId xmlns:a16="http://schemas.microsoft.com/office/drawing/2014/main" id="{3BB5F2B0-6122-4C3E-E8FD-328B13477F71}"/>
              </a:ext>
            </a:extLst>
          </p:cNvPr>
          <p:cNvSpPr txBox="1"/>
          <p:nvPr/>
        </p:nvSpPr>
        <p:spPr>
          <a:xfrm>
            <a:off x="516209" y="4170278"/>
            <a:ext cx="1026152" cy="2494933"/>
          </a:xfrm>
          <a:prstGeom prst="rect">
            <a:avLst/>
          </a:prstGeom>
          <a:solidFill>
            <a:srgbClr val="00ABAB"/>
          </a:solidFill>
          <a:ln w="2997" cap="flat">
            <a:noFill/>
            <a:prstDash val="solid"/>
            <a:miter/>
          </a:ln>
        </p:spPr>
        <p:txBody>
          <a:bodyPr rtlCol="0" anchor="ctr"/>
          <a:lstStyle>
            <a:defPPr>
              <a:defRPr lang="en-US"/>
            </a:defPPr>
            <a:lvl1pPr algn="ctr">
              <a:defRPr sz="1600">
                <a:latin typeface="+mj-lt"/>
                <a:ea typeface="华文细黑" panose="02010600040101010101" pitchFamily="2"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50" b="1" i="0" u="none" strike="noStrike" kern="1200" cap="none" spc="0" normalizeH="0" baseline="0" noProof="0">
              <a:ln>
                <a:noFill/>
              </a:ln>
              <a:solidFill>
                <a:prstClr val="white"/>
              </a:solidFill>
              <a:effectLst/>
              <a:uLnTx/>
              <a:uFillTx/>
              <a:latin typeface="Aptos" panose="020B0004020202020204" pitchFamily="34" charset="0"/>
              <a:ea typeface="华文细黑" panose="02010600040101010101" pitchFamily="2"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50" b="1" i="0" u="none" strike="noStrike" kern="1200" cap="none" spc="0" normalizeH="0" baseline="0" noProof="0">
              <a:ln>
                <a:noFill/>
              </a:ln>
              <a:solidFill>
                <a:prstClr val="white"/>
              </a:solidFill>
              <a:effectLst/>
              <a:uLnTx/>
              <a:uFillTx/>
              <a:latin typeface="Aptos" panose="020B0004020202020204" pitchFamily="34" charset="0"/>
              <a:ea typeface="华文细黑" panose="02010600040101010101" pitchFamily="2"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50" b="1" i="0" u="none" strike="noStrike" kern="1200" cap="none" spc="0" normalizeH="0" baseline="0" noProof="0">
              <a:ln>
                <a:noFill/>
              </a:ln>
              <a:solidFill>
                <a:prstClr val="white"/>
              </a:solidFill>
              <a:effectLst/>
              <a:uLnTx/>
              <a:uFillTx/>
              <a:latin typeface="Aptos" panose="020B0004020202020204" pitchFamily="34" charset="0"/>
              <a:ea typeface="华文细黑" panose="02010600040101010101" pitchFamily="2"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prstClr val="white"/>
                </a:solidFill>
                <a:effectLst/>
                <a:uLnTx/>
                <a:uFillTx/>
                <a:latin typeface="Aptos" panose="020B0004020202020204" pitchFamily="34" charset="0"/>
                <a:ea typeface="华文细黑" panose="02010600040101010101" pitchFamily="2" charset="-122"/>
                <a:cs typeface="+mn-cs"/>
              </a:rPr>
              <a:t>IT Sector Credentials </a:t>
            </a:r>
          </a:p>
        </p:txBody>
      </p:sp>
      <p:sp>
        <p:nvSpPr>
          <p:cNvPr id="21" name="TextBox 20">
            <a:extLst>
              <a:ext uri="{FF2B5EF4-FFF2-40B4-BE49-F238E27FC236}">
                <a16:creationId xmlns:a16="http://schemas.microsoft.com/office/drawing/2014/main" id="{3E1F7889-2205-102D-307D-A5668BC031F2}"/>
              </a:ext>
            </a:extLst>
          </p:cNvPr>
          <p:cNvSpPr txBox="1"/>
          <p:nvPr/>
        </p:nvSpPr>
        <p:spPr>
          <a:xfrm>
            <a:off x="1758476" y="1322415"/>
            <a:ext cx="2472002" cy="1189431"/>
          </a:xfrm>
          <a:prstGeom prst="rect">
            <a:avLst/>
          </a:prstGeom>
          <a:noFill/>
          <a:ln w="12700">
            <a:solidFill>
              <a:srgbClr val="007CB0"/>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56D3DA15-7CEE-7571-C9DE-BD15CFD7C52B}"/>
              </a:ext>
            </a:extLst>
          </p:cNvPr>
          <p:cNvSpPr txBox="1"/>
          <p:nvPr/>
        </p:nvSpPr>
        <p:spPr>
          <a:xfrm>
            <a:off x="4345598" y="1331594"/>
            <a:ext cx="2472002" cy="1189431"/>
          </a:xfrm>
          <a:prstGeom prst="rect">
            <a:avLst/>
          </a:prstGeom>
          <a:noFill/>
          <a:ln w="12700">
            <a:solidFill>
              <a:srgbClr val="007CB0"/>
            </a:solidFill>
          </a:ln>
        </p:spPr>
        <p:txBody>
          <a:bodyPr wrap="square" lIns="28401" tIns="0" rIns="28401" bIns="28401"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TextBox 38">
            <a:extLst>
              <a:ext uri="{FF2B5EF4-FFF2-40B4-BE49-F238E27FC236}">
                <a16:creationId xmlns:a16="http://schemas.microsoft.com/office/drawing/2014/main" id="{59262FA8-4BBF-44F4-CE13-A2D7F017C6CF}"/>
              </a:ext>
            </a:extLst>
          </p:cNvPr>
          <p:cNvSpPr txBox="1"/>
          <p:nvPr/>
        </p:nvSpPr>
        <p:spPr>
          <a:xfrm>
            <a:off x="6945596" y="1342611"/>
            <a:ext cx="2472002" cy="1189431"/>
          </a:xfrm>
          <a:prstGeom prst="rect">
            <a:avLst/>
          </a:prstGeom>
          <a:noFill/>
          <a:ln w="12700">
            <a:solidFill>
              <a:srgbClr val="007CB0"/>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48" name="TextBox 47">
            <a:extLst>
              <a:ext uri="{FF2B5EF4-FFF2-40B4-BE49-F238E27FC236}">
                <a16:creationId xmlns:a16="http://schemas.microsoft.com/office/drawing/2014/main" id="{86197144-30B0-4125-97A6-1FDAC35C4E0F}"/>
              </a:ext>
            </a:extLst>
          </p:cNvPr>
          <p:cNvSpPr txBox="1"/>
          <p:nvPr/>
        </p:nvSpPr>
        <p:spPr>
          <a:xfrm>
            <a:off x="9567619" y="1364645"/>
            <a:ext cx="2472002" cy="1189431"/>
          </a:xfrm>
          <a:prstGeom prst="rect">
            <a:avLst/>
          </a:prstGeom>
          <a:noFill/>
          <a:ln w="12700">
            <a:solidFill>
              <a:srgbClr val="007CB0"/>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80" name="TextBox 79">
            <a:extLst>
              <a:ext uri="{FF2B5EF4-FFF2-40B4-BE49-F238E27FC236}">
                <a16:creationId xmlns:a16="http://schemas.microsoft.com/office/drawing/2014/main" id="{92728423-EF73-3956-E759-A92D12B79C48}"/>
              </a:ext>
            </a:extLst>
          </p:cNvPr>
          <p:cNvSpPr txBox="1"/>
          <p:nvPr/>
        </p:nvSpPr>
        <p:spPr>
          <a:xfrm>
            <a:off x="1789689" y="2730738"/>
            <a:ext cx="2472002" cy="1189431"/>
          </a:xfrm>
          <a:prstGeom prst="rect">
            <a:avLst/>
          </a:prstGeom>
          <a:noFill/>
          <a:ln w="12700">
            <a:solidFill>
              <a:schemeClr val="accent4"/>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81" name="TextBox 80">
            <a:extLst>
              <a:ext uri="{FF2B5EF4-FFF2-40B4-BE49-F238E27FC236}">
                <a16:creationId xmlns:a16="http://schemas.microsoft.com/office/drawing/2014/main" id="{CC92FE59-B343-7442-09F6-6FB544CC5D8E}"/>
              </a:ext>
            </a:extLst>
          </p:cNvPr>
          <p:cNvSpPr txBox="1"/>
          <p:nvPr/>
        </p:nvSpPr>
        <p:spPr>
          <a:xfrm>
            <a:off x="4376811" y="2739917"/>
            <a:ext cx="2472002" cy="1189431"/>
          </a:xfrm>
          <a:prstGeom prst="rect">
            <a:avLst/>
          </a:prstGeom>
          <a:noFill/>
          <a:ln w="12700">
            <a:solidFill>
              <a:schemeClr val="accent4"/>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82" name="TextBox 81">
            <a:extLst>
              <a:ext uri="{FF2B5EF4-FFF2-40B4-BE49-F238E27FC236}">
                <a16:creationId xmlns:a16="http://schemas.microsoft.com/office/drawing/2014/main" id="{91A29F7A-AA59-00B8-2288-819085C9361B}"/>
              </a:ext>
            </a:extLst>
          </p:cNvPr>
          <p:cNvSpPr txBox="1"/>
          <p:nvPr/>
        </p:nvSpPr>
        <p:spPr>
          <a:xfrm>
            <a:off x="6976809" y="2750934"/>
            <a:ext cx="2472002" cy="1189431"/>
          </a:xfrm>
          <a:prstGeom prst="rect">
            <a:avLst/>
          </a:prstGeom>
          <a:noFill/>
          <a:ln w="12700">
            <a:solidFill>
              <a:schemeClr val="accent4"/>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85" name="TextBox 84">
            <a:extLst>
              <a:ext uri="{FF2B5EF4-FFF2-40B4-BE49-F238E27FC236}">
                <a16:creationId xmlns:a16="http://schemas.microsoft.com/office/drawing/2014/main" id="{4BC6A50C-EBF3-F029-7FA5-1C30E93C3E75}"/>
              </a:ext>
            </a:extLst>
          </p:cNvPr>
          <p:cNvSpPr txBox="1"/>
          <p:nvPr/>
        </p:nvSpPr>
        <p:spPr>
          <a:xfrm>
            <a:off x="9598832" y="2772968"/>
            <a:ext cx="2472002" cy="1189431"/>
          </a:xfrm>
          <a:prstGeom prst="rect">
            <a:avLst/>
          </a:prstGeom>
          <a:noFill/>
          <a:ln w="12700">
            <a:solidFill>
              <a:schemeClr val="accent4"/>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89" name="TextBox 88">
            <a:extLst>
              <a:ext uri="{FF2B5EF4-FFF2-40B4-BE49-F238E27FC236}">
                <a16:creationId xmlns:a16="http://schemas.microsoft.com/office/drawing/2014/main" id="{80C9DF4E-0B1F-B60E-3E06-B922BF086E3B}"/>
              </a:ext>
            </a:extLst>
          </p:cNvPr>
          <p:cNvSpPr txBox="1"/>
          <p:nvPr/>
        </p:nvSpPr>
        <p:spPr>
          <a:xfrm>
            <a:off x="4385990" y="4137227"/>
            <a:ext cx="2472002" cy="1189431"/>
          </a:xfrm>
          <a:prstGeom prst="rect">
            <a:avLst/>
          </a:prstGeom>
          <a:noFill/>
          <a:ln w="12700">
            <a:solidFill>
              <a:srgbClr val="00ABAB"/>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92" name="TextBox 91">
            <a:extLst>
              <a:ext uri="{FF2B5EF4-FFF2-40B4-BE49-F238E27FC236}">
                <a16:creationId xmlns:a16="http://schemas.microsoft.com/office/drawing/2014/main" id="{E1A876A8-AE77-0348-C359-97F6FED37815}"/>
              </a:ext>
            </a:extLst>
          </p:cNvPr>
          <p:cNvSpPr txBox="1"/>
          <p:nvPr/>
        </p:nvSpPr>
        <p:spPr>
          <a:xfrm>
            <a:off x="9608011" y="4170278"/>
            <a:ext cx="2472002" cy="1189431"/>
          </a:xfrm>
          <a:prstGeom prst="rect">
            <a:avLst/>
          </a:prstGeom>
          <a:noFill/>
          <a:ln w="12700">
            <a:solidFill>
              <a:srgbClr val="00ABAB"/>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93" name="TextBox 92">
            <a:extLst>
              <a:ext uri="{FF2B5EF4-FFF2-40B4-BE49-F238E27FC236}">
                <a16:creationId xmlns:a16="http://schemas.microsoft.com/office/drawing/2014/main" id="{A67EC1C7-718E-8D83-4A0A-4B6E6B215CFF}"/>
              </a:ext>
            </a:extLst>
          </p:cNvPr>
          <p:cNvSpPr txBox="1"/>
          <p:nvPr/>
        </p:nvSpPr>
        <p:spPr>
          <a:xfrm>
            <a:off x="1797030" y="5470267"/>
            <a:ext cx="2472002" cy="1189431"/>
          </a:xfrm>
          <a:prstGeom prst="rect">
            <a:avLst/>
          </a:prstGeom>
          <a:noFill/>
          <a:ln w="12700">
            <a:solidFill>
              <a:srgbClr val="86BC25"/>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96" name="TextBox 95">
            <a:extLst>
              <a:ext uri="{FF2B5EF4-FFF2-40B4-BE49-F238E27FC236}">
                <a16:creationId xmlns:a16="http://schemas.microsoft.com/office/drawing/2014/main" id="{29F983BB-6E23-2E84-8CDA-E6CDB4A07227}"/>
              </a:ext>
            </a:extLst>
          </p:cNvPr>
          <p:cNvSpPr txBox="1"/>
          <p:nvPr/>
        </p:nvSpPr>
        <p:spPr>
          <a:xfrm>
            <a:off x="4384152" y="5479446"/>
            <a:ext cx="2472002" cy="1189431"/>
          </a:xfrm>
          <a:prstGeom prst="rect">
            <a:avLst/>
          </a:prstGeom>
          <a:noFill/>
          <a:ln w="12700">
            <a:solidFill>
              <a:srgbClr val="86BC25"/>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98" name="TextBox 97">
            <a:extLst>
              <a:ext uri="{FF2B5EF4-FFF2-40B4-BE49-F238E27FC236}">
                <a16:creationId xmlns:a16="http://schemas.microsoft.com/office/drawing/2014/main" id="{277AC2A0-1045-9E3C-CDCC-AA8DAD34152A}"/>
              </a:ext>
            </a:extLst>
          </p:cNvPr>
          <p:cNvSpPr txBox="1"/>
          <p:nvPr/>
        </p:nvSpPr>
        <p:spPr>
          <a:xfrm>
            <a:off x="6984150" y="5490463"/>
            <a:ext cx="2472002" cy="1189431"/>
          </a:xfrm>
          <a:prstGeom prst="rect">
            <a:avLst/>
          </a:prstGeom>
          <a:noFill/>
          <a:ln w="12700">
            <a:solidFill>
              <a:srgbClr val="86BC25"/>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99" name="TextBox 98">
            <a:extLst>
              <a:ext uri="{FF2B5EF4-FFF2-40B4-BE49-F238E27FC236}">
                <a16:creationId xmlns:a16="http://schemas.microsoft.com/office/drawing/2014/main" id="{FBB26349-C4C3-86B6-D287-0D2152777170}"/>
              </a:ext>
            </a:extLst>
          </p:cNvPr>
          <p:cNvSpPr txBox="1"/>
          <p:nvPr/>
        </p:nvSpPr>
        <p:spPr>
          <a:xfrm>
            <a:off x="9606173" y="5512497"/>
            <a:ext cx="2472002" cy="1189431"/>
          </a:xfrm>
          <a:prstGeom prst="rect">
            <a:avLst/>
          </a:prstGeom>
          <a:noFill/>
          <a:ln w="12700">
            <a:solidFill>
              <a:srgbClr val="86BC25"/>
            </a:solidFill>
          </a:ln>
        </p:spPr>
        <p:txBody>
          <a:bodyPr wrap="square" lIns="28401" tIns="0" rIns="28401" bIns="28401" rtlCol="0">
            <a:no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785437" rtl="0" eaLnBrk="1" fontAlgn="auto" latinLnBrk="0" hangingPunct="1">
              <a:lnSpc>
                <a:spcPct val="100000"/>
              </a:lnSpc>
              <a:spcBef>
                <a:spcPts val="514"/>
              </a:spcBef>
              <a:spcAft>
                <a:spcPts val="0"/>
              </a:spcAft>
              <a:buClrTx/>
              <a:buSzPct val="100000"/>
              <a:buFontTx/>
              <a:buNone/>
              <a:tabLst/>
              <a:defRPr/>
            </a:pPr>
            <a:endParaRPr kumimoji="0" lang="en-US" altLang="zh-CN" sz="923"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100" name="TextBox 99">
            <a:extLst>
              <a:ext uri="{FF2B5EF4-FFF2-40B4-BE49-F238E27FC236}">
                <a16:creationId xmlns:a16="http://schemas.microsoft.com/office/drawing/2014/main" id="{512FA7E0-1000-6AC2-D178-6C901DCAF8B7}"/>
              </a:ext>
            </a:extLst>
          </p:cNvPr>
          <p:cNvSpPr txBox="1"/>
          <p:nvPr/>
        </p:nvSpPr>
        <p:spPr>
          <a:xfrm>
            <a:off x="2994477" y="1742193"/>
            <a:ext cx="113397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PMU for RDSS, Ministry of Power </a:t>
            </a:r>
            <a:endParaRPr kumimoji="0" lang="en-US" sz="1200" b="0" i="0" u="none" strike="noStrike" kern="1200" cap="none" spc="0" normalizeH="0" baseline="0" noProof="0">
              <a:ln>
                <a:noFill/>
              </a:ln>
              <a:solidFill>
                <a:srgbClr val="313131"/>
              </a:solidFill>
              <a:effectLst/>
              <a:uLnTx/>
              <a:uFillTx/>
              <a:latin typeface="Aptos" panose="020B0004020202020204" pitchFamily="34" charset="0"/>
              <a:ea typeface="+mn-ea"/>
              <a:cs typeface="+mn-cs"/>
            </a:endParaRPr>
          </a:p>
        </p:txBody>
      </p:sp>
      <p:sp>
        <p:nvSpPr>
          <p:cNvPr id="102" name="TextBox 101">
            <a:extLst>
              <a:ext uri="{FF2B5EF4-FFF2-40B4-BE49-F238E27FC236}">
                <a16:creationId xmlns:a16="http://schemas.microsoft.com/office/drawing/2014/main" id="{A6FEBF0D-5E2C-3A32-05E9-94ECC1788FFD}"/>
              </a:ext>
            </a:extLst>
          </p:cNvPr>
          <p:cNvSpPr txBox="1"/>
          <p:nvPr/>
        </p:nvSpPr>
        <p:spPr>
          <a:xfrm>
            <a:off x="5535501" y="1626820"/>
            <a:ext cx="133907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PMU Support to MNRE for PM-Surya Ghar Yojana</a:t>
            </a:r>
          </a:p>
        </p:txBody>
      </p:sp>
      <p:grpSp>
        <p:nvGrpSpPr>
          <p:cNvPr id="2" name="Group 192">
            <a:extLst>
              <a:ext uri="{FF2B5EF4-FFF2-40B4-BE49-F238E27FC236}">
                <a16:creationId xmlns:a16="http://schemas.microsoft.com/office/drawing/2014/main" id="{AD31FD12-5FB2-5825-5379-051FE3830AC7}"/>
              </a:ext>
            </a:extLst>
          </p:cNvPr>
          <p:cNvGrpSpPr>
            <a:grpSpLocks noChangeAspect="1"/>
          </p:cNvGrpSpPr>
          <p:nvPr/>
        </p:nvGrpSpPr>
        <p:grpSpPr bwMode="auto">
          <a:xfrm>
            <a:off x="718338" y="1646059"/>
            <a:ext cx="610760" cy="610760"/>
            <a:chOff x="378" y="713"/>
            <a:chExt cx="340" cy="340"/>
          </a:xfrm>
          <a:solidFill>
            <a:srgbClr val="FFFFFF"/>
          </a:solidFill>
          <a:effectLst/>
        </p:grpSpPr>
        <p:sp>
          <p:nvSpPr>
            <p:cNvPr id="107" name="Freeform 193">
              <a:extLst>
                <a:ext uri="{FF2B5EF4-FFF2-40B4-BE49-F238E27FC236}">
                  <a16:creationId xmlns:a16="http://schemas.microsoft.com/office/drawing/2014/main" id="{260E907E-BDD2-43D6-83F3-3072E02C675A}"/>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576" tIns="33789" rIns="67576" bIns="33789"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0" name="Freeform 194">
              <a:extLst>
                <a:ext uri="{FF2B5EF4-FFF2-40B4-BE49-F238E27FC236}">
                  <a16:creationId xmlns:a16="http://schemas.microsoft.com/office/drawing/2014/main" id="{DD9B0847-93A7-B02C-4AA4-EED124D7F18E}"/>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576" tIns="33789" rIns="67576" bIns="33789"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29" name="Graphic 4">
            <a:extLst>
              <a:ext uri="{FF2B5EF4-FFF2-40B4-BE49-F238E27FC236}">
                <a16:creationId xmlns:a16="http://schemas.microsoft.com/office/drawing/2014/main" id="{24AEEB12-7BC3-573C-3DF0-0459D7282593}"/>
              </a:ext>
            </a:extLst>
          </p:cNvPr>
          <p:cNvGrpSpPr>
            <a:grpSpLocks noChangeAspect="1"/>
          </p:cNvGrpSpPr>
          <p:nvPr/>
        </p:nvGrpSpPr>
        <p:grpSpPr>
          <a:xfrm>
            <a:off x="710256" y="4570226"/>
            <a:ext cx="610760" cy="610760"/>
            <a:chOff x="1515054" y="2371173"/>
            <a:chExt cx="362309" cy="362610"/>
          </a:xfrm>
          <a:solidFill>
            <a:srgbClr val="FFFFFF"/>
          </a:solidFill>
          <a:effectLst/>
        </p:grpSpPr>
        <p:sp>
          <p:nvSpPr>
            <p:cNvPr id="130" name="Graphic 4">
              <a:extLst>
                <a:ext uri="{FF2B5EF4-FFF2-40B4-BE49-F238E27FC236}">
                  <a16:creationId xmlns:a16="http://schemas.microsoft.com/office/drawing/2014/main" id="{2BCB35A7-E2FD-CBD2-A244-ED5584BF89AD}"/>
                </a:ext>
              </a:extLst>
            </p:cNvPr>
            <p:cNvSpPr/>
            <p:nvPr/>
          </p:nvSpPr>
          <p:spPr>
            <a:xfrm>
              <a:off x="15150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9204 h 362610"/>
                <a:gd name="connsiteX7" fmla="*/ 12780 w 362309"/>
                <a:gd name="connsiteY7" fmla="*/ 180667 h 362610"/>
                <a:gd name="connsiteX8" fmla="*/ 181474 w 362309"/>
                <a:gd name="connsiteY8" fmla="*/ 12130 h 362610"/>
                <a:gd name="connsiteX9" fmla="*/ 349529 w 362309"/>
                <a:gd name="connsiteY9" fmla="*/ 180667 h 362610"/>
                <a:gd name="connsiteX10" fmla="*/ 349529 w 362309"/>
                <a:gd name="connsiteY10" fmla="*/ 180667 h 362610"/>
                <a:gd name="connsiteX11" fmla="*/ 180835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1077"/>
                    <a:pt x="280518" y="0"/>
                    <a:pt x="180835" y="0"/>
                  </a:cubicBezTo>
                  <a:lnTo>
                    <a:pt x="180835" y="0"/>
                  </a:lnTo>
                  <a:close/>
                  <a:moveTo>
                    <a:pt x="180835" y="349204"/>
                  </a:moveTo>
                  <a:cubicBezTo>
                    <a:pt x="87542" y="349204"/>
                    <a:pt x="12780" y="273873"/>
                    <a:pt x="12780" y="180667"/>
                  </a:cubicBezTo>
                  <a:cubicBezTo>
                    <a:pt x="12780" y="87461"/>
                    <a:pt x="88181" y="12130"/>
                    <a:pt x="181474" y="12130"/>
                  </a:cubicBezTo>
                  <a:cubicBezTo>
                    <a:pt x="274767" y="12130"/>
                    <a:pt x="349529" y="87461"/>
                    <a:pt x="349529" y="180667"/>
                  </a:cubicBezTo>
                  <a:cubicBezTo>
                    <a:pt x="349529" y="180667"/>
                    <a:pt x="349529" y="180667"/>
                    <a:pt x="349529" y="180667"/>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1" name="Graphic 4">
              <a:extLst>
                <a:ext uri="{FF2B5EF4-FFF2-40B4-BE49-F238E27FC236}">
                  <a16:creationId xmlns:a16="http://schemas.microsoft.com/office/drawing/2014/main" id="{2D2ED1EA-EB4C-E570-7E75-610A49D04970}"/>
                </a:ext>
              </a:extLst>
            </p:cNvPr>
            <p:cNvSpPr/>
            <p:nvPr/>
          </p:nvSpPr>
          <p:spPr>
            <a:xfrm>
              <a:off x="1588538" y="2444589"/>
              <a:ext cx="214701" cy="214501"/>
            </a:xfrm>
            <a:custGeom>
              <a:avLst/>
              <a:gdLst>
                <a:gd name="connsiteX0" fmla="*/ 208312 w 214701"/>
                <a:gd name="connsiteY0" fmla="*/ 84907 h 214501"/>
                <a:gd name="connsiteX1" fmla="*/ 214702 w 214701"/>
                <a:gd name="connsiteY1" fmla="*/ 78523 h 214501"/>
                <a:gd name="connsiteX2" fmla="*/ 208312 w 214701"/>
                <a:gd name="connsiteY2" fmla="*/ 72139 h 214501"/>
                <a:gd name="connsiteX3" fmla="*/ 185947 w 214701"/>
                <a:gd name="connsiteY3" fmla="*/ 72139 h 214501"/>
                <a:gd name="connsiteX4" fmla="*/ 185947 w 214701"/>
                <a:gd name="connsiteY4" fmla="*/ 35112 h 214501"/>
                <a:gd name="connsiteX5" fmla="*/ 179557 w 214701"/>
                <a:gd name="connsiteY5" fmla="*/ 28728 h 214501"/>
                <a:gd name="connsiteX6" fmla="*/ 142496 w 214701"/>
                <a:gd name="connsiteY6" fmla="*/ 28728 h 214501"/>
                <a:gd name="connsiteX7" fmla="*/ 142496 w 214701"/>
                <a:gd name="connsiteY7" fmla="*/ 6384 h 214501"/>
                <a:gd name="connsiteX8" fmla="*/ 136106 w 214701"/>
                <a:gd name="connsiteY8" fmla="*/ 0 h 214501"/>
                <a:gd name="connsiteX9" fmla="*/ 129716 w 214701"/>
                <a:gd name="connsiteY9" fmla="*/ 6384 h 214501"/>
                <a:gd name="connsiteX10" fmla="*/ 129716 w 214701"/>
                <a:gd name="connsiteY10" fmla="*/ 28728 h 214501"/>
                <a:gd name="connsiteX11" fmla="*/ 113741 w 214701"/>
                <a:gd name="connsiteY11" fmla="*/ 28728 h 214501"/>
                <a:gd name="connsiteX12" fmla="*/ 113741 w 214701"/>
                <a:gd name="connsiteY12" fmla="*/ 6384 h 214501"/>
                <a:gd name="connsiteX13" fmla="*/ 107351 w 214701"/>
                <a:gd name="connsiteY13" fmla="*/ 0 h 214501"/>
                <a:gd name="connsiteX14" fmla="*/ 100961 w 214701"/>
                <a:gd name="connsiteY14" fmla="*/ 6384 h 214501"/>
                <a:gd name="connsiteX15" fmla="*/ 100961 w 214701"/>
                <a:gd name="connsiteY15" fmla="*/ 28728 h 214501"/>
                <a:gd name="connsiteX16" fmla="*/ 84986 w 214701"/>
                <a:gd name="connsiteY16" fmla="*/ 28728 h 214501"/>
                <a:gd name="connsiteX17" fmla="*/ 84986 w 214701"/>
                <a:gd name="connsiteY17" fmla="*/ 6384 h 214501"/>
                <a:gd name="connsiteX18" fmla="*/ 78596 w 214701"/>
                <a:gd name="connsiteY18" fmla="*/ 0 h 214501"/>
                <a:gd name="connsiteX19" fmla="*/ 72206 w 214701"/>
                <a:gd name="connsiteY19" fmla="*/ 6384 h 214501"/>
                <a:gd name="connsiteX20" fmla="*/ 72206 w 214701"/>
                <a:gd name="connsiteY20" fmla="*/ 28728 h 214501"/>
                <a:gd name="connsiteX21" fmla="*/ 35145 w 214701"/>
                <a:gd name="connsiteY21" fmla="*/ 28728 h 214501"/>
                <a:gd name="connsiteX22" fmla="*/ 28755 w 214701"/>
                <a:gd name="connsiteY22" fmla="*/ 35112 h 214501"/>
                <a:gd name="connsiteX23" fmla="*/ 28755 w 214701"/>
                <a:gd name="connsiteY23" fmla="*/ 72139 h 214501"/>
                <a:gd name="connsiteX24" fmla="*/ 6390 w 214701"/>
                <a:gd name="connsiteY24" fmla="*/ 72139 h 214501"/>
                <a:gd name="connsiteX25" fmla="*/ 0 w 214701"/>
                <a:gd name="connsiteY25" fmla="*/ 78523 h 214501"/>
                <a:gd name="connsiteX26" fmla="*/ 6390 w 214701"/>
                <a:gd name="connsiteY26" fmla="*/ 84907 h 214501"/>
                <a:gd name="connsiteX27" fmla="*/ 28755 w 214701"/>
                <a:gd name="connsiteY27" fmla="*/ 84907 h 214501"/>
                <a:gd name="connsiteX28" fmla="*/ 28755 w 214701"/>
                <a:gd name="connsiteY28" fmla="*/ 100867 h 214501"/>
                <a:gd name="connsiteX29" fmla="*/ 6390 w 214701"/>
                <a:gd name="connsiteY29" fmla="*/ 100867 h 214501"/>
                <a:gd name="connsiteX30" fmla="*/ 0 w 214701"/>
                <a:gd name="connsiteY30" fmla="*/ 107251 h 214501"/>
                <a:gd name="connsiteX31" fmla="*/ 6390 w 214701"/>
                <a:gd name="connsiteY31" fmla="*/ 113635 h 214501"/>
                <a:gd name="connsiteX32" fmla="*/ 28755 w 214701"/>
                <a:gd name="connsiteY32" fmla="*/ 113635 h 214501"/>
                <a:gd name="connsiteX33" fmla="*/ 28755 w 214701"/>
                <a:gd name="connsiteY33" fmla="*/ 129595 h 214501"/>
                <a:gd name="connsiteX34" fmla="*/ 6390 w 214701"/>
                <a:gd name="connsiteY34" fmla="*/ 129595 h 214501"/>
                <a:gd name="connsiteX35" fmla="*/ 0 w 214701"/>
                <a:gd name="connsiteY35" fmla="*/ 135979 h 214501"/>
                <a:gd name="connsiteX36" fmla="*/ 6390 w 214701"/>
                <a:gd name="connsiteY36" fmla="*/ 142363 h 214501"/>
                <a:gd name="connsiteX37" fmla="*/ 28755 w 214701"/>
                <a:gd name="connsiteY37" fmla="*/ 142363 h 214501"/>
                <a:gd name="connsiteX38" fmla="*/ 28755 w 214701"/>
                <a:gd name="connsiteY38" fmla="*/ 179390 h 214501"/>
                <a:gd name="connsiteX39" fmla="*/ 35145 w 214701"/>
                <a:gd name="connsiteY39" fmla="*/ 185774 h 214501"/>
                <a:gd name="connsiteX40" fmla="*/ 72206 w 214701"/>
                <a:gd name="connsiteY40" fmla="*/ 185774 h 214501"/>
                <a:gd name="connsiteX41" fmla="*/ 72206 w 214701"/>
                <a:gd name="connsiteY41" fmla="*/ 208118 h 214501"/>
                <a:gd name="connsiteX42" fmla="*/ 78596 w 214701"/>
                <a:gd name="connsiteY42" fmla="*/ 214502 h 214501"/>
                <a:gd name="connsiteX43" fmla="*/ 84986 w 214701"/>
                <a:gd name="connsiteY43" fmla="*/ 208118 h 214501"/>
                <a:gd name="connsiteX44" fmla="*/ 84986 w 214701"/>
                <a:gd name="connsiteY44" fmla="*/ 185774 h 214501"/>
                <a:gd name="connsiteX45" fmla="*/ 100961 w 214701"/>
                <a:gd name="connsiteY45" fmla="*/ 185774 h 214501"/>
                <a:gd name="connsiteX46" fmla="*/ 100961 w 214701"/>
                <a:gd name="connsiteY46" fmla="*/ 208118 h 214501"/>
                <a:gd name="connsiteX47" fmla="*/ 107351 w 214701"/>
                <a:gd name="connsiteY47" fmla="*/ 214502 h 214501"/>
                <a:gd name="connsiteX48" fmla="*/ 113741 w 214701"/>
                <a:gd name="connsiteY48" fmla="*/ 208118 h 214501"/>
                <a:gd name="connsiteX49" fmla="*/ 113741 w 214701"/>
                <a:gd name="connsiteY49" fmla="*/ 185774 h 214501"/>
                <a:gd name="connsiteX50" fmla="*/ 129716 w 214701"/>
                <a:gd name="connsiteY50" fmla="*/ 185774 h 214501"/>
                <a:gd name="connsiteX51" fmla="*/ 129716 w 214701"/>
                <a:gd name="connsiteY51" fmla="*/ 208118 h 214501"/>
                <a:gd name="connsiteX52" fmla="*/ 136106 w 214701"/>
                <a:gd name="connsiteY52" fmla="*/ 214502 h 214501"/>
                <a:gd name="connsiteX53" fmla="*/ 142496 w 214701"/>
                <a:gd name="connsiteY53" fmla="*/ 208118 h 214501"/>
                <a:gd name="connsiteX54" fmla="*/ 142496 w 214701"/>
                <a:gd name="connsiteY54" fmla="*/ 185774 h 214501"/>
                <a:gd name="connsiteX55" fmla="*/ 179557 w 214701"/>
                <a:gd name="connsiteY55" fmla="*/ 185774 h 214501"/>
                <a:gd name="connsiteX56" fmla="*/ 185947 w 214701"/>
                <a:gd name="connsiteY56" fmla="*/ 179390 h 214501"/>
                <a:gd name="connsiteX57" fmla="*/ 185947 w 214701"/>
                <a:gd name="connsiteY57" fmla="*/ 142363 h 214501"/>
                <a:gd name="connsiteX58" fmla="*/ 208312 w 214701"/>
                <a:gd name="connsiteY58" fmla="*/ 142363 h 214501"/>
                <a:gd name="connsiteX59" fmla="*/ 214702 w 214701"/>
                <a:gd name="connsiteY59" fmla="*/ 135979 h 214501"/>
                <a:gd name="connsiteX60" fmla="*/ 208312 w 214701"/>
                <a:gd name="connsiteY60" fmla="*/ 129595 h 214501"/>
                <a:gd name="connsiteX61" fmla="*/ 185947 w 214701"/>
                <a:gd name="connsiteY61" fmla="*/ 129595 h 214501"/>
                <a:gd name="connsiteX62" fmla="*/ 185947 w 214701"/>
                <a:gd name="connsiteY62" fmla="*/ 113635 h 214501"/>
                <a:gd name="connsiteX63" fmla="*/ 208312 w 214701"/>
                <a:gd name="connsiteY63" fmla="*/ 113635 h 214501"/>
                <a:gd name="connsiteX64" fmla="*/ 214702 w 214701"/>
                <a:gd name="connsiteY64" fmla="*/ 107251 h 214501"/>
                <a:gd name="connsiteX65" fmla="*/ 208312 w 214701"/>
                <a:gd name="connsiteY65" fmla="*/ 100867 h 214501"/>
                <a:gd name="connsiteX66" fmla="*/ 185947 w 214701"/>
                <a:gd name="connsiteY66" fmla="*/ 100867 h 214501"/>
                <a:gd name="connsiteX67" fmla="*/ 185947 w 214701"/>
                <a:gd name="connsiteY67" fmla="*/ 84907 h 214501"/>
                <a:gd name="connsiteX68" fmla="*/ 208312 w 214701"/>
                <a:gd name="connsiteY68" fmla="*/ 84907 h 214501"/>
                <a:gd name="connsiteX69" fmla="*/ 173167 w 214701"/>
                <a:gd name="connsiteY69" fmla="*/ 173644 h 214501"/>
                <a:gd name="connsiteX70" fmla="*/ 40896 w 214701"/>
                <a:gd name="connsiteY70" fmla="*/ 173644 h 214501"/>
                <a:gd name="connsiteX71" fmla="*/ 40896 w 214701"/>
                <a:gd name="connsiteY71" fmla="*/ 42134 h 214501"/>
                <a:gd name="connsiteX72" fmla="*/ 173167 w 214701"/>
                <a:gd name="connsiteY72" fmla="*/ 42134 h 214501"/>
                <a:gd name="connsiteX73" fmla="*/ 173167 w 214701"/>
                <a:gd name="connsiteY73" fmla="*/ 173644 h 21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14701" h="214501">
                  <a:moveTo>
                    <a:pt x="208312" y="84907"/>
                  </a:moveTo>
                  <a:cubicBezTo>
                    <a:pt x="212146" y="84907"/>
                    <a:pt x="214702" y="82354"/>
                    <a:pt x="214702" y="78523"/>
                  </a:cubicBezTo>
                  <a:cubicBezTo>
                    <a:pt x="214702" y="74693"/>
                    <a:pt x="212146" y="72139"/>
                    <a:pt x="208312" y="72139"/>
                  </a:cubicBezTo>
                  <a:lnTo>
                    <a:pt x="185947" y="72139"/>
                  </a:lnTo>
                  <a:lnTo>
                    <a:pt x="185947" y="35112"/>
                  </a:lnTo>
                  <a:cubicBezTo>
                    <a:pt x="185947" y="31282"/>
                    <a:pt x="183391" y="28728"/>
                    <a:pt x="179557" y="28728"/>
                  </a:cubicBezTo>
                  <a:lnTo>
                    <a:pt x="142496" y="28728"/>
                  </a:lnTo>
                  <a:lnTo>
                    <a:pt x="142496" y="6384"/>
                  </a:lnTo>
                  <a:cubicBezTo>
                    <a:pt x="142496" y="2554"/>
                    <a:pt x="139940" y="0"/>
                    <a:pt x="136106" y="0"/>
                  </a:cubicBezTo>
                  <a:cubicBezTo>
                    <a:pt x="132272" y="0"/>
                    <a:pt x="129716" y="2554"/>
                    <a:pt x="129716" y="6384"/>
                  </a:cubicBezTo>
                  <a:lnTo>
                    <a:pt x="129716" y="28728"/>
                  </a:lnTo>
                  <a:lnTo>
                    <a:pt x="113741" y="28728"/>
                  </a:lnTo>
                  <a:lnTo>
                    <a:pt x="113741" y="6384"/>
                  </a:lnTo>
                  <a:cubicBezTo>
                    <a:pt x="113741" y="2554"/>
                    <a:pt x="111185" y="0"/>
                    <a:pt x="107351" y="0"/>
                  </a:cubicBezTo>
                  <a:cubicBezTo>
                    <a:pt x="103517" y="0"/>
                    <a:pt x="100961" y="2554"/>
                    <a:pt x="100961" y="6384"/>
                  </a:cubicBezTo>
                  <a:lnTo>
                    <a:pt x="100961" y="28728"/>
                  </a:lnTo>
                  <a:lnTo>
                    <a:pt x="84986" y="28728"/>
                  </a:lnTo>
                  <a:lnTo>
                    <a:pt x="84986" y="6384"/>
                  </a:lnTo>
                  <a:cubicBezTo>
                    <a:pt x="84986" y="2554"/>
                    <a:pt x="82430" y="0"/>
                    <a:pt x="78596" y="0"/>
                  </a:cubicBezTo>
                  <a:cubicBezTo>
                    <a:pt x="74762" y="0"/>
                    <a:pt x="72206" y="2554"/>
                    <a:pt x="72206" y="6384"/>
                  </a:cubicBezTo>
                  <a:lnTo>
                    <a:pt x="72206" y="28728"/>
                  </a:lnTo>
                  <a:lnTo>
                    <a:pt x="35145" y="28728"/>
                  </a:lnTo>
                  <a:cubicBezTo>
                    <a:pt x="31311" y="28728"/>
                    <a:pt x="28755" y="31282"/>
                    <a:pt x="28755" y="35112"/>
                  </a:cubicBezTo>
                  <a:lnTo>
                    <a:pt x="28755" y="72139"/>
                  </a:lnTo>
                  <a:lnTo>
                    <a:pt x="6390" y="72139"/>
                  </a:lnTo>
                  <a:cubicBezTo>
                    <a:pt x="2556" y="72139"/>
                    <a:pt x="0" y="74693"/>
                    <a:pt x="0" y="78523"/>
                  </a:cubicBezTo>
                  <a:cubicBezTo>
                    <a:pt x="0" y="82354"/>
                    <a:pt x="2556" y="84907"/>
                    <a:pt x="6390" y="84907"/>
                  </a:cubicBezTo>
                  <a:lnTo>
                    <a:pt x="28755" y="84907"/>
                  </a:lnTo>
                  <a:lnTo>
                    <a:pt x="28755" y="100867"/>
                  </a:lnTo>
                  <a:lnTo>
                    <a:pt x="6390" y="100867"/>
                  </a:lnTo>
                  <a:cubicBezTo>
                    <a:pt x="2556" y="100867"/>
                    <a:pt x="0" y="103421"/>
                    <a:pt x="0" y="107251"/>
                  </a:cubicBezTo>
                  <a:cubicBezTo>
                    <a:pt x="0" y="111081"/>
                    <a:pt x="2556" y="113635"/>
                    <a:pt x="6390" y="113635"/>
                  </a:cubicBezTo>
                  <a:lnTo>
                    <a:pt x="28755" y="113635"/>
                  </a:lnTo>
                  <a:lnTo>
                    <a:pt x="28755" y="129595"/>
                  </a:lnTo>
                  <a:lnTo>
                    <a:pt x="6390" y="129595"/>
                  </a:lnTo>
                  <a:cubicBezTo>
                    <a:pt x="2556" y="129595"/>
                    <a:pt x="0" y="132149"/>
                    <a:pt x="0" y="135979"/>
                  </a:cubicBezTo>
                  <a:cubicBezTo>
                    <a:pt x="0" y="139809"/>
                    <a:pt x="2556" y="142363"/>
                    <a:pt x="6390" y="142363"/>
                  </a:cubicBezTo>
                  <a:lnTo>
                    <a:pt x="28755" y="142363"/>
                  </a:lnTo>
                  <a:lnTo>
                    <a:pt x="28755" y="179390"/>
                  </a:lnTo>
                  <a:cubicBezTo>
                    <a:pt x="28755" y="183220"/>
                    <a:pt x="31311" y="185774"/>
                    <a:pt x="35145" y="185774"/>
                  </a:cubicBezTo>
                  <a:lnTo>
                    <a:pt x="72206" y="185774"/>
                  </a:lnTo>
                  <a:lnTo>
                    <a:pt x="72206" y="208118"/>
                  </a:lnTo>
                  <a:cubicBezTo>
                    <a:pt x="72206" y="211948"/>
                    <a:pt x="74762" y="214502"/>
                    <a:pt x="78596" y="214502"/>
                  </a:cubicBezTo>
                  <a:cubicBezTo>
                    <a:pt x="82430" y="214502"/>
                    <a:pt x="84986" y="211948"/>
                    <a:pt x="84986" y="208118"/>
                  </a:cubicBezTo>
                  <a:lnTo>
                    <a:pt x="84986" y="185774"/>
                  </a:lnTo>
                  <a:lnTo>
                    <a:pt x="100961" y="185774"/>
                  </a:lnTo>
                  <a:lnTo>
                    <a:pt x="100961" y="208118"/>
                  </a:lnTo>
                  <a:cubicBezTo>
                    <a:pt x="100961" y="211948"/>
                    <a:pt x="103517" y="214502"/>
                    <a:pt x="107351" y="214502"/>
                  </a:cubicBezTo>
                  <a:cubicBezTo>
                    <a:pt x="111185" y="214502"/>
                    <a:pt x="113741" y="211948"/>
                    <a:pt x="113741" y="208118"/>
                  </a:cubicBezTo>
                  <a:lnTo>
                    <a:pt x="113741" y="185774"/>
                  </a:lnTo>
                  <a:lnTo>
                    <a:pt x="129716" y="185774"/>
                  </a:lnTo>
                  <a:lnTo>
                    <a:pt x="129716" y="208118"/>
                  </a:lnTo>
                  <a:cubicBezTo>
                    <a:pt x="129716" y="211948"/>
                    <a:pt x="132272" y="214502"/>
                    <a:pt x="136106" y="214502"/>
                  </a:cubicBezTo>
                  <a:cubicBezTo>
                    <a:pt x="139940" y="214502"/>
                    <a:pt x="142496" y="211948"/>
                    <a:pt x="142496" y="208118"/>
                  </a:cubicBezTo>
                  <a:lnTo>
                    <a:pt x="142496" y="185774"/>
                  </a:lnTo>
                  <a:lnTo>
                    <a:pt x="179557" y="185774"/>
                  </a:lnTo>
                  <a:cubicBezTo>
                    <a:pt x="183391" y="185774"/>
                    <a:pt x="185947" y="183220"/>
                    <a:pt x="185947" y="179390"/>
                  </a:cubicBezTo>
                  <a:lnTo>
                    <a:pt x="185947" y="142363"/>
                  </a:lnTo>
                  <a:lnTo>
                    <a:pt x="208312" y="142363"/>
                  </a:lnTo>
                  <a:cubicBezTo>
                    <a:pt x="212146" y="142363"/>
                    <a:pt x="214702" y="139809"/>
                    <a:pt x="214702" y="135979"/>
                  </a:cubicBezTo>
                  <a:cubicBezTo>
                    <a:pt x="214702" y="132149"/>
                    <a:pt x="212146" y="129595"/>
                    <a:pt x="208312" y="129595"/>
                  </a:cubicBezTo>
                  <a:lnTo>
                    <a:pt x="185947" y="129595"/>
                  </a:lnTo>
                  <a:lnTo>
                    <a:pt x="185947" y="113635"/>
                  </a:lnTo>
                  <a:lnTo>
                    <a:pt x="208312" y="113635"/>
                  </a:lnTo>
                  <a:cubicBezTo>
                    <a:pt x="212146" y="113635"/>
                    <a:pt x="214702" y="111081"/>
                    <a:pt x="214702" y="107251"/>
                  </a:cubicBezTo>
                  <a:cubicBezTo>
                    <a:pt x="214702" y="103421"/>
                    <a:pt x="212146" y="100867"/>
                    <a:pt x="208312" y="100867"/>
                  </a:cubicBezTo>
                  <a:lnTo>
                    <a:pt x="185947" y="100867"/>
                  </a:lnTo>
                  <a:lnTo>
                    <a:pt x="185947" y="84907"/>
                  </a:lnTo>
                  <a:lnTo>
                    <a:pt x="208312" y="84907"/>
                  </a:lnTo>
                  <a:close/>
                  <a:moveTo>
                    <a:pt x="173167" y="173644"/>
                  </a:moveTo>
                  <a:lnTo>
                    <a:pt x="40896" y="173644"/>
                  </a:lnTo>
                  <a:lnTo>
                    <a:pt x="40896" y="42134"/>
                  </a:lnTo>
                  <a:lnTo>
                    <a:pt x="173167" y="42134"/>
                  </a:lnTo>
                  <a:lnTo>
                    <a:pt x="173167" y="17364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2" name="Graphic 4">
              <a:extLst>
                <a:ext uri="{FF2B5EF4-FFF2-40B4-BE49-F238E27FC236}">
                  <a16:creationId xmlns:a16="http://schemas.microsoft.com/office/drawing/2014/main" id="{5D8B179A-8721-700B-6C8D-162A4DB8E737}"/>
                </a:ext>
              </a:extLst>
            </p:cNvPr>
            <p:cNvSpPr/>
            <p:nvPr/>
          </p:nvSpPr>
          <p:spPr>
            <a:xfrm>
              <a:off x="1653076" y="2509706"/>
              <a:ext cx="84986" cy="84906"/>
            </a:xfrm>
            <a:custGeom>
              <a:avLst/>
              <a:gdLst>
                <a:gd name="connsiteX0" fmla="*/ 78596 w 84986"/>
                <a:gd name="connsiteY0" fmla="*/ 0 h 84906"/>
                <a:gd name="connsiteX1" fmla="*/ 6390 w 84986"/>
                <a:gd name="connsiteY1" fmla="*/ 0 h 84906"/>
                <a:gd name="connsiteX2" fmla="*/ 0 w 84986"/>
                <a:gd name="connsiteY2" fmla="*/ 6384 h 84906"/>
                <a:gd name="connsiteX3" fmla="*/ 0 w 84986"/>
                <a:gd name="connsiteY3" fmla="*/ 78523 h 84906"/>
                <a:gd name="connsiteX4" fmla="*/ 6390 w 84986"/>
                <a:gd name="connsiteY4" fmla="*/ 84907 h 84906"/>
                <a:gd name="connsiteX5" fmla="*/ 78596 w 84986"/>
                <a:gd name="connsiteY5" fmla="*/ 84907 h 84906"/>
                <a:gd name="connsiteX6" fmla="*/ 84986 w 84986"/>
                <a:gd name="connsiteY6" fmla="*/ 78523 h 84906"/>
                <a:gd name="connsiteX7" fmla="*/ 84986 w 84986"/>
                <a:gd name="connsiteY7" fmla="*/ 6384 h 84906"/>
                <a:gd name="connsiteX8" fmla="*/ 78596 w 84986"/>
                <a:gd name="connsiteY8" fmla="*/ 0 h 84906"/>
                <a:gd name="connsiteX9" fmla="*/ 72206 w 84986"/>
                <a:gd name="connsiteY9" fmla="*/ 72139 h 84906"/>
                <a:gd name="connsiteX10" fmla="*/ 12780 w 84986"/>
                <a:gd name="connsiteY10" fmla="*/ 72139 h 84906"/>
                <a:gd name="connsiteX11" fmla="*/ 12780 w 84986"/>
                <a:gd name="connsiteY11" fmla="*/ 12768 h 84906"/>
                <a:gd name="connsiteX12" fmla="*/ 72206 w 84986"/>
                <a:gd name="connsiteY12" fmla="*/ 12768 h 84906"/>
                <a:gd name="connsiteX13" fmla="*/ 72206 w 84986"/>
                <a:gd name="connsiteY13" fmla="*/ 72139 h 8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986" h="84906">
                  <a:moveTo>
                    <a:pt x="78596" y="0"/>
                  </a:moveTo>
                  <a:lnTo>
                    <a:pt x="6390" y="0"/>
                  </a:lnTo>
                  <a:cubicBezTo>
                    <a:pt x="2556" y="0"/>
                    <a:pt x="0" y="2554"/>
                    <a:pt x="0" y="6384"/>
                  </a:cubicBezTo>
                  <a:lnTo>
                    <a:pt x="0" y="78523"/>
                  </a:lnTo>
                  <a:cubicBezTo>
                    <a:pt x="0" y="82353"/>
                    <a:pt x="2556" y="84907"/>
                    <a:pt x="6390" y="84907"/>
                  </a:cubicBezTo>
                  <a:lnTo>
                    <a:pt x="78596" y="84907"/>
                  </a:lnTo>
                  <a:cubicBezTo>
                    <a:pt x="82430" y="84907"/>
                    <a:pt x="84986" y="82353"/>
                    <a:pt x="84986" y="78523"/>
                  </a:cubicBezTo>
                  <a:lnTo>
                    <a:pt x="84986" y="6384"/>
                  </a:lnTo>
                  <a:cubicBezTo>
                    <a:pt x="84986" y="2554"/>
                    <a:pt x="82430" y="0"/>
                    <a:pt x="78596" y="0"/>
                  </a:cubicBezTo>
                  <a:close/>
                  <a:moveTo>
                    <a:pt x="72206" y="72139"/>
                  </a:moveTo>
                  <a:lnTo>
                    <a:pt x="12780" y="72139"/>
                  </a:lnTo>
                  <a:lnTo>
                    <a:pt x="12780" y="12768"/>
                  </a:lnTo>
                  <a:lnTo>
                    <a:pt x="72206" y="12768"/>
                  </a:lnTo>
                  <a:lnTo>
                    <a:pt x="72206" y="7213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33" name="TextBox 132">
            <a:extLst>
              <a:ext uri="{FF2B5EF4-FFF2-40B4-BE49-F238E27FC236}">
                <a16:creationId xmlns:a16="http://schemas.microsoft.com/office/drawing/2014/main" id="{0B2AB5E8-82EB-4632-D7CC-0DAB87CF907D}"/>
              </a:ext>
            </a:extLst>
          </p:cNvPr>
          <p:cNvSpPr txBox="1"/>
          <p:nvPr/>
        </p:nvSpPr>
        <p:spPr>
          <a:xfrm>
            <a:off x="8195534" y="1680067"/>
            <a:ext cx="113397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PMU support  for RDSS, WBSEDCL</a:t>
            </a:r>
          </a:p>
        </p:txBody>
      </p:sp>
      <p:sp>
        <p:nvSpPr>
          <p:cNvPr id="134" name="TextBox 133">
            <a:extLst>
              <a:ext uri="{FF2B5EF4-FFF2-40B4-BE49-F238E27FC236}">
                <a16:creationId xmlns:a16="http://schemas.microsoft.com/office/drawing/2014/main" id="{5C5075C7-C2A9-03F7-5A75-0AA14BE9D37B}"/>
              </a:ext>
            </a:extLst>
          </p:cNvPr>
          <p:cNvSpPr txBox="1"/>
          <p:nvPr/>
        </p:nvSpPr>
        <p:spPr>
          <a:xfrm>
            <a:off x="10828573" y="1779220"/>
            <a:ext cx="113397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ITPMU for JBVNL</a:t>
            </a:r>
          </a:p>
        </p:txBody>
      </p:sp>
      <p:pic>
        <p:nvPicPr>
          <p:cNvPr id="136" name="Picture 135" descr="A logo of a company&#10;&#10;Description automatically generated">
            <a:extLst>
              <a:ext uri="{FF2B5EF4-FFF2-40B4-BE49-F238E27FC236}">
                <a16:creationId xmlns:a16="http://schemas.microsoft.com/office/drawing/2014/main" id="{C75300AB-57F5-5E2E-93E4-521F81AD85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71183" y="1540968"/>
            <a:ext cx="913275" cy="798530"/>
          </a:xfrm>
          <a:prstGeom prst="rect">
            <a:avLst/>
          </a:prstGeom>
        </p:spPr>
      </p:pic>
      <p:pic>
        <p:nvPicPr>
          <p:cNvPr id="137" name="Picture 4" descr="Jharkhand Bijli Vitran Nigam Limited - JBVNL | Ranchi">
            <a:hlinkClick r:id="" action="ppaction://noaction"/>
            <a:extLst>
              <a:ext uri="{FF2B5EF4-FFF2-40B4-BE49-F238E27FC236}">
                <a16:creationId xmlns:a16="http://schemas.microsoft.com/office/drawing/2014/main" id="{D5EE7916-46AC-6116-5459-8F07B592E76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694439" y="1576770"/>
            <a:ext cx="859759" cy="762728"/>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38" descr="A blue and white logo&#10;&#10;Description automatically generated">
            <a:extLst>
              <a:ext uri="{FF2B5EF4-FFF2-40B4-BE49-F238E27FC236}">
                <a16:creationId xmlns:a16="http://schemas.microsoft.com/office/drawing/2014/main" id="{CC9B58E5-FAB6-5B8D-087D-610628A23F8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83498" y="5586253"/>
            <a:ext cx="1110979" cy="1043772"/>
          </a:xfrm>
          <a:prstGeom prst="rect">
            <a:avLst/>
          </a:prstGeom>
        </p:spPr>
      </p:pic>
      <p:sp>
        <p:nvSpPr>
          <p:cNvPr id="140" name="TextBox 139">
            <a:extLst>
              <a:ext uri="{FF2B5EF4-FFF2-40B4-BE49-F238E27FC236}">
                <a16:creationId xmlns:a16="http://schemas.microsoft.com/office/drawing/2014/main" id="{BFAEA66F-AA44-D1D8-538A-26C567069EB4}"/>
              </a:ext>
            </a:extLst>
          </p:cNvPr>
          <p:cNvSpPr txBox="1"/>
          <p:nvPr/>
        </p:nvSpPr>
        <p:spPr>
          <a:xfrm>
            <a:off x="2933681" y="5756315"/>
            <a:ext cx="133907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Developed Revamped Tata Power Website</a:t>
            </a:r>
          </a:p>
        </p:txBody>
      </p:sp>
      <p:pic>
        <p:nvPicPr>
          <p:cNvPr id="141" name="Picture 4" descr="Home - Himurja">
            <a:hlinkClick r:id="" action="ppaction://noaction"/>
            <a:extLst>
              <a:ext uri="{FF2B5EF4-FFF2-40B4-BE49-F238E27FC236}">
                <a16:creationId xmlns:a16="http://schemas.microsoft.com/office/drawing/2014/main" id="{7D87BAAD-74A6-F75A-DEAB-47B09D77B48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34556" y="5736909"/>
            <a:ext cx="845808" cy="61747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Box 141">
            <a:extLst>
              <a:ext uri="{FF2B5EF4-FFF2-40B4-BE49-F238E27FC236}">
                <a16:creationId xmlns:a16="http://schemas.microsoft.com/office/drawing/2014/main" id="{4E50738A-A2BF-D20E-19BE-A33BDD28E00A}"/>
              </a:ext>
            </a:extLst>
          </p:cNvPr>
          <p:cNvSpPr txBox="1"/>
          <p:nvPr/>
        </p:nvSpPr>
        <p:spPr>
          <a:xfrm>
            <a:off x="5535502" y="5699392"/>
            <a:ext cx="1379472"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HIM Urja Portal, Roof Top Solar Application (Single Window Clearance System)</a:t>
            </a:r>
          </a:p>
        </p:txBody>
      </p:sp>
      <p:pic>
        <p:nvPicPr>
          <p:cNvPr id="144" name="Picture 143" descr="A blue and white logo&#10;&#10;Description automatically generated">
            <a:extLst>
              <a:ext uri="{FF2B5EF4-FFF2-40B4-BE49-F238E27FC236}">
                <a16:creationId xmlns:a16="http://schemas.microsoft.com/office/drawing/2014/main" id="{CC72B871-9258-D135-629B-56C48D8CDB5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64995" y="5562364"/>
            <a:ext cx="1110979" cy="1045627"/>
          </a:xfrm>
          <a:prstGeom prst="rect">
            <a:avLst/>
          </a:prstGeom>
        </p:spPr>
      </p:pic>
      <p:sp>
        <p:nvSpPr>
          <p:cNvPr id="145" name="TextBox 144">
            <a:extLst>
              <a:ext uri="{FF2B5EF4-FFF2-40B4-BE49-F238E27FC236}">
                <a16:creationId xmlns:a16="http://schemas.microsoft.com/office/drawing/2014/main" id="{C6310ACB-1448-3D3B-297E-7B00949CD184}"/>
              </a:ext>
            </a:extLst>
          </p:cNvPr>
          <p:cNvSpPr txBox="1"/>
          <p:nvPr/>
        </p:nvSpPr>
        <p:spPr>
          <a:xfrm>
            <a:off x="8151794" y="5900511"/>
            <a:ext cx="133907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Load Forecasting Tool, KSEB </a:t>
            </a:r>
          </a:p>
        </p:txBody>
      </p:sp>
      <p:sp>
        <p:nvSpPr>
          <p:cNvPr id="146" name="TextBox 145">
            <a:extLst>
              <a:ext uri="{FF2B5EF4-FFF2-40B4-BE49-F238E27FC236}">
                <a16:creationId xmlns:a16="http://schemas.microsoft.com/office/drawing/2014/main" id="{423B8313-B2EA-B1D1-AA81-B911D45156BD}"/>
              </a:ext>
            </a:extLst>
          </p:cNvPr>
          <p:cNvSpPr txBox="1"/>
          <p:nvPr/>
        </p:nvSpPr>
        <p:spPr>
          <a:xfrm>
            <a:off x="10663860" y="5884843"/>
            <a:ext cx="1339077" cy="553998"/>
          </a:xfrm>
          <a:prstGeom prst="rect">
            <a:avLst/>
          </a:prstGeom>
          <a:noFill/>
        </p:spPr>
        <p:txBody>
          <a:bodyPr wrap="square" lIns="0" tIns="0" rIns="0" bIns="0" rtlCol="0">
            <a:sp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Citizen service portal “Suvidha” ,JBVNL</a:t>
            </a:r>
          </a:p>
        </p:txBody>
      </p:sp>
      <p:pic>
        <p:nvPicPr>
          <p:cNvPr id="147" name="Picture 4" descr="Jharkhand Bijli Vitran Nigam Limited - JBVNL | Ranchi">
            <a:hlinkClick r:id="" action="ppaction://noaction"/>
            <a:extLst>
              <a:ext uri="{FF2B5EF4-FFF2-40B4-BE49-F238E27FC236}">
                <a16:creationId xmlns:a16="http://schemas.microsoft.com/office/drawing/2014/main" id="{300140F1-7550-2E3A-1547-2C00FF5AFF7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49762" y="5732443"/>
            <a:ext cx="859759" cy="762728"/>
          </a:xfrm>
          <a:prstGeom prst="rect">
            <a:avLst/>
          </a:prstGeom>
          <a:noFill/>
          <a:extLst>
            <a:ext uri="{909E8E84-426E-40DD-AFC4-6F175D3DCCD1}">
              <a14:hiddenFill xmlns:a14="http://schemas.microsoft.com/office/drawing/2010/main">
                <a:solidFill>
                  <a:srgbClr val="FFFFFF"/>
                </a:solidFill>
              </a14:hiddenFill>
            </a:ext>
          </a:extLst>
        </p:spPr>
      </p:pic>
      <p:sp>
        <p:nvSpPr>
          <p:cNvPr id="149" name="TextBox 148">
            <a:extLst>
              <a:ext uri="{FF2B5EF4-FFF2-40B4-BE49-F238E27FC236}">
                <a16:creationId xmlns:a16="http://schemas.microsoft.com/office/drawing/2014/main" id="{06301BCE-695F-2A1B-DBD6-AC216BB49FFF}"/>
              </a:ext>
            </a:extLst>
          </p:cNvPr>
          <p:cNvSpPr txBox="1"/>
          <p:nvPr/>
        </p:nvSpPr>
        <p:spPr>
          <a:xfrm>
            <a:off x="10728125" y="4439796"/>
            <a:ext cx="1339077"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Development of Mobile APP and web-portal to capture on-field assets (FAR)</a:t>
            </a:r>
          </a:p>
        </p:txBody>
      </p:sp>
      <p:sp>
        <p:nvSpPr>
          <p:cNvPr id="150" name="TextBox 149">
            <a:extLst>
              <a:ext uri="{FF2B5EF4-FFF2-40B4-BE49-F238E27FC236}">
                <a16:creationId xmlns:a16="http://schemas.microsoft.com/office/drawing/2014/main" id="{8553864F-9C54-7775-2F66-524987833240}"/>
              </a:ext>
            </a:extLst>
          </p:cNvPr>
          <p:cNvSpPr txBox="1"/>
          <p:nvPr/>
        </p:nvSpPr>
        <p:spPr>
          <a:xfrm>
            <a:off x="5612812" y="4362610"/>
            <a:ext cx="1339077"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BPCL Customer Portal as part of Digital Transformation </a:t>
            </a:r>
          </a:p>
        </p:txBody>
      </p:sp>
      <p:sp>
        <p:nvSpPr>
          <p:cNvPr id="151" name="TextBox 150">
            <a:extLst>
              <a:ext uri="{FF2B5EF4-FFF2-40B4-BE49-F238E27FC236}">
                <a16:creationId xmlns:a16="http://schemas.microsoft.com/office/drawing/2014/main" id="{696100F1-F352-293E-6749-9376E706DE0A}"/>
              </a:ext>
            </a:extLst>
          </p:cNvPr>
          <p:cNvSpPr txBox="1"/>
          <p:nvPr/>
        </p:nvSpPr>
        <p:spPr>
          <a:xfrm>
            <a:off x="3338964" y="4435430"/>
            <a:ext cx="861136"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SAP ERP Implementation</a:t>
            </a:r>
          </a:p>
        </p:txBody>
      </p:sp>
      <p:pic>
        <p:nvPicPr>
          <p:cNvPr id="153" name="Picture 152" descr="A blue and yellow logo&#10;&#10;Description automatically generated">
            <a:hlinkClick r:id="" action="ppaction://noaction"/>
            <a:extLst>
              <a:ext uri="{FF2B5EF4-FFF2-40B4-BE49-F238E27FC236}">
                <a16:creationId xmlns:a16="http://schemas.microsoft.com/office/drawing/2014/main" id="{D968CC17-3BF3-B9D3-7539-9C8ED3B222D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64467" y="4255722"/>
            <a:ext cx="927533" cy="939000"/>
          </a:xfrm>
          <a:prstGeom prst="rect">
            <a:avLst/>
          </a:prstGeom>
        </p:spPr>
      </p:pic>
      <p:pic>
        <p:nvPicPr>
          <p:cNvPr id="154" name="Picture 6">
            <a:extLst>
              <a:ext uri="{FF2B5EF4-FFF2-40B4-BE49-F238E27FC236}">
                <a16:creationId xmlns:a16="http://schemas.microsoft.com/office/drawing/2014/main" id="{0C7C2E78-3876-389D-08A2-D657C84FD9FE}"/>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890182" y="4307061"/>
            <a:ext cx="527884" cy="314091"/>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93F864B7-E08A-5983-8AF5-679B3DB7C2B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898871" y="4707154"/>
            <a:ext cx="519195" cy="422111"/>
          </a:xfrm>
          <a:prstGeom prst="rect">
            <a:avLst/>
          </a:prstGeom>
        </p:spPr>
      </p:pic>
      <p:pic>
        <p:nvPicPr>
          <p:cNvPr id="156" name="Picture 155">
            <a:extLst>
              <a:ext uri="{FF2B5EF4-FFF2-40B4-BE49-F238E27FC236}">
                <a16:creationId xmlns:a16="http://schemas.microsoft.com/office/drawing/2014/main" id="{C8E3B3AD-70E3-24B5-3E54-365B8D61E641}"/>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2509495" y="4794439"/>
            <a:ext cx="698656" cy="316024"/>
          </a:xfrm>
          <a:prstGeom prst="rect">
            <a:avLst/>
          </a:prstGeom>
          <a:ln>
            <a:solidFill>
              <a:schemeClr val="tx1"/>
            </a:solidFill>
          </a:ln>
        </p:spPr>
      </p:pic>
      <p:sp>
        <p:nvSpPr>
          <p:cNvPr id="159" name="TextBox 158">
            <a:extLst>
              <a:ext uri="{FF2B5EF4-FFF2-40B4-BE49-F238E27FC236}">
                <a16:creationId xmlns:a16="http://schemas.microsoft.com/office/drawing/2014/main" id="{2B420C18-3C62-C037-A4BC-34EA0A6FEE98}"/>
              </a:ext>
            </a:extLst>
          </p:cNvPr>
          <p:cNvSpPr txBox="1"/>
          <p:nvPr/>
        </p:nvSpPr>
        <p:spPr>
          <a:xfrm>
            <a:off x="3036707" y="3084413"/>
            <a:ext cx="113397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source adequacy study for CEA</a:t>
            </a:r>
          </a:p>
        </p:txBody>
      </p:sp>
      <p:sp>
        <p:nvSpPr>
          <p:cNvPr id="160" name="TextBox 159">
            <a:extLst>
              <a:ext uri="{FF2B5EF4-FFF2-40B4-BE49-F238E27FC236}">
                <a16:creationId xmlns:a16="http://schemas.microsoft.com/office/drawing/2014/main" id="{2E31A33C-F87C-ADCC-C671-7EE4D24C8DD6}"/>
              </a:ext>
            </a:extLst>
          </p:cNvPr>
          <p:cNvSpPr txBox="1"/>
          <p:nvPr/>
        </p:nvSpPr>
        <p:spPr>
          <a:xfrm>
            <a:off x="5678922" y="2807151"/>
            <a:ext cx="1133971" cy="1107996"/>
          </a:xfrm>
          <a:prstGeom prst="rect">
            <a:avLst/>
          </a:prstGeom>
          <a:noFill/>
        </p:spPr>
        <p:txBody>
          <a:bodyPr wrap="square" lIns="0" tIns="0" rIns="0" bIns="0" rtlCol="0">
            <a:spAutoFit/>
          </a:bodyPr>
          <a:lstStyle/>
          <a:p>
            <a:pPr marL="0" marR="0" lvl="0" indent="0" algn="ctr" defTabSz="785437" rtl="0" eaLnBrk="1" fontAlgn="auto" latinLnBrk="0" hangingPunct="1">
              <a:lnSpc>
                <a:spcPct val="100000"/>
              </a:lnSpc>
              <a:spcBef>
                <a:spcPts val="514"/>
              </a:spcBef>
              <a:spcAft>
                <a:spcPts val="0"/>
              </a:spcAft>
              <a:buClrTx/>
              <a:buSzPct val="100000"/>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Support in Framing regulations to FoR, CERC and other regulatory bodies</a:t>
            </a:r>
          </a:p>
        </p:txBody>
      </p:sp>
      <p:sp>
        <p:nvSpPr>
          <p:cNvPr id="161" name="TextBox 160">
            <a:extLst>
              <a:ext uri="{FF2B5EF4-FFF2-40B4-BE49-F238E27FC236}">
                <a16:creationId xmlns:a16="http://schemas.microsoft.com/office/drawing/2014/main" id="{9991B05A-2F41-0C52-2756-009E3C2721E6}"/>
              </a:ext>
            </a:extLst>
          </p:cNvPr>
          <p:cNvSpPr txBox="1"/>
          <p:nvPr/>
        </p:nvSpPr>
        <p:spPr>
          <a:xfrm>
            <a:off x="8300943" y="2928337"/>
            <a:ext cx="1133971"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gulatory studies and papers for sustainable energy future</a:t>
            </a:r>
          </a:p>
        </p:txBody>
      </p:sp>
      <p:sp>
        <p:nvSpPr>
          <p:cNvPr id="162" name="TextBox 161">
            <a:extLst>
              <a:ext uri="{FF2B5EF4-FFF2-40B4-BE49-F238E27FC236}">
                <a16:creationId xmlns:a16="http://schemas.microsoft.com/office/drawing/2014/main" id="{B2585795-40D0-2794-595F-CE4991B911CF}"/>
              </a:ext>
            </a:extLst>
          </p:cNvPr>
          <p:cNvSpPr txBox="1"/>
          <p:nvPr/>
        </p:nvSpPr>
        <p:spPr>
          <a:xfrm>
            <a:off x="10922964" y="3038507"/>
            <a:ext cx="1133971"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gulatory assistance to TSUISL, TSL &amp; JUUNL</a:t>
            </a:r>
            <a:endParaRPr kumimoji="0" lang="en-US" sz="1200" b="0" i="0" u="none" strike="noStrike" kern="1200" cap="none" spc="0" normalizeH="0" baseline="0" noProof="0">
              <a:ln>
                <a:noFill/>
              </a:ln>
              <a:solidFill>
                <a:srgbClr val="313131"/>
              </a:solidFill>
              <a:effectLst/>
              <a:uLnTx/>
              <a:uFillTx/>
              <a:latin typeface="Aptos" panose="020B0004020202020204" pitchFamily="34" charset="0"/>
              <a:ea typeface="+mn-ea"/>
              <a:cs typeface="+mn-cs"/>
            </a:endParaRPr>
          </a:p>
        </p:txBody>
      </p:sp>
      <p:pic>
        <p:nvPicPr>
          <p:cNvPr id="163" name="Picture 162" descr="A red and blue logo&#10;&#10;Description automatically generated">
            <a:extLst>
              <a:ext uri="{FF2B5EF4-FFF2-40B4-BE49-F238E27FC236}">
                <a16:creationId xmlns:a16="http://schemas.microsoft.com/office/drawing/2014/main" id="{84EAE255-AF3C-46C6-FEA0-682E93FA9C1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945297" y="2957751"/>
            <a:ext cx="888160" cy="761623"/>
          </a:xfrm>
          <a:prstGeom prst="rect">
            <a:avLst/>
          </a:prstGeom>
        </p:spPr>
      </p:pic>
      <p:pic>
        <p:nvPicPr>
          <p:cNvPr id="165" name="Picture 164" descr="A logo with blue and green leaves&#10;&#10;Description automatically generated">
            <a:extLst>
              <a:ext uri="{FF2B5EF4-FFF2-40B4-BE49-F238E27FC236}">
                <a16:creationId xmlns:a16="http://schemas.microsoft.com/office/drawing/2014/main" id="{09BADE07-2188-7E8A-EA2C-D6B611F1B86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694277" y="2927125"/>
            <a:ext cx="1033847" cy="973032"/>
          </a:xfrm>
          <a:prstGeom prst="rect">
            <a:avLst/>
          </a:prstGeom>
        </p:spPr>
      </p:pic>
      <p:pic>
        <p:nvPicPr>
          <p:cNvPr id="167" name="Picture 166" descr="A black arrow with a yellow lightning bolt&#10;&#10;Description automatically generated">
            <a:extLst>
              <a:ext uri="{FF2B5EF4-FFF2-40B4-BE49-F238E27FC236}">
                <a16:creationId xmlns:a16="http://schemas.microsoft.com/office/drawing/2014/main" id="{8B94D7D8-161F-4A86-2356-A7074FDD578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500641" y="2923981"/>
            <a:ext cx="972148" cy="921427"/>
          </a:xfrm>
          <a:prstGeom prst="rect">
            <a:avLst/>
          </a:prstGeom>
        </p:spPr>
      </p:pic>
      <p:pic>
        <p:nvPicPr>
          <p:cNvPr id="3074" name="Picture 2">
            <a:extLst>
              <a:ext uri="{FF2B5EF4-FFF2-40B4-BE49-F238E27FC236}">
                <a16:creationId xmlns:a16="http://schemas.microsoft.com/office/drawing/2014/main" id="{D9D31EB1-AD59-CAAE-23DF-5BFA7AF32B7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043653" y="2837274"/>
            <a:ext cx="1057275" cy="1047750"/>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4" descr="Jharkhand Bijli Vitran Nigam Limited - JBVNL | Ranchi">
            <a:hlinkClick r:id="" action="ppaction://noaction"/>
            <a:extLst>
              <a:ext uri="{FF2B5EF4-FFF2-40B4-BE49-F238E27FC236}">
                <a16:creationId xmlns:a16="http://schemas.microsoft.com/office/drawing/2014/main" id="{FA0D1A5F-E4C2-0AE7-78BD-A287EB3A68E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38189" y="4387926"/>
            <a:ext cx="859759" cy="762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229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DCE779FE-B549-C990-ED36-B34C1F3A37D3}"/>
              </a:ext>
            </a:extLst>
          </p:cNvPr>
          <p:cNvSpPr/>
          <p:nvPr/>
        </p:nvSpPr>
        <p:spPr bwMode="gray">
          <a:xfrm>
            <a:off x="4338047" y="4091157"/>
            <a:ext cx="7364159" cy="405139"/>
          </a:xfrm>
          <a:prstGeom prst="roundRect">
            <a:avLst/>
          </a:prstGeom>
          <a:solidFill>
            <a:schemeClr val="bg1">
              <a:lumMod val="95000"/>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grpSp>
        <p:nvGrpSpPr>
          <p:cNvPr id="32" name="Group 31">
            <a:extLst>
              <a:ext uri="{FF2B5EF4-FFF2-40B4-BE49-F238E27FC236}">
                <a16:creationId xmlns:a16="http://schemas.microsoft.com/office/drawing/2014/main" id="{1745D36C-981D-F5B3-2395-DA12CAEE76EE}"/>
              </a:ext>
            </a:extLst>
          </p:cNvPr>
          <p:cNvGrpSpPr/>
          <p:nvPr/>
        </p:nvGrpSpPr>
        <p:grpSpPr>
          <a:xfrm flipH="1">
            <a:off x="10187466" y="4070900"/>
            <a:ext cx="1517324" cy="445652"/>
            <a:chOff x="501652" y="3848567"/>
            <a:chExt cx="1077092" cy="685950"/>
          </a:xfrm>
        </p:grpSpPr>
        <p:sp>
          <p:nvSpPr>
            <p:cNvPr id="33" name="Freeform: Shape 32">
              <a:extLst>
                <a:ext uri="{FF2B5EF4-FFF2-40B4-BE49-F238E27FC236}">
                  <a16:creationId xmlns:a16="http://schemas.microsoft.com/office/drawing/2014/main" id="{3392A94D-A9EC-61F8-DD87-7F5916C6AEDD}"/>
                </a:ext>
              </a:extLst>
            </p:cNvPr>
            <p:cNvSpPr/>
            <p:nvPr/>
          </p:nvSpPr>
          <p:spPr>
            <a:xfrm rot="16200000">
              <a:off x="490391" y="4453317"/>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rgbClr val="004F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34" name="Freeform: Shape 33">
              <a:extLst>
                <a:ext uri="{FF2B5EF4-FFF2-40B4-BE49-F238E27FC236}">
                  <a16:creationId xmlns:a16="http://schemas.microsoft.com/office/drawing/2014/main" id="{95B00B7C-4067-F067-80D7-F59A1EB8C386}"/>
                </a:ext>
              </a:extLst>
            </p:cNvPr>
            <p:cNvSpPr/>
            <p:nvPr/>
          </p:nvSpPr>
          <p:spPr>
            <a:xfrm>
              <a:off x="501652" y="3848567"/>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rgbClr val="004F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35" name="Arrow: Pentagon 34">
              <a:extLst>
                <a:ext uri="{FF2B5EF4-FFF2-40B4-BE49-F238E27FC236}">
                  <a16:creationId xmlns:a16="http://schemas.microsoft.com/office/drawing/2014/main" id="{FD098A63-AE64-D36A-1C3B-FEDB1C91C086}"/>
                </a:ext>
              </a:extLst>
            </p:cNvPr>
            <p:cNvSpPr/>
            <p:nvPr/>
          </p:nvSpPr>
          <p:spPr>
            <a:xfrm>
              <a:off x="501653" y="3928914"/>
              <a:ext cx="1077091" cy="516448"/>
            </a:xfrm>
            <a:prstGeom prst="homePlate">
              <a:avLst>
                <a:gd name="adj" fmla="val 15719"/>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algn="ctr"/>
              <a:r>
                <a:rPr lang="en-US" sz="1100" b="1">
                  <a:latin typeface="Calibri (Body)"/>
                </a:rPr>
                <a:t>Energy, resources &amp; Industrials</a:t>
              </a:r>
            </a:p>
          </p:txBody>
        </p:sp>
      </p:grpSp>
      <p:grpSp>
        <p:nvGrpSpPr>
          <p:cNvPr id="309" name="Group 308">
            <a:extLst>
              <a:ext uri="{FF2B5EF4-FFF2-40B4-BE49-F238E27FC236}">
                <a16:creationId xmlns:a16="http://schemas.microsoft.com/office/drawing/2014/main" id="{918B81D8-F2F0-8295-02F7-455B9179E92C}"/>
              </a:ext>
            </a:extLst>
          </p:cNvPr>
          <p:cNvGrpSpPr>
            <a:grpSpLocks noChangeAspect="1"/>
          </p:cNvGrpSpPr>
          <p:nvPr/>
        </p:nvGrpSpPr>
        <p:grpSpPr>
          <a:xfrm>
            <a:off x="9698083" y="4137589"/>
            <a:ext cx="312274" cy="312274"/>
            <a:chOff x="9060018" y="3243424"/>
            <a:chExt cx="331173" cy="332661"/>
          </a:xfrm>
          <a:solidFill>
            <a:srgbClr val="00ABAB"/>
          </a:solidFill>
        </p:grpSpPr>
        <p:sp>
          <p:nvSpPr>
            <p:cNvPr id="335" name="Freeform 56">
              <a:extLst>
                <a:ext uri="{FF2B5EF4-FFF2-40B4-BE49-F238E27FC236}">
                  <a16:creationId xmlns:a16="http://schemas.microsoft.com/office/drawing/2014/main" id="{28014FF3-80FF-D22F-7A88-F803313A6C62}"/>
                </a:ext>
              </a:extLst>
            </p:cNvPr>
            <p:cNvSpPr>
              <a:spLocks noEditPoints="1"/>
            </p:cNvSpPr>
            <p:nvPr/>
          </p:nvSpPr>
          <p:spPr bwMode="auto">
            <a:xfrm>
              <a:off x="9060018" y="3243424"/>
              <a:ext cx="331173" cy="33266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336" name="Freeform 57">
              <a:extLst>
                <a:ext uri="{FF2B5EF4-FFF2-40B4-BE49-F238E27FC236}">
                  <a16:creationId xmlns:a16="http://schemas.microsoft.com/office/drawing/2014/main" id="{880089AD-B4FD-833F-3054-4598F5E364ED}"/>
                </a:ext>
              </a:extLst>
            </p:cNvPr>
            <p:cNvSpPr>
              <a:spLocks noEditPoints="1"/>
            </p:cNvSpPr>
            <p:nvPr/>
          </p:nvSpPr>
          <p:spPr bwMode="auto">
            <a:xfrm>
              <a:off x="9135993" y="3311913"/>
              <a:ext cx="183119" cy="187856"/>
            </a:xfrm>
            <a:custGeom>
              <a:avLst/>
              <a:gdLst>
                <a:gd name="T0" fmla="*/ 267 w 283"/>
                <a:gd name="T1" fmla="*/ 268 h 289"/>
                <a:gd name="T2" fmla="*/ 267 w 283"/>
                <a:gd name="T3" fmla="*/ 135 h 289"/>
                <a:gd name="T4" fmla="*/ 264 w 283"/>
                <a:gd name="T5" fmla="*/ 63 h 289"/>
                <a:gd name="T6" fmla="*/ 264 w 283"/>
                <a:gd name="T7" fmla="*/ 63 h 289"/>
                <a:gd name="T8" fmla="*/ 243 w 283"/>
                <a:gd name="T9" fmla="*/ 20 h 289"/>
                <a:gd name="T10" fmla="*/ 196 w 283"/>
                <a:gd name="T11" fmla="*/ 9 h 289"/>
                <a:gd name="T12" fmla="*/ 176 w 283"/>
                <a:gd name="T13" fmla="*/ 53 h 289"/>
                <a:gd name="T14" fmla="*/ 189 w 283"/>
                <a:gd name="T15" fmla="*/ 82 h 289"/>
                <a:gd name="T16" fmla="*/ 27 w 283"/>
                <a:gd name="T17" fmla="*/ 173 h 289"/>
                <a:gd name="T18" fmla="*/ 21 w 283"/>
                <a:gd name="T19" fmla="*/ 183 h 289"/>
                <a:gd name="T20" fmla="*/ 21 w 283"/>
                <a:gd name="T21" fmla="*/ 215 h 289"/>
                <a:gd name="T22" fmla="*/ 11 w 283"/>
                <a:gd name="T23" fmla="*/ 215 h 289"/>
                <a:gd name="T24" fmla="*/ 0 w 283"/>
                <a:gd name="T25" fmla="*/ 225 h 289"/>
                <a:gd name="T26" fmla="*/ 0 w 283"/>
                <a:gd name="T27" fmla="*/ 279 h 289"/>
                <a:gd name="T28" fmla="*/ 11 w 283"/>
                <a:gd name="T29" fmla="*/ 289 h 289"/>
                <a:gd name="T30" fmla="*/ 53 w 283"/>
                <a:gd name="T31" fmla="*/ 289 h 289"/>
                <a:gd name="T32" fmla="*/ 267 w 283"/>
                <a:gd name="T33" fmla="*/ 289 h 289"/>
                <a:gd name="T34" fmla="*/ 277 w 283"/>
                <a:gd name="T35" fmla="*/ 279 h 289"/>
                <a:gd name="T36" fmla="*/ 267 w 283"/>
                <a:gd name="T37" fmla="*/ 268 h 289"/>
                <a:gd name="T38" fmla="*/ 179 w 283"/>
                <a:gd name="T39" fmla="*/ 268 h 289"/>
                <a:gd name="T40" fmla="*/ 149 w 283"/>
                <a:gd name="T41" fmla="*/ 129 h 289"/>
                <a:gd name="T42" fmla="*/ 200 w 283"/>
                <a:gd name="T43" fmla="*/ 100 h 289"/>
                <a:gd name="T44" fmla="*/ 245 w 283"/>
                <a:gd name="T45" fmla="*/ 141 h 289"/>
                <a:gd name="T46" fmla="*/ 245 w 283"/>
                <a:gd name="T47" fmla="*/ 268 h 289"/>
                <a:gd name="T48" fmla="*/ 179 w 283"/>
                <a:gd name="T49" fmla="*/ 268 h 289"/>
                <a:gd name="T50" fmla="*/ 157 w 283"/>
                <a:gd name="T51" fmla="*/ 268 h 289"/>
                <a:gd name="T52" fmla="*/ 120 w 283"/>
                <a:gd name="T53" fmla="*/ 268 h 289"/>
                <a:gd name="T54" fmla="*/ 139 w 283"/>
                <a:gd name="T55" fmla="*/ 180 h 289"/>
                <a:gd name="T56" fmla="*/ 157 w 283"/>
                <a:gd name="T57" fmla="*/ 268 h 289"/>
                <a:gd name="T58" fmla="*/ 205 w 283"/>
                <a:gd name="T59" fmla="*/ 28 h 289"/>
                <a:gd name="T60" fmla="*/ 214 w 283"/>
                <a:gd name="T61" fmla="*/ 26 h 289"/>
                <a:gd name="T62" fmla="*/ 226 w 283"/>
                <a:gd name="T63" fmla="*/ 34 h 289"/>
                <a:gd name="T64" fmla="*/ 244 w 283"/>
                <a:gd name="T65" fmla="*/ 70 h 289"/>
                <a:gd name="T66" fmla="*/ 251 w 283"/>
                <a:gd name="T67" fmla="*/ 120 h 289"/>
                <a:gd name="T68" fmla="*/ 216 w 283"/>
                <a:gd name="T69" fmla="*/ 85 h 289"/>
                <a:gd name="T70" fmla="*/ 197 w 283"/>
                <a:gd name="T71" fmla="*/ 48 h 289"/>
                <a:gd name="T72" fmla="*/ 205 w 283"/>
                <a:gd name="T73" fmla="*/ 28 h 289"/>
                <a:gd name="T74" fmla="*/ 43 w 283"/>
                <a:gd name="T75" fmla="*/ 189 h 289"/>
                <a:gd name="T76" fmla="*/ 125 w 283"/>
                <a:gd name="T77" fmla="*/ 143 h 289"/>
                <a:gd name="T78" fmla="*/ 98 w 283"/>
                <a:gd name="T79" fmla="*/ 268 h 289"/>
                <a:gd name="T80" fmla="*/ 64 w 283"/>
                <a:gd name="T81" fmla="*/ 268 h 289"/>
                <a:gd name="T82" fmla="*/ 64 w 283"/>
                <a:gd name="T83" fmla="*/ 225 h 289"/>
                <a:gd name="T84" fmla="*/ 53 w 283"/>
                <a:gd name="T85" fmla="*/ 215 h 289"/>
                <a:gd name="T86" fmla="*/ 43 w 283"/>
                <a:gd name="T87" fmla="*/ 215 h 289"/>
                <a:gd name="T88" fmla="*/ 43 w 283"/>
                <a:gd name="T89" fmla="*/ 189 h 289"/>
                <a:gd name="T90" fmla="*/ 21 w 283"/>
                <a:gd name="T91" fmla="*/ 236 h 289"/>
                <a:gd name="T92" fmla="*/ 43 w 283"/>
                <a:gd name="T93" fmla="*/ 236 h 289"/>
                <a:gd name="T94" fmla="*/ 43 w 283"/>
                <a:gd name="T95" fmla="*/ 268 h 289"/>
                <a:gd name="T96" fmla="*/ 21 w 283"/>
                <a:gd name="T97" fmla="*/ 268 h 289"/>
                <a:gd name="T98" fmla="*/ 21 w 283"/>
                <a:gd name="T99"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89">
                  <a:moveTo>
                    <a:pt x="267" y="268"/>
                  </a:moveTo>
                  <a:cubicBezTo>
                    <a:pt x="267" y="135"/>
                    <a:pt x="267" y="135"/>
                    <a:pt x="267" y="135"/>
                  </a:cubicBezTo>
                  <a:cubicBezTo>
                    <a:pt x="283" y="121"/>
                    <a:pt x="275" y="92"/>
                    <a:pt x="264" y="63"/>
                  </a:cubicBezTo>
                  <a:cubicBezTo>
                    <a:pt x="264" y="63"/>
                    <a:pt x="264" y="63"/>
                    <a:pt x="264" y="63"/>
                  </a:cubicBezTo>
                  <a:cubicBezTo>
                    <a:pt x="261" y="53"/>
                    <a:pt x="251" y="30"/>
                    <a:pt x="243" y="20"/>
                  </a:cubicBezTo>
                  <a:cubicBezTo>
                    <a:pt x="229" y="4"/>
                    <a:pt x="214" y="0"/>
                    <a:pt x="196" y="9"/>
                  </a:cubicBezTo>
                  <a:cubicBezTo>
                    <a:pt x="178" y="18"/>
                    <a:pt x="171" y="33"/>
                    <a:pt x="176" y="53"/>
                  </a:cubicBezTo>
                  <a:cubicBezTo>
                    <a:pt x="178" y="59"/>
                    <a:pt x="182" y="69"/>
                    <a:pt x="189" y="82"/>
                  </a:cubicBezTo>
                  <a:cubicBezTo>
                    <a:pt x="27" y="173"/>
                    <a:pt x="27" y="173"/>
                    <a:pt x="27" y="173"/>
                  </a:cubicBezTo>
                  <a:cubicBezTo>
                    <a:pt x="23" y="175"/>
                    <a:pt x="21" y="179"/>
                    <a:pt x="21" y="183"/>
                  </a:cubicBezTo>
                  <a:cubicBezTo>
                    <a:pt x="21" y="215"/>
                    <a:pt x="21" y="215"/>
                    <a:pt x="21" y="215"/>
                  </a:cubicBezTo>
                  <a:cubicBezTo>
                    <a:pt x="11" y="215"/>
                    <a:pt x="11" y="215"/>
                    <a:pt x="11" y="215"/>
                  </a:cubicBezTo>
                  <a:cubicBezTo>
                    <a:pt x="5" y="215"/>
                    <a:pt x="0" y="219"/>
                    <a:pt x="0" y="225"/>
                  </a:cubicBezTo>
                  <a:cubicBezTo>
                    <a:pt x="0" y="279"/>
                    <a:pt x="0" y="279"/>
                    <a:pt x="0" y="279"/>
                  </a:cubicBezTo>
                  <a:cubicBezTo>
                    <a:pt x="0" y="285"/>
                    <a:pt x="5" y="289"/>
                    <a:pt x="11" y="289"/>
                  </a:cubicBezTo>
                  <a:cubicBezTo>
                    <a:pt x="53" y="289"/>
                    <a:pt x="53" y="289"/>
                    <a:pt x="53" y="289"/>
                  </a:cubicBezTo>
                  <a:cubicBezTo>
                    <a:pt x="267" y="289"/>
                    <a:pt x="267" y="289"/>
                    <a:pt x="267" y="289"/>
                  </a:cubicBezTo>
                  <a:cubicBezTo>
                    <a:pt x="273" y="289"/>
                    <a:pt x="277" y="285"/>
                    <a:pt x="277" y="279"/>
                  </a:cubicBezTo>
                  <a:cubicBezTo>
                    <a:pt x="277" y="273"/>
                    <a:pt x="273" y="268"/>
                    <a:pt x="267" y="268"/>
                  </a:cubicBezTo>
                  <a:close/>
                  <a:moveTo>
                    <a:pt x="179" y="268"/>
                  </a:moveTo>
                  <a:cubicBezTo>
                    <a:pt x="149" y="129"/>
                    <a:pt x="149" y="129"/>
                    <a:pt x="149" y="129"/>
                  </a:cubicBezTo>
                  <a:cubicBezTo>
                    <a:pt x="200" y="100"/>
                    <a:pt x="200" y="100"/>
                    <a:pt x="200" y="100"/>
                  </a:cubicBezTo>
                  <a:cubicBezTo>
                    <a:pt x="216" y="125"/>
                    <a:pt x="231" y="139"/>
                    <a:pt x="245" y="141"/>
                  </a:cubicBezTo>
                  <a:cubicBezTo>
                    <a:pt x="245" y="268"/>
                    <a:pt x="245" y="268"/>
                    <a:pt x="245" y="268"/>
                  </a:cubicBezTo>
                  <a:lnTo>
                    <a:pt x="179" y="268"/>
                  </a:lnTo>
                  <a:close/>
                  <a:moveTo>
                    <a:pt x="157" y="268"/>
                  </a:moveTo>
                  <a:cubicBezTo>
                    <a:pt x="120" y="268"/>
                    <a:pt x="120" y="268"/>
                    <a:pt x="120" y="268"/>
                  </a:cubicBezTo>
                  <a:cubicBezTo>
                    <a:pt x="139" y="180"/>
                    <a:pt x="139" y="180"/>
                    <a:pt x="139" y="180"/>
                  </a:cubicBezTo>
                  <a:lnTo>
                    <a:pt x="157" y="268"/>
                  </a:lnTo>
                  <a:close/>
                  <a:moveTo>
                    <a:pt x="205" y="28"/>
                  </a:moveTo>
                  <a:cubicBezTo>
                    <a:pt x="208" y="27"/>
                    <a:pt x="211" y="26"/>
                    <a:pt x="214" y="26"/>
                  </a:cubicBezTo>
                  <a:cubicBezTo>
                    <a:pt x="217" y="26"/>
                    <a:pt x="221" y="28"/>
                    <a:pt x="226" y="34"/>
                  </a:cubicBezTo>
                  <a:cubicBezTo>
                    <a:pt x="231" y="39"/>
                    <a:pt x="240" y="58"/>
                    <a:pt x="244" y="70"/>
                  </a:cubicBezTo>
                  <a:cubicBezTo>
                    <a:pt x="259" y="110"/>
                    <a:pt x="255" y="118"/>
                    <a:pt x="251" y="120"/>
                  </a:cubicBezTo>
                  <a:cubicBezTo>
                    <a:pt x="247" y="122"/>
                    <a:pt x="235" y="117"/>
                    <a:pt x="216" y="85"/>
                  </a:cubicBezTo>
                  <a:cubicBezTo>
                    <a:pt x="201" y="61"/>
                    <a:pt x="198" y="52"/>
                    <a:pt x="197" y="48"/>
                  </a:cubicBezTo>
                  <a:cubicBezTo>
                    <a:pt x="194" y="35"/>
                    <a:pt x="199" y="32"/>
                    <a:pt x="205" y="28"/>
                  </a:cubicBezTo>
                  <a:close/>
                  <a:moveTo>
                    <a:pt x="43" y="189"/>
                  </a:moveTo>
                  <a:cubicBezTo>
                    <a:pt x="125" y="143"/>
                    <a:pt x="125" y="143"/>
                    <a:pt x="125" y="143"/>
                  </a:cubicBezTo>
                  <a:cubicBezTo>
                    <a:pt x="98" y="268"/>
                    <a:pt x="98" y="268"/>
                    <a:pt x="98" y="268"/>
                  </a:cubicBezTo>
                  <a:cubicBezTo>
                    <a:pt x="64" y="268"/>
                    <a:pt x="64" y="268"/>
                    <a:pt x="64" y="268"/>
                  </a:cubicBezTo>
                  <a:cubicBezTo>
                    <a:pt x="64" y="225"/>
                    <a:pt x="64" y="225"/>
                    <a:pt x="64" y="225"/>
                  </a:cubicBezTo>
                  <a:cubicBezTo>
                    <a:pt x="64" y="219"/>
                    <a:pt x="59" y="215"/>
                    <a:pt x="53" y="215"/>
                  </a:cubicBezTo>
                  <a:cubicBezTo>
                    <a:pt x="43" y="215"/>
                    <a:pt x="43" y="215"/>
                    <a:pt x="43" y="215"/>
                  </a:cubicBezTo>
                  <a:lnTo>
                    <a:pt x="43" y="189"/>
                  </a:lnTo>
                  <a:close/>
                  <a:moveTo>
                    <a:pt x="21" y="236"/>
                  </a:moveTo>
                  <a:cubicBezTo>
                    <a:pt x="43" y="236"/>
                    <a:pt x="43" y="236"/>
                    <a:pt x="43" y="236"/>
                  </a:cubicBezTo>
                  <a:cubicBezTo>
                    <a:pt x="43" y="268"/>
                    <a:pt x="43" y="268"/>
                    <a:pt x="43" y="268"/>
                  </a:cubicBezTo>
                  <a:cubicBezTo>
                    <a:pt x="21" y="268"/>
                    <a:pt x="21" y="268"/>
                    <a:pt x="21" y="268"/>
                  </a:cubicBezTo>
                  <a:lnTo>
                    <a:pt x="21" y="2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grpSp>
      <p:sp>
        <p:nvSpPr>
          <p:cNvPr id="8" name="Rectangle: Rounded Corners 7">
            <a:extLst>
              <a:ext uri="{FF2B5EF4-FFF2-40B4-BE49-F238E27FC236}">
                <a16:creationId xmlns:a16="http://schemas.microsoft.com/office/drawing/2014/main" id="{2F1DCC30-4343-0A78-40AC-EFFAC1AABFD8}"/>
              </a:ext>
            </a:extLst>
          </p:cNvPr>
          <p:cNvSpPr/>
          <p:nvPr/>
        </p:nvSpPr>
        <p:spPr bwMode="gray">
          <a:xfrm>
            <a:off x="4338047" y="4972835"/>
            <a:ext cx="7364159" cy="405139"/>
          </a:xfrm>
          <a:prstGeom prst="roundRect">
            <a:avLst/>
          </a:prstGeom>
          <a:solidFill>
            <a:schemeClr val="bg1">
              <a:lumMod val="95000"/>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grpSp>
        <p:nvGrpSpPr>
          <p:cNvPr id="36" name="Group 35">
            <a:extLst>
              <a:ext uri="{FF2B5EF4-FFF2-40B4-BE49-F238E27FC236}">
                <a16:creationId xmlns:a16="http://schemas.microsoft.com/office/drawing/2014/main" id="{1D3F04C4-009A-D12C-D8AF-E4176126D8DE}"/>
              </a:ext>
            </a:extLst>
          </p:cNvPr>
          <p:cNvGrpSpPr/>
          <p:nvPr/>
        </p:nvGrpSpPr>
        <p:grpSpPr>
          <a:xfrm flipH="1">
            <a:off x="10187466" y="4953157"/>
            <a:ext cx="1517324" cy="445653"/>
            <a:chOff x="501652" y="3849461"/>
            <a:chExt cx="1077092" cy="685952"/>
          </a:xfrm>
        </p:grpSpPr>
        <p:sp>
          <p:nvSpPr>
            <p:cNvPr id="37" name="Freeform: Shape 36">
              <a:extLst>
                <a:ext uri="{FF2B5EF4-FFF2-40B4-BE49-F238E27FC236}">
                  <a16:creationId xmlns:a16="http://schemas.microsoft.com/office/drawing/2014/main" id="{079D18B9-2B21-B4EC-E760-1CAE9364ABAA}"/>
                </a:ext>
              </a:extLst>
            </p:cNvPr>
            <p:cNvSpPr/>
            <p:nvPr/>
          </p:nvSpPr>
          <p:spPr>
            <a:xfrm rot="16200000">
              <a:off x="490391" y="4454213"/>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rgbClr val="004F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38" name="Freeform: Shape 37">
              <a:extLst>
                <a:ext uri="{FF2B5EF4-FFF2-40B4-BE49-F238E27FC236}">
                  <a16:creationId xmlns:a16="http://schemas.microsoft.com/office/drawing/2014/main" id="{0DD572C9-6BF7-9D8B-A71A-E1C0EE331D1B}"/>
                </a:ext>
              </a:extLst>
            </p:cNvPr>
            <p:cNvSpPr/>
            <p:nvPr/>
          </p:nvSpPr>
          <p:spPr>
            <a:xfrm>
              <a:off x="501652" y="3849461"/>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rgbClr val="004F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39" name="Arrow: Pentagon 38">
              <a:extLst>
                <a:ext uri="{FF2B5EF4-FFF2-40B4-BE49-F238E27FC236}">
                  <a16:creationId xmlns:a16="http://schemas.microsoft.com/office/drawing/2014/main" id="{BA7C09D9-48F8-7329-72A8-D85240ED9234}"/>
                </a:ext>
              </a:extLst>
            </p:cNvPr>
            <p:cNvSpPr/>
            <p:nvPr/>
          </p:nvSpPr>
          <p:spPr>
            <a:xfrm>
              <a:off x="501653" y="3928914"/>
              <a:ext cx="1077091" cy="516448"/>
            </a:xfrm>
            <a:prstGeom prst="homePlate">
              <a:avLst>
                <a:gd name="adj" fmla="val 15719"/>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algn="ctr"/>
              <a:r>
                <a:rPr lang="en-US" sz="1100" b="1">
                  <a:latin typeface="Calibri (Body)"/>
                </a:rPr>
                <a:t>Life sciences &amp; healthcare </a:t>
              </a:r>
            </a:p>
          </p:txBody>
        </p:sp>
      </p:grpSp>
      <p:grpSp>
        <p:nvGrpSpPr>
          <p:cNvPr id="310" name="Group 327">
            <a:extLst>
              <a:ext uri="{FF2B5EF4-FFF2-40B4-BE49-F238E27FC236}">
                <a16:creationId xmlns:a16="http://schemas.microsoft.com/office/drawing/2014/main" id="{620F162C-15EC-54CC-34F2-1A7A5713E466}"/>
              </a:ext>
            </a:extLst>
          </p:cNvPr>
          <p:cNvGrpSpPr>
            <a:grpSpLocks noChangeAspect="1"/>
          </p:cNvGrpSpPr>
          <p:nvPr/>
        </p:nvGrpSpPr>
        <p:grpSpPr bwMode="auto">
          <a:xfrm>
            <a:off x="9705442" y="5019271"/>
            <a:ext cx="312275" cy="312275"/>
            <a:chOff x="5029" y="1186"/>
            <a:chExt cx="340" cy="340"/>
          </a:xfrm>
          <a:solidFill>
            <a:srgbClr val="00ABAB"/>
          </a:solidFill>
        </p:grpSpPr>
        <p:sp>
          <p:nvSpPr>
            <p:cNvPr id="333" name="Freeform 328">
              <a:extLst>
                <a:ext uri="{FF2B5EF4-FFF2-40B4-BE49-F238E27FC236}">
                  <a16:creationId xmlns:a16="http://schemas.microsoft.com/office/drawing/2014/main" id="{7C3BB24F-A9CA-F6AD-745E-C6355E46F665}"/>
                </a:ext>
              </a:extLst>
            </p:cNvPr>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334" name="Freeform 329">
              <a:extLst>
                <a:ext uri="{FF2B5EF4-FFF2-40B4-BE49-F238E27FC236}">
                  <a16:creationId xmlns:a16="http://schemas.microsoft.com/office/drawing/2014/main" id="{54C7C4EF-5D54-FFB9-3A3E-104FA4BA5934}"/>
                </a:ext>
              </a:extLst>
            </p:cNvPr>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grpSp>
      <p:sp>
        <p:nvSpPr>
          <p:cNvPr id="6" name="Rectangle: Rounded Corners 5">
            <a:extLst>
              <a:ext uri="{FF2B5EF4-FFF2-40B4-BE49-F238E27FC236}">
                <a16:creationId xmlns:a16="http://schemas.microsoft.com/office/drawing/2014/main" id="{252913CE-954C-B929-7E27-DAE7B8E32CC8}"/>
              </a:ext>
            </a:extLst>
          </p:cNvPr>
          <p:cNvSpPr/>
          <p:nvPr/>
        </p:nvSpPr>
        <p:spPr bwMode="gray">
          <a:xfrm>
            <a:off x="4336752" y="5854511"/>
            <a:ext cx="7364159" cy="405139"/>
          </a:xfrm>
          <a:prstGeom prst="roundRect">
            <a:avLst/>
          </a:prstGeom>
          <a:solidFill>
            <a:schemeClr val="bg1">
              <a:lumMod val="95000"/>
              <a:alpha val="50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400" b="1">
              <a:solidFill>
                <a:schemeClr val="bg1"/>
              </a:solidFill>
            </a:endParaRPr>
          </a:p>
        </p:txBody>
      </p:sp>
      <p:grpSp>
        <p:nvGrpSpPr>
          <p:cNvPr id="40" name="Group 39">
            <a:extLst>
              <a:ext uri="{FF2B5EF4-FFF2-40B4-BE49-F238E27FC236}">
                <a16:creationId xmlns:a16="http://schemas.microsoft.com/office/drawing/2014/main" id="{AC4AB08F-EEC9-DBCF-59FC-14543B58DDD1}"/>
              </a:ext>
            </a:extLst>
          </p:cNvPr>
          <p:cNvGrpSpPr/>
          <p:nvPr/>
        </p:nvGrpSpPr>
        <p:grpSpPr>
          <a:xfrm flipH="1">
            <a:off x="10187466" y="5834254"/>
            <a:ext cx="1517324" cy="445652"/>
            <a:chOff x="501652" y="3848567"/>
            <a:chExt cx="1077092" cy="685950"/>
          </a:xfrm>
        </p:grpSpPr>
        <p:sp>
          <p:nvSpPr>
            <p:cNvPr id="41" name="Freeform: Shape 40">
              <a:extLst>
                <a:ext uri="{FF2B5EF4-FFF2-40B4-BE49-F238E27FC236}">
                  <a16:creationId xmlns:a16="http://schemas.microsoft.com/office/drawing/2014/main" id="{DBA95BB4-3E5A-3933-56A7-E6F64B830C62}"/>
                </a:ext>
              </a:extLst>
            </p:cNvPr>
            <p:cNvSpPr/>
            <p:nvPr/>
          </p:nvSpPr>
          <p:spPr>
            <a:xfrm rot="16200000">
              <a:off x="490391" y="4453317"/>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rgbClr val="004F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42" name="Freeform: Shape 41">
              <a:extLst>
                <a:ext uri="{FF2B5EF4-FFF2-40B4-BE49-F238E27FC236}">
                  <a16:creationId xmlns:a16="http://schemas.microsoft.com/office/drawing/2014/main" id="{74004D9A-A834-FAE6-0A50-2A6D33AAFFAE}"/>
                </a:ext>
              </a:extLst>
            </p:cNvPr>
            <p:cNvSpPr/>
            <p:nvPr/>
          </p:nvSpPr>
          <p:spPr>
            <a:xfrm>
              <a:off x="501652" y="3848567"/>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rgbClr val="004F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43" name="Arrow: Pentagon 42">
              <a:extLst>
                <a:ext uri="{FF2B5EF4-FFF2-40B4-BE49-F238E27FC236}">
                  <a16:creationId xmlns:a16="http://schemas.microsoft.com/office/drawing/2014/main" id="{9181592E-1876-EC53-3708-7B84ADBE65C6}"/>
                </a:ext>
              </a:extLst>
            </p:cNvPr>
            <p:cNvSpPr/>
            <p:nvPr/>
          </p:nvSpPr>
          <p:spPr>
            <a:xfrm>
              <a:off x="501653" y="3928914"/>
              <a:ext cx="1077091" cy="516448"/>
            </a:xfrm>
            <a:prstGeom prst="homePlate">
              <a:avLst>
                <a:gd name="adj" fmla="val 15719"/>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algn="ctr"/>
              <a:r>
                <a:rPr lang="en-US" sz="1100" b="1">
                  <a:latin typeface="Calibri (Body)"/>
                </a:rPr>
                <a:t>Government &amp; Public services</a:t>
              </a:r>
            </a:p>
          </p:txBody>
        </p:sp>
      </p:grpSp>
      <p:grpSp>
        <p:nvGrpSpPr>
          <p:cNvPr id="311" name="Group 29">
            <a:extLst>
              <a:ext uri="{FF2B5EF4-FFF2-40B4-BE49-F238E27FC236}">
                <a16:creationId xmlns:a16="http://schemas.microsoft.com/office/drawing/2014/main" id="{5063A6CB-C68E-BDF0-BB6F-4187C9CAE55C}"/>
              </a:ext>
            </a:extLst>
          </p:cNvPr>
          <p:cNvGrpSpPr>
            <a:grpSpLocks noChangeAspect="1"/>
          </p:cNvGrpSpPr>
          <p:nvPr/>
        </p:nvGrpSpPr>
        <p:grpSpPr bwMode="auto">
          <a:xfrm>
            <a:off x="9704132" y="5900941"/>
            <a:ext cx="312274" cy="312273"/>
            <a:chOff x="2899" y="653"/>
            <a:chExt cx="340" cy="340"/>
          </a:xfrm>
          <a:solidFill>
            <a:srgbClr val="00ABAB"/>
          </a:solidFill>
        </p:grpSpPr>
        <p:sp>
          <p:nvSpPr>
            <p:cNvPr id="330" name="Freeform 30">
              <a:extLst>
                <a:ext uri="{FF2B5EF4-FFF2-40B4-BE49-F238E27FC236}">
                  <a16:creationId xmlns:a16="http://schemas.microsoft.com/office/drawing/2014/main" id="{0061AEB6-2D81-4E25-9FCA-383FDAE3D5D1}"/>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331" name="Freeform 31">
              <a:extLst>
                <a:ext uri="{FF2B5EF4-FFF2-40B4-BE49-F238E27FC236}">
                  <a16:creationId xmlns:a16="http://schemas.microsoft.com/office/drawing/2014/main" id="{04FB8D02-2F29-851F-6E1A-13E7D7C9B7B2}"/>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332" name="Freeform 32">
              <a:extLst>
                <a:ext uri="{FF2B5EF4-FFF2-40B4-BE49-F238E27FC236}">
                  <a16:creationId xmlns:a16="http://schemas.microsoft.com/office/drawing/2014/main" id="{0DC146B5-1104-61EB-9FC2-8737BD844D69}"/>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grpSp>
      <p:grpSp>
        <p:nvGrpSpPr>
          <p:cNvPr id="511" name="Group 510">
            <a:extLst>
              <a:ext uri="{FF2B5EF4-FFF2-40B4-BE49-F238E27FC236}">
                <a16:creationId xmlns:a16="http://schemas.microsoft.com/office/drawing/2014/main" id="{D68C8541-CD37-8D3A-E4BA-118CD77C8722}"/>
              </a:ext>
            </a:extLst>
          </p:cNvPr>
          <p:cNvGrpSpPr/>
          <p:nvPr/>
        </p:nvGrpSpPr>
        <p:grpSpPr>
          <a:xfrm>
            <a:off x="4335462" y="4511745"/>
            <a:ext cx="7366744" cy="445653"/>
            <a:chOff x="4335462" y="4498681"/>
            <a:chExt cx="7366744" cy="445653"/>
          </a:xfrm>
        </p:grpSpPr>
        <p:sp>
          <p:nvSpPr>
            <p:cNvPr id="15" name="Rectangle: Rounded Corners 14">
              <a:extLst>
                <a:ext uri="{FF2B5EF4-FFF2-40B4-BE49-F238E27FC236}">
                  <a16:creationId xmlns:a16="http://schemas.microsoft.com/office/drawing/2014/main" id="{910A88DE-E0C8-1DB9-3070-AA440662C413}"/>
                </a:ext>
              </a:extLst>
            </p:cNvPr>
            <p:cNvSpPr/>
            <p:nvPr/>
          </p:nvSpPr>
          <p:spPr bwMode="gray">
            <a:xfrm>
              <a:off x="4338047" y="4518932"/>
              <a:ext cx="7364159" cy="405139"/>
            </a:xfrm>
            <a:prstGeom prst="roundRect">
              <a:avLst/>
            </a:prstGeom>
            <a:solidFill>
              <a:schemeClr val="bg1">
                <a:lumMod val="95000"/>
                <a:alpha val="50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400" b="1">
                <a:solidFill>
                  <a:schemeClr val="bg1"/>
                </a:solidFill>
              </a:endParaRPr>
            </a:p>
          </p:txBody>
        </p:sp>
        <p:grpSp>
          <p:nvGrpSpPr>
            <p:cNvPr id="44" name="Group 43">
              <a:extLst>
                <a:ext uri="{FF2B5EF4-FFF2-40B4-BE49-F238E27FC236}">
                  <a16:creationId xmlns:a16="http://schemas.microsoft.com/office/drawing/2014/main" id="{F64BEC7A-6FBF-D4EE-8C7D-81D27E2E1BAC}"/>
                </a:ext>
              </a:extLst>
            </p:cNvPr>
            <p:cNvGrpSpPr/>
            <p:nvPr/>
          </p:nvGrpSpPr>
          <p:grpSpPr>
            <a:xfrm>
              <a:off x="4335462" y="4498681"/>
              <a:ext cx="1517329" cy="445653"/>
              <a:chOff x="501652" y="3848567"/>
              <a:chExt cx="1077092" cy="685950"/>
            </a:xfrm>
          </p:grpSpPr>
          <p:sp>
            <p:nvSpPr>
              <p:cNvPr id="45" name="Freeform: Shape 44">
                <a:extLst>
                  <a:ext uri="{FF2B5EF4-FFF2-40B4-BE49-F238E27FC236}">
                    <a16:creationId xmlns:a16="http://schemas.microsoft.com/office/drawing/2014/main" id="{A0050431-FEE9-0876-A7EE-705F05F91FFB}"/>
                  </a:ext>
                </a:extLst>
              </p:cNvPr>
              <p:cNvSpPr/>
              <p:nvPr/>
            </p:nvSpPr>
            <p:spPr>
              <a:xfrm rot="16200000">
                <a:off x="490391" y="4453317"/>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46" name="Freeform: Shape 45">
                <a:extLst>
                  <a:ext uri="{FF2B5EF4-FFF2-40B4-BE49-F238E27FC236}">
                    <a16:creationId xmlns:a16="http://schemas.microsoft.com/office/drawing/2014/main" id="{F044869E-9211-4D28-59BE-B9FDFB83CE37}"/>
                  </a:ext>
                </a:extLst>
              </p:cNvPr>
              <p:cNvSpPr/>
              <p:nvPr/>
            </p:nvSpPr>
            <p:spPr>
              <a:xfrm>
                <a:off x="501652" y="3848567"/>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47" name="Arrow: Pentagon 46">
                <a:extLst>
                  <a:ext uri="{FF2B5EF4-FFF2-40B4-BE49-F238E27FC236}">
                    <a16:creationId xmlns:a16="http://schemas.microsoft.com/office/drawing/2014/main" id="{E3C75F96-1036-8025-F34E-E2640744749B}"/>
                  </a:ext>
                </a:extLst>
              </p:cNvPr>
              <p:cNvSpPr/>
              <p:nvPr/>
            </p:nvSpPr>
            <p:spPr>
              <a:xfrm>
                <a:off x="501653" y="3928914"/>
                <a:ext cx="1077091" cy="516448"/>
              </a:xfrm>
              <a:prstGeom prst="homePlate">
                <a:avLst>
                  <a:gd name="adj" fmla="val 15719"/>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algn="ctr"/>
                <a:r>
                  <a:rPr lang="en-US" sz="1100" b="1">
                    <a:latin typeface="Calibri (Body)"/>
                  </a:rPr>
                  <a:t>Financial services </a:t>
                </a:r>
              </a:p>
            </p:txBody>
          </p:sp>
        </p:grpSp>
        <p:grpSp>
          <p:nvGrpSpPr>
            <p:cNvPr id="313" name="Group 345">
              <a:extLst>
                <a:ext uri="{FF2B5EF4-FFF2-40B4-BE49-F238E27FC236}">
                  <a16:creationId xmlns:a16="http://schemas.microsoft.com/office/drawing/2014/main" id="{485C5874-13FF-892A-00D2-06597D4548E6}"/>
                </a:ext>
              </a:extLst>
            </p:cNvPr>
            <p:cNvGrpSpPr>
              <a:grpSpLocks noChangeAspect="1"/>
            </p:cNvGrpSpPr>
            <p:nvPr/>
          </p:nvGrpSpPr>
          <p:grpSpPr bwMode="auto">
            <a:xfrm>
              <a:off x="6024929" y="4565364"/>
              <a:ext cx="312274" cy="312274"/>
              <a:chOff x="3451" y="1171"/>
              <a:chExt cx="340" cy="340"/>
            </a:xfrm>
            <a:solidFill>
              <a:srgbClr val="0076A8"/>
            </a:solidFill>
          </p:grpSpPr>
          <p:sp>
            <p:nvSpPr>
              <p:cNvPr id="326" name="Freeform 346">
                <a:extLst>
                  <a:ext uri="{FF2B5EF4-FFF2-40B4-BE49-F238E27FC236}">
                    <a16:creationId xmlns:a16="http://schemas.microsoft.com/office/drawing/2014/main" id="{5147CD9C-53F1-4ACA-C527-D1FFE6001949}"/>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327" name="Freeform 347">
                <a:extLst>
                  <a:ext uri="{FF2B5EF4-FFF2-40B4-BE49-F238E27FC236}">
                    <a16:creationId xmlns:a16="http://schemas.microsoft.com/office/drawing/2014/main" id="{3D5E223B-6A31-8AC9-4711-9C563B7D8995}"/>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grpSp>
      </p:grpSp>
      <p:grpSp>
        <p:nvGrpSpPr>
          <p:cNvPr id="258" name="Group 257">
            <a:extLst>
              <a:ext uri="{FF2B5EF4-FFF2-40B4-BE49-F238E27FC236}">
                <a16:creationId xmlns:a16="http://schemas.microsoft.com/office/drawing/2014/main" id="{5070576E-3815-419B-1BEA-70EF92F2F17F}"/>
              </a:ext>
            </a:extLst>
          </p:cNvPr>
          <p:cNvGrpSpPr/>
          <p:nvPr/>
        </p:nvGrpSpPr>
        <p:grpSpPr>
          <a:xfrm>
            <a:off x="4335462" y="5393423"/>
            <a:ext cx="7366744" cy="445653"/>
            <a:chOff x="4335462" y="5389067"/>
            <a:chExt cx="7366744" cy="445653"/>
          </a:xfrm>
        </p:grpSpPr>
        <p:sp>
          <p:nvSpPr>
            <p:cNvPr id="7" name="Rectangle: Rounded Corners 6">
              <a:extLst>
                <a:ext uri="{FF2B5EF4-FFF2-40B4-BE49-F238E27FC236}">
                  <a16:creationId xmlns:a16="http://schemas.microsoft.com/office/drawing/2014/main" id="{3AF88C8A-A90A-B743-15E1-472C8B149BC1}"/>
                </a:ext>
              </a:extLst>
            </p:cNvPr>
            <p:cNvSpPr/>
            <p:nvPr/>
          </p:nvSpPr>
          <p:spPr bwMode="gray">
            <a:xfrm>
              <a:off x="4338047" y="5409318"/>
              <a:ext cx="7364159" cy="405139"/>
            </a:xfrm>
            <a:prstGeom prst="roundRect">
              <a:avLst/>
            </a:prstGeom>
            <a:solidFill>
              <a:schemeClr val="bg1">
                <a:lumMod val="95000"/>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a:solidFill>
                  <a:schemeClr val="bg1"/>
                </a:solidFill>
              </a:endParaRPr>
            </a:p>
          </p:txBody>
        </p:sp>
        <p:grpSp>
          <p:nvGrpSpPr>
            <p:cNvPr id="48" name="Group 47">
              <a:extLst>
                <a:ext uri="{FF2B5EF4-FFF2-40B4-BE49-F238E27FC236}">
                  <a16:creationId xmlns:a16="http://schemas.microsoft.com/office/drawing/2014/main" id="{A52F5071-2BEB-EE41-4E72-47BE7E0F6844}"/>
                </a:ext>
              </a:extLst>
            </p:cNvPr>
            <p:cNvGrpSpPr/>
            <p:nvPr/>
          </p:nvGrpSpPr>
          <p:grpSpPr>
            <a:xfrm>
              <a:off x="4335462" y="5389067"/>
              <a:ext cx="1517329" cy="445653"/>
              <a:chOff x="501652" y="3848567"/>
              <a:chExt cx="1077092" cy="685950"/>
            </a:xfrm>
          </p:grpSpPr>
          <p:sp>
            <p:nvSpPr>
              <p:cNvPr id="49" name="Freeform: Shape 48">
                <a:extLst>
                  <a:ext uri="{FF2B5EF4-FFF2-40B4-BE49-F238E27FC236}">
                    <a16:creationId xmlns:a16="http://schemas.microsoft.com/office/drawing/2014/main" id="{095703D9-C5F1-2C6F-16F4-8C74966B12D6}"/>
                  </a:ext>
                </a:extLst>
              </p:cNvPr>
              <p:cNvSpPr/>
              <p:nvPr/>
            </p:nvSpPr>
            <p:spPr>
              <a:xfrm rot="16200000">
                <a:off x="490391" y="4453317"/>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50" name="Freeform: Shape 49">
                <a:extLst>
                  <a:ext uri="{FF2B5EF4-FFF2-40B4-BE49-F238E27FC236}">
                    <a16:creationId xmlns:a16="http://schemas.microsoft.com/office/drawing/2014/main" id="{C9E93576-4F52-6503-4591-0EEC19777BF0}"/>
                  </a:ext>
                </a:extLst>
              </p:cNvPr>
              <p:cNvSpPr/>
              <p:nvPr/>
            </p:nvSpPr>
            <p:spPr>
              <a:xfrm>
                <a:off x="501652" y="3848567"/>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51" name="Arrow: Pentagon 50">
                <a:extLst>
                  <a:ext uri="{FF2B5EF4-FFF2-40B4-BE49-F238E27FC236}">
                    <a16:creationId xmlns:a16="http://schemas.microsoft.com/office/drawing/2014/main" id="{55688C01-3025-FB52-3001-0BB8339270E5}"/>
                  </a:ext>
                </a:extLst>
              </p:cNvPr>
              <p:cNvSpPr/>
              <p:nvPr/>
            </p:nvSpPr>
            <p:spPr>
              <a:xfrm>
                <a:off x="501653" y="3928914"/>
                <a:ext cx="1077091" cy="516448"/>
              </a:xfrm>
              <a:prstGeom prst="homePlate">
                <a:avLst>
                  <a:gd name="adj" fmla="val 15719"/>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algn="ctr"/>
                <a:r>
                  <a:rPr lang="en-US" sz="1100" b="1">
                    <a:latin typeface="Calibri (Body)"/>
                  </a:rPr>
                  <a:t>Tech, media</a:t>
                </a:r>
                <a:br>
                  <a:rPr lang="en-US" sz="1100" b="1">
                    <a:latin typeface="Calibri (Body)"/>
                  </a:rPr>
                </a:br>
                <a:r>
                  <a:rPr lang="en-US" sz="1100" b="1">
                    <a:latin typeface="Calibri (Body)"/>
                  </a:rPr>
                  <a:t>&amp; telecom</a:t>
                </a:r>
              </a:p>
            </p:txBody>
          </p:sp>
        </p:grpSp>
        <p:grpSp>
          <p:nvGrpSpPr>
            <p:cNvPr id="314" name="Group 768">
              <a:extLst>
                <a:ext uri="{FF2B5EF4-FFF2-40B4-BE49-F238E27FC236}">
                  <a16:creationId xmlns:a16="http://schemas.microsoft.com/office/drawing/2014/main" id="{95F3B5E0-FED2-58BE-BEC9-1DB24960E959}"/>
                </a:ext>
              </a:extLst>
            </p:cNvPr>
            <p:cNvGrpSpPr>
              <a:grpSpLocks noChangeAspect="1"/>
            </p:cNvGrpSpPr>
            <p:nvPr/>
          </p:nvGrpSpPr>
          <p:grpSpPr bwMode="auto">
            <a:xfrm>
              <a:off x="6024929" y="5455750"/>
              <a:ext cx="312274" cy="312274"/>
              <a:chOff x="6591" y="3054"/>
              <a:chExt cx="340" cy="340"/>
            </a:xfrm>
            <a:solidFill>
              <a:srgbClr val="0076A8"/>
            </a:solidFill>
          </p:grpSpPr>
          <p:sp>
            <p:nvSpPr>
              <p:cNvPr id="324" name="Freeform 769">
                <a:extLst>
                  <a:ext uri="{FF2B5EF4-FFF2-40B4-BE49-F238E27FC236}">
                    <a16:creationId xmlns:a16="http://schemas.microsoft.com/office/drawing/2014/main" id="{863F340C-2764-EC0F-73F6-3C352CB0DCC1}"/>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325" name="Freeform 770">
                <a:extLst>
                  <a:ext uri="{FF2B5EF4-FFF2-40B4-BE49-F238E27FC236}">
                    <a16:creationId xmlns:a16="http://schemas.microsoft.com/office/drawing/2014/main" id="{9F1F4A4C-6C68-F50A-2605-EC6A1903A939}"/>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grpSp>
      </p:grpSp>
      <p:grpSp>
        <p:nvGrpSpPr>
          <p:cNvPr id="508" name="Group 507">
            <a:extLst>
              <a:ext uri="{FF2B5EF4-FFF2-40B4-BE49-F238E27FC236}">
                <a16:creationId xmlns:a16="http://schemas.microsoft.com/office/drawing/2014/main" id="{BB711E3D-27AD-69A0-C1D6-402A3A02575B}"/>
              </a:ext>
            </a:extLst>
          </p:cNvPr>
          <p:cNvGrpSpPr/>
          <p:nvPr/>
        </p:nvGrpSpPr>
        <p:grpSpPr>
          <a:xfrm>
            <a:off x="4335462" y="3630067"/>
            <a:ext cx="7369329" cy="445653"/>
            <a:chOff x="4335462" y="3630067"/>
            <a:chExt cx="7369329" cy="445653"/>
          </a:xfrm>
        </p:grpSpPr>
        <p:sp>
          <p:nvSpPr>
            <p:cNvPr id="17" name="Rectangle: Rounded Corners 16">
              <a:extLst>
                <a:ext uri="{FF2B5EF4-FFF2-40B4-BE49-F238E27FC236}">
                  <a16:creationId xmlns:a16="http://schemas.microsoft.com/office/drawing/2014/main" id="{C23D8B8A-BB4C-9A88-3C24-B669BE45239D}"/>
                </a:ext>
              </a:extLst>
            </p:cNvPr>
            <p:cNvSpPr/>
            <p:nvPr/>
          </p:nvSpPr>
          <p:spPr bwMode="gray">
            <a:xfrm>
              <a:off x="4340632" y="3650318"/>
              <a:ext cx="7364159" cy="405139"/>
            </a:xfrm>
            <a:prstGeom prst="roundRect">
              <a:avLst/>
            </a:prstGeom>
            <a:solidFill>
              <a:schemeClr val="bg1">
                <a:lumMod val="95000"/>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grpSp>
          <p:nvGrpSpPr>
            <p:cNvPr id="11" name="Group 10">
              <a:extLst>
                <a:ext uri="{FF2B5EF4-FFF2-40B4-BE49-F238E27FC236}">
                  <a16:creationId xmlns:a16="http://schemas.microsoft.com/office/drawing/2014/main" id="{F936F81B-DDE3-B3CD-7476-0D5AFDA32933}"/>
                </a:ext>
              </a:extLst>
            </p:cNvPr>
            <p:cNvGrpSpPr/>
            <p:nvPr/>
          </p:nvGrpSpPr>
          <p:grpSpPr>
            <a:xfrm>
              <a:off x="4335462" y="3630067"/>
              <a:ext cx="1517329" cy="445653"/>
              <a:chOff x="501652" y="3848567"/>
              <a:chExt cx="1077092" cy="685950"/>
            </a:xfrm>
          </p:grpSpPr>
          <p:sp>
            <p:nvSpPr>
              <p:cNvPr id="13" name="Freeform: Shape 12">
                <a:extLst>
                  <a:ext uri="{FF2B5EF4-FFF2-40B4-BE49-F238E27FC236}">
                    <a16:creationId xmlns:a16="http://schemas.microsoft.com/office/drawing/2014/main" id="{0AAEA013-9E55-A21D-6E5C-7B7885F78B4A}"/>
                  </a:ext>
                </a:extLst>
              </p:cNvPr>
              <p:cNvSpPr/>
              <p:nvPr/>
            </p:nvSpPr>
            <p:spPr>
              <a:xfrm rot="16200000">
                <a:off x="490391" y="4453317"/>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14" name="Freeform: Shape 13">
                <a:extLst>
                  <a:ext uri="{FF2B5EF4-FFF2-40B4-BE49-F238E27FC236}">
                    <a16:creationId xmlns:a16="http://schemas.microsoft.com/office/drawing/2014/main" id="{C46BEEB1-9E02-DC97-835F-C014C3ADF199}"/>
                  </a:ext>
                </a:extLst>
              </p:cNvPr>
              <p:cNvSpPr/>
              <p:nvPr/>
            </p:nvSpPr>
            <p:spPr>
              <a:xfrm>
                <a:off x="501652" y="3848567"/>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Calibri (Body)"/>
                </a:endParaRPr>
              </a:p>
            </p:txBody>
          </p:sp>
          <p:sp>
            <p:nvSpPr>
              <p:cNvPr id="22" name="Arrow: Pentagon 21">
                <a:extLst>
                  <a:ext uri="{FF2B5EF4-FFF2-40B4-BE49-F238E27FC236}">
                    <a16:creationId xmlns:a16="http://schemas.microsoft.com/office/drawing/2014/main" id="{148D740A-8F9D-A296-6C79-2A6AF3CC50B0}"/>
                  </a:ext>
                </a:extLst>
              </p:cNvPr>
              <p:cNvSpPr/>
              <p:nvPr/>
            </p:nvSpPr>
            <p:spPr>
              <a:xfrm>
                <a:off x="501653" y="3928914"/>
                <a:ext cx="1077091" cy="516448"/>
              </a:xfrm>
              <a:prstGeom prst="homePlate">
                <a:avLst>
                  <a:gd name="adj" fmla="val 15719"/>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algn="ctr"/>
                <a:r>
                  <a:rPr lang="en-US" sz="1100" b="1">
                    <a:latin typeface="Calibri (Body)"/>
                  </a:rPr>
                  <a:t>Consumer</a:t>
                </a:r>
              </a:p>
            </p:txBody>
          </p:sp>
        </p:grpSp>
        <p:grpSp>
          <p:nvGrpSpPr>
            <p:cNvPr id="312" name="Group 682">
              <a:extLst>
                <a:ext uri="{FF2B5EF4-FFF2-40B4-BE49-F238E27FC236}">
                  <a16:creationId xmlns:a16="http://schemas.microsoft.com/office/drawing/2014/main" id="{B636214C-1E3E-5DBD-94E1-19304EB90F4A}"/>
                </a:ext>
              </a:extLst>
            </p:cNvPr>
            <p:cNvGrpSpPr>
              <a:grpSpLocks noChangeAspect="1"/>
            </p:cNvGrpSpPr>
            <p:nvPr/>
          </p:nvGrpSpPr>
          <p:grpSpPr bwMode="auto">
            <a:xfrm>
              <a:off x="6024929" y="3696750"/>
              <a:ext cx="312274" cy="312274"/>
              <a:chOff x="1144" y="2344"/>
              <a:chExt cx="340" cy="340"/>
            </a:xfrm>
            <a:solidFill>
              <a:srgbClr val="0076A8"/>
            </a:solidFill>
          </p:grpSpPr>
          <p:sp>
            <p:nvSpPr>
              <p:cNvPr id="328" name="Freeform 683">
                <a:extLst>
                  <a:ext uri="{FF2B5EF4-FFF2-40B4-BE49-F238E27FC236}">
                    <a16:creationId xmlns:a16="http://schemas.microsoft.com/office/drawing/2014/main" id="{FEC69304-466C-2FC2-8A62-D2BCD148AF45}"/>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329" name="Freeform 684">
                <a:extLst>
                  <a:ext uri="{FF2B5EF4-FFF2-40B4-BE49-F238E27FC236}">
                    <a16:creationId xmlns:a16="http://schemas.microsoft.com/office/drawing/2014/main" id="{4E70A639-31C8-A828-0694-1F42DB7C0B7B}"/>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ea typeface="+mn-ea"/>
                  <a:cs typeface="Calibri" panose="020F0502020204030204" pitchFamily="34" charset="0"/>
                </a:endParaRPr>
              </a:p>
            </p:txBody>
          </p:sp>
        </p:grpSp>
      </p:grpSp>
      <p:sp>
        <p:nvSpPr>
          <p:cNvPr id="29" name="Rectangle: Rounded Corners 28">
            <a:extLst>
              <a:ext uri="{FF2B5EF4-FFF2-40B4-BE49-F238E27FC236}">
                <a16:creationId xmlns:a16="http://schemas.microsoft.com/office/drawing/2014/main" id="{2C1235BD-C7A2-1390-15A9-B6B6DB01C3CB}"/>
              </a:ext>
            </a:extLst>
          </p:cNvPr>
          <p:cNvSpPr/>
          <p:nvPr/>
        </p:nvSpPr>
        <p:spPr>
          <a:xfrm>
            <a:off x="4340631" y="3208924"/>
            <a:ext cx="7364159" cy="190423"/>
          </a:xfrm>
          <a:prstGeom prst="roundRect">
            <a:avLst/>
          </a:prstGeom>
          <a:solidFill>
            <a:srgbClr val="009A44"/>
          </a:solidFill>
        </p:spPr>
        <p:txBody>
          <a:bodyPr wrap="square" lIns="0" tIns="0" rIns="0" bIns="0" anchor="ctr">
            <a:noAutofit/>
          </a:bodyPr>
          <a:lstStyle/>
          <a:p>
            <a:pPr algn="ctr"/>
            <a:r>
              <a:rPr lang="en-US" sz="1200" b="1">
                <a:solidFill>
                  <a:schemeClr val="bg1"/>
                </a:solidFill>
              </a:rPr>
              <a:t>India clientele (November 2023 BT500*)</a:t>
            </a:r>
          </a:p>
        </p:txBody>
      </p:sp>
      <p:grpSp>
        <p:nvGrpSpPr>
          <p:cNvPr id="510" name="Group 509">
            <a:extLst>
              <a:ext uri="{FF2B5EF4-FFF2-40B4-BE49-F238E27FC236}">
                <a16:creationId xmlns:a16="http://schemas.microsoft.com/office/drawing/2014/main" id="{A99011AA-A800-1849-598A-31D8FF10D8CC}"/>
              </a:ext>
            </a:extLst>
          </p:cNvPr>
          <p:cNvGrpSpPr/>
          <p:nvPr/>
        </p:nvGrpSpPr>
        <p:grpSpPr>
          <a:xfrm>
            <a:off x="6509348" y="3444182"/>
            <a:ext cx="3018970" cy="2780310"/>
            <a:chOff x="6509348" y="3444182"/>
            <a:chExt cx="3018970" cy="2780310"/>
          </a:xfrm>
        </p:grpSpPr>
        <p:sp>
          <p:nvSpPr>
            <p:cNvPr id="347" name="Rectangle: Rounded Corners 346">
              <a:extLst>
                <a:ext uri="{FF2B5EF4-FFF2-40B4-BE49-F238E27FC236}">
                  <a16:creationId xmlns:a16="http://schemas.microsoft.com/office/drawing/2014/main" id="{FA9CBC77-EE0D-FF16-2809-93DCC5754491}"/>
                </a:ext>
              </a:extLst>
            </p:cNvPr>
            <p:cNvSpPr/>
            <p:nvPr/>
          </p:nvSpPr>
          <p:spPr bwMode="gray">
            <a:xfrm>
              <a:off x="6509348" y="3473303"/>
              <a:ext cx="1301141" cy="2751189"/>
            </a:xfrm>
            <a:prstGeom prst="roundRect">
              <a:avLst>
                <a:gd name="adj" fmla="val 6445"/>
              </a:avLst>
            </a:prstGeom>
            <a:solidFill>
              <a:srgbClr val="00A3E0">
                <a:alpha val="18000"/>
              </a:srgbClr>
            </a:solidFill>
            <a:ln w="19050" algn="ctr">
              <a:noFill/>
              <a:miter lim="800000"/>
              <a:headEnd/>
              <a:tailEnd/>
            </a:ln>
          </p:spPr>
          <p:txBody>
            <a:bodyPr wrap="square" lIns="88900" tIns="88900" rIns="88900" bIns="88900" rtlCol="0" anchor="ctr"/>
            <a:lstStyle/>
            <a:p>
              <a:pPr marL="169863">
                <a:lnSpc>
                  <a:spcPct val="106000"/>
                </a:lnSpc>
                <a:buFont typeface="Wingdings 2" pitchFamily="18" charset="2"/>
                <a:buNone/>
              </a:pPr>
              <a:endParaRPr lang="en-US" sz="1600" b="1"/>
            </a:p>
          </p:txBody>
        </p:sp>
        <p:sp>
          <p:nvSpPr>
            <p:cNvPr id="31" name="Rectangle: Rounded Corners 30">
              <a:extLst>
                <a:ext uri="{FF2B5EF4-FFF2-40B4-BE49-F238E27FC236}">
                  <a16:creationId xmlns:a16="http://schemas.microsoft.com/office/drawing/2014/main" id="{481FF99A-ACF7-A70F-EF16-48A69384154A}"/>
                </a:ext>
              </a:extLst>
            </p:cNvPr>
            <p:cNvSpPr/>
            <p:nvPr/>
          </p:nvSpPr>
          <p:spPr bwMode="gray">
            <a:xfrm>
              <a:off x="8227177" y="3464451"/>
              <a:ext cx="1301141" cy="2751189"/>
            </a:xfrm>
            <a:prstGeom prst="roundRect">
              <a:avLst>
                <a:gd name="adj" fmla="val 6445"/>
              </a:avLst>
            </a:prstGeom>
            <a:solidFill>
              <a:srgbClr val="00ABAB">
                <a:alpha val="18000"/>
              </a:srgbClr>
            </a:solidFill>
            <a:ln w="19050" algn="ctr">
              <a:noFill/>
              <a:miter lim="800000"/>
              <a:headEnd/>
              <a:tailEnd/>
            </a:ln>
          </p:spPr>
          <p:txBody>
            <a:bodyPr wrap="square" lIns="88900" tIns="88900" rIns="88900" bIns="88900" rtlCol="0" anchor="ctr"/>
            <a:lstStyle/>
            <a:p>
              <a:pPr marL="169863">
                <a:lnSpc>
                  <a:spcPct val="106000"/>
                </a:lnSpc>
                <a:buFont typeface="Wingdings 2" pitchFamily="18" charset="2"/>
                <a:buNone/>
              </a:pPr>
              <a:endParaRPr lang="en-US" sz="1600" b="1"/>
            </a:p>
          </p:txBody>
        </p:sp>
        <p:grpSp>
          <p:nvGrpSpPr>
            <p:cNvPr id="256" name="Group 255">
              <a:extLst>
                <a:ext uri="{FF2B5EF4-FFF2-40B4-BE49-F238E27FC236}">
                  <a16:creationId xmlns:a16="http://schemas.microsoft.com/office/drawing/2014/main" id="{56A1CA74-C12D-6328-9BA7-04EBCD957916}"/>
                </a:ext>
              </a:extLst>
            </p:cNvPr>
            <p:cNvGrpSpPr/>
            <p:nvPr/>
          </p:nvGrpSpPr>
          <p:grpSpPr>
            <a:xfrm>
              <a:off x="7735742" y="3743907"/>
              <a:ext cx="566181" cy="2400381"/>
              <a:chOff x="7742262" y="2449251"/>
              <a:chExt cx="566181" cy="3635670"/>
            </a:xfrm>
          </p:grpSpPr>
          <p:sp>
            <p:nvSpPr>
              <p:cNvPr id="318" name="Rectangle 317">
                <a:extLst>
                  <a:ext uri="{FF2B5EF4-FFF2-40B4-BE49-F238E27FC236}">
                    <a16:creationId xmlns:a16="http://schemas.microsoft.com/office/drawing/2014/main" id="{C18A81B1-19C2-7978-7FFC-2E683CD6D800}"/>
                  </a:ext>
                </a:extLst>
              </p:cNvPr>
              <p:cNvSpPr/>
              <p:nvPr/>
            </p:nvSpPr>
            <p:spPr>
              <a:xfrm>
                <a:off x="7742262" y="2449251"/>
                <a:ext cx="566181" cy="264175"/>
              </a:xfrm>
              <a:prstGeom prst="rect">
                <a:avLst/>
              </a:prstGeom>
              <a:noFill/>
              <a:ln w="19050" algn="ctr">
                <a:noFill/>
                <a:miter lim="800000"/>
                <a:headEnd/>
                <a:tailEnd/>
              </a:ln>
            </p:spPr>
            <p:txBody>
              <a:bodyPr wrap="square" lIns="0" tIns="0" rIns="0" bIns="0" rtlCol="0" anchor="ctr"/>
              <a:lstStyle/>
              <a:p>
                <a:pPr algn="ctr">
                  <a:lnSpc>
                    <a:spcPct val="106000"/>
                  </a:lnSpc>
                </a:pPr>
                <a:r>
                  <a:rPr lang="en-US" sz="1200" b="1"/>
                  <a:t>of</a:t>
                </a:r>
              </a:p>
            </p:txBody>
          </p:sp>
          <p:sp>
            <p:nvSpPr>
              <p:cNvPr id="59" name="Rectangle 58">
                <a:extLst>
                  <a:ext uri="{FF2B5EF4-FFF2-40B4-BE49-F238E27FC236}">
                    <a16:creationId xmlns:a16="http://schemas.microsoft.com/office/drawing/2014/main" id="{105F34E4-B423-D064-6A65-F6AE4482BE1F}"/>
                  </a:ext>
                </a:extLst>
              </p:cNvPr>
              <p:cNvSpPr/>
              <p:nvPr/>
            </p:nvSpPr>
            <p:spPr>
              <a:xfrm>
                <a:off x="7742262" y="3123550"/>
                <a:ext cx="566181" cy="264175"/>
              </a:xfrm>
              <a:prstGeom prst="rect">
                <a:avLst/>
              </a:prstGeom>
              <a:noFill/>
              <a:ln w="19050" algn="ctr">
                <a:noFill/>
                <a:miter lim="800000"/>
                <a:headEnd/>
                <a:tailEnd/>
              </a:ln>
            </p:spPr>
            <p:txBody>
              <a:bodyPr wrap="square" lIns="0" tIns="0" rIns="0" bIns="0" rtlCol="0" anchor="ctr"/>
              <a:lstStyle/>
              <a:p>
                <a:pPr algn="ctr">
                  <a:lnSpc>
                    <a:spcPct val="106000"/>
                  </a:lnSpc>
                </a:pPr>
                <a:r>
                  <a:rPr lang="en-US" sz="1200" b="1"/>
                  <a:t>of</a:t>
                </a:r>
              </a:p>
            </p:txBody>
          </p:sp>
          <p:sp>
            <p:nvSpPr>
              <p:cNvPr id="60" name="Rectangle 59">
                <a:extLst>
                  <a:ext uri="{FF2B5EF4-FFF2-40B4-BE49-F238E27FC236}">
                    <a16:creationId xmlns:a16="http://schemas.microsoft.com/office/drawing/2014/main" id="{75EFED52-A6B1-E024-A7D6-0C9E9777C09E}"/>
                  </a:ext>
                </a:extLst>
              </p:cNvPr>
              <p:cNvSpPr/>
              <p:nvPr/>
            </p:nvSpPr>
            <p:spPr>
              <a:xfrm>
                <a:off x="7742262" y="3797849"/>
                <a:ext cx="566181" cy="264175"/>
              </a:xfrm>
              <a:prstGeom prst="rect">
                <a:avLst/>
              </a:prstGeom>
              <a:noFill/>
              <a:ln w="19050" algn="ctr">
                <a:noFill/>
                <a:miter lim="800000"/>
                <a:headEnd/>
                <a:tailEnd/>
              </a:ln>
            </p:spPr>
            <p:txBody>
              <a:bodyPr wrap="square" lIns="0" tIns="0" rIns="0" bIns="0" rtlCol="0" anchor="ctr"/>
              <a:lstStyle/>
              <a:p>
                <a:pPr algn="ctr">
                  <a:lnSpc>
                    <a:spcPct val="106000"/>
                  </a:lnSpc>
                </a:pPr>
                <a:r>
                  <a:rPr lang="en-US" sz="1200" b="1"/>
                  <a:t>of</a:t>
                </a:r>
              </a:p>
            </p:txBody>
          </p:sp>
          <p:sp>
            <p:nvSpPr>
              <p:cNvPr id="61" name="Rectangle 60">
                <a:extLst>
                  <a:ext uri="{FF2B5EF4-FFF2-40B4-BE49-F238E27FC236}">
                    <a16:creationId xmlns:a16="http://schemas.microsoft.com/office/drawing/2014/main" id="{A0BE898D-616A-884D-E69C-C7C8193EB581}"/>
                  </a:ext>
                </a:extLst>
              </p:cNvPr>
              <p:cNvSpPr/>
              <p:nvPr/>
            </p:nvSpPr>
            <p:spPr>
              <a:xfrm>
                <a:off x="7742262" y="4472148"/>
                <a:ext cx="566181" cy="264175"/>
              </a:xfrm>
              <a:prstGeom prst="rect">
                <a:avLst/>
              </a:prstGeom>
              <a:noFill/>
              <a:ln w="19050" algn="ctr">
                <a:noFill/>
                <a:miter lim="800000"/>
                <a:headEnd/>
                <a:tailEnd/>
              </a:ln>
            </p:spPr>
            <p:txBody>
              <a:bodyPr wrap="square" lIns="0" tIns="0" rIns="0" bIns="0" rtlCol="0" anchor="ctr"/>
              <a:lstStyle/>
              <a:p>
                <a:pPr algn="ctr">
                  <a:lnSpc>
                    <a:spcPct val="106000"/>
                  </a:lnSpc>
                </a:pPr>
                <a:r>
                  <a:rPr lang="en-US" sz="1200" b="1"/>
                  <a:t>of</a:t>
                </a:r>
              </a:p>
            </p:txBody>
          </p:sp>
          <p:sp>
            <p:nvSpPr>
              <p:cNvPr id="62" name="Rectangle 61">
                <a:extLst>
                  <a:ext uri="{FF2B5EF4-FFF2-40B4-BE49-F238E27FC236}">
                    <a16:creationId xmlns:a16="http://schemas.microsoft.com/office/drawing/2014/main" id="{9713C1B3-0220-6ED1-6436-9A1B58A74342}"/>
                  </a:ext>
                </a:extLst>
              </p:cNvPr>
              <p:cNvSpPr/>
              <p:nvPr/>
            </p:nvSpPr>
            <p:spPr>
              <a:xfrm>
                <a:off x="7742262" y="5146447"/>
                <a:ext cx="566181" cy="264175"/>
              </a:xfrm>
              <a:prstGeom prst="rect">
                <a:avLst/>
              </a:prstGeom>
              <a:noFill/>
              <a:ln w="19050" algn="ctr">
                <a:noFill/>
                <a:miter lim="800000"/>
                <a:headEnd/>
                <a:tailEnd/>
              </a:ln>
            </p:spPr>
            <p:txBody>
              <a:bodyPr wrap="square" lIns="0" tIns="0" rIns="0" bIns="0" rtlCol="0" anchor="ctr"/>
              <a:lstStyle/>
              <a:p>
                <a:pPr algn="ctr">
                  <a:lnSpc>
                    <a:spcPct val="106000"/>
                  </a:lnSpc>
                </a:pPr>
                <a:r>
                  <a:rPr lang="en-US" sz="1200" b="1"/>
                  <a:t>of</a:t>
                </a:r>
              </a:p>
            </p:txBody>
          </p:sp>
          <p:sp>
            <p:nvSpPr>
              <p:cNvPr id="63" name="Rectangle 62">
                <a:extLst>
                  <a:ext uri="{FF2B5EF4-FFF2-40B4-BE49-F238E27FC236}">
                    <a16:creationId xmlns:a16="http://schemas.microsoft.com/office/drawing/2014/main" id="{BE36D407-4A21-E650-D7FD-77EC3AD95E65}"/>
                  </a:ext>
                </a:extLst>
              </p:cNvPr>
              <p:cNvSpPr/>
              <p:nvPr/>
            </p:nvSpPr>
            <p:spPr>
              <a:xfrm>
                <a:off x="7742262" y="5820746"/>
                <a:ext cx="566181" cy="264175"/>
              </a:xfrm>
              <a:prstGeom prst="rect">
                <a:avLst/>
              </a:prstGeom>
              <a:noFill/>
              <a:ln w="19050" algn="ctr">
                <a:noFill/>
                <a:miter lim="800000"/>
                <a:headEnd/>
                <a:tailEnd/>
              </a:ln>
            </p:spPr>
            <p:txBody>
              <a:bodyPr wrap="square" lIns="0" tIns="0" rIns="0" bIns="0" rtlCol="0" anchor="ctr"/>
              <a:lstStyle/>
              <a:p>
                <a:pPr algn="ctr">
                  <a:lnSpc>
                    <a:spcPct val="106000"/>
                  </a:lnSpc>
                </a:pPr>
                <a:r>
                  <a:rPr lang="en-US" sz="1200" b="1"/>
                  <a:t>of</a:t>
                </a:r>
              </a:p>
            </p:txBody>
          </p:sp>
        </p:grpSp>
        <p:sp>
          <p:nvSpPr>
            <p:cNvPr id="259" name="TextBox 258">
              <a:extLst>
                <a:ext uri="{FF2B5EF4-FFF2-40B4-BE49-F238E27FC236}">
                  <a16:creationId xmlns:a16="http://schemas.microsoft.com/office/drawing/2014/main" id="{B6920C43-4DA9-C19A-6B86-CBEBD06D849B}"/>
                </a:ext>
              </a:extLst>
            </p:cNvPr>
            <p:cNvSpPr txBox="1"/>
            <p:nvPr/>
          </p:nvSpPr>
          <p:spPr>
            <a:xfrm>
              <a:off x="6819631" y="3738298"/>
              <a:ext cx="680575" cy="184666"/>
            </a:xfrm>
            <a:prstGeom prst="rect">
              <a:avLst/>
            </a:prstGeom>
            <a:noFill/>
          </p:spPr>
          <p:txBody>
            <a:bodyPr wrap="square" lIns="0" tIns="0" rIns="0" bIns="0">
              <a:spAutoFit/>
            </a:bodyPr>
            <a:lstStyle/>
            <a:p>
              <a:pPr algn="ctr">
                <a:buFont typeface="Wingdings 2" pitchFamily="18" charset="2"/>
                <a:buNone/>
              </a:pPr>
              <a:r>
                <a:rPr lang="en-US" sz="1200" b="1"/>
                <a:t>115</a:t>
              </a:r>
            </a:p>
          </p:txBody>
        </p:sp>
        <p:sp>
          <p:nvSpPr>
            <p:cNvPr id="260" name="TextBox 259">
              <a:extLst>
                <a:ext uri="{FF2B5EF4-FFF2-40B4-BE49-F238E27FC236}">
                  <a16:creationId xmlns:a16="http://schemas.microsoft.com/office/drawing/2014/main" id="{E76E22C8-AB91-5470-2860-75F83D3B30A4}"/>
                </a:ext>
              </a:extLst>
            </p:cNvPr>
            <p:cNvSpPr txBox="1"/>
            <p:nvPr/>
          </p:nvSpPr>
          <p:spPr>
            <a:xfrm>
              <a:off x="8537460" y="3738298"/>
              <a:ext cx="680575" cy="184666"/>
            </a:xfrm>
            <a:prstGeom prst="rect">
              <a:avLst/>
            </a:prstGeom>
            <a:noFill/>
          </p:spPr>
          <p:txBody>
            <a:bodyPr wrap="square" lIns="0" tIns="0" rIns="0" bIns="0">
              <a:spAutoFit/>
            </a:bodyPr>
            <a:lstStyle/>
            <a:p>
              <a:pPr algn="ctr">
                <a:buFont typeface="Wingdings 2" pitchFamily="18" charset="2"/>
                <a:buNone/>
              </a:pPr>
              <a:r>
                <a:rPr lang="en-US" sz="1200" b="1"/>
                <a:t>147</a:t>
              </a:r>
            </a:p>
          </p:txBody>
        </p:sp>
        <p:sp>
          <p:nvSpPr>
            <p:cNvPr id="291" name="Rectangle 290">
              <a:extLst>
                <a:ext uri="{FF2B5EF4-FFF2-40B4-BE49-F238E27FC236}">
                  <a16:creationId xmlns:a16="http://schemas.microsoft.com/office/drawing/2014/main" id="{F6A71C7F-8A96-3BA6-5C10-E5B3E04F1FD3}"/>
                </a:ext>
              </a:extLst>
            </p:cNvPr>
            <p:cNvSpPr/>
            <p:nvPr/>
          </p:nvSpPr>
          <p:spPr>
            <a:xfrm>
              <a:off x="6817379" y="3454860"/>
              <a:ext cx="685079" cy="174416"/>
            </a:xfrm>
            <a:prstGeom prst="rect">
              <a:avLst/>
            </a:prstGeom>
            <a:noFill/>
            <a:ln w="19050" algn="ctr">
              <a:noFill/>
              <a:miter lim="800000"/>
              <a:headEnd/>
              <a:tailEnd/>
            </a:ln>
          </p:spPr>
          <p:txBody>
            <a:bodyPr wrap="square" lIns="0" tIns="0" rIns="0" bIns="0" rtlCol="0" anchor="ctr"/>
            <a:lstStyle/>
            <a:p>
              <a:pPr algn="ctr"/>
              <a:r>
                <a:rPr lang="en-US" sz="1100" b="1"/>
                <a:t>Serves</a:t>
              </a:r>
            </a:p>
          </p:txBody>
        </p:sp>
        <p:sp>
          <p:nvSpPr>
            <p:cNvPr id="292" name="Rectangle 291">
              <a:extLst>
                <a:ext uri="{FF2B5EF4-FFF2-40B4-BE49-F238E27FC236}">
                  <a16:creationId xmlns:a16="http://schemas.microsoft.com/office/drawing/2014/main" id="{21511FC7-F94F-1665-85C8-4CD1326AB0B0}"/>
                </a:ext>
              </a:extLst>
            </p:cNvPr>
            <p:cNvSpPr/>
            <p:nvPr/>
          </p:nvSpPr>
          <p:spPr>
            <a:xfrm>
              <a:off x="8435537" y="3444182"/>
              <a:ext cx="884421" cy="174416"/>
            </a:xfrm>
            <a:prstGeom prst="rect">
              <a:avLst/>
            </a:prstGeom>
            <a:noFill/>
            <a:ln w="19050" algn="ctr">
              <a:noFill/>
              <a:miter lim="800000"/>
              <a:headEnd/>
              <a:tailEnd/>
            </a:ln>
          </p:spPr>
          <p:txBody>
            <a:bodyPr wrap="square" lIns="0" tIns="0" rIns="0" bIns="0" rtlCol="0" anchor="ctr"/>
            <a:lstStyle/>
            <a:p>
              <a:pPr algn="ctr"/>
              <a:r>
                <a:rPr lang="en-US" sz="1100" b="1"/>
                <a:t>Companies</a:t>
              </a:r>
            </a:p>
          </p:txBody>
        </p:sp>
        <p:sp>
          <p:nvSpPr>
            <p:cNvPr id="261" name="TextBox 260">
              <a:extLst>
                <a:ext uri="{FF2B5EF4-FFF2-40B4-BE49-F238E27FC236}">
                  <a16:creationId xmlns:a16="http://schemas.microsoft.com/office/drawing/2014/main" id="{4145E677-4924-3FB0-DE7F-E3533E5BA61D}"/>
                </a:ext>
              </a:extLst>
            </p:cNvPr>
            <p:cNvSpPr txBox="1"/>
            <p:nvPr/>
          </p:nvSpPr>
          <p:spPr>
            <a:xfrm>
              <a:off x="6819631" y="4183491"/>
              <a:ext cx="680575" cy="184666"/>
            </a:xfrm>
            <a:prstGeom prst="rect">
              <a:avLst/>
            </a:prstGeom>
            <a:noFill/>
          </p:spPr>
          <p:txBody>
            <a:bodyPr wrap="square" lIns="0" tIns="0" rIns="0" bIns="0">
              <a:spAutoFit/>
            </a:bodyPr>
            <a:lstStyle/>
            <a:p>
              <a:pPr algn="ctr">
                <a:buFont typeface="Wingdings 2" pitchFamily="18" charset="2"/>
                <a:buNone/>
              </a:pPr>
              <a:r>
                <a:rPr lang="en-US" sz="1200" b="1"/>
                <a:t>153</a:t>
              </a:r>
            </a:p>
          </p:txBody>
        </p:sp>
        <p:sp>
          <p:nvSpPr>
            <p:cNvPr id="262" name="TextBox 261">
              <a:extLst>
                <a:ext uri="{FF2B5EF4-FFF2-40B4-BE49-F238E27FC236}">
                  <a16:creationId xmlns:a16="http://schemas.microsoft.com/office/drawing/2014/main" id="{63AFCCD6-4D60-D41E-870E-E05E8B7D0CD5}"/>
                </a:ext>
              </a:extLst>
            </p:cNvPr>
            <p:cNvSpPr txBox="1"/>
            <p:nvPr/>
          </p:nvSpPr>
          <p:spPr>
            <a:xfrm>
              <a:off x="8537460" y="4183491"/>
              <a:ext cx="680575" cy="184666"/>
            </a:xfrm>
            <a:prstGeom prst="rect">
              <a:avLst/>
            </a:prstGeom>
            <a:noFill/>
          </p:spPr>
          <p:txBody>
            <a:bodyPr wrap="square" lIns="0" tIns="0" rIns="0" bIns="0">
              <a:spAutoFit/>
            </a:bodyPr>
            <a:lstStyle/>
            <a:p>
              <a:pPr algn="ctr">
                <a:buFont typeface="Wingdings 2" pitchFamily="18" charset="2"/>
                <a:buNone/>
              </a:pPr>
              <a:r>
                <a:rPr lang="en-US" sz="1200" b="1"/>
                <a:t>185</a:t>
              </a:r>
            </a:p>
          </p:txBody>
        </p:sp>
        <p:sp>
          <p:nvSpPr>
            <p:cNvPr id="263" name="TextBox 262">
              <a:extLst>
                <a:ext uri="{FF2B5EF4-FFF2-40B4-BE49-F238E27FC236}">
                  <a16:creationId xmlns:a16="http://schemas.microsoft.com/office/drawing/2014/main" id="{CF81C205-0370-9993-426A-3E04B2C5519E}"/>
                </a:ext>
              </a:extLst>
            </p:cNvPr>
            <p:cNvSpPr txBox="1"/>
            <p:nvPr/>
          </p:nvSpPr>
          <p:spPr>
            <a:xfrm>
              <a:off x="6819631" y="4628684"/>
              <a:ext cx="680575" cy="184666"/>
            </a:xfrm>
            <a:prstGeom prst="rect">
              <a:avLst/>
            </a:prstGeom>
            <a:noFill/>
          </p:spPr>
          <p:txBody>
            <a:bodyPr wrap="square" lIns="0" tIns="0" rIns="0" bIns="0">
              <a:spAutoFit/>
            </a:bodyPr>
            <a:lstStyle/>
            <a:p>
              <a:pPr algn="ctr">
                <a:buFont typeface="Wingdings 2" pitchFamily="18" charset="2"/>
                <a:buNone/>
              </a:pPr>
              <a:r>
                <a:rPr lang="en-US" sz="1200" b="1"/>
                <a:t>89</a:t>
              </a:r>
            </a:p>
          </p:txBody>
        </p:sp>
        <p:sp>
          <p:nvSpPr>
            <p:cNvPr id="264" name="TextBox 263">
              <a:extLst>
                <a:ext uri="{FF2B5EF4-FFF2-40B4-BE49-F238E27FC236}">
                  <a16:creationId xmlns:a16="http://schemas.microsoft.com/office/drawing/2014/main" id="{B71FBBE0-2D96-74B5-D8AC-9C0285785E3F}"/>
                </a:ext>
              </a:extLst>
            </p:cNvPr>
            <p:cNvSpPr txBox="1"/>
            <p:nvPr/>
          </p:nvSpPr>
          <p:spPr>
            <a:xfrm>
              <a:off x="8537460" y="4628684"/>
              <a:ext cx="680575" cy="184666"/>
            </a:xfrm>
            <a:prstGeom prst="rect">
              <a:avLst/>
            </a:prstGeom>
            <a:noFill/>
          </p:spPr>
          <p:txBody>
            <a:bodyPr wrap="square" lIns="0" tIns="0" rIns="0" bIns="0">
              <a:spAutoFit/>
            </a:bodyPr>
            <a:lstStyle/>
            <a:p>
              <a:pPr algn="ctr">
                <a:buFont typeface="Wingdings 2" pitchFamily="18" charset="2"/>
                <a:buNone/>
              </a:pPr>
              <a:r>
                <a:rPr lang="en-US" sz="1200" b="1"/>
                <a:t>121</a:t>
              </a:r>
            </a:p>
          </p:txBody>
        </p:sp>
        <p:sp>
          <p:nvSpPr>
            <p:cNvPr id="265" name="TextBox 264">
              <a:extLst>
                <a:ext uri="{FF2B5EF4-FFF2-40B4-BE49-F238E27FC236}">
                  <a16:creationId xmlns:a16="http://schemas.microsoft.com/office/drawing/2014/main" id="{D331139B-3166-B45E-C967-4BD366A809FE}"/>
                </a:ext>
              </a:extLst>
            </p:cNvPr>
            <p:cNvSpPr txBox="1"/>
            <p:nvPr/>
          </p:nvSpPr>
          <p:spPr>
            <a:xfrm>
              <a:off x="6819631" y="5073877"/>
              <a:ext cx="680575" cy="184666"/>
            </a:xfrm>
            <a:prstGeom prst="rect">
              <a:avLst/>
            </a:prstGeom>
            <a:noFill/>
          </p:spPr>
          <p:txBody>
            <a:bodyPr wrap="square" lIns="0" tIns="0" rIns="0" bIns="0">
              <a:spAutoFit/>
            </a:bodyPr>
            <a:lstStyle/>
            <a:p>
              <a:pPr algn="ctr">
                <a:buFont typeface="Wingdings 2" pitchFamily="18" charset="2"/>
                <a:buNone/>
              </a:pPr>
              <a:r>
                <a:rPr lang="en-US" sz="1200" b="1"/>
                <a:t>46</a:t>
              </a:r>
            </a:p>
          </p:txBody>
        </p:sp>
        <p:sp>
          <p:nvSpPr>
            <p:cNvPr id="266" name="TextBox 265">
              <a:extLst>
                <a:ext uri="{FF2B5EF4-FFF2-40B4-BE49-F238E27FC236}">
                  <a16:creationId xmlns:a16="http://schemas.microsoft.com/office/drawing/2014/main" id="{B5B08486-202E-4BFE-1CA9-123A91F6AB31}"/>
                </a:ext>
              </a:extLst>
            </p:cNvPr>
            <p:cNvSpPr txBox="1"/>
            <p:nvPr/>
          </p:nvSpPr>
          <p:spPr>
            <a:xfrm>
              <a:off x="8537460" y="5073877"/>
              <a:ext cx="680575" cy="184666"/>
            </a:xfrm>
            <a:prstGeom prst="rect">
              <a:avLst/>
            </a:prstGeom>
            <a:noFill/>
          </p:spPr>
          <p:txBody>
            <a:bodyPr wrap="square" lIns="0" tIns="0" rIns="0" bIns="0">
              <a:spAutoFit/>
            </a:bodyPr>
            <a:lstStyle/>
            <a:p>
              <a:pPr algn="ctr">
                <a:buFont typeface="Wingdings 2" pitchFamily="18" charset="2"/>
                <a:buNone/>
              </a:pPr>
              <a:r>
                <a:rPr lang="en-US" sz="1200" b="1"/>
                <a:t>78</a:t>
              </a:r>
            </a:p>
          </p:txBody>
        </p:sp>
        <p:sp>
          <p:nvSpPr>
            <p:cNvPr id="267" name="TextBox 266">
              <a:extLst>
                <a:ext uri="{FF2B5EF4-FFF2-40B4-BE49-F238E27FC236}">
                  <a16:creationId xmlns:a16="http://schemas.microsoft.com/office/drawing/2014/main" id="{DF394859-9F8E-8C1D-F67E-9AD263CF7FEA}"/>
                </a:ext>
              </a:extLst>
            </p:cNvPr>
            <p:cNvSpPr txBox="1"/>
            <p:nvPr/>
          </p:nvSpPr>
          <p:spPr>
            <a:xfrm>
              <a:off x="6819631" y="5519070"/>
              <a:ext cx="680575" cy="184666"/>
            </a:xfrm>
            <a:prstGeom prst="rect">
              <a:avLst/>
            </a:prstGeom>
            <a:noFill/>
          </p:spPr>
          <p:txBody>
            <a:bodyPr wrap="square" lIns="0" tIns="0" rIns="0" bIns="0">
              <a:spAutoFit/>
            </a:bodyPr>
            <a:lstStyle/>
            <a:p>
              <a:pPr algn="ctr">
                <a:buFont typeface="Wingdings 2" pitchFamily="18" charset="2"/>
                <a:buNone/>
              </a:pPr>
              <a:r>
                <a:rPr lang="en-US" sz="1200" b="1"/>
                <a:t>53</a:t>
              </a:r>
            </a:p>
          </p:txBody>
        </p:sp>
        <p:sp>
          <p:nvSpPr>
            <p:cNvPr id="268" name="TextBox 267">
              <a:extLst>
                <a:ext uri="{FF2B5EF4-FFF2-40B4-BE49-F238E27FC236}">
                  <a16:creationId xmlns:a16="http://schemas.microsoft.com/office/drawing/2014/main" id="{BFCC6041-6B7D-6D04-1187-27878D6AF494}"/>
                </a:ext>
              </a:extLst>
            </p:cNvPr>
            <p:cNvSpPr txBox="1"/>
            <p:nvPr/>
          </p:nvSpPr>
          <p:spPr>
            <a:xfrm>
              <a:off x="8537460" y="5519070"/>
              <a:ext cx="680575" cy="184666"/>
            </a:xfrm>
            <a:prstGeom prst="rect">
              <a:avLst/>
            </a:prstGeom>
            <a:noFill/>
          </p:spPr>
          <p:txBody>
            <a:bodyPr wrap="square" lIns="0" tIns="0" rIns="0" bIns="0">
              <a:spAutoFit/>
            </a:bodyPr>
            <a:lstStyle/>
            <a:p>
              <a:pPr algn="ctr">
                <a:buFont typeface="Wingdings 2" pitchFamily="18" charset="2"/>
                <a:buNone/>
              </a:pPr>
              <a:r>
                <a:rPr lang="en-US" sz="1200" b="1"/>
                <a:t>85</a:t>
              </a:r>
            </a:p>
          </p:txBody>
        </p:sp>
        <p:sp>
          <p:nvSpPr>
            <p:cNvPr id="269" name="TextBox 268">
              <a:extLst>
                <a:ext uri="{FF2B5EF4-FFF2-40B4-BE49-F238E27FC236}">
                  <a16:creationId xmlns:a16="http://schemas.microsoft.com/office/drawing/2014/main" id="{9F8F7133-5794-1A3B-C2AE-99B2AE036F42}"/>
                </a:ext>
              </a:extLst>
            </p:cNvPr>
            <p:cNvSpPr txBox="1"/>
            <p:nvPr/>
          </p:nvSpPr>
          <p:spPr>
            <a:xfrm>
              <a:off x="6819631" y="5964262"/>
              <a:ext cx="680575" cy="184666"/>
            </a:xfrm>
            <a:prstGeom prst="rect">
              <a:avLst/>
            </a:prstGeom>
            <a:noFill/>
          </p:spPr>
          <p:txBody>
            <a:bodyPr wrap="square" lIns="0" tIns="0" rIns="0" bIns="0">
              <a:spAutoFit/>
            </a:bodyPr>
            <a:lstStyle/>
            <a:p>
              <a:pPr algn="ctr">
                <a:buFont typeface="Wingdings 2" pitchFamily="18" charset="2"/>
                <a:buNone/>
              </a:pPr>
              <a:r>
                <a:rPr lang="en-US" sz="1200" b="1"/>
                <a:t>12</a:t>
              </a:r>
            </a:p>
          </p:txBody>
        </p:sp>
        <p:sp>
          <p:nvSpPr>
            <p:cNvPr id="270" name="TextBox 269">
              <a:extLst>
                <a:ext uri="{FF2B5EF4-FFF2-40B4-BE49-F238E27FC236}">
                  <a16:creationId xmlns:a16="http://schemas.microsoft.com/office/drawing/2014/main" id="{777E1271-39CF-92D1-7BF8-8F22251F73C9}"/>
                </a:ext>
              </a:extLst>
            </p:cNvPr>
            <p:cNvSpPr txBox="1"/>
            <p:nvPr/>
          </p:nvSpPr>
          <p:spPr>
            <a:xfrm>
              <a:off x="8537460" y="5964262"/>
              <a:ext cx="680575" cy="184666"/>
            </a:xfrm>
            <a:prstGeom prst="rect">
              <a:avLst/>
            </a:prstGeom>
            <a:noFill/>
          </p:spPr>
          <p:txBody>
            <a:bodyPr wrap="square" lIns="0" tIns="0" rIns="0" bIns="0">
              <a:spAutoFit/>
            </a:bodyPr>
            <a:lstStyle/>
            <a:p>
              <a:pPr algn="ctr">
                <a:buFont typeface="Wingdings 2" pitchFamily="18" charset="2"/>
                <a:buNone/>
              </a:pPr>
              <a:r>
                <a:rPr lang="en-US" sz="1200" b="1"/>
                <a:t>44</a:t>
              </a:r>
            </a:p>
          </p:txBody>
        </p:sp>
      </p:grpSp>
      <p:sp>
        <p:nvSpPr>
          <p:cNvPr id="2" name="Text Placeholder 1"/>
          <p:cNvSpPr>
            <a:spLocks noGrp="1"/>
          </p:cNvSpPr>
          <p:nvPr>
            <p:ph type="body" sz="quarter" idx="13"/>
          </p:nvPr>
        </p:nvSpPr>
        <p:spPr>
          <a:xfrm>
            <a:off x="501650" y="717702"/>
            <a:ext cx="11195049" cy="757255"/>
          </a:xfrm>
        </p:spPr>
        <p:txBody>
          <a:bodyPr/>
          <a:lstStyle/>
          <a:p>
            <a:r>
              <a:rPr lang="en-US" noProof="0"/>
              <a:t>Deloitte India is one of the leading professional services firms with a rich heritage of serving the best-in-class clients in India</a:t>
            </a:r>
          </a:p>
        </p:txBody>
      </p:sp>
      <p:sp>
        <p:nvSpPr>
          <p:cNvPr id="3" name="Title 2"/>
          <p:cNvSpPr>
            <a:spLocks noGrp="1"/>
          </p:cNvSpPr>
          <p:nvPr>
            <p:ph type="title"/>
          </p:nvPr>
        </p:nvSpPr>
        <p:spPr/>
        <p:txBody>
          <a:bodyPr vert="horz" lIns="0" tIns="0" rIns="0" bIns="0" rtlCol="0" anchor="t" anchorCtr="0">
            <a:noAutofit/>
          </a:bodyPr>
          <a:lstStyle/>
          <a:p>
            <a:pPr defTabSz="685800"/>
            <a:r>
              <a:rPr lang="en-US" sz="2400" b="1">
                <a:solidFill>
                  <a:schemeClr val="accent2"/>
                </a:solidFill>
              </a:rPr>
              <a:t>Local presence</a:t>
            </a:r>
          </a:p>
        </p:txBody>
      </p:sp>
      <p:grpSp>
        <p:nvGrpSpPr>
          <p:cNvPr id="484" name="Group 483">
            <a:extLst>
              <a:ext uri="{FF2B5EF4-FFF2-40B4-BE49-F238E27FC236}">
                <a16:creationId xmlns:a16="http://schemas.microsoft.com/office/drawing/2014/main" id="{237C2934-A78C-D816-4356-C7B434ED582B}"/>
              </a:ext>
            </a:extLst>
          </p:cNvPr>
          <p:cNvGrpSpPr/>
          <p:nvPr/>
        </p:nvGrpSpPr>
        <p:grpSpPr>
          <a:xfrm>
            <a:off x="2641205" y="4993111"/>
            <a:ext cx="1521533" cy="626366"/>
            <a:chOff x="2641205" y="4993111"/>
            <a:chExt cx="1521533" cy="626366"/>
          </a:xfrm>
        </p:grpSpPr>
        <p:sp>
          <p:nvSpPr>
            <p:cNvPr id="450" name="Rectangle: Rounded Corners 449">
              <a:extLst>
                <a:ext uri="{FF2B5EF4-FFF2-40B4-BE49-F238E27FC236}">
                  <a16:creationId xmlns:a16="http://schemas.microsoft.com/office/drawing/2014/main" id="{845C6BEA-5C13-07FC-F813-8D1C07031455}"/>
                </a:ext>
              </a:extLst>
            </p:cNvPr>
            <p:cNvSpPr/>
            <p:nvPr/>
          </p:nvSpPr>
          <p:spPr>
            <a:xfrm>
              <a:off x="2694422" y="5030357"/>
              <a:ext cx="1468316" cy="589120"/>
            </a:xfrm>
            <a:prstGeom prst="roundRect">
              <a:avLst/>
            </a:prstGeom>
            <a:solidFill>
              <a:srgbClr val="00ABAB"/>
            </a:solidFill>
            <a:ln w="9339" cap="flat">
              <a:noFill/>
              <a:prstDash val="solid"/>
              <a:miter/>
            </a:ln>
          </p:spPr>
          <p:txBody>
            <a:bodyPr rtlCol="0" anchor="ctr"/>
            <a:lstStyle/>
            <a:p>
              <a:endParaRPr lang="en-US"/>
            </a:p>
          </p:txBody>
        </p:sp>
        <p:sp>
          <p:nvSpPr>
            <p:cNvPr id="451" name="Freeform: Shape 450">
              <a:extLst>
                <a:ext uri="{FF2B5EF4-FFF2-40B4-BE49-F238E27FC236}">
                  <a16:creationId xmlns:a16="http://schemas.microsoft.com/office/drawing/2014/main" id="{9FD0379C-4B60-7256-A648-475A8D464191}"/>
                </a:ext>
              </a:extLst>
            </p:cNvPr>
            <p:cNvSpPr/>
            <p:nvPr/>
          </p:nvSpPr>
          <p:spPr>
            <a:xfrm>
              <a:off x="2641205" y="4993111"/>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r>
                <a:rPr lang="en-US" sz="1100"/>
                <a:t>Professionals spread across</a:t>
              </a:r>
            </a:p>
          </p:txBody>
        </p:sp>
        <p:sp>
          <p:nvSpPr>
            <p:cNvPr id="452" name="Rectangle: Rounded Corners 451">
              <a:extLst>
                <a:ext uri="{FF2B5EF4-FFF2-40B4-BE49-F238E27FC236}">
                  <a16:creationId xmlns:a16="http://schemas.microsoft.com/office/drawing/2014/main" id="{7F418161-28EF-B9CA-DCB4-E82B5EEFE41E}"/>
                </a:ext>
              </a:extLst>
            </p:cNvPr>
            <p:cNvSpPr/>
            <p:nvPr/>
          </p:nvSpPr>
          <p:spPr>
            <a:xfrm>
              <a:off x="3337311" y="5291845"/>
              <a:ext cx="809212" cy="278970"/>
            </a:xfrm>
            <a:prstGeom prst="roundRect">
              <a:avLst>
                <a:gd name="adj" fmla="val 50000"/>
              </a:avLst>
            </a:prstGeom>
            <a:solidFill>
              <a:srgbClr val="00ABAB"/>
            </a:solidFill>
            <a:ln w="9339" cap="flat">
              <a:noFill/>
              <a:prstDash val="solid"/>
              <a:miter/>
            </a:ln>
          </p:spPr>
          <p:txBody>
            <a:bodyPr rtlCol="0" anchor="ctr"/>
            <a:lstStyle/>
            <a:p>
              <a:endParaRPr lang="en-US"/>
            </a:p>
          </p:txBody>
        </p:sp>
        <p:sp>
          <p:nvSpPr>
            <p:cNvPr id="25" name="Rectangle 24">
              <a:extLst>
                <a:ext uri="{FF2B5EF4-FFF2-40B4-BE49-F238E27FC236}">
                  <a16:creationId xmlns:a16="http://schemas.microsoft.com/office/drawing/2014/main" id="{D812A5E7-D7F5-A9AD-D1EF-5F7A4419149D}"/>
                </a:ext>
              </a:extLst>
            </p:cNvPr>
            <p:cNvSpPr/>
            <p:nvPr/>
          </p:nvSpPr>
          <p:spPr>
            <a:xfrm>
              <a:off x="3429329" y="5317347"/>
              <a:ext cx="723886" cy="232653"/>
            </a:xfrm>
            <a:prstGeom prst="rect">
              <a:avLst/>
            </a:prstGeom>
            <a:noFill/>
            <a:ln w="19050" algn="ctr">
              <a:noFill/>
              <a:miter lim="800000"/>
              <a:headEnd/>
              <a:tailEnd/>
            </a:ln>
          </p:spPr>
          <p:txBody>
            <a:bodyPr wrap="square" lIns="0" tIns="0" rIns="0" bIns="0" rtlCol="0" anchor="ctr"/>
            <a:lstStyle/>
            <a:p>
              <a:pPr>
                <a:lnSpc>
                  <a:spcPct val="106000"/>
                </a:lnSpc>
              </a:pPr>
              <a:r>
                <a:rPr lang="en-US" sz="1600" b="1">
                  <a:solidFill>
                    <a:schemeClr val="bg1"/>
                  </a:solidFill>
                </a:rPr>
                <a:t>36000+</a:t>
              </a:r>
            </a:p>
          </p:txBody>
        </p:sp>
      </p:grpSp>
      <p:sp>
        <p:nvSpPr>
          <p:cNvPr id="317" name="Rectangle 316">
            <a:extLst>
              <a:ext uri="{FF2B5EF4-FFF2-40B4-BE49-F238E27FC236}">
                <a16:creationId xmlns:a16="http://schemas.microsoft.com/office/drawing/2014/main" id="{9356DBD3-8A01-0801-C25A-E426764668F3}"/>
              </a:ext>
            </a:extLst>
          </p:cNvPr>
          <p:cNvSpPr/>
          <p:nvPr/>
        </p:nvSpPr>
        <p:spPr>
          <a:xfrm>
            <a:off x="4337302" y="6284600"/>
            <a:ext cx="4152053" cy="114333"/>
          </a:xfrm>
          <a:prstGeom prst="rect">
            <a:avLst/>
          </a:prstGeom>
        </p:spPr>
        <p:txBody>
          <a:bodyPr wrap="square" lIns="0" tIns="0" rIns="0" bIns="0" anchor="ctr">
            <a:noAutofit/>
          </a:bodyPr>
          <a:lstStyle/>
          <a:p>
            <a:pPr defTabSz="1032282"/>
            <a:r>
              <a:rPr lang="en-US" sz="900">
                <a:cs typeface="Calibri" panose="020F0502020204030204" pitchFamily="34" charset="0"/>
              </a:rPr>
              <a:t>*BT500 - Business Today publication about India’s top 500 performing companies</a:t>
            </a:r>
          </a:p>
        </p:txBody>
      </p:sp>
      <p:sp>
        <p:nvSpPr>
          <p:cNvPr id="458" name="Rectangle: Rounded Corners 457">
            <a:extLst>
              <a:ext uri="{FF2B5EF4-FFF2-40B4-BE49-F238E27FC236}">
                <a16:creationId xmlns:a16="http://schemas.microsoft.com/office/drawing/2014/main" id="{6E12AF82-2862-1432-2076-3BD03F913A0A}"/>
              </a:ext>
            </a:extLst>
          </p:cNvPr>
          <p:cNvSpPr/>
          <p:nvPr/>
        </p:nvSpPr>
        <p:spPr>
          <a:xfrm>
            <a:off x="2694422" y="5754024"/>
            <a:ext cx="1468316" cy="589120"/>
          </a:xfrm>
          <a:prstGeom prst="roundRect">
            <a:avLst/>
          </a:prstGeom>
          <a:solidFill>
            <a:srgbClr val="0076A8"/>
          </a:solidFill>
          <a:ln w="9339" cap="flat">
            <a:noFill/>
            <a:prstDash val="solid"/>
            <a:miter/>
          </a:ln>
        </p:spPr>
        <p:txBody>
          <a:bodyPr rtlCol="0" anchor="ctr"/>
          <a:lstStyle/>
          <a:p>
            <a:endParaRPr lang="en-US"/>
          </a:p>
        </p:txBody>
      </p:sp>
      <p:sp>
        <p:nvSpPr>
          <p:cNvPr id="459" name="Freeform: Shape 458">
            <a:extLst>
              <a:ext uri="{FF2B5EF4-FFF2-40B4-BE49-F238E27FC236}">
                <a16:creationId xmlns:a16="http://schemas.microsoft.com/office/drawing/2014/main" id="{8CB442BB-83B5-5DB1-D8E7-6E9F69E0237F}"/>
              </a:ext>
            </a:extLst>
          </p:cNvPr>
          <p:cNvSpPr/>
          <p:nvPr/>
        </p:nvSpPr>
        <p:spPr>
          <a:xfrm>
            <a:off x="2641205" y="5716778"/>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r>
              <a:rPr lang="en-US" sz="1100"/>
              <a:t>Cities</a:t>
            </a:r>
          </a:p>
        </p:txBody>
      </p:sp>
      <p:sp>
        <p:nvSpPr>
          <p:cNvPr id="460" name="Rectangle: Rounded Corners 459">
            <a:extLst>
              <a:ext uri="{FF2B5EF4-FFF2-40B4-BE49-F238E27FC236}">
                <a16:creationId xmlns:a16="http://schemas.microsoft.com/office/drawing/2014/main" id="{8C217443-DF1A-6FE6-18CE-1A523904CA31}"/>
              </a:ext>
            </a:extLst>
          </p:cNvPr>
          <p:cNvSpPr/>
          <p:nvPr/>
        </p:nvSpPr>
        <p:spPr>
          <a:xfrm>
            <a:off x="3316091" y="6015512"/>
            <a:ext cx="809212" cy="278970"/>
          </a:xfrm>
          <a:prstGeom prst="roundRect">
            <a:avLst>
              <a:gd name="adj" fmla="val 50000"/>
            </a:avLst>
          </a:prstGeom>
          <a:solidFill>
            <a:srgbClr val="0076A8"/>
          </a:solidFill>
          <a:ln w="9339" cap="flat">
            <a:noFill/>
            <a:prstDash val="solid"/>
            <a:miter/>
          </a:ln>
        </p:spPr>
        <p:txBody>
          <a:bodyPr rtlCol="0" anchor="ctr"/>
          <a:lstStyle/>
          <a:p>
            <a:endParaRPr lang="en-US"/>
          </a:p>
        </p:txBody>
      </p:sp>
      <p:sp>
        <p:nvSpPr>
          <p:cNvPr id="457" name="Rectangle 456">
            <a:extLst>
              <a:ext uri="{FF2B5EF4-FFF2-40B4-BE49-F238E27FC236}">
                <a16:creationId xmlns:a16="http://schemas.microsoft.com/office/drawing/2014/main" id="{2411E64E-A470-F2C7-1084-D62BE79164EE}"/>
              </a:ext>
            </a:extLst>
          </p:cNvPr>
          <p:cNvSpPr/>
          <p:nvPr/>
        </p:nvSpPr>
        <p:spPr>
          <a:xfrm>
            <a:off x="3429329" y="6041014"/>
            <a:ext cx="723886" cy="232653"/>
          </a:xfrm>
          <a:prstGeom prst="rect">
            <a:avLst/>
          </a:prstGeom>
          <a:noFill/>
          <a:ln w="19050" algn="ctr">
            <a:noFill/>
            <a:miter lim="800000"/>
            <a:headEnd/>
            <a:tailEnd/>
          </a:ln>
        </p:spPr>
        <p:txBody>
          <a:bodyPr wrap="square" lIns="0" tIns="0" rIns="0" bIns="0" rtlCol="0" anchor="ctr"/>
          <a:lstStyle/>
          <a:p>
            <a:pPr>
              <a:lnSpc>
                <a:spcPct val="106000"/>
              </a:lnSpc>
            </a:pPr>
            <a:r>
              <a:rPr lang="en-US" sz="1600" b="1">
                <a:solidFill>
                  <a:schemeClr val="bg1"/>
                </a:solidFill>
              </a:rPr>
              <a:t>14</a:t>
            </a:r>
          </a:p>
        </p:txBody>
      </p:sp>
      <p:grpSp>
        <p:nvGrpSpPr>
          <p:cNvPr id="271" name="Group 270">
            <a:extLst>
              <a:ext uri="{FF2B5EF4-FFF2-40B4-BE49-F238E27FC236}">
                <a16:creationId xmlns:a16="http://schemas.microsoft.com/office/drawing/2014/main" id="{220CB992-D046-B7B7-75D2-DD90175614F6}"/>
              </a:ext>
            </a:extLst>
          </p:cNvPr>
          <p:cNvGrpSpPr/>
          <p:nvPr/>
        </p:nvGrpSpPr>
        <p:grpSpPr>
          <a:xfrm>
            <a:off x="490539" y="2978751"/>
            <a:ext cx="3094370" cy="3410170"/>
            <a:chOff x="490538" y="2556933"/>
            <a:chExt cx="3325577" cy="3664973"/>
          </a:xfrm>
        </p:grpSpPr>
        <p:grpSp>
          <p:nvGrpSpPr>
            <p:cNvPr id="272" name="Group 271">
              <a:extLst>
                <a:ext uri="{FF2B5EF4-FFF2-40B4-BE49-F238E27FC236}">
                  <a16:creationId xmlns:a16="http://schemas.microsoft.com/office/drawing/2014/main" id="{C0A6137F-C967-CC1D-B47A-3A2676468C95}"/>
                </a:ext>
              </a:extLst>
            </p:cNvPr>
            <p:cNvGrpSpPr/>
            <p:nvPr/>
          </p:nvGrpSpPr>
          <p:grpSpPr>
            <a:xfrm>
              <a:off x="490538" y="2556933"/>
              <a:ext cx="3325577" cy="3664973"/>
              <a:chOff x="715860" y="1944115"/>
              <a:chExt cx="2517580" cy="2539158"/>
            </a:xfrm>
          </p:grpSpPr>
          <p:sp>
            <p:nvSpPr>
              <p:cNvPr id="275" name="Freeform 14">
                <a:extLst>
                  <a:ext uri="{FF2B5EF4-FFF2-40B4-BE49-F238E27FC236}">
                    <a16:creationId xmlns:a16="http://schemas.microsoft.com/office/drawing/2014/main" id="{E0403A4B-0324-F243-9099-EFF8777AE234}"/>
                  </a:ext>
                </a:extLst>
              </p:cNvPr>
              <p:cNvSpPr>
                <a:spLocks noChangeAspect="1"/>
              </p:cNvSpPr>
              <p:nvPr/>
            </p:nvSpPr>
            <p:spPr bwMode="auto">
              <a:xfrm>
                <a:off x="715860" y="1944115"/>
                <a:ext cx="2517580" cy="2539158"/>
              </a:xfrm>
              <a:custGeom>
                <a:avLst/>
                <a:gdLst>
                  <a:gd name="T0" fmla="*/ 2147483647 w 1903"/>
                  <a:gd name="T1" fmla="*/ 2147483647 h 2101"/>
                  <a:gd name="T2" fmla="*/ 2147483647 w 1903"/>
                  <a:gd name="T3" fmla="*/ 2147483647 h 2101"/>
                  <a:gd name="T4" fmla="*/ 2147483647 w 1903"/>
                  <a:gd name="T5" fmla="*/ 2147483647 h 2101"/>
                  <a:gd name="T6" fmla="*/ 2147483647 w 1903"/>
                  <a:gd name="T7" fmla="*/ 2147483647 h 2101"/>
                  <a:gd name="T8" fmla="*/ 2147483647 w 1903"/>
                  <a:gd name="T9" fmla="*/ 2147483647 h 2101"/>
                  <a:gd name="T10" fmla="*/ 2147483647 w 1903"/>
                  <a:gd name="T11" fmla="*/ 2147483647 h 2101"/>
                  <a:gd name="T12" fmla="*/ 2147483647 w 1903"/>
                  <a:gd name="T13" fmla="*/ 2147483647 h 2101"/>
                  <a:gd name="T14" fmla="*/ 2147483647 w 1903"/>
                  <a:gd name="T15" fmla="*/ 2147483647 h 2101"/>
                  <a:gd name="T16" fmla="*/ 2147483647 w 1903"/>
                  <a:gd name="T17" fmla="*/ 2147483647 h 2101"/>
                  <a:gd name="T18" fmla="*/ 2147483647 w 1903"/>
                  <a:gd name="T19" fmla="*/ 2147483647 h 2101"/>
                  <a:gd name="T20" fmla="*/ 2147483647 w 1903"/>
                  <a:gd name="T21" fmla="*/ 2147483647 h 2101"/>
                  <a:gd name="T22" fmla="*/ 2147483647 w 1903"/>
                  <a:gd name="T23" fmla="*/ 2147483647 h 2101"/>
                  <a:gd name="T24" fmla="*/ 2147483647 w 1903"/>
                  <a:gd name="T25" fmla="*/ 2147483647 h 2101"/>
                  <a:gd name="T26" fmla="*/ 2147483647 w 1903"/>
                  <a:gd name="T27" fmla="*/ 2147483647 h 2101"/>
                  <a:gd name="T28" fmla="*/ 2147483647 w 1903"/>
                  <a:gd name="T29" fmla="*/ 2147483647 h 2101"/>
                  <a:gd name="T30" fmla="*/ 2147483647 w 1903"/>
                  <a:gd name="T31" fmla="*/ 2147483647 h 2101"/>
                  <a:gd name="T32" fmla="*/ 2147483647 w 1903"/>
                  <a:gd name="T33" fmla="*/ 2147483647 h 2101"/>
                  <a:gd name="T34" fmla="*/ 2147483647 w 1903"/>
                  <a:gd name="T35" fmla="*/ 2147483647 h 2101"/>
                  <a:gd name="T36" fmla="*/ 2147483647 w 1903"/>
                  <a:gd name="T37" fmla="*/ 2147483647 h 2101"/>
                  <a:gd name="T38" fmla="*/ 2147483647 w 1903"/>
                  <a:gd name="T39" fmla="*/ 1847412083 h 2101"/>
                  <a:gd name="T40" fmla="*/ 2147483647 w 1903"/>
                  <a:gd name="T41" fmla="*/ 256577569 h 2101"/>
                  <a:gd name="T42" fmla="*/ 2147483647 w 1903"/>
                  <a:gd name="T43" fmla="*/ 2147483647 h 2101"/>
                  <a:gd name="T44" fmla="*/ 2147483647 w 1903"/>
                  <a:gd name="T45" fmla="*/ 2147483647 h 2101"/>
                  <a:gd name="T46" fmla="*/ 2147483647 w 1903"/>
                  <a:gd name="T47" fmla="*/ 2147483647 h 2101"/>
                  <a:gd name="T48" fmla="*/ 2147483647 w 1903"/>
                  <a:gd name="T49" fmla="*/ 2147483647 h 2101"/>
                  <a:gd name="T50" fmla="*/ 2147483647 w 1903"/>
                  <a:gd name="T51" fmla="*/ 2147483647 h 2101"/>
                  <a:gd name="T52" fmla="*/ 2147483647 w 1903"/>
                  <a:gd name="T53" fmla="*/ 2147483647 h 2101"/>
                  <a:gd name="T54" fmla="*/ 2147483647 w 1903"/>
                  <a:gd name="T55" fmla="*/ 2147483647 h 2101"/>
                  <a:gd name="T56" fmla="*/ 2147483647 w 1903"/>
                  <a:gd name="T57" fmla="*/ 2147483647 h 2101"/>
                  <a:gd name="T58" fmla="*/ 2147483647 w 1903"/>
                  <a:gd name="T59" fmla="*/ 2147483647 h 2101"/>
                  <a:gd name="T60" fmla="*/ 2147483647 w 1903"/>
                  <a:gd name="T61" fmla="*/ 2147483647 h 2101"/>
                  <a:gd name="T62" fmla="*/ 2016059137 w 1903"/>
                  <a:gd name="T63" fmla="*/ 2147483647 h 2101"/>
                  <a:gd name="T64" fmla="*/ 2147483647 w 1903"/>
                  <a:gd name="T65" fmla="*/ 2147483647 h 2101"/>
                  <a:gd name="T66" fmla="*/ 2147483647 w 1903"/>
                  <a:gd name="T67" fmla="*/ 2147483647 h 2101"/>
                  <a:gd name="T68" fmla="*/ 2147483647 w 1903"/>
                  <a:gd name="T69" fmla="*/ 2147483647 h 2101"/>
                  <a:gd name="T70" fmla="*/ 2147483647 w 1903"/>
                  <a:gd name="T71" fmla="*/ 2147483647 h 2101"/>
                  <a:gd name="T72" fmla="*/ 2147483647 w 1903"/>
                  <a:gd name="T73" fmla="*/ 2147483647 h 2101"/>
                  <a:gd name="T74" fmla="*/ 2147483647 w 1903"/>
                  <a:gd name="T75" fmla="*/ 2147483647 h 2101"/>
                  <a:gd name="T76" fmla="*/ 2147483647 w 1903"/>
                  <a:gd name="T77" fmla="*/ 2147483647 h 2101"/>
                  <a:gd name="T78" fmla="*/ 2147483647 w 1903"/>
                  <a:gd name="T79" fmla="*/ 2147483647 h 2101"/>
                  <a:gd name="T80" fmla="*/ 2147483647 w 1903"/>
                  <a:gd name="T81" fmla="*/ 2147483647 h 2101"/>
                  <a:gd name="T82" fmla="*/ 2147483647 w 1903"/>
                  <a:gd name="T83" fmla="*/ 2147483647 h 2101"/>
                  <a:gd name="T84" fmla="*/ 2147483647 w 1903"/>
                  <a:gd name="T85" fmla="*/ 2147483647 h 2101"/>
                  <a:gd name="T86" fmla="*/ 2147483647 w 1903"/>
                  <a:gd name="T87" fmla="*/ 2147483647 h 2101"/>
                  <a:gd name="T88" fmla="*/ 2147483647 w 1903"/>
                  <a:gd name="T89" fmla="*/ 2147483647 h 2101"/>
                  <a:gd name="T90" fmla="*/ 2147483647 w 1903"/>
                  <a:gd name="T91" fmla="*/ 2147483647 h 2101"/>
                  <a:gd name="T92" fmla="*/ 2147483647 w 1903"/>
                  <a:gd name="T93" fmla="*/ 2147483647 h 2101"/>
                  <a:gd name="T94" fmla="*/ 2147483647 w 1903"/>
                  <a:gd name="T95" fmla="*/ 2147483647 h 2101"/>
                  <a:gd name="T96" fmla="*/ 2147483647 w 1903"/>
                  <a:gd name="T97" fmla="*/ 2147483647 h 2101"/>
                  <a:gd name="T98" fmla="*/ 2147483647 w 1903"/>
                  <a:gd name="T99" fmla="*/ 2147483647 h 2101"/>
                  <a:gd name="T100" fmla="*/ 2147483647 w 1903"/>
                  <a:gd name="T101" fmla="*/ 2147483647 h 2101"/>
                  <a:gd name="T102" fmla="*/ 2147483647 w 1903"/>
                  <a:gd name="T103" fmla="*/ 2147483647 h 2101"/>
                  <a:gd name="T104" fmla="*/ 2147483647 w 1903"/>
                  <a:gd name="T105" fmla="*/ 2147483647 h 2101"/>
                  <a:gd name="T106" fmla="*/ 2147483647 w 1903"/>
                  <a:gd name="T107" fmla="*/ 2147483647 h 2101"/>
                  <a:gd name="T108" fmla="*/ 2147483647 w 1903"/>
                  <a:gd name="T109" fmla="*/ 2147483647 h 2101"/>
                  <a:gd name="T110" fmla="*/ 2147483647 w 1903"/>
                  <a:gd name="T111" fmla="*/ 2147483647 h 2101"/>
                  <a:gd name="T112" fmla="*/ 2147483647 w 1903"/>
                  <a:gd name="T113" fmla="*/ 2147483647 h 2101"/>
                  <a:gd name="T114" fmla="*/ 2147483647 w 1903"/>
                  <a:gd name="T115" fmla="*/ 2147483647 h 2101"/>
                  <a:gd name="T116" fmla="*/ 2147483647 w 1903"/>
                  <a:gd name="T117" fmla="*/ 2147483647 h 2101"/>
                  <a:gd name="T118" fmla="*/ 2147483647 w 1903"/>
                  <a:gd name="T119" fmla="*/ 2147483647 h 2101"/>
                  <a:gd name="T120" fmla="*/ 2147483647 w 1903"/>
                  <a:gd name="T121" fmla="*/ 2147483647 h 2101"/>
                  <a:gd name="T122" fmla="*/ 2147483647 w 1903"/>
                  <a:gd name="T123" fmla="*/ 2147483647 h 21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03"/>
                  <a:gd name="T187" fmla="*/ 0 h 2101"/>
                  <a:gd name="T188" fmla="*/ 1903 w 1903"/>
                  <a:gd name="T189" fmla="*/ 2101 h 21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03" h="2101">
                    <a:moveTo>
                      <a:pt x="1856" y="553"/>
                    </a:moveTo>
                    <a:lnTo>
                      <a:pt x="1839" y="543"/>
                    </a:lnTo>
                    <a:lnTo>
                      <a:pt x="1840" y="542"/>
                    </a:lnTo>
                    <a:lnTo>
                      <a:pt x="1841" y="537"/>
                    </a:lnTo>
                    <a:lnTo>
                      <a:pt x="1839" y="532"/>
                    </a:lnTo>
                    <a:lnTo>
                      <a:pt x="1832" y="522"/>
                    </a:lnTo>
                    <a:lnTo>
                      <a:pt x="1824" y="513"/>
                    </a:lnTo>
                    <a:lnTo>
                      <a:pt x="1820" y="510"/>
                    </a:lnTo>
                    <a:lnTo>
                      <a:pt x="1818" y="507"/>
                    </a:lnTo>
                    <a:lnTo>
                      <a:pt x="1815" y="503"/>
                    </a:lnTo>
                    <a:lnTo>
                      <a:pt x="1811" y="496"/>
                    </a:lnTo>
                    <a:lnTo>
                      <a:pt x="1803" y="491"/>
                    </a:lnTo>
                    <a:lnTo>
                      <a:pt x="1792" y="497"/>
                    </a:lnTo>
                    <a:lnTo>
                      <a:pt x="1783" y="507"/>
                    </a:lnTo>
                    <a:lnTo>
                      <a:pt x="1777" y="514"/>
                    </a:lnTo>
                    <a:lnTo>
                      <a:pt x="1771" y="518"/>
                    </a:lnTo>
                    <a:lnTo>
                      <a:pt x="1764" y="519"/>
                    </a:lnTo>
                    <a:lnTo>
                      <a:pt x="1759" y="518"/>
                    </a:lnTo>
                    <a:lnTo>
                      <a:pt x="1752" y="517"/>
                    </a:lnTo>
                    <a:lnTo>
                      <a:pt x="1744" y="514"/>
                    </a:lnTo>
                    <a:lnTo>
                      <a:pt x="1736" y="513"/>
                    </a:lnTo>
                    <a:lnTo>
                      <a:pt x="1727" y="511"/>
                    </a:lnTo>
                    <a:lnTo>
                      <a:pt x="1719" y="511"/>
                    </a:lnTo>
                    <a:lnTo>
                      <a:pt x="1712" y="512"/>
                    </a:lnTo>
                    <a:lnTo>
                      <a:pt x="1707" y="514"/>
                    </a:lnTo>
                    <a:lnTo>
                      <a:pt x="1699" y="522"/>
                    </a:lnTo>
                    <a:lnTo>
                      <a:pt x="1690" y="529"/>
                    </a:lnTo>
                    <a:lnTo>
                      <a:pt x="1682" y="537"/>
                    </a:lnTo>
                    <a:lnTo>
                      <a:pt x="1675" y="547"/>
                    </a:lnTo>
                    <a:lnTo>
                      <a:pt x="1672" y="552"/>
                    </a:lnTo>
                    <a:lnTo>
                      <a:pt x="1667" y="557"/>
                    </a:lnTo>
                    <a:lnTo>
                      <a:pt x="1661" y="560"/>
                    </a:lnTo>
                    <a:lnTo>
                      <a:pt x="1655" y="565"/>
                    </a:lnTo>
                    <a:lnTo>
                      <a:pt x="1648" y="568"/>
                    </a:lnTo>
                    <a:lnTo>
                      <a:pt x="1643" y="573"/>
                    </a:lnTo>
                    <a:lnTo>
                      <a:pt x="1637" y="578"/>
                    </a:lnTo>
                    <a:lnTo>
                      <a:pt x="1632" y="582"/>
                    </a:lnTo>
                    <a:lnTo>
                      <a:pt x="1624" y="592"/>
                    </a:lnTo>
                    <a:lnTo>
                      <a:pt x="1616" y="600"/>
                    </a:lnTo>
                    <a:lnTo>
                      <a:pt x="1608" y="608"/>
                    </a:lnTo>
                    <a:lnTo>
                      <a:pt x="1600" y="615"/>
                    </a:lnTo>
                    <a:lnTo>
                      <a:pt x="1596" y="618"/>
                    </a:lnTo>
                    <a:lnTo>
                      <a:pt x="1589" y="623"/>
                    </a:lnTo>
                    <a:lnTo>
                      <a:pt x="1582" y="626"/>
                    </a:lnTo>
                    <a:lnTo>
                      <a:pt x="1575" y="628"/>
                    </a:lnTo>
                    <a:lnTo>
                      <a:pt x="1568" y="632"/>
                    </a:lnTo>
                    <a:lnTo>
                      <a:pt x="1563" y="633"/>
                    </a:lnTo>
                    <a:lnTo>
                      <a:pt x="1559" y="635"/>
                    </a:lnTo>
                    <a:lnTo>
                      <a:pt x="1558" y="635"/>
                    </a:lnTo>
                    <a:lnTo>
                      <a:pt x="1554" y="635"/>
                    </a:lnTo>
                    <a:lnTo>
                      <a:pt x="1547" y="638"/>
                    </a:lnTo>
                    <a:lnTo>
                      <a:pt x="1540" y="645"/>
                    </a:lnTo>
                    <a:lnTo>
                      <a:pt x="1537" y="657"/>
                    </a:lnTo>
                    <a:lnTo>
                      <a:pt x="1541" y="668"/>
                    </a:lnTo>
                    <a:lnTo>
                      <a:pt x="1553" y="672"/>
                    </a:lnTo>
                    <a:lnTo>
                      <a:pt x="1562" y="676"/>
                    </a:lnTo>
                    <a:lnTo>
                      <a:pt x="1566" y="685"/>
                    </a:lnTo>
                    <a:lnTo>
                      <a:pt x="1561" y="693"/>
                    </a:lnTo>
                    <a:lnTo>
                      <a:pt x="1552" y="695"/>
                    </a:lnTo>
                    <a:lnTo>
                      <a:pt x="1543" y="694"/>
                    </a:lnTo>
                    <a:lnTo>
                      <a:pt x="1533" y="696"/>
                    </a:lnTo>
                    <a:lnTo>
                      <a:pt x="1529" y="699"/>
                    </a:lnTo>
                    <a:lnTo>
                      <a:pt x="1525" y="700"/>
                    </a:lnTo>
                    <a:lnTo>
                      <a:pt x="1521" y="702"/>
                    </a:lnTo>
                    <a:lnTo>
                      <a:pt x="1516" y="702"/>
                    </a:lnTo>
                    <a:lnTo>
                      <a:pt x="1510" y="703"/>
                    </a:lnTo>
                    <a:lnTo>
                      <a:pt x="1506" y="703"/>
                    </a:lnTo>
                    <a:lnTo>
                      <a:pt x="1502" y="703"/>
                    </a:lnTo>
                    <a:lnTo>
                      <a:pt x="1498" y="703"/>
                    </a:lnTo>
                    <a:lnTo>
                      <a:pt x="1493" y="703"/>
                    </a:lnTo>
                    <a:lnTo>
                      <a:pt x="1488" y="701"/>
                    </a:lnTo>
                    <a:lnTo>
                      <a:pt x="1483" y="700"/>
                    </a:lnTo>
                    <a:lnTo>
                      <a:pt x="1476" y="699"/>
                    </a:lnTo>
                    <a:lnTo>
                      <a:pt x="1470" y="698"/>
                    </a:lnTo>
                    <a:lnTo>
                      <a:pt x="1463" y="699"/>
                    </a:lnTo>
                    <a:lnTo>
                      <a:pt x="1457" y="702"/>
                    </a:lnTo>
                    <a:lnTo>
                      <a:pt x="1452" y="707"/>
                    </a:lnTo>
                    <a:lnTo>
                      <a:pt x="1445" y="715"/>
                    </a:lnTo>
                    <a:lnTo>
                      <a:pt x="1441" y="716"/>
                    </a:lnTo>
                    <a:lnTo>
                      <a:pt x="1434" y="714"/>
                    </a:lnTo>
                    <a:lnTo>
                      <a:pt x="1419" y="710"/>
                    </a:lnTo>
                    <a:lnTo>
                      <a:pt x="1409" y="709"/>
                    </a:lnTo>
                    <a:lnTo>
                      <a:pt x="1401" y="708"/>
                    </a:lnTo>
                    <a:lnTo>
                      <a:pt x="1393" y="706"/>
                    </a:lnTo>
                    <a:lnTo>
                      <a:pt x="1386" y="704"/>
                    </a:lnTo>
                    <a:lnTo>
                      <a:pt x="1380" y="702"/>
                    </a:lnTo>
                    <a:lnTo>
                      <a:pt x="1377" y="700"/>
                    </a:lnTo>
                    <a:lnTo>
                      <a:pt x="1374" y="696"/>
                    </a:lnTo>
                    <a:lnTo>
                      <a:pt x="1373" y="693"/>
                    </a:lnTo>
                    <a:lnTo>
                      <a:pt x="1373" y="685"/>
                    </a:lnTo>
                    <a:lnTo>
                      <a:pt x="1373" y="676"/>
                    </a:lnTo>
                    <a:lnTo>
                      <a:pt x="1373" y="665"/>
                    </a:lnTo>
                    <a:lnTo>
                      <a:pt x="1373" y="654"/>
                    </a:lnTo>
                    <a:lnTo>
                      <a:pt x="1373" y="640"/>
                    </a:lnTo>
                    <a:lnTo>
                      <a:pt x="1371" y="628"/>
                    </a:lnTo>
                    <a:lnTo>
                      <a:pt x="1366" y="621"/>
                    </a:lnTo>
                    <a:lnTo>
                      <a:pt x="1356" y="618"/>
                    </a:lnTo>
                    <a:lnTo>
                      <a:pt x="1343" y="620"/>
                    </a:lnTo>
                    <a:lnTo>
                      <a:pt x="1335" y="626"/>
                    </a:lnTo>
                    <a:lnTo>
                      <a:pt x="1329" y="633"/>
                    </a:lnTo>
                    <a:lnTo>
                      <a:pt x="1327" y="635"/>
                    </a:lnTo>
                    <a:lnTo>
                      <a:pt x="1324" y="636"/>
                    </a:lnTo>
                    <a:lnTo>
                      <a:pt x="1317" y="640"/>
                    </a:lnTo>
                    <a:lnTo>
                      <a:pt x="1309" y="646"/>
                    </a:lnTo>
                    <a:lnTo>
                      <a:pt x="1305" y="654"/>
                    </a:lnTo>
                    <a:lnTo>
                      <a:pt x="1305" y="668"/>
                    </a:lnTo>
                    <a:lnTo>
                      <a:pt x="1306" y="687"/>
                    </a:lnTo>
                    <a:lnTo>
                      <a:pt x="1309" y="707"/>
                    </a:lnTo>
                    <a:lnTo>
                      <a:pt x="1313" y="721"/>
                    </a:lnTo>
                    <a:lnTo>
                      <a:pt x="1317" y="730"/>
                    </a:lnTo>
                    <a:lnTo>
                      <a:pt x="1316" y="738"/>
                    </a:lnTo>
                    <a:lnTo>
                      <a:pt x="1311" y="744"/>
                    </a:lnTo>
                    <a:lnTo>
                      <a:pt x="1302" y="746"/>
                    </a:lnTo>
                    <a:lnTo>
                      <a:pt x="1295" y="746"/>
                    </a:lnTo>
                    <a:lnTo>
                      <a:pt x="1285" y="746"/>
                    </a:lnTo>
                    <a:lnTo>
                      <a:pt x="1273" y="747"/>
                    </a:lnTo>
                    <a:lnTo>
                      <a:pt x="1260" y="747"/>
                    </a:lnTo>
                    <a:lnTo>
                      <a:pt x="1248" y="747"/>
                    </a:lnTo>
                    <a:lnTo>
                      <a:pt x="1236" y="746"/>
                    </a:lnTo>
                    <a:lnTo>
                      <a:pt x="1227" y="745"/>
                    </a:lnTo>
                    <a:lnTo>
                      <a:pt x="1221" y="742"/>
                    </a:lnTo>
                    <a:lnTo>
                      <a:pt x="1215" y="740"/>
                    </a:lnTo>
                    <a:lnTo>
                      <a:pt x="1209" y="737"/>
                    </a:lnTo>
                    <a:lnTo>
                      <a:pt x="1200" y="734"/>
                    </a:lnTo>
                    <a:lnTo>
                      <a:pt x="1191" y="732"/>
                    </a:lnTo>
                    <a:lnTo>
                      <a:pt x="1183" y="731"/>
                    </a:lnTo>
                    <a:lnTo>
                      <a:pt x="1176" y="729"/>
                    </a:lnTo>
                    <a:lnTo>
                      <a:pt x="1172" y="727"/>
                    </a:lnTo>
                    <a:lnTo>
                      <a:pt x="1171" y="727"/>
                    </a:lnTo>
                    <a:lnTo>
                      <a:pt x="1169" y="725"/>
                    </a:lnTo>
                    <a:lnTo>
                      <a:pt x="1166" y="719"/>
                    </a:lnTo>
                    <a:lnTo>
                      <a:pt x="1159" y="716"/>
                    </a:lnTo>
                    <a:lnTo>
                      <a:pt x="1150" y="717"/>
                    </a:lnTo>
                    <a:lnTo>
                      <a:pt x="1144" y="719"/>
                    </a:lnTo>
                    <a:lnTo>
                      <a:pt x="1137" y="719"/>
                    </a:lnTo>
                    <a:lnTo>
                      <a:pt x="1131" y="719"/>
                    </a:lnTo>
                    <a:lnTo>
                      <a:pt x="1124" y="718"/>
                    </a:lnTo>
                    <a:lnTo>
                      <a:pt x="1119" y="717"/>
                    </a:lnTo>
                    <a:lnTo>
                      <a:pt x="1114" y="715"/>
                    </a:lnTo>
                    <a:lnTo>
                      <a:pt x="1112" y="714"/>
                    </a:lnTo>
                    <a:lnTo>
                      <a:pt x="1111" y="714"/>
                    </a:lnTo>
                    <a:lnTo>
                      <a:pt x="1111" y="712"/>
                    </a:lnTo>
                    <a:lnTo>
                      <a:pt x="1110" y="709"/>
                    </a:lnTo>
                    <a:lnTo>
                      <a:pt x="1107" y="703"/>
                    </a:lnTo>
                    <a:lnTo>
                      <a:pt x="1104" y="698"/>
                    </a:lnTo>
                    <a:lnTo>
                      <a:pt x="1098" y="692"/>
                    </a:lnTo>
                    <a:lnTo>
                      <a:pt x="1091" y="686"/>
                    </a:lnTo>
                    <a:lnTo>
                      <a:pt x="1083" y="683"/>
                    </a:lnTo>
                    <a:lnTo>
                      <a:pt x="1072" y="681"/>
                    </a:lnTo>
                    <a:lnTo>
                      <a:pt x="1059" y="681"/>
                    </a:lnTo>
                    <a:lnTo>
                      <a:pt x="1045" y="681"/>
                    </a:lnTo>
                    <a:lnTo>
                      <a:pt x="1030" y="680"/>
                    </a:lnTo>
                    <a:lnTo>
                      <a:pt x="1017" y="679"/>
                    </a:lnTo>
                    <a:lnTo>
                      <a:pt x="1005" y="679"/>
                    </a:lnTo>
                    <a:lnTo>
                      <a:pt x="995" y="678"/>
                    </a:lnTo>
                    <a:lnTo>
                      <a:pt x="989" y="678"/>
                    </a:lnTo>
                    <a:lnTo>
                      <a:pt x="986" y="678"/>
                    </a:lnTo>
                    <a:lnTo>
                      <a:pt x="986" y="677"/>
                    </a:lnTo>
                    <a:lnTo>
                      <a:pt x="985" y="676"/>
                    </a:lnTo>
                    <a:lnTo>
                      <a:pt x="983" y="672"/>
                    </a:lnTo>
                    <a:lnTo>
                      <a:pt x="979" y="669"/>
                    </a:lnTo>
                    <a:lnTo>
                      <a:pt x="974" y="666"/>
                    </a:lnTo>
                    <a:lnTo>
                      <a:pt x="967" y="663"/>
                    </a:lnTo>
                    <a:lnTo>
                      <a:pt x="959" y="662"/>
                    </a:lnTo>
                    <a:lnTo>
                      <a:pt x="947" y="661"/>
                    </a:lnTo>
                    <a:lnTo>
                      <a:pt x="946" y="659"/>
                    </a:lnTo>
                    <a:lnTo>
                      <a:pt x="944" y="658"/>
                    </a:lnTo>
                    <a:lnTo>
                      <a:pt x="940" y="655"/>
                    </a:lnTo>
                    <a:lnTo>
                      <a:pt x="936" y="651"/>
                    </a:lnTo>
                    <a:lnTo>
                      <a:pt x="930" y="649"/>
                    </a:lnTo>
                    <a:lnTo>
                      <a:pt x="923" y="647"/>
                    </a:lnTo>
                    <a:lnTo>
                      <a:pt x="916" y="646"/>
                    </a:lnTo>
                    <a:lnTo>
                      <a:pt x="908" y="647"/>
                    </a:lnTo>
                    <a:lnTo>
                      <a:pt x="906" y="645"/>
                    </a:lnTo>
                    <a:lnTo>
                      <a:pt x="899" y="640"/>
                    </a:lnTo>
                    <a:lnTo>
                      <a:pt x="888" y="632"/>
                    </a:lnTo>
                    <a:lnTo>
                      <a:pt x="877" y="623"/>
                    </a:lnTo>
                    <a:lnTo>
                      <a:pt x="864" y="615"/>
                    </a:lnTo>
                    <a:lnTo>
                      <a:pt x="852" y="606"/>
                    </a:lnTo>
                    <a:lnTo>
                      <a:pt x="841" y="602"/>
                    </a:lnTo>
                    <a:lnTo>
                      <a:pt x="834" y="600"/>
                    </a:lnTo>
                    <a:lnTo>
                      <a:pt x="826" y="597"/>
                    </a:lnTo>
                    <a:lnTo>
                      <a:pt x="820" y="593"/>
                    </a:lnTo>
                    <a:lnTo>
                      <a:pt x="818" y="588"/>
                    </a:lnTo>
                    <a:lnTo>
                      <a:pt x="817" y="586"/>
                    </a:lnTo>
                    <a:lnTo>
                      <a:pt x="818" y="583"/>
                    </a:lnTo>
                    <a:lnTo>
                      <a:pt x="823" y="578"/>
                    </a:lnTo>
                    <a:lnTo>
                      <a:pt x="827" y="570"/>
                    </a:lnTo>
                    <a:lnTo>
                      <a:pt x="831" y="557"/>
                    </a:lnTo>
                    <a:lnTo>
                      <a:pt x="833" y="544"/>
                    </a:lnTo>
                    <a:lnTo>
                      <a:pt x="837" y="532"/>
                    </a:lnTo>
                    <a:lnTo>
                      <a:pt x="842" y="522"/>
                    </a:lnTo>
                    <a:lnTo>
                      <a:pt x="849" y="514"/>
                    </a:lnTo>
                    <a:lnTo>
                      <a:pt x="857" y="509"/>
                    </a:lnTo>
                    <a:lnTo>
                      <a:pt x="863" y="502"/>
                    </a:lnTo>
                    <a:lnTo>
                      <a:pt x="863" y="492"/>
                    </a:lnTo>
                    <a:lnTo>
                      <a:pt x="856" y="483"/>
                    </a:lnTo>
                    <a:lnTo>
                      <a:pt x="849" y="477"/>
                    </a:lnTo>
                    <a:lnTo>
                      <a:pt x="841" y="473"/>
                    </a:lnTo>
                    <a:lnTo>
                      <a:pt x="832" y="467"/>
                    </a:lnTo>
                    <a:lnTo>
                      <a:pt x="825" y="464"/>
                    </a:lnTo>
                    <a:lnTo>
                      <a:pt x="817" y="459"/>
                    </a:lnTo>
                    <a:lnTo>
                      <a:pt x="811" y="457"/>
                    </a:lnTo>
                    <a:lnTo>
                      <a:pt x="808" y="456"/>
                    </a:lnTo>
                    <a:lnTo>
                      <a:pt x="807" y="454"/>
                    </a:lnTo>
                    <a:lnTo>
                      <a:pt x="804" y="451"/>
                    </a:lnTo>
                    <a:lnTo>
                      <a:pt x="799" y="442"/>
                    </a:lnTo>
                    <a:lnTo>
                      <a:pt x="789" y="431"/>
                    </a:lnTo>
                    <a:lnTo>
                      <a:pt x="778" y="426"/>
                    </a:lnTo>
                    <a:lnTo>
                      <a:pt x="765" y="422"/>
                    </a:lnTo>
                    <a:lnTo>
                      <a:pt x="755" y="419"/>
                    </a:lnTo>
                    <a:lnTo>
                      <a:pt x="748" y="416"/>
                    </a:lnTo>
                    <a:lnTo>
                      <a:pt x="746" y="415"/>
                    </a:lnTo>
                    <a:lnTo>
                      <a:pt x="743" y="413"/>
                    </a:lnTo>
                    <a:lnTo>
                      <a:pt x="739" y="407"/>
                    </a:lnTo>
                    <a:lnTo>
                      <a:pt x="733" y="397"/>
                    </a:lnTo>
                    <a:lnTo>
                      <a:pt x="725" y="383"/>
                    </a:lnTo>
                    <a:lnTo>
                      <a:pt x="720" y="374"/>
                    </a:lnTo>
                    <a:lnTo>
                      <a:pt x="721" y="373"/>
                    </a:lnTo>
                    <a:lnTo>
                      <a:pt x="720" y="371"/>
                    </a:lnTo>
                    <a:lnTo>
                      <a:pt x="714" y="362"/>
                    </a:lnTo>
                    <a:lnTo>
                      <a:pt x="710" y="356"/>
                    </a:lnTo>
                    <a:lnTo>
                      <a:pt x="706" y="351"/>
                    </a:lnTo>
                    <a:lnTo>
                      <a:pt x="704" y="346"/>
                    </a:lnTo>
                    <a:lnTo>
                      <a:pt x="702" y="343"/>
                    </a:lnTo>
                    <a:lnTo>
                      <a:pt x="702" y="340"/>
                    </a:lnTo>
                    <a:lnTo>
                      <a:pt x="703" y="338"/>
                    </a:lnTo>
                    <a:lnTo>
                      <a:pt x="704" y="336"/>
                    </a:lnTo>
                    <a:lnTo>
                      <a:pt x="705" y="333"/>
                    </a:lnTo>
                    <a:lnTo>
                      <a:pt x="710" y="330"/>
                    </a:lnTo>
                    <a:lnTo>
                      <a:pt x="716" y="332"/>
                    </a:lnTo>
                    <a:lnTo>
                      <a:pt x="723" y="339"/>
                    </a:lnTo>
                    <a:lnTo>
                      <a:pt x="731" y="348"/>
                    </a:lnTo>
                    <a:lnTo>
                      <a:pt x="735" y="351"/>
                    </a:lnTo>
                    <a:lnTo>
                      <a:pt x="739" y="352"/>
                    </a:lnTo>
                    <a:lnTo>
                      <a:pt x="743" y="351"/>
                    </a:lnTo>
                    <a:lnTo>
                      <a:pt x="748" y="348"/>
                    </a:lnTo>
                    <a:lnTo>
                      <a:pt x="752" y="346"/>
                    </a:lnTo>
                    <a:lnTo>
                      <a:pt x="757" y="343"/>
                    </a:lnTo>
                    <a:lnTo>
                      <a:pt x="762" y="339"/>
                    </a:lnTo>
                    <a:lnTo>
                      <a:pt x="766" y="336"/>
                    </a:lnTo>
                    <a:lnTo>
                      <a:pt x="771" y="327"/>
                    </a:lnTo>
                    <a:lnTo>
                      <a:pt x="770" y="314"/>
                    </a:lnTo>
                    <a:lnTo>
                      <a:pt x="764" y="302"/>
                    </a:lnTo>
                    <a:lnTo>
                      <a:pt x="757" y="293"/>
                    </a:lnTo>
                    <a:lnTo>
                      <a:pt x="754" y="290"/>
                    </a:lnTo>
                    <a:lnTo>
                      <a:pt x="751" y="285"/>
                    </a:lnTo>
                    <a:lnTo>
                      <a:pt x="750" y="279"/>
                    </a:lnTo>
                    <a:lnTo>
                      <a:pt x="748" y="274"/>
                    </a:lnTo>
                    <a:lnTo>
                      <a:pt x="748" y="271"/>
                    </a:lnTo>
                    <a:lnTo>
                      <a:pt x="748" y="269"/>
                    </a:lnTo>
                    <a:lnTo>
                      <a:pt x="747" y="267"/>
                    </a:lnTo>
                    <a:lnTo>
                      <a:pt x="746" y="264"/>
                    </a:lnTo>
                    <a:lnTo>
                      <a:pt x="744" y="261"/>
                    </a:lnTo>
                    <a:lnTo>
                      <a:pt x="742" y="257"/>
                    </a:lnTo>
                    <a:lnTo>
                      <a:pt x="741" y="254"/>
                    </a:lnTo>
                    <a:lnTo>
                      <a:pt x="739" y="250"/>
                    </a:lnTo>
                    <a:lnTo>
                      <a:pt x="735" y="244"/>
                    </a:lnTo>
                    <a:lnTo>
                      <a:pt x="738" y="238"/>
                    </a:lnTo>
                    <a:lnTo>
                      <a:pt x="744" y="234"/>
                    </a:lnTo>
                    <a:lnTo>
                      <a:pt x="754" y="233"/>
                    </a:lnTo>
                    <a:lnTo>
                      <a:pt x="761" y="231"/>
                    </a:lnTo>
                    <a:lnTo>
                      <a:pt x="765" y="227"/>
                    </a:lnTo>
                    <a:lnTo>
                      <a:pt x="766" y="223"/>
                    </a:lnTo>
                    <a:lnTo>
                      <a:pt x="767" y="216"/>
                    </a:lnTo>
                    <a:lnTo>
                      <a:pt x="769" y="211"/>
                    </a:lnTo>
                    <a:lnTo>
                      <a:pt x="772" y="206"/>
                    </a:lnTo>
                    <a:lnTo>
                      <a:pt x="776" y="200"/>
                    </a:lnTo>
                    <a:lnTo>
                      <a:pt x="780" y="193"/>
                    </a:lnTo>
                    <a:lnTo>
                      <a:pt x="786" y="186"/>
                    </a:lnTo>
                    <a:lnTo>
                      <a:pt x="792" y="179"/>
                    </a:lnTo>
                    <a:lnTo>
                      <a:pt x="797" y="172"/>
                    </a:lnTo>
                    <a:lnTo>
                      <a:pt x="803" y="165"/>
                    </a:lnTo>
                    <a:lnTo>
                      <a:pt x="810" y="150"/>
                    </a:lnTo>
                    <a:lnTo>
                      <a:pt x="811" y="134"/>
                    </a:lnTo>
                    <a:lnTo>
                      <a:pt x="807" y="120"/>
                    </a:lnTo>
                    <a:lnTo>
                      <a:pt x="800" y="112"/>
                    </a:lnTo>
                    <a:lnTo>
                      <a:pt x="792" y="108"/>
                    </a:lnTo>
                    <a:lnTo>
                      <a:pt x="784" y="101"/>
                    </a:lnTo>
                    <a:lnTo>
                      <a:pt x="776" y="93"/>
                    </a:lnTo>
                    <a:lnTo>
                      <a:pt x="766" y="82"/>
                    </a:lnTo>
                    <a:lnTo>
                      <a:pt x="761" y="78"/>
                    </a:lnTo>
                    <a:lnTo>
                      <a:pt x="752" y="76"/>
                    </a:lnTo>
                    <a:lnTo>
                      <a:pt x="743" y="76"/>
                    </a:lnTo>
                    <a:lnTo>
                      <a:pt x="733" y="79"/>
                    </a:lnTo>
                    <a:lnTo>
                      <a:pt x="721" y="82"/>
                    </a:lnTo>
                    <a:lnTo>
                      <a:pt x="710" y="87"/>
                    </a:lnTo>
                    <a:lnTo>
                      <a:pt x="698" y="93"/>
                    </a:lnTo>
                    <a:lnTo>
                      <a:pt x="688" y="98"/>
                    </a:lnTo>
                    <a:lnTo>
                      <a:pt x="680" y="104"/>
                    </a:lnTo>
                    <a:lnTo>
                      <a:pt x="674" y="109"/>
                    </a:lnTo>
                    <a:lnTo>
                      <a:pt x="668" y="115"/>
                    </a:lnTo>
                    <a:lnTo>
                      <a:pt x="665" y="119"/>
                    </a:lnTo>
                    <a:lnTo>
                      <a:pt x="660" y="116"/>
                    </a:lnTo>
                    <a:lnTo>
                      <a:pt x="656" y="113"/>
                    </a:lnTo>
                    <a:lnTo>
                      <a:pt x="649" y="112"/>
                    </a:lnTo>
                    <a:lnTo>
                      <a:pt x="643" y="112"/>
                    </a:lnTo>
                    <a:lnTo>
                      <a:pt x="636" y="112"/>
                    </a:lnTo>
                    <a:lnTo>
                      <a:pt x="630" y="111"/>
                    </a:lnTo>
                    <a:lnTo>
                      <a:pt x="626" y="111"/>
                    </a:lnTo>
                    <a:lnTo>
                      <a:pt x="622" y="109"/>
                    </a:lnTo>
                    <a:lnTo>
                      <a:pt x="619" y="106"/>
                    </a:lnTo>
                    <a:lnTo>
                      <a:pt x="615" y="105"/>
                    </a:lnTo>
                    <a:lnTo>
                      <a:pt x="610" y="104"/>
                    </a:lnTo>
                    <a:lnTo>
                      <a:pt x="605" y="103"/>
                    </a:lnTo>
                    <a:lnTo>
                      <a:pt x="599" y="103"/>
                    </a:lnTo>
                    <a:lnTo>
                      <a:pt x="595" y="101"/>
                    </a:lnTo>
                    <a:lnTo>
                      <a:pt x="590" y="98"/>
                    </a:lnTo>
                    <a:lnTo>
                      <a:pt x="587" y="95"/>
                    </a:lnTo>
                    <a:lnTo>
                      <a:pt x="581" y="89"/>
                    </a:lnTo>
                    <a:lnTo>
                      <a:pt x="576" y="86"/>
                    </a:lnTo>
                    <a:lnTo>
                      <a:pt x="571" y="83"/>
                    </a:lnTo>
                    <a:lnTo>
                      <a:pt x="564" y="80"/>
                    </a:lnTo>
                    <a:lnTo>
                      <a:pt x="557" y="74"/>
                    </a:lnTo>
                    <a:lnTo>
                      <a:pt x="551" y="68"/>
                    </a:lnTo>
                    <a:lnTo>
                      <a:pt x="549" y="62"/>
                    </a:lnTo>
                    <a:lnTo>
                      <a:pt x="549" y="53"/>
                    </a:lnTo>
                    <a:lnTo>
                      <a:pt x="550" y="44"/>
                    </a:lnTo>
                    <a:lnTo>
                      <a:pt x="546" y="36"/>
                    </a:lnTo>
                    <a:lnTo>
                      <a:pt x="541" y="30"/>
                    </a:lnTo>
                    <a:lnTo>
                      <a:pt x="534" y="28"/>
                    </a:lnTo>
                    <a:lnTo>
                      <a:pt x="528" y="27"/>
                    </a:lnTo>
                    <a:lnTo>
                      <a:pt x="523" y="23"/>
                    </a:lnTo>
                    <a:lnTo>
                      <a:pt x="519" y="18"/>
                    </a:lnTo>
                    <a:lnTo>
                      <a:pt x="515" y="10"/>
                    </a:lnTo>
                    <a:lnTo>
                      <a:pt x="509" y="4"/>
                    </a:lnTo>
                    <a:lnTo>
                      <a:pt x="501" y="2"/>
                    </a:lnTo>
                    <a:lnTo>
                      <a:pt x="491" y="3"/>
                    </a:lnTo>
                    <a:lnTo>
                      <a:pt x="483" y="2"/>
                    </a:lnTo>
                    <a:lnTo>
                      <a:pt x="480" y="0"/>
                    </a:lnTo>
                    <a:lnTo>
                      <a:pt x="475" y="0"/>
                    </a:lnTo>
                    <a:lnTo>
                      <a:pt x="470" y="0"/>
                    </a:lnTo>
                    <a:lnTo>
                      <a:pt x="466" y="2"/>
                    </a:lnTo>
                    <a:lnTo>
                      <a:pt x="461" y="3"/>
                    </a:lnTo>
                    <a:lnTo>
                      <a:pt x="457" y="5"/>
                    </a:lnTo>
                    <a:lnTo>
                      <a:pt x="452" y="7"/>
                    </a:lnTo>
                    <a:lnTo>
                      <a:pt x="448" y="10"/>
                    </a:lnTo>
                    <a:lnTo>
                      <a:pt x="445" y="13"/>
                    </a:lnTo>
                    <a:lnTo>
                      <a:pt x="440" y="15"/>
                    </a:lnTo>
                    <a:lnTo>
                      <a:pt x="435" y="18"/>
                    </a:lnTo>
                    <a:lnTo>
                      <a:pt x="430" y="19"/>
                    </a:lnTo>
                    <a:lnTo>
                      <a:pt x="424" y="20"/>
                    </a:lnTo>
                    <a:lnTo>
                      <a:pt x="419" y="21"/>
                    </a:lnTo>
                    <a:lnTo>
                      <a:pt x="414" y="21"/>
                    </a:lnTo>
                    <a:lnTo>
                      <a:pt x="410" y="21"/>
                    </a:lnTo>
                    <a:lnTo>
                      <a:pt x="404" y="21"/>
                    </a:lnTo>
                    <a:lnTo>
                      <a:pt x="395" y="23"/>
                    </a:lnTo>
                    <a:lnTo>
                      <a:pt x="386" y="26"/>
                    </a:lnTo>
                    <a:lnTo>
                      <a:pt x="379" y="29"/>
                    </a:lnTo>
                    <a:lnTo>
                      <a:pt x="372" y="36"/>
                    </a:lnTo>
                    <a:lnTo>
                      <a:pt x="362" y="45"/>
                    </a:lnTo>
                    <a:lnTo>
                      <a:pt x="353" y="56"/>
                    </a:lnTo>
                    <a:lnTo>
                      <a:pt x="347" y="63"/>
                    </a:lnTo>
                    <a:lnTo>
                      <a:pt x="346" y="67"/>
                    </a:lnTo>
                    <a:lnTo>
                      <a:pt x="348" y="72"/>
                    </a:lnTo>
                    <a:lnTo>
                      <a:pt x="353" y="75"/>
                    </a:lnTo>
                    <a:lnTo>
                      <a:pt x="360" y="78"/>
                    </a:lnTo>
                    <a:lnTo>
                      <a:pt x="363" y="79"/>
                    </a:lnTo>
                    <a:lnTo>
                      <a:pt x="367" y="81"/>
                    </a:lnTo>
                    <a:lnTo>
                      <a:pt x="370" y="83"/>
                    </a:lnTo>
                    <a:lnTo>
                      <a:pt x="374" y="87"/>
                    </a:lnTo>
                    <a:lnTo>
                      <a:pt x="378" y="90"/>
                    </a:lnTo>
                    <a:lnTo>
                      <a:pt x="384" y="94"/>
                    </a:lnTo>
                    <a:lnTo>
                      <a:pt x="390" y="98"/>
                    </a:lnTo>
                    <a:lnTo>
                      <a:pt x="397" y="102"/>
                    </a:lnTo>
                    <a:lnTo>
                      <a:pt x="409" y="111"/>
                    </a:lnTo>
                    <a:lnTo>
                      <a:pt x="419" y="123"/>
                    </a:lnTo>
                    <a:lnTo>
                      <a:pt x="424" y="134"/>
                    </a:lnTo>
                    <a:lnTo>
                      <a:pt x="427" y="142"/>
                    </a:lnTo>
                    <a:lnTo>
                      <a:pt x="423" y="150"/>
                    </a:lnTo>
                    <a:lnTo>
                      <a:pt x="415" y="161"/>
                    </a:lnTo>
                    <a:lnTo>
                      <a:pt x="406" y="172"/>
                    </a:lnTo>
                    <a:lnTo>
                      <a:pt x="398" y="179"/>
                    </a:lnTo>
                    <a:lnTo>
                      <a:pt x="394" y="185"/>
                    </a:lnTo>
                    <a:lnTo>
                      <a:pt x="393" y="193"/>
                    </a:lnTo>
                    <a:lnTo>
                      <a:pt x="394" y="203"/>
                    </a:lnTo>
                    <a:lnTo>
                      <a:pt x="397" y="215"/>
                    </a:lnTo>
                    <a:lnTo>
                      <a:pt x="398" y="231"/>
                    </a:lnTo>
                    <a:lnTo>
                      <a:pt x="399" y="249"/>
                    </a:lnTo>
                    <a:lnTo>
                      <a:pt x="400" y="268"/>
                    </a:lnTo>
                    <a:lnTo>
                      <a:pt x="404" y="280"/>
                    </a:lnTo>
                    <a:lnTo>
                      <a:pt x="407" y="285"/>
                    </a:lnTo>
                    <a:lnTo>
                      <a:pt x="412" y="290"/>
                    </a:lnTo>
                    <a:lnTo>
                      <a:pt x="417" y="293"/>
                    </a:lnTo>
                    <a:lnTo>
                      <a:pt x="424" y="298"/>
                    </a:lnTo>
                    <a:lnTo>
                      <a:pt x="430" y="301"/>
                    </a:lnTo>
                    <a:lnTo>
                      <a:pt x="436" y="303"/>
                    </a:lnTo>
                    <a:lnTo>
                      <a:pt x="442" y="306"/>
                    </a:lnTo>
                    <a:lnTo>
                      <a:pt x="447" y="308"/>
                    </a:lnTo>
                    <a:lnTo>
                      <a:pt x="447" y="309"/>
                    </a:lnTo>
                    <a:lnTo>
                      <a:pt x="447" y="317"/>
                    </a:lnTo>
                    <a:lnTo>
                      <a:pt x="448" y="324"/>
                    </a:lnTo>
                    <a:lnTo>
                      <a:pt x="453" y="330"/>
                    </a:lnTo>
                    <a:lnTo>
                      <a:pt x="458" y="335"/>
                    </a:lnTo>
                    <a:lnTo>
                      <a:pt x="463" y="338"/>
                    </a:lnTo>
                    <a:lnTo>
                      <a:pt x="469" y="340"/>
                    </a:lnTo>
                    <a:lnTo>
                      <a:pt x="476" y="343"/>
                    </a:lnTo>
                    <a:lnTo>
                      <a:pt x="483" y="344"/>
                    </a:lnTo>
                    <a:lnTo>
                      <a:pt x="488" y="345"/>
                    </a:lnTo>
                    <a:lnTo>
                      <a:pt x="490" y="347"/>
                    </a:lnTo>
                    <a:lnTo>
                      <a:pt x="489" y="350"/>
                    </a:lnTo>
                    <a:lnTo>
                      <a:pt x="485" y="351"/>
                    </a:lnTo>
                    <a:lnTo>
                      <a:pt x="481" y="353"/>
                    </a:lnTo>
                    <a:lnTo>
                      <a:pt x="475" y="355"/>
                    </a:lnTo>
                    <a:lnTo>
                      <a:pt x="470" y="358"/>
                    </a:lnTo>
                    <a:lnTo>
                      <a:pt x="466" y="359"/>
                    </a:lnTo>
                    <a:lnTo>
                      <a:pt x="457" y="362"/>
                    </a:lnTo>
                    <a:lnTo>
                      <a:pt x="448" y="367"/>
                    </a:lnTo>
                    <a:lnTo>
                      <a:pt x="443" y="375"/>
                    </a:lnTo>
                    <a:lnTo>
                      <a:pt x="440" y="386"/>
                    </a:lnTo>
                    <a:lnTo>
                      <a:pt x="439" y="400"/>
                    </a:lnTo>
                    <a:lnTo>
                      <a:pt x="437" y="415"/>
                    </a:lnTo>
                    <a:lnTo>
                      <a:pt x="433" y="428"/>
                    </a:lnTo>
                    <a:lnTo>
                      <a:pt x="427" y="441"/>
                    </a:lnTo>
                    <a:lnTo>
                      <a:pt x="416" y="452"/>
                    </a:lnTo>
                    <a:lnTo>
                      <a:pt x="406" y="465"/>
                    </a:lnTo>
                    <a:lnTo>
                      <a:pt x="398" y="479"/>
                    </a:lnTo>
                    <a:lnTo>
                      <a:pt x="394" y="490"/>
                    </a:lnTo>
                    <a:lnTo>
                      <a:pt x="391" y="497"/>
                    </a:lnTo>
                    <a:lnTo>
                      <a:pt x="382" y="502"/>
                    </a:lnTo>
                    <a:lnTo>
                      <a:pt x="371" y="507"/>
                    </a:lnTo>
                    <a:lnTo>
                      <a:pt x="362" y="519"/>
                    </a:lnTo>
                    <a:lnTo>
                      <a:pt x="354" y="532"/>
                    </a:lnTo>
                    <a:lnTo>
                      <a:pt x="346" y="541"/>
                    </a:lnTo>
                    <a:lnTo>
                      <a:pt x="340" y="550"/>
                    </a:lnTo>
                    <a:lnTo>
                      <a:pt x="338" y="562"/>
                    </a:lnTo>
                    <a:lnTo>
                      <a:pt x="337" y="567"/>
                    </a:lnTo>
                    <a:lnTo>
                      <a:pt x="332" y="571"/>
                    </a:lnTo>
                    <a:lnTo>
                      <a:pt x="326" y="572"/>
                    </a:lnTo>
                    <a:lnTo>
                      <a:pt x="319" y="574"/>
                    </a:lnTo>
                    <a:lnTo>
                      <a:pt x="311" y="575"/>
                    </a:lnTo>
                    <a:lnTo>
                      <a:pt x="305" y="579"/>
                    </a:lnTo>
                    <a:lnTo>
                      <a:pt x="299" y="582"/>
                    </a:lnTo>
                    <a:lnTo>
                      <a:pt x="295" y="589"/>
                    </a:lnTo>
                    <a:lnTo>
                      <a:pt x="288" y="604"/>
                    </a:lnTo>
                    <a:lnTo>
                      <a:pt x="279" y="617"/>
                    </a:lnTo>
                    <a:lnTo>
                      <a:pt x="271" y="628"/>
                    </a:lnTo>
                    <a:lnTo>
                      <a:pt x="266" y="639"/>
                    </a:lnTo>
                    <a:lnTo>
                      <a:pt x="224" y="650"/>
                    </a:lnTo>
                    <a:lnTo>
                      <a:pt x="223" y="651"/>
                    </a:lnTo>
                    <a:lnTo>
                      <a:pt x="218" y="653"/>
                    </a:lnTo>
                    <a:lnTo>
                      <a:pt x="212" y="651"/>
                    </a:lnTo>
                    <a:lnTo>
                      <a:pt x="207" y="647"/>
                    </a:lnTo>
                    <a:lnTo>
                      <a:pt x="201" y="638"/>
                    </a:lnTo>
                    <a:lnTo>
                      <a:pt x="194" y="631"/>
                    </a:lnTo>
                    <a:lnTo>
                      <a:pt x="186" y="627"/>
                    </a:lnTo>
                    <a:lnTo>
                      <a:pt x="174" y="628"/>
                    </a:lnTo>
                    <a:lnTo>
                      <a:pt x="167" y="632"/>
                    </a:lnTo>
                    <a:lnTo>
                      <a:pt x="161" y="638"/>
                    </a:lnTo>
                    <a:lnTo>
                      <a:pt x="155" y="643"/>
                    </a:lnTo>
                    <a:lnTo>
                      <a:pt x="150" y="650"/>
                    </a:lnTo>
                    <a:lnTo>
                      <a:pt x="146" y="657"/>
                    </a:lnTo>
                    <a:lnTo>
                      <a:pt x="142" y="663"/>
                    </a:lnTo>
                    <a:lnTo>
                      <a:pt x="140" y="666"/>
                    </a:lnTo>
                    <a:lnTo>
                      <a:pt x="139" y="668"/>
                    </a:lnTo>
                    <a:lnTo>
                      <a:pt x="134" y="670"/>
                    </a:lnTo>
                    <a:lnTo>
                      <a:pt x="123" y="677"/>
                    </a:lnTo>
                    <a:lnTo>
                      <a:pt x="111" y="689"/>
                    </a:lnTo>
                    <a:lnTo>
                      <a:pt x="106" y="710"/>
                    </a:lnTo>
                    <a:lnTo>
                      <a:pt x="109" y="732"/>
                    </a:lnTo>
                    <a:lnTo>
                      <a:pt x="116" y="747"/>
                    </a:lnTo>
                    <a:lnTo>
                      <a:pt x="125" y="757"/>
                    </a:lnTo>
                    <a:lnTo>
                      <a:pt x="135" y="763"/>
                    </a:lnTo>
                    <a:lnTo>
                      <a:pt x="136" y="770"/>
                    </a:lnTo>
                    <a:lnTo>
                      <a:pt x="139" y="787"/>
                    </a:lnTo>
                    <a:lnTo>
                      <a:pt x="144" y="806"/>
                    </a:lnTo>
                    <a:lnTo>
                      <a:pt x="152" y="817"/>
                    </a:lnTo>
                    <a:lnTo>
                      <a:pt x="164" y="827"/>
                    </a:lnTo>
                    <a:lnTo>
                      <a:pt x="174" y="842"/>
                    </a:lnTo>
                    <a:lnTo>
                      <a:pt x="181" y="854"/>
                    </a:lnTo>
                    <a:lnTo>
                      <a:pt x="185" y="860"/>
                    </a:lnTo>
                    <a:lnTo>
                      <a:pt x="188" y="913"/>
                    </a:lnTo>
                    <a:lnTo>
                      <a:pt x="187" y="912"/>
                    </a:lnTo>
                    <a:lnTo>
                      <a:pt x="185" y="908"/>
                    </a:lnTo>
                    <a:lnTo>
                      <a:pt x="181" y="905"/>
                    </a:lnTo>
                    <a:lnTo>
                      <a:pt x="176" y="900"/>
                    </a:lnTo>
                    <a:lnTo>
                      <a:pt x="167" y="898"/>
                    </a:lnTo>
                    <a:lnTo>
                      <a:pt x="158" y="897"/>
                    </a:lnTo>
                    <a:lnTo>
                      <a:pt x="148" y="898"/>
                    </a:lnTo>
                    <a:lnTo>
                      <a:pt x="135" y="903"/>
                    </a:lnTo>
                    <a:lnTo>
                      <a:pt x="133" y="903"/>
                    </a:lnTo>
                    <a:lnTo>
                      <a:pt x="126" y="900"/>
                    </a:lnTo>
                    <a:lnTo>
                      <a:pt x="116" y="899"/>
                    </a:lnTo>
                    <a:lnTo>
                      <a:pt x="103" y="897"/>
                    </a:lnTo>
                    <a:lnTo>
                      <a:pt x="90" y="895"/>
                    </a:lnTo>
                    <a:lnTo>
                      <a:pt x="78" y="893"/>
                    </a:lnTo>
                    <a:lnTo>
                      <a:pt x="67" y="891"/>
                    </a:lnTo>
                    <a:lnTo>
                      <a:pt x="60" y="891"/>
                    </a:lnTo>
                    <a:lnTo>
                      <a:pt x="51" y="896"/>
                    </a:lnTo>
                    <a:lnTo>
                      <a:pt x="45" y="905"/>
                    </a:lnTo>
                    <a:lnTo>
                      <a:pt x="41" y="915"/>
                    </a:lnTo>
                    <a:lnTo>
                      <a:pt x="40" y="920"/>
                    </a:lnTo>
                    <a:lnTo>
                      <a:pt x="38" y="920"/>
                    </a:lnTo>
                    <a:lnTo>
                      <a:pt x="35" y="920"/>
                    </a:lnTo>
                    <a:lnTo>
                      <a:pt x="29" y="921"/>
                    </a:lnTo>
                    <a:lnTo>
                      <a:pt x="22" y="922"/>
                    </a:lnTo>
                    <a:lnTo>
                      <a:pt x="15" y="924"/>
                    </a:lnTo>
                    <a:lnTo>
                      <a:pt x="10" y="927"/>
                    </a:lnTo>
                    <a:lnTo>
                      <a:pt x="4" y="931"/>
                    </a:lnTo>
                    <a:lnTo>
                      <a:pt x="0" y="937"/>
                    </a:lnTo>
                    <a:lnTo>
                      <a:pt x="3" y="937"/>
                    </a:lnTo>
                    <a:lnTo>
                      <a:pt x="9" y="939"/>
                    </a:lnTo>
                    <a:lnTo>
                      <a:pt x="15" y="943"/>
                    </a:lnTo>
                    <a:lnTo>
                      <a:pt x="21" y="952"/>
                    </a:lnTo>
                    <a:lnTo>
                      <a:pt x="50" y="941"/>
                    </a:lnTo>
                    <a:lnTo>
                      <a:pt x="49" y="944"/>
                    </a:lnTo>
                    <a:lnTo>
                      <a:pt x="44" y="952"/>
                    </a:lnTo>
                    <a:lnTo>
                      <a:pt x="37" y="960"/>
                    </a:lnTo>
                    <a:lnTo>
                      <a:pt x="28" y="966"/>
                    </a:lnTo>
                    <a:lnTo>
                      <a:pt x="32" y="969"/>
                    </a:lnTo>
                    <a:lnTo>
                      <a:pt x="38" y="979"/>
                    </a:lnTo>
                    <a:lnTo>
                      <a:pt x="48" y="990"/>
                    </a:lnTo>
                    <a:lnTo>
                      <a:pt x="57" y="1002"/>
                    </a:lnTo>
                    <a:lnTo>
                      <a:pt x="62" y="1006"/>
                    </a:lnTo>
                    <a:lnTo>
                      <a:pt x="65" y="1011"/>
                    </a:lnTo>
                    <a:lnTo>
                      <a:pt x="71" y="1014"/>
                    </a:lnTo>
                    <a:lnTo>
                      <a:pt x="75" y="1017"/>
                    </a:lnTo>
                    <a:lnTo>
                      <a:pt x="81" y="1019"/>
                    </a:lnTo>
                    <a:lnTo>
                      <a:pt x="87" y="1021"/>
                    </a:lnTo>
                    <a:lnTo>
                      <a:pt x="93" y="1022"/>
                    </a:lnTo>
                    <a:lnTo>
                      <a:pt x="100" y="1022"/>
                    </a:lnTo>
                    <a:lnTo>
                      <a:pt x="106" y="1022"/>
                    </a:lnTo>
                    <a:lnTo>
                      <a:pt x="114" y="1021"/>
                    </a:lnTo>
                    <a:lnTo>
                      <a:pt x="121" y="1019"/>
                    </a:lnTo>
                    <a:lnTo>
                      <a:pt x="129" y="1017"/>
                    </a:lnTo>
                    <a:lnTo>
                      <a:pt x="135" y="1016"/>
                    </a:lnTo>
                    <a:lnTo>
                      <a:pt x="141" y="1013"/>
                    </a:lnTo>
                    <a:lnTo>
                      <a:pt x="144" y="1012"/>
                    </a:lnTo>
                    <a:lnTo>
                      <a:pt x="146" y="1012"/>
                    </a:lnTo>
                    <a:lnTo>
                      <a:pt x="147" y="1016"/>
                    </a:lnTo>
                    <a:lnTo>
                      <a:pt x="149" y="1024"/>
                    </a:lnTo>
                    <a:lnTo>
                      <a:pt x="149" y="1034"/>
                    </a:lnTo>
                    <a:lnTo>
                      <a:pt x="142" y="1041"/>
                    </a:lnTo>
                    <a:lnTo>
                      <a:pt x="133" y="1044"/>
                    </a:lnTo>
                    <a:lnTo>
                      <a:pt x="125" y="1045"/>
                    </a:lnTo>
                    <a:lnTo>
                      <a:pt x="118" y="1048"/>
                    </a:lnTo>
                    <a:lnTo>
                      <a:pt x="110" y="1051"/>
                    </a:lnTo>
                    <a:lnTo>
                      <a:pt x="101" y="1055"/>
                    </a:lnTo>
                    <a:lnTo>
                      <a:pt x="90" y="1056"/>
                    </a:lnTo>
                    <a:lnTo>
                      <a:pt x="82" y="1055"/>
                    </a:lnTo>
                    <a:lnTo>
                      <a:pt x="79" y="1055"/>
                    </a:lnTo>
                    <a:lnTo>
                      <a:pt x="60" y="1048"/>
                    </a:lnTo>
                    <a:lnTo>
                      <a:pt x="64" y="1065"/>
                    </a:lnTo>
                    <a:lnTo>
                      <a:pt x="67" y="1069"/>
                    </a:lnTo>
                    <a:lnTo>
                      <a:pt x="75" y="1075"/>
                    </a:lnTo>
                    <a:lnTo>
                      <a:pt x="86" y="1087"/>
                    </a:lnTo>
                    <a:lnTo>
                      <a:pt x="93" y="1097"/>
                    </a:lnTo>
                    <a:lnTo>
                      <a:pt x="96" y="1103"/>
                    </a:lnTo>
                    <a:lnTo>
                      <a:pt x="100" y="1111"/>
                    </a:lnTo>
                    <a:lnTo>
                      <a:pt x="104" y="1119"/>
                    </a:lnTo>
                    <a:lnTo>
                      <a:pt x="110" y="1128"/>
                    </a:lnTo>
                    <a:lnTo>
                      <a:pt x="117" y="1138"/>
                    </a:lnTo>
                    <a:lnTo>
                      <a:pt x="124" y="1147"/>
                    </a:lnTo>
                    <a:lnTo>
                      <a:pt x="131" y="1154"/>
                    </a:lnTo>
                    <a:lnTo>
                      <a:pt x="139" y="1161"/>
                    </a:lnTo>
                    <a:lnTo>
                      <a:pt x="146" y="1165"/>
                    </a:lnTo>
                    <a:lnTo>
                      <a:pt x="151" y="1169"/>
                    </a:lnTo>
                    <a:lnTo>
                      <a:pt x="156" y="1172"/>
                    </a:lnTo>
                    <a:lnTo>
                      <a:pt x="161" y="1174"/>
                    </a:lnTo>
                    <a:lnTo>
                      <a:pt x="164" y="1176"/>
                    </a:lnTo>
                    <a:lnTo>
                      <a:pt x="170" y="1177"/>
                    </a:lnTo>
                    <a:lnTo>
                      <a:pt x="177" y="1178"/>
                    </a:lnTo>
                    <a:lnTo>
                      <a:pt x="185" y="1178"/>
                    </a:lnTo>
                    <a:lnTo>
                      <a:pt x="195" y="1177"/>
                    </a:lnTo>
                    <a:lnTo>
                      <a:pt x="205" y="1174"/>
                    </a:lnTo>
                    <a:lnTo>
                      <a:pt x="216" y="1171"/>
                    </a:lnTo>
                    <a:lnTo>
                      <a:pt x="226" y="1168"/>
                    </a:lnTo>
                    <a:lnTo>
                      <a:pt x="235" y="1163"/>
                    </a:lnTo>
                    <a:lnTo>
                      <a:pt x="243" y="1160"/>
                    </a:lnTo>
                    <a:lnTo>
                      <a:pt x="250" y="1156"/>
                    </a:lnTo>
                    <a:lnTo>
                      <a:pt x="256" y="1154"/>
                    </a:lnTo>
                    <a:lnTo>
                      <a:pt x="264" y="1148"/>
                    </a:lnTo>
                    <a:lnTo>
                      <a:pt x="270" y="1140"/>
                    </a:lnTo>
                    <a:lnTo>
                      <a:pt x="275" y="1128"/>
                    </a:lnTo>
                    <a:lnTo>
                      <a:pt x="277" y="1116"/>
                    </a:lnTo>
                    <a:lnTo>
                      <a:pt x="278" y="1102"/>
                    </a:lnTo>
                    <a:lnTo>
                      <a:pt x="281" y="1090"/>
                    </a:lnTo>
                    <a:lnTo>
                      <a:pt x="287" y="1083"/>
                    </a:lnTo>
                    <a:lnTo>
                      <a:pt x="295" y="1083"/>
                    </a:lnTo>
                    <a:lnTo>
                      <a:pt x="301" y="1090"/>
                    </a:lnTo>
                    <a:lnTo>
                      <a:pt x="302" y="1098"/>
                    </a:lnTo>
                    <a:lnTo>
                      <a:pt x="302" y="1110"/>
                    </a:lnTo>
                    <a:lnTo>
                      <a:pt x="302" y="1123"/>
                    </a:lnTo>
                    <a:lnTo>
                      <a:pt x="305" y="1135"/>
                    </a:lnTo>
                    <a:lnTo>
                      <a:pt x="310" y="1149"/>
                    </a:lnTo>
                    <a:lnTo>
                      <a:pt x="315" y="1163"/>
                    </a:lnTo>
                    <a:lnTo>
                      <a:pt x="316" y="1178"/>
                    </a:lnTo>
                    <a:lnTo>
                      <a:pt x="313" y="1193"/>
                    </a:lnTo>
                    <a:lnTo>
                      <a:pt x="309" y="1208"/>
                    </a:lnTo>
                    <a:lnTo>
                      <a:pt x="306" y="1225"/>
                    </a:lnTo>
                    <a:lnTo>
                      <a:pt x="302" y="1246"/>
                    </a:lnTo>
                    <a:lnTo>
                      <a:pt x="303" y="1267"/>
                    </a:lnTo>
                    <a:lnTo>
                      <a:pt x="309" y="1283"/>
                    </a:lnTo>
                    <a:lnTo>
                      <a:pt x="315" y="1297"/>
                    </a:lnTo>
                    <a:lnTo>
                      <a:pt x="316" y="1309"/>
                    </a:lnTo>
                    <a:lnTo>
                      <a:pt x="313" y="1323"/>
                    </a:lnTo>
                    <a:lnTo>
                      <a:pt x="309" y="1338"/>
                    </a:lnTo>
                    <a:lnTo>
                      <a:pt x="308" y="1353"/>
                    </a:lnTo>
                    <a:lnTo>
                      <a:pt x="313" y="1367"/>
                    </a:lnTo>
                    <a:lnTo>
                      <a:pt x="317" y="1375"/>
                    </a:lnTo>
                    <a:lnTo>
                      <a:pt x="323" y="1386"/>
                    </a:lnTo>
                    <a:lnTo>
                      <a:pt x="329" y="1399"/>
                    </a:lnTo>
                    <a:lnTo>
                      <a:pt x="334" y="1413"/>
                    </a:lnTo>
                    <a:lnTo>
                      <a:pt x="339" y="1427"/>
                    </a:lnTo>
                    <a:lnTo>
                      <a:pt x="343" y="1441"/>
                    </a:lnTo>
                    <a:lnTo>
                      <a:pt x="345" y="1453"/>
                    </a:lnTo>
                    <a:lnTo>
                      <a:pt x="345" y="1463"/>
                    </a:lnTo>
                    <a:lnTo>
                      <a:pt x="343" y="1478"/>
                    </a:lnTo>
                    <a:lnTo>
                      <a:pt x="344" y="1492"/>
                    </a:lnTo>
                    <a:lnTo>
                      <a:pt x="347" y="1510"/>
                    </a:lnTo>
                    <a:lnTo>
                      <a:pt x="355" y="1533"/>
                    </a:lnTo>
                    <a:lnTo>
                      <a:pt x="361" y="1545"/>
                    </a:lnTo>
                    <a:lnTo>
                      <a:pt x="367" y="1558"/>
                    </a:lnTo>
                    <a:lnTo>
                      <a:pt x="372" y="1570"/>
                    </a:lnTo>
                    <a:lnTo>
                      <a:pt x="378" y="1580"/>
                    </a:lnTo>
                    <a:lnTo>
                      <a:pt x="384" y="1592"/>
                    </a:lnTo>
                    <a:lnTo>
                      <a:pt x="389" y="1602"/>
                    </a:lnTo>
                    <a:lnTo>
                      <a:pt x="393" y="1612"/>
                    </a:lnTo>
                    <a:lnTo>
                      <a:pt x="398" y="1623"/>
                    </a:lnTo>
                    <a:lnTo>
                      <a:pt x="402" y="1638"/>
                    </a:lnTo>
                    <a:lnTo>
                      <a:pt x="404" y="1647"/>
                    </a:lnTo>
                    <a:lnTo>
                      <a:pt x="405" y="1660"/>
                    </a:lnTo>
                    <a:lnTo>
                      <a:pt x="412" y="1683"/>
                    </a:lnTo>
                    <a:lnTo>
                      <a:pt x="417" y="1699"/>
                    </a:lnTo>
                    <a:lnTo>
                      <a:pt x="423" y="1714"/>
                    </a:lnTo>
                    <a:lnTo>
                      <a:pt x="430" y="1729"/>
                    </a:lnTo>
                    <a:lnTo>
                      <a:pt x="435" y="1743"/>
                    </a:lnTo>
                    <a:lnTo>
                      <a:pt x="440" y="1755"/>
                    </a:lnTo>
                    <a:lnTo>
                      <a:pt x="444" y="1767"/>
                    </a:lnTo>
                    <a:lnTo>
                      <a:pt x="446" y="1775"/>
                    </a:lnTo>
                    <a:lnTo>
                      <a:pt x="447" y="1782"/>
                    </a:lnTo>
                    <a:lnTo>
                      <a:pt x="448" y="1789"/>
                    </a:lnTo>
                    <a:lnTo>
                      <a:pt x="452" y="1796"/>
                    </a:lnTo>
                    <a:lnTo>
                      <a:pt x="457" y="1805"/>
                    </a:lnTo>
                    <a:lnTo>
                      <a:pt x="462" y="1813"/>
                    </a:lnTo>
                    <a:lnTo>
                      <a:pt x="469" y="1822"/>
                    </a:lnTo>
                    <a:lnTo>
                      <a:pt x="476" y="1829"/>
                    </a:lnTo>
                    <a:lnTo>
                      <a:pt x="483" y="1835"/>
                    </a:lnTo>
                    <a:lnTo>
                      <a:pt x="490" y="1839"/>
                    </a:lnTo>
                    <a:lnTo>
                      <a:pt x="493" y="1849"/>
                    </a:lnTo>
                    <a:lnTo>
                      <a:pt x="503" y="1869"/>
                    </a:lnTo>
                    <a:lnTo>
                      <a:pt x="513" y="1896"/>
                    </a:lnTo>
                    <a:lnTo>
                      <a:pt x="519" y="1921"/>
                    </a:lnTo>
                    <a:lnTo>
                      <a:pt x="523" y="1938"/>
                    </a:lnTo>
                    <a:lnTo>
                      <a:pt x="530" y="1951"/>
                    </a:lnTo>
                    <a:lnTo>
                      <a:pt x="537" y="1964"/>
                    </a:lnTo>
                    <a:lnTo>
                      <a:pt x="539" y="1978"/>
                    </a:lnTo>
                    <a:lnTo>
                      <a:pt x="542" y="1995"/>
                    </a:lnTo>
                    <a:lnTo>
                      <a:pt x="548" y="2012"/>
                    </a:lnTo>
                    <a:lnTo>
                      <a:pt x="556" y="2031"/>
                    </a:lnTo>
                    <a:lnTo>
                      <a:pt x="565" y="2046"/>
                    </a:lnTo>
                    <a:lnTo>
                      <a:pt x="571" y="2052"/>
                    </a:lnTo>
                    <a:lnTo>
                      <a:pt x="577" y="2062"/>
                    </a:lnTo>
                    <a:lnTo>
                      <a:pt x="586" y="2070"/>
                    </a:lnTo>
                    <a:lnTo>
                      <a:pt x="594" y="2079"/>
                    </a:lnTo>
                    <a:lnTo>
                      <a:pt x="600" y="2086"/>
                    </a:lnTo>
                    <a:lnTo>
                      <a:pt x="605" y="2093"/>
                    </a:lnTo>
                    <a:lnTo>
                      <a:pt x="610" y="2097"/>
                    </a:lnTo>
                    <a:lnTo>
                      <a:pt x="611" y="2099"/>
                    </a:lnTo>
                    <a:lnTo>
                      <a:pt x="612" y="2099"/>
                    </a:lnTo>
                    <a:lnTo>
                      <a:pt x="615" y="2100"/>
                    </a:lnTo>
                    <a:lnTo>
                      <a:pt x="620" y="2101"/>
                    </a:lnTo>
                    <a:lnTo>
                      <a:pt x="626" y="2101"/>
                    </a:lnTo>
                    <a:lnTo>
                      <a:pt x="629" y="2101"/>
                    </a:lnTo>
                    <a:lnTo>
                      <a:pt x="634" y="2101"/>
                    </a:lnTo>
                    <a:lnTo>
                      <a:pt x="637" y="2100"/>
                    </a:lnTo>
                    <a:lnTo>
                      <a:pt x="642" y="2099"/>
                    </a:lnTo>
                    <a:lnTo>
                      <a:pt x="647" y="2096"/>
                    </a:lnTo>
                    <a:lnTo>
                      <a:pt x="651" y="2095"/>
                    </a:lnTo>
                    <a:lnTo>
                      <a:pt x="656" y="2092"/>
                    </a:lnTo>
                    <a:lnTo>
                      <a:pt x="660" y="2088"/>
                    </a:lnTo>
                    <a:lnTo>
                      <a:pt x="673" y="2072"/>
                    </a:lnTo>
                    <a:lnTo>
                      <a:pt x="678" y="2057"/>
                    </a:lnTo>
                    <a:lnTo>
                      <a:pt x="680" y="2046"/>
                    </a:lnTo>
                    <a:lnTo>
                      <a:pt x="686" y="2037"/>
                    </a:lnTo>
                    <a:lnTo>
                      <a:pt x="691" y="2035"/>
                    </a:lnTo>
                    <a:lnTo>
                      <a:pt x="697" y="2032"/>
                    </a:lnTo>
                    <a:lnTo>
                      <a:pt x="704" y="2029"/>
                    </a:lnTo>
                    <a:lnTo>
                      <a:pt x="711" y="2026"/>
                    </a:lnTo>
                    <a:lnTo>
                      <a:pt x="716" y="2024"/>
                    </a:lnTo>
                    <a:lnTo>
                      <a:pt x="720" y="2021"/>
                    </a:lnTo>
                    <a:lnTo>
                      <a:pt x="724" y="2020"/>
                    </a:lnTo>
                    <a:lnTo>
                      <a:pt x="725" y="2020"/>
                    </a:lnTo>
                    <a:lnTo>
                      <a:pt x="725" y="2018"/>
                    </a:lnTo>
                    <a:lnTo>
                      <a:pt x="726" y="2012"/>
                    </a:lnTo>
                    <a:lnTo>
                      <a:pt x="728" y="2004"/>
                    </a:lnTo>
                    <a:lnTo>
                      <a:pt x="732" y="1995"/>
                    </a:lnTo>
                    <a:lnTo>
                      <a:pt x="738" y="1987"/>
                    </a:lnTo>
                    <a:lnTo>
                      <a:pt x="746" y="1978"/>
                    </a:lnTo>
                    <a:lnTo>
                      <a:pt x="752" y="1968"/>
                    </a:lnTo>
                    <a:lnTo>
                      <a:pt x="757" y="1959"/>
                    </a:lnTo>
                    <a:lnTo>
                      <a:pt x="761" y="1953"/>
                    </a:lnTo>
                    <a:lnTo>
                      <a:pt x="766" y="1950"/>
                    </a:lnTo>
                    <a:lnTo>
                      <a:pt x="773" y="1949"/>
                    </a:lnTo>
                    <a:lnTo>
                      <a:pt x="781" y="1949"/>
                    </a:lnTo>
                    <a:lnTo>
                      <a:pt x="789" y="1948"/>
                    </a:lnTo>
                    <a:lnTo>
                      <a:pt x="796" y="1943"/>
                    </a:lnTo>
                    <a:lnTo>
                      <a:pt x="801" y="1940"/>
                    </a:lnTo>
                    <a:lnTo>
                      <a:pt x="803" y="1938"/>
                    </a:lnTo>
                    <a:lnTo>
                      <a:pt x="803" y="1934"/>
                    </a:lnTo>
                    <a:lnTo>
                      <a:pt x="802" y="1922"/>
                    </a:lnTo>
                    <a:lnTo>
                      <a:pt x="802" y="1908"/>
                    </a:lnTo>
                    <a:lnTo>
                      <a:pt x="803" y="1896"/>
                    </a:lnTo>
                    <a:lnTo>
                      <a:pt x="802" y="1884"/>
                    </a:lnTo>
                    <a:lnTo>
                      <a:pt x="797" y="1872"/>
                    </a:lnTo>
                    <a:lnTo>
                      <a:pt x="791" y="1859"/>
                    </a:lnTo>
                    <a:lnTo>
                      <a:pt x="788" y="1850"/>
                    </a:lnTo>
                    <a:lnTo>
                      <a:pt x="789" y="1842"/>
                    </a:lnTo>
                    <a:lnTo>
                      <a:pt x="794" y="1834"/>
                    </a:lnTo>
                    <a:lnTo>
                      <a:pt x="801" y="1824"/>
                    </a:lnTo>
                    <a:lnTo>
                      <a:pt x="810" y="1810"/>
                    </a:lnTo>
                    <a:lnTo>
                      <a:pt x="820" y="1792"/>
                    </a:lnTo>
                    <a:lnTo>
                      <a:pt x="829" y="1764"/>
                    </a:lnTo>
                    <a:lnTo>
                      <a:pt x="829" y="1725"/>
                    </a:lnTo>
                    <a:lnTo>
                      <a:pt x="817" y="1669"/>
                    </a:lnTo>
                    <a:lnTo>
                      <a:pt x="817" y="1661"/>
                    </a:lnTo>
                    <a:lnTo>
                      <a:pt x="817" y="1640"/>
                    </a:lnTo>
                    <a:lnTo>
                      <a:pt x="816" y="1616"/>
                    </a:lnTo>
                    <a:lnTo>
                      <a:pt x="814" y="1594"/>
                    </a:lnTo>
                    <a:lnTo>
                      <a:pt x="814" y="1577"/>
                    </a:lnTo>
                    <a:lnTo>
                      <a:pt x="819" y="1563"/>
                    </a:lnTo>
                    <a:lnTo>
                      <a:pt x="830" y="1552"/>
                    </a:lnTo>
                    <a:lnTo>
                      <a:pt x="842" y="1548"/>
                    </a:lnTo>
                    <a:lnTo>
                      <a:pt x="853" y="1547"/>
                    </a:lnTo>
                    <a:lnTo>
                      <a:pt x="858" y="1548"/>
                    </a:lnTo>
                    <a:lnTo>
                      <a:pt x="861" y="1550"/>
                    </a:lnTo>
                    <a:lnTo>
                      <a:pt x="862" y="1551"/>
                    </a:lnTo>
                    <a:lnTo>
                      <a:pt x="867" y="1550"/>
                    </a:lnTo>
                    <a:lnTo>
                      <a:pt x="877" y="1545"/>
                    </a:lnTo>
                    <a:lnTo>
                      <a:pt x="887" y="1537"/>
                    </a:lnTo>
                    <a:lnTo>
                      <a:pt x="894" y="1526"/>
                    </a:lnTo>
                    <a:lnTo>
                      <a:pt x="900" y="1516"/>
                    </a:lnTo>
                    <a:lnTo>
                      <a:pt x="908" y="1509"/>
                    </a:lnTo>
                    <a:lnTo>
                      <a:pt x="915" y="1506"/>
                    </a:lnTo>
                    <a:lnTo>
                      <a:pt x="918" y="1505"/>
                    </a:lnTo>
                    <a:lnTo>
                      <a:pt x="921" y="1505"/>
                    </a:lnTo>
                    <a:lnTo>
                      <a:pt x="925" y="1505"/>
                    </a:lnTo>
                    <a:lnTo>
                      <a:pt x="933" y="1504"/>
                    </a:lnTo>
                    <a:lnTo>
                      <a:pt x="943" y="1503"/>
                    </a:lnTo>
                    <a:lnTo>
                      <a:pt x="952" y="1502"/>
                    </a:lnTo>
                    <a:lnTo>
                      <a:pt x="961" y="1499"/>
                    </a:lnTo>
                    <a:lnTo>
                      <a:pt x="968" y="1495"/>
                    </a:lnTo>
                    <a:lnTo>
                      <a:pt x="972" y="1490"/>
                    </a:lnTo>
                    <a:lnTo>
                      <a:pt x="974" y="1484"/>
                    </a:lnTo>
                    <a:lnTo>
                      <a:pt x="972" y="1479"/>
                    </a:lnTo>
                    <a:lnTo>
                      <a:pt x="969" y="1472"/>
                    </a:lnTo>
                    <a:lnTo>
                      <a:pt x="967" y="1465"/>
                    </a:lnTo>
                    <a:lnTo>
                      <a:pt x="966" y="1458"/>
                    </a:lnTo>
                    <a:lnTo>
                      <a:pt x="967" y="1451"/>
                    </a:lnTo>
                    <a:lnTo>
                      <a:pt x="972" y="1445"/>
                    </a:lnTo>
                    <a:lnTo>
                      <a:pt x="983" y="1441"/>
                    </a:lnTo>
                    <a:lnTo>
                      <a:pt x="995" y="1436"/>
                    </a:lnTo>
                    <a:lnTo>
                      <a:pt x="1005" y="1430"/>
                    </a:lnTo>
                    <a:lnTo>
                      <a:pt x="1013" y="1423"/>
                    </a:lnTo>
                    <a:lnTo>
                      <a:pt x="1021" y="1416"/>
                    </a:lnTo>
                    <a:lnTo>
                      <a:pt x="1028" y="1408"/>
                    </a:lnTo>
                    <a:lnTo>
                      <a:pt x="1033" y="1400"/>
                    </a:lnTo>
                    <a:lnTo>
                      <a:pt x="1042" y="1392"/>
                    </a:lnTo>
                    <a:lnTo>
                      <a:pt x="1050" y="1384"/>
                    </a:lnTo>
                    <a:lnTo>
                      <a:pt x="1060" y="1376"/>
                    </a:lnTo>
                    <a:lnTo>
                      <a:pt x="1070" y="1368"/>
                    </a:lnTo>
                    <a:lnTo>
                      <a:pt x="1082" y="1359"/>
                    </a:lnTo>
                    <a:lnTo>
                      <a:pt x="1093" y="1351"/>
                    </a:lnTo>
                    <a:lnTo>
                      <a:pt x="1104" y="1342"/>
                    </a:lnTo>
                    <a:lnTo>
                      <a:pt x="1113" y="1331"/>
                    </a:lnTo>
                    <a:lnTo>
                      <a:pt x="1122" y="1321"/>
                    </a:lnTo>
                    <a:lnTo>
                      <a:pt x="1128" y="1309"/>
                    </a:lnTo>
                    <a:lnTo>
                      <a:pt x="1135" y="1298"/>
                    </a:lnTo>
                    <a:lnTo>
                      <a:pt x="1142" y="1287"/>
                    </a:lnTo>
                    <a:lnTo>
                      <a:pt x="1151" y="1279"/>
                    </a:lnTo>
                    <a:lnTo>
                      <a:pt x="1160" y="1271"/>
                    </a:lnTo>
                    <a:lnTo>
                      <a:pt x="1169" y="1264"/>
                    </a:lnTo>
                    <a:lnTo>
                      <a:pt x="1179" y="1259"/>
                    </a:lnTo>
                    <a:lnTo>
                      <a:pt x="1186" y="1254"/>
                    </a:lnTo>
                    <a:lnTo>
                      <a:pt x="1192" y="1249"/>
                    </a:lnTo>
                    <a:lnTo>
                      <a:pt x="1198" y="1246"/>
                    </a:lnTo>
                    <a:lnTo>
                      <a:pt x="1206" y="1244"/>
                    </a:lnTo>
                    <a:lnTo>
                      <a:pt x="1214" y="1242"/>
                    </a:lnTo>
                    <a:lnTo>
                      <a:pt x="1222" y="1241"/>
                    </a:lnTo>
                    <a:lnTo>
                      <a:pt x="1230" y="1240"/>
                    </a:lnTo>
                    <a:lnTo>
                      <a:pt x="1237" y="1239"/>
                    </a:lnTo>
                    <a:lnTo>
                      <a:pt x="1243" y="1236"/>
                    </a:lnTo>
                    <a:lnTo>
                      <a:pt x="1245" y="1231"/>
                    </a:lnTo>
                    <a:lnTo>
                      <a:pt x="1250" y="1218"/>
                    </a:lnTo>
                    <a:lnTo>
                      <a:pt x="1259" y="1204"/>
                    </a:lnTo>
                    <a:lnTo>
                      <a:pt x="1268" y="1192"/>
                    </a:lnTo>
                    <a:lnTo>
                      <a:pt x="1278" y="1181"/>
                    </a:lnTo>
                    <a:lnTo>
                      <a:pt x="1281" y="1172"/>
                    </a:lnTo>
                    <a:lnTo>
                      <a:pt x="1278" y="1162"/>
                    </a:lnTo>
                    <a:lnTo>
                      <a:pt x="1273" y="1153"/>
                    </a:lnTo>
                    <a:lnTo>
                      <a:pt x="1271" y="1149"/>
                    </a:lnTo>
                    <a:lnTo>
                      <a:pt x="1270" y="1147"/>
                    </a:lnTo>
                    <a:lnTo>
                      <a:pt x="1270" y="1140"/>
                    </a:lnTo>
                    <a:lnTo>
                      <a:pt x="1274" y="1130"/>
                    </a:lnTo>
                    <a:lnTo>
                      <a:pt x="1288" y="1116"/>
                    </a:lnTo>
                    <a:lnTo>
                      <a:pt x="1297" y="1109"/>
                    </a:lnTo>
                    <a:lnTo>
                      <a:pt x="1306" y="1103"/>
                    </a:lnTo>
                    <a:lnTo>
                      <a:pt x="1315" y="1098"/>
                    </a:lnTo>
                    <a:lnTo>
                      <a:pt x="1321" y="1096"/>
                    </a:lnTo>
                    <a:lnTo>
                      <a:pt x="1328" y="1094"/>
                    </a:lnTo>
                    <a:lnTo>
                      <a:pt x="1335" y="1094"/>
                    </a:lnTo>
                    <a:lnTo>
                      <a:pt x="1340" y="1095"/>
                    </a:lnTo>
                    <a:lnTo>
                      <a:pt x="1344" y="1097"/>
                    </a:lnTo>
                    <a:lnTo>
                      <a:pt x="1349" y="1100"/>
                    </a:lnTo>
                    <a:lnTo>
                      <a:pt x="1354" y="1101"/>
                    </a:lnTo>
                    <a:lnTo>
                      <a:pt x="1358" y="1102"/>
                    </a:lnTo>
                    <a:lnTo>
                      <a:pt x="1363" y="1103"/>
                    </a:lnTo>
                    <a:lnTo>
                      <a:pt x="1369" y="1103"/>
                    </a:lnTo>
                    <a:lnTo>
                      <a:pt x="1373" y="1103"/>
                    </a:lnTo>
                    <a:lnTo>
                      <a:pt x="1379" y="1102"/>
                    </a:lnTo>
                    <a:lnTo>
                      <a:pt x="1384" y="1101"/>
                    </a:lnTo>
                    <a:lnTo>
                      <a:pt x="1395" y="1098"/>
                    </a:lnTo>
                    <a:lnTo>
                      <a:pt x="1405" y="1096"/>
                    </a:lnTo>
                    <a:lnTo>
                      <a:pt x="1412" y="1095"/>
                    </a:lnTo>
                    <a:lnTo>
                      <a:pt x="1416" y="1094"/>
                    </a:lnTo>
                    <a:lnTo>
                      <a:pt x="1415" y="1086"/>
                    </a:lnTo>
                    <a:lnTo>
                      <a:pt x="1414" y="1069"/>
                    </a:lnTo>
                    <a:lnTo>
                      <a:pt x="1411" y="1045"/>
                    </a:lnTo>
                    <a:lnTo>
                      <a:pt x="1409" y="1026"/>
                    </a:lnTo>
                    <a:lnTo>
                      <a:pt x="1404" y="1005"/>
                    </a:lnTo>
                    <a:lnTo>
                      <a:pt x="1397" y="981"/>
                    </a:lnTo>
                    <a:lnTo>
                      <a:pt x="1387" y="959"/>
                    </a:lnTo>
                    <a:lnTo>
                      <a:pt x="1377" y="949"/>
                    </a:lnTo>
                    <a:lnTo>
                      <a:pt x="1379" y="945"/>
                    </a:lnTo>
                    <a:lnTo>
                      <a:pt x="1384" y="937"/>
                    </a:lnTo>
                    <a:lnTo>
                      <a:pt x="1387" y="927"/>
                    </a:lnTo>
                    <a:lnTo>
                      <a:pt x="1387" y="916"/>
                    </a:lnTo>
                    <a:lnTo>
                      <a:pt x="1385" y="907"/>
                    </a:lnTo>
                    <a:lnTo>
                      <a:pt x="1381" y="901"/>
                    </a:lnTo>
                    <a:lnTo>
                      <a:pt x="1377" y="898"/>
                    </a:lnTo>
                    <a:lnTo>
                      <a:pt x="1370" y="895"/>
                    </a:lnTo>
                    <a:lnTo>
                      <a:pt x="1365" y="892"/>
                    </a:lnTo>
                    <a:lnTo>
                      <a:pt x="1359" y="890"/>
                    </a:lnTo>
                    <a:lnTo>
                      <a:pt x="1354" y="888"/>
                    </a:lnTo>
                    <a:lnTo>
                      <a:pt x="1348" y="884"/>
                    </a:lnTo>
                    <a:lnTo>
                      <a:pt x="1342" y="882"/>
                    </a:lnTo>
                    <a:lnTo>
                      <a:pt x="1339" y="880"/>
                    </a:lnTo>
                    <a:lnTo>
                      <a:pt x="1335" y="878"/>
                    </a:lnTo>
                    <a:lnTo>
                      <a:pt x="1334" y="877"/>
                    </a:lnTo>
                    <a:lnTo>
                      <a:pt x="1335" y="876"/>
                    </a:lnTo>
                    <a:lnTo>
                      <a:pt x="1339" y="873"/>
                    </a:lnTo>
                    <a:lnTo>
                      <a:pt x="1344" y="867"/>
                    </a:lnTo>
                    <a:lnTo>
                      <a:pt x="1350" y="861"/>
                    </a:lnTo>
                    <a:lnTo>
                      <a:pt x="1357" y="855"/>
                    </a:lnTo>
                    <a:lnTo>
                      <a:pt x="1364" y="850"/>
                    </a:lnTo>
                    <a:lnTo>
                      <a:pt x="1371" y="846"/>
                    </a:lnTo>
                    <a:lnTo>
                      <a:pt x="1377" y="845"/>
                    </a:lnTo>
                    <a:lnTo>
                      <a:pt x="1385" y="840"/>
                    </a:lnTo>
                    <a:lnTo>
                      <a:pt x="1387" y="829"/>
                    </a:lnTo>
                    <a:lnTo>
                      <a:pt x="1384" y="817"/>
                    </a:lnTo>
                    <a:lnTo>
                      <a:pt x="1373" y="813"/>
                    </a:lnTo>
                    <a:lnTo>
                      <a:pt x="1366" y="813"/>
                    </a:lnTo>
                    <a:lnTo>
                      <a:pt x="1361" y="810"/>
                    </a:lnTo>
                    <a:lnTo>
                      <a:pt x="1354" y="807"/>
                    </a:lnTo>
                    <a:lnTo>
                      <a:pt x="1349" y="802"/>
                    </a:lnTo>
                    <a:lnTo>
                      <a:pt x="1346" y="795"/>
                    </a:lnTo>
                    <a:lnTo>
                      <a:pt x="1343" y="786"/>
                    </a:lnTo>
                    <a:lnTo>
                      <a:pt x="1344" y="775"/>
                    </a:lnTo>
                    <a:lnTo>
                      <a:pt x="1348" y="760"/>
                    </a:lnTo>
                    <a:lnTo>
                      <a:pt x="1350" y="761"/>
                    </a:lnTo>
                    <a:lnTo>
                      <a:pt x="1356" y="763"/>
                    </a:lnTo>
                    <a:lnTo>
                      <a:pt x="1365" y="767"/>
                    </a:lnTo>
                    <a:lnTo>
                      <a:pt x="1376" y="772"/>
                    </a:lnTo>
                    <a:lnTo>
                      <a:pt x="1387" y="777"/>
                    </a:lnTo>
                    <a:lnTo>
                      <a:pt x="1397" y="783"/>
                    </a:lnTo>
                    <a:lnTo>
                      <a:pt x="1408" y="787"/>
                    </a:lnTo>
                    <a:lnTo>
                      <a:pt x="1416" y="792"/>
                    </a:lnTo>
                    <a:lnTo>
                      <a:pt x="1425" y="801"/>
                    </a:lnTo>
                    <a:lnTo>
                      <a:pt x="1430" y="814"/>
                    </a:lnTo>
                    <a:lnTo>
                      <a:pt x="1433" y="827"/>
                    </a:lnTo>
                    <a:lnTo>
                      <a:pt x="1441" y="838"/>
                    </a:lnTo>
                    <a:lnTo>
                      <a:pt x="1447" y="843"/>
                    </a:lnTo>
                    <a:lnTo>
                      <a:pt x="1454" y="845"/>
                    </a:lnTo>
                    <a:lnTo>
                      <a:pt x="1462" y="847"/>
                    </a:lnTo>
                    <a:lnTo>
                      <a:pt x="1470" y="848"/>
                    </a:lnTo>
                    <a:lnTo>
                      <a:pt x="1479" y="848"/>
                    </a:lnTo>
                    <a:lnTo>
                      <a:pt x="1488" y="847"/>
                    </a:lnTo>
                    <a:lnTo>
                      <a:pt x="1496" y="846"/>
                    </a:lnTo>
                    <a:lnTo>
                      <a:pt x="1505" y="845"/>
                    </a:lnTo>
                    <a:lnTo>
                      <a:pt x="1515" y="844"/>
                    </a:lnTo>
                    <a:lnTo>
                      <a:pt x="1528" y="844"/>
                    </a:lnTo>
                    <a:lnTo>
                      <a:pt x="1543" y="844"/>
                    </a:lnTo>
                    <a:lnTo>
                      <a:pt x="1558" y="844"/>
                    </a:lnTo>
                    <a:lnTo>
                      <a:pt x="1571" y="844"/>
                    </a:lnTo>
                    <a:lnTo>
                      <a:pt x="1583" y="845"/>
                    </a:lnTo>
                    <a:lnTo>
                      <a:pt x="1590" y="845"/>
                    </a:lnTo>
                    <a:lnTo>
                      <a:pt x="1593" y="845"/>
                    </a:lnTo>
                    <a:lnTo>
                      <a:pt x="1591" y="850"/>
                    </a:lnTo>
                    <a:lnTo>
                      <a:pt x="1586" y="862"/>
                    </a:lnTo>
                    <a:lnTo>
                      <a:pt x="1581" y="875"/>
                    </a:lnTo>
                    <a:lnTo>
                      <a:pt x="1572" y="884"/>
                    </a:lnTo>
                    <a:lnTo>
                      <a:pt x="1568" y="888"/>
                    </a:lnTo>
                    <a:lnTo>
                      <a:pt x="1561" y="892"/>
                    </a:lnTo>
                    <a:lnTo>
                      <a:pt x="1553" y="898"/>
                    </a:lnTo>
                    <a:lnTo>
                      <a:pt x="1545" y="905"/>
                    </a:lnTo>
                    <a:lnTo>
                      <a:pt x="1538" y="912"/>
                    </a:lnTo>
                    <a:lnTo>
                      <a:pt x="1531" y="919"/>
                    </a:lnTo>
                    <a:lnTo>
                      <a:pt x="1525" y="924"/>
                    </a:lnTo>
                    <a:lnTo>
                      <a:pt x="1523" y="930"/>
                    </a:lnTo>
                    <a:lnTo>
                      <a:pt x="1524" y="941"/>
                    </a:lnTo>
                    <a:lnTo>
                      <a:pt x="1530" y="951"/>
                    </a:lnTo>
                    <a:lnTo>
                      <a:pt x="1537" y="961"/>
                    </a:lnTo>
                    <a:lnTo>
                      <a:pt x="1544" y="973"/>
                    </a:lnTo>
                    <a:lnTo>
                      <a:pt x="1551" y="987"/>
                    </a:lnTo>
                    <a:lnTo>
                      <a:pt x="1561" y="997"/>
                    </a:lnTo>
                    <a:lnTo>
                      <a:pt x="1569" y="1005"/>
                    </a:lnTo>
                    <a:lnTo>
                      <a:pt x="1572" y="1009"/>
                    </a:lnTo>
                    <a:lnTo>
                      <a:pt x="1576" y="1006"/>
                    </a:lnTo>
                    <a:lnTo>
                      <a:pt x="1585" y="999"/>
                    </a:lnTo>
                    <a:lnTo>
                      <a:pt x="1593" y="989"/>
                    </a:lnTo>
                    <a:lnTo>
                      <a:pt x="1597" y="976"/>
                    </a:lnTo>
                    <a:lnTo>
                      <a:pt x="1598" y="963"/>
                    </a:lnTo>
                    <a:lnTo>
                      <a:pt x="1601" y="951"/>
                    </a:lnTo>
                    <a:lnTo>
                      <a:pt x="1606" y="949"/>
                    </a:lnTo>
                    <a:lnTo>
                      <a:pt x="1612" y="963"/>
                    </a:lnTo>
                    <a:lnTo>
                      <a:pt x="1619" y="987"/>
                    </a:lnTo>
                    <a:lnTo>
                      <a:pt x="1627" y="1010"/>
                    </a:lnTo>
                    <a:lnTo>
                      <a:pt x="1634" y="1029"/>
                    </a:lnTo>
                    <a:lnTo>
                      <a:pt x="1636" y="1041"/>
                    </a:lnTo>
                    <a:lnTo>
                      <a:pt x="1637" y="1044"/>
                    </a:lnTo>
                    <a:lnTo>
                      <a:pt x="1639" y="1049"/>
                    </a:lnTo>
                    <a:lnTo>
                      <a:pt x="1643" y="1052"/>
                    </a:lnTo>
                    <a:lnTo>
                      <a:pt x="1647" y="1056"/>
                    </a:lnTo>
                    <a:lnTo>
                      <a:pt x="1653" y="1059"/>
                    </a:lnTo>
                    <a:lnTo>
                      <a:pt x="1659" y="1062"/>
                    </a:lnTo>
                    <a:lnTo>
                      <a:pt x="1665" y="1062"/>
                    </a:lnTo>
                    <a:lnTo>
                      <a:pt x="1672" y="1062"/>
                    </a:lnTo>
                    <a:lnTo>
                      <a:pt x="1682" y="1057"/>
                    </a:lnTo>
                    <a:lnTo>
                      <a:pt x="1688" y="1049"/>
                    </a:lnTo>
                    <a:lnTo>
                      <a:pt x="1690" y="1040"/>
                    </a:lnTo>
                    <a:lnTo>
                      <a:pt x="1690" y="1030"/>
                    </a:lnTo>
                    <a:lnTo>
                      <a:pt x="1689" y="1020"/>
                    </a:lnTo>
                    <a:lnTo>
                      <a:pt x="1686" y="1006"/>
                    </a:lnTo>
                    <a:lnTo>
                      <a:pt x="1686" y="994"/>
                    </a:lnTo>
                    <a:lnTo>
                      <a:pt x="1690" y="983"/>
                    </a:lnTo>
                    <a:lnTo>
                      <a:pt x="1693" y="976"/>
                    </a:lnTo>
                    <a:lnTo>
                      <a:pt x="1696" y="971"/>
                    </a:lnTo>
                    <a:lnTo>
                      <a:pt x="1697" y="963"/>
                    </a:lnTo>
                    <a:lnTo>
                      <a:pt x="1697" y="949"/>
                    </a:lnTo>
                    <a:lnTo>
                      <a:pt x="1697" y="933"/>
                    </a:lnTo>
                    <a:lnTo>
                      <a:pt x="1697" y="922"/>
                    </a:lnTo>
                    <a:lnTo>
                      <a:pt x="1700" y="916"/>
                    </a:lnTo>
                    <a:lnTo>
                      <a:pt x="1707" y="916"/>
                    </a:lnTo>
                    <a:lnTo>
                      <a:pt x="1713" y="918"/>
                    </a:lnTo>
                    <a:lnTo>
                      <a:pt x="1718" y="919"/>
                    </a:lnTo>
                    <a:lnTo>
                      <a:pt x="1723" y="921"/>
                    </a:lnTo>
                    <a:lnTo>
                      <a:pt x="1729" y="921"/>
                    </a:lnTo>
                    <a:lnTo>
                      <a:pt x="1734" y="921"/>
                    </a:lnTo>
                    <a:lnTo>
                      <a:pt x="1738" y="920"/>
                    </a:lnTo>
                    <a:lnTo>
                      <a:pt x="1741" y="918"/>
                    </a:lnTo>
                    <a:lnTo>
                      <a:pt x="1743" y="913"/>
                    </a:lnTo>
                    <a:lnTo>
                      <a:pt x="1749" y="900"/>
                    </a:lnTo>
                    <a:lnTo>
                      <a:pt x="1757" y="884"/>
                    </a:lnTo>
                    <a:lnTo>
                      <a:pt x="1764" y="867"/>
                    </a:lnTo>
                    <a:lnTo>
                      <a:pt x="1767" y="848"/>
                    </a:lnTo>
                    <a:lnTo>
                      <a:pt x="1767" y="831"/>
                    </a:lnTo>
                    <a:lnTo>
                      <a:pt x="1767" y="816"/>
                    </a:lnTo>
                    <a:lnTo>
                      <a:pt x="1767" y="806"/>
                    </a:lnTo>
                    <a:lnTo>
                      <a:pt x="1767" y="802"/>
                    </a:lnTo>
                    <a:lnTo>
                      <a:pt x="1782" y="775"/>
                    </a:lnTo>
                    <a:lnTo>
                      <a:pt x="1783" y="771"/>
                    </a:lnTo>
                    <a:lnTo>
                      <a:pt x="1786" y="761"/>
                    </a:lnTo>
                    <a:lnTo>
                      <a:pt x="1787" y="746"/>
                    </a:lnTo>
                    <a:lnTo>
                      <a:pt x="1786" y="727"/>
                    </a:lnTo>
                    <a:lnTo>
                      <a:pt x="1786" y="712"/>
                    </a:lnTo>
                    <a:lnTo>
                      <a:pt x="1789" y="702"/>
                    </a:lnTo>
                    <a:lnTo>
                      <a:pt x="1795" y="696"/>
                    </a:lnTo>
                    <a:lnTo>
                      <a:pt x="1803" y="693"/>
                    </a:lnTo>
                    <a:lnTo>
                      <a:pt x="1810" y="689"/>
                    </a:lnTo>
                    <a:lnTo>
                      <a:pt x="1817" y="686"/>
                    </a:lnTo>
                    <a:lnTo>
                      <a:pt x="1821" y="680"/>
                    </a:lnTo>
                    <a:lnTo>
                      <a:pt x="1825" y="671"/>
                    </a:lnTo>
                    <a:lnTo>
                      <a:pt x="1826" y="666"/>
                    </a:lnTo>
                    <a:lnTo>
                      <a:pt x="1828" y="662"/>
                    </a:lnTo>
                    <a:lnTo>
                      <a:pt x="1832" y="658"/>
                    </a:lnTo>
                    <a:lnTo>
                      <a:pt x="1836" y="655"/>
                    </a:lnTo>
                    <a:lnTo>
                      <a:pt x="1842" y="653"/>
                    </a:lnTo>
                    <a:lnTo>
                      <a:pt x="1850" y="650"/>
                    </a:lnTo>
                    <a:lnTo>
                      <a:pt x="1862" y="648"/>
                    </a:lnTo>
                    <a:lnTo>
                      <a:pt x="1874" y="647"/>
                    </a:lnTo>
                    <a:lnTo>
                      <a:pt x="1885" y="632"/>
                    </a:lnTo>
                    <a:lnTo>
                      <a:pt x="1883" y="630"/>
                    </a:lnTo>
                    <a:lnTo>
                      <a:pt x="1882" y="625"/>
                    </a:lnTo>
                    <a:lnTo>
                      <a:pt x="1883" y="619"/>
                    </a:lnTo>
                    <a:lnTo>
                      <a:pt x="1888" y="615"/>
                    </a:lnTo>
                    <a:lnTo>
                      <a:pt x="1895" y="605"/>
                    </a:lnTo>
                    <a:lnTo>
                      <a:pt x="1900" y="590"/>
                    </a:lnTo>
                    <a:lnTo>
                      <a:pt x="1902" y="575"/>
                    </a:lnTo>
                    <a:lnTo>
                      <a:pt x="1903" y="568"/>
                    </a:lnTo>
                    <a:lnTo>
                      <a:pt x="1856" y="553"/>
                    </a:lnTo>
                    <a:close/>
                  </a:path>
                </a:pathLst>
              </a:custGeom>
              <a:solidFill>
                <a:srgbClr val="009A44"/>
              </a:solidFill>
              <a:ln w="6350">
                <a:noFill/>
                <a:round/>
                <a:headEnd/>
                <a:tailEn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276" name="TextBox 290">
                <a:extLst>
                  <a:ext uri="{FF2B5EF4-FFF2-40B4-BE49-F238E27FC236}">
                    <a16:creationId xmlns:a16="http://schemas.microsoft.com/office/drawing/2014/main" id="{6D916647-E9B0-91C1-0410-8E84879C3D96}"/>
                  </a:ext>
                </a:extLst>
              </p:cNvPr>
              <p:cNvSpPr txBox="1">
                <a:spLocks noChangeArrowheads="1"/>
              </p:cNvSpPr>
              <p:nvPr/>
            </p:nvSpPr>
            <p:spPr bwMode="auto">
              <a:xfrm>
                <a:off x="1311659" y="2518436"/>
                <a:ext cx="489738" cy="10661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rPr>
                  <a:t>New Delhi</a:t>
                </a:r>
              </a:p>
            </p:txBody>
          </p:sp>
          <p:sp>
            <p:nvSpPr>
              <p:cNvPr id="278" name="Oval 277">
                <a:extLst>
                  <a:ext uri="{FF2B5EF4-FFF2-40B4-BE49-F238E27FC236}">
                    <a16:creationId xmlns:a16="http://schemas.microsoft.com/office/drawing/2014/main" id="{A914C308-0873-E105-12C5-DEB29C5B4D7D}"/>
                  </a:ext>
                </a:extLst>
              </p:cNvPr>
              <p:cNvSpPr/>
              <p:nvPr/>
            </p:nvSpPr>
            <p:spPr>
              <a:xfrm>
                <a:off x="2030823" y="3069788"/>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279" name="Oval 278">
                <a:extLst>
                  <a:ext uri="{FF2B5EF4-FFF2-40B4-BE49-F238E27FC236}">
                    <a16:creationId xmlns:a16="http://schemas.microsoft.com/office/drawing/2014/main" id="{0A3CD58C-839E-88DC-B2F9-1D3932ED3691}"/>
                  </a:ext>
                </a:extLst>
              </p:cNvPr>
              <p:cNvSpPr/>
              <p:nvPr/>
            </p:nvSpPr>
            <p:spPr>
              <a:xfrm>
                <a:off x="2334872" y="3193508"/>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280" name="Oval 279">
                <a:extLst>
                  <a:ext uri="{FF2B5EF4-FFF2-40B4-BE49-F238E27FC236}">
                    <a16:creationId xmlns:a16="http://schemas.microsoft.com/office/drawing/2014/main" id="{A8498A75-2114-B736-000A-02A318A71323}"/>
                  </a:ext>
                </a:extLst>
              </p:cNvPr>
              <p:cNvSpPr/>
              <p:nvPr/>
            </p:nvSpPr>
            <p:spPr>
              <a:xfrm>
                <a:off x="1461723" y="2666488"/>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281" name="Oval 280">
                <a:extLst>
                  <a:ext uri="{FF2B5EF4-FFF2-40B4-BE49-F238E27FC236}">
                    <a16:creationId xmlns:a16="http://schemas.microsoft.com/office/drawing/2014/main" id="{A30BD528-D92A-9833-D578-F7EAAA2EE3D8}"/>
                  </a:ext>
                </a:extLst>
              </p:cNvPr>
              <p:cNvSpPr/>
              <p:nvPr/>
            </p:nvSpPr>
            <p:spPr>
              <a:xfrm>
                <a:off x="1112626" y="3154727"/>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283" name="Oval 282">
                <a:extLst>
                  <a:ext uri="{FF2B5EF4-FFF2-40B4-BE49-F238E27FC236}">
                    <a16:creationId xmlns:a16="http://schemas.microsoft.com/office/drawing/2014/main" id="{36E2F23F-6E1D-A1A0-912A-57936C19B641}"/>
                  </a:ext>
                </a:extLst>
              </p:cNvPr>
              <p:cNvSpPr/>
              <p:nvPr/>
            </p:nvSpPr>
            <p:spPr>
              <a:xfrm>
                <a:off x="1159881" y="3459400"/>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287" name="Oval 286">
                <a:extLst>
                  <a:ext uri="{FF2B5EF4-FFF2-40B4-BE49-F238E27FC236}">
                    <a16:creationId xmlns:a16="http://schemas.microsoft.com/office/drawing/2014/main" id="{1679852C-6E64-9F7D-38DF-BAB4B905ACF8}"/>
                  </a:ext>
                </a:extLst>
              </p:cNvPr>
              <p:cNvSpPr/>
              <p:nvPr/>
            </p:nvSpPr>
            <p:spPr>
              <a:xfrm>
                <a:off x="1680587" y="3594396"/>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288" name="Oval 287">
                <a:extLst>
                  <a:ext uri="{FF2B5EF4-FFF2-40B4-BE49-F238E27FC236}">
                    <a16:creationId xmlns:a16="http://schemas.microsoft.com/office/drawing/2014/main" id="{FA0CA01E-95C3-0125-23AC-A03534471342}"/>
                  </a:ext>
                </a:extLst>
              </p:cNvPr>
              <p:cNvSpPr/>
              <p:nvPr/>
            </p:nvSpPr>
            <p:spPr>
              <a:xfrm>
                <a:off x="1179594" y="3768050"/>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289" name="Oval 288">
                <a:extLst>
                  <a:ext uri="{FF2B5EF4-FFF2-40B4-BE49-F238E27FC236}">
                    <a16:creationId xmlns:a16="http://schemas.microsoft.com/office/drawing/2014/main" id="{580A2A3A-AEBC-6593-4C04-7F0C4ECBF4C4}"/>
                  </a:ext>
                </a:extLst>
              </p:cNvPr>
              <p:cNvSpPr/>
              <p:nvPr/>
            </p:nvSpPr>
            <p:spPr>
              <a:xfrm>
                <a:off x="1490724" y="4018330"/>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293" name="Oval 292">
                <a:extLst>
                  <a:ext uri="{FF2B5EF4-FFF2-40B4-BE49-F238E27FC236}">
                    <a16:creationId xmlns:a16="http://schemas.microsoft.com/office/drawing/2014/main" id="{E1BEB947-03DB-2448-C342-93AAD737EB47}"/>
                  </a:ext>
                </a:extLst>
              </p:cNvPr>
              <p:cNvSpPr/>
              <p:nvPr/>
            </p:nvSpPr>
            <p:spPr>
              <a:xfrm>
                <a:off x="1794309" y="4072523"/>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323" name="Oval 322">
                <a:extLst>
                  <a:ext uri="{FF2B5EF4-FFF2-40B4-BE49-F238E27FC236}">
                    <a16:creationId xmlns:a16="http://schemas.microsoft.com/office/drawing/2014/main" id="{07931F2F-43E4-F70C-042C-3A883D917112}"/>
                  </a:ext>
                </a:extLst>
              </p:cNvPr>
              <p:cNvSpPr/>
              <p:nvPr/>
            </p:nvSpPr>
            <p:spPr>
              <a:xfrm>
                <a:off x="1497560" y="4241617"/>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348" name="Oval 347">
                <a:extLst>
                  <a:ext uri="{FF2B5EF4-FFF2-40B4-BE49-F238E27FC236}">
                    <a16:creationId xmlns:a16="http://schemas.microsoft.com/office/drawing/2014/main" id="{A9369C52-A8E0-F17E-86AD-AD5417E8D7F4}"/>
                  </a:ext>
                </a:extLst>
              </p:cNvPr>
              <p:cNvSpPr/>
              <p:nvPr/>
            </p:nvSpPr>
            <p:spPr>
              <a:xfrm>
                <a:off x="1393176" y="4291325"/>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349" name="TextBox 290">
                <a:extLst>
                  <a:ext uri="{FF2B5EF4-FFF2-40B4-BE49-F238E27FC236}">
                    <a16:creationId xmlns:a16="http://schemas.microsoft.com/office/drawing/2014/main" id="{8E293708-545B-4290-9466-ECDA01BFB583}"/>
                  </a:ext>
                </a:extLst>
              </p:cNvPr>
              <p:cNvSpPr txBox="1">
                <a:spLocks noChangeArrowheads="1"/>
              </p:cNvSpPr>
              <p:nvPr/>
            </p:nvSpPr>
            <p:spPr bwMode="auto">
              <a:xfrm>
                <a:off x="1101600" y="3014760"/>
                <a:ext cx="568677" cy="10661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rPr>
                  <a:t>Ahmedabad</a:t>
                </a:r>
              </a:p>
            </p:txBody>
          </p:sp>
          <p:sp>
            <p:nvSpPr>
              <p:cNvPr id="350" name="TextBox 290">
                <a:extLst>
                  <a:ext uri="{FF2B5EF4-FFF2-40B4-BE49-F238E27FC236}">
                    <a16:creationId xmlns:a16="http://schemas.microsoft.com/office/drawing/2014/main" id="{DA51B8BF-7DDB-5BF4-841F-D99504FB44A1}"/>
                  </a:ext>
                </a:extLst>
              </p:cNvPr>
              <p:cNvSpPr txBox="1">
                <a:spLocks noChangeArrowheads="1"/>
              </p:cNvSpPr>
              <p:nvPr/>
            </p:nvSpPr>
            <p:spPr bwMode="auto">
              <a:xfrm>
                <a:off x="725719" y="3449554"/>
                <a:ext cx="413766" cy="12496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ea typeface="+mn-ea"/>
                    <a:cs typeface="Calibri" panose="020F0502020204030204" pitchFamily="34" charset="0"/>
                  </a:rPr>
                  <a:t>Mumbai</a:t>
                </a:r>
              </a:p>
            </p:txBody>
          </p:sp>
          <p:sp>
            <p:nvSpPr>
              <p:cNvPr id="351" name="TextBox 290">
                <a:extLst>
                  <a:ext uri="{FF2B5EF4-FFF2-40B4-BE49-F238E27FC236}">
                    <a16:creationId xmlns:a16="http://schemas.microsoft.com/office/drawing/2014/main" id="{6E4D952D-3058-6802-A96C-0317CD9148E6}"/>
                  </a:ext>
                </a:extLst>
              </p:cNvPr>
              <p:cNvSpPr txBox="1">
                <a:spLocks noChangeArrowheads="1"/>
              </p:cNvSpPr>
              <p:nvPr/>
            </p:nvSpPr>
            <p:spPr bwMode="auto">
              <a:xfrm>
                <a:off x="1217036" y="3618346"/>
                <a:ext cx="306396" cy="12496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rPr>
                  <a:t>Pune</a:t>
                </a:r>
              </a:p>
            </p:txBody>
          </p:sp>
          <p:sp>
            <p:nvSpPr>
              <p:cNvPr id="352" name="TextBox 290">
                <a:extLst>
                  <a:ext uri="{FF2B5EF4-FFF2-40B4-BE49-F238E27FC236}">
                    <a16:creationId xmlns:a16="http://schemas.microsoft.com/office/drawing/2014/main" id="{F03543E1-156F-A62C-FE63-8E02B7E73AD7}"/>
                  </a:ext>
                </a:extLst>
              </p:cNvPr>
              <p:cNvSpPr txBox="1">
                <a:spLocks noChangeArrowheads="1"/>
              </p:cNvSpPr>
              <p:nvPr/>
            </p:nvSpPr>
            <p:spPr bwMode="auto">
              <a:xfrm>
                <a:off x="1293469" y="3741165"/>
                <a:ext cx="226739" cy="10661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rPr>
                  <a:t>Goa</a:t>
                </a:r>
              </a:p>
            </p:txBody>
          </p:sp>
          <p:sp>
            <p:nvSpPr>
              <p:cNvPr id="353" name="TextBox 290">
                <a:extLst>
                  <a:ext uri="{FF2B5EF4-FFF2-40B4-BE49-F238E27FC236}">
                    <a16:creationId xmlns:a16="http://schemas.microsoft.com/office/drawing/2014/main" id="{394CEC29-F3A3-240B-2B71-F8C2D547B82A}"/>
                  </a:ext>
                </a:extLst>
              </p:cNvPr>
              <p:cNvSpPr txBox="1">
                <a:spLocks noChangeArrowheads="1"/>
              </p:cNvSpPr>
              <p:nvPr/>
            </p:nvSpPr>
            <p:spPr bwMode="auto">
              <a:xfrm>
                <a:off x="1560065" y="3478684"/>
                <a:ext cx="596657" cy="12496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rPr>
                  <a:t>Hyderabad</a:t>
                </a:r>
              </a:p>
            </p:txBody>
          </p:sp>
          <p:sp>
            <p:nvSpPr>
              <p:cNvPr id="381" name="TextBox 290">
                <a:extLst>
                  <a:ext uri="{FF2B5EF4-FFF2-40B4-BE49-F238E27FC236}">
                    <a16:creationId xmlns:a16="http://schemas.microsoft.com/office/drawing/2014/main" id="{91F14081-4452-AD7E-F1A5-E124C1400BB1}"/>
                  </a:ext>
                </a:extLst>
              </p:cNvPr>
              <p:cNvSpPr txBox="1">
                <a:spLocks noChangeArrowheads="1"/>
              </p:cNvSpPr>
              <p:nvPr/>
            </p:nvSpPr>
            <p:spPr bwMode="auto">
              <a:xfrm>
                <a:off x="1785812" y="4123883"/>
                <a:ext cx="486762" cy="10661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ea typeface="+mn-ea"/>
                    <a:cs typeface="Calibri" panose="020F0502020204030204" pitchFamily="34" charset="0"/>
                  </a:rPr>
                  <a:t>Chennai</a:t>
                </a:r>
              </a:p>
            </p:txBody>
          </p:sp>
          <p:sp>
            <p:nvSpPr>
              <p:cNvPr id="383" name="TextBox 290">
                <a:extLst>
                  <a:ext uri="{FF2B5EF4-FFF2-40B4-BE49-F238E27FC236}">
                    <a16:creationId xmlns:a16="http://schemas.microsoft.com/office/drawing/2014/main" id="{FF405EA5-C1B4-02DC-B922-F8B30ED56E90}"/>
                  </a:ext>
                </a:extLst>
              </p:cNvPr>
              <p:cNvSpPr txBox="1">
                <a:spLocks noChangeArrowheads="1"/>
              </p:cNvSpPr>
              <p:nvPr/>
            </p:nvSpPr>
            <p:spPr bwMode="auto">
              <a:xfrm>
                <a:off x="836581" y="4184540"/>
                <a:ext cx="574518" cy="12496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ea typeface="+mn-ea"/>
                    <a:cs typeface="Calibri" panose="020F0502020204030204" pitchFamily="34" charset="0"/>
                  </a:rPr>
                  <a:t>Coimbatore</a:t>
                </a:r>
              </a:p>
            </p:txBody>
          </p:sp>
          <p:sp>
            <p:nvSpPr>
              <p:cNvPr id="384" name="TextBox 290">
                <a:extLst>
                  <a:ext uri="{FF2B5EF4-FFF2-40B4-BE49-F238E27FC236}">
                    <a16:creationId xmlns:a16="http://schemas.microsoft.com/office/drawing/2014/main" id="{F56B1765-F4FC-8049-CF0E-8AC90D7DC80D}"/>
                  </a:ext>
                </a:extLst>
              </p:cNvPr>
              <p:cNvSpPr txBox="1">
                <a:spLocks noChangeArrowheads="1"/>
              </p:cNvSpPr>
              <p:nvPr/>
            </p:nvSpPr>
            <p:spPr bwMode="auto">
              <a:xfrm>
                <a:off x="1190061" y="4331807"/>
                <a:ext cx="280987" cy="10661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ea typeface="+mn-ea"/>
                    <a:cs typeface="Calibri" panose="020F0502020204030204" pitchFamily="34" charset="0"/>
                  </a:rPr>
                  <a:t>Kochi</a:t>
                </a:r>
              </a:p>
            </p:txBody>
          </p:sp>
          <p:sp>
            <p:nvSpPr>
              <p:cNvPr id="387" name="TextBox 290">
                <a:extLst>
                  <a:ext uri="{FF2B5EF4-FFF2-40B4-BE49-F238E27FC236}">
                    <a16:creationId xmlns:a16="http://schemas.microsoft.com/office/drawing/2014/main" id="{E0437FA3-2BD3-8BF9-BA79-D3B0A32F4324}"/>
                  </a:ext>
                </a:extLst>
              </p:cNvPr>
              <p:cNvSpPr txBox="1">
                <a:spLocks noChangeArrowheads="1"/>
              </p:cNvSpPr>
              <p:nvPr/>
            </p:nvSpPr>
            <p:spPr bwMode="auto">
              <a:xfrm>
                <a:off x="1309290" y="3902618"/>
                <a:ext cx="486762" cy="10661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rPr>
                  <a:t>Bengaluru</a:t>
                </a:r>
              </a:p>
            </p:txBody>
          </p:sp>
          <p:sp>
            <p:nvSpPr>
              <p:cNvPr id="405" name="TextBox 290">
                <a:extLst>
                  <a:ext uri="{FF2B5EF4-FFF2-40B4-BE49-F238E27FC236}">
                    <a16:creationId xmlns:a16="http://schemas.microsoft.com/office/drawing/2014/main" id="{7230DADB-0C71-C059-D25C-4F844764CB93}"/>
                  </a:ext>
                </a:extLst>
              </p:cNvPr>
              <p:cNvSpPr txBox="1">
                <a:spLocks noChangeArrowheads="1"/>
              </p:cNvSpPr>
              <p:nvPr/>
            </p:nvSpPr>
            <p:spPr bwMode="auto">
              <a:xfrm>
                <a:off x="1904761" y="2950205"/>
                <a:ext cx="611014" cy="10661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rPr>
                  <a:t>Jamshedpur</a:t>
                </a:r>
              </a:p>
            </p:txBody>
          </p:sp>
          <p:sp>
            <p:nvSpPr>
              <p:cNvPr id="406" name="TextBox 290">
                <a:extLst>
                  <a:ext uri="{FF2B5EF4-FFF2-40B4-BE49-F238E27FC236}">
                    <a16:creationId xmlns:a16="http://schemas.microsoft.com/office/drawing/2014/main" id="{99731CC7-42C1-D82D-3538-0FB1168C1DAA}"/>
                  </a:ext>
                </a:extLst>
              </p:cNvPr>
              <p:cNvSpPr txBox="1">
                <a:spLocks noChangeArrowheads="1"/>
              </p:cNvSpPr>
              <p:nvPr/>
            </p:nvSpPr>
            <p:spPr bwMode="auto">
              <a:xfrm>
                <a:off x="1993175" y="3230084"/>
                <a:ext cx="341697" cy="106616"/>
              </a:xfrm>
              <a:prstGeom prst="rect">
                <a:avLst/>
              </a:prstGeom>
              <a:noFill/>
              <a:ln w="9525">
                <a:noFill/>
                <a:miter lim="800000"/>
                <a:headEnd/>
                <a:tailEnd/>
              </a:ln>
            </p:spPr>
            <p:txBody>
              <a:bodyPr wrap="square" lIns="0" tIns="0" rIns="0" bIns="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rPr>
                  <a:t>Kolkata</a:t>
                </a:r>
              </a:p>
            </p:txBody>
          </p:sp>
          <p:sp>
            <p:nvSpPr>
              <p:cNvPr id="407" name="Oval 406">
                <a:extLst>
                  <a:ext uri="{FF2B5EF4-FFF2-40B4-BE49-F238E27FC236}">
                    <a16:creationId xmlns:a16="http://schemas.microsoft.com/office/drawing/2014/main" id="{DC67B305-ADF0-8DBD-947F-FFC8F529106C}"/>
                  </a:ext>
                </a:extLst>
              </p:cNvPr>
              <p:cNvSpPr/>
              <p:nvPr/>
            </p:nvSpPr>
            <p:spPr>
              <a:xfrm>
                <a:off x="2160590" y="3422255"/>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
            <p:nvSpPr>
              <p:cNvPr id="408" name="TextBox 290">
                <a:extLst>
                  <a:ext uri="{FF2B5EF4-FFF2-40B4-BE49-F238E27FC236}">
                    <a16:creationId xmlns:a16="http://schemas.microsoft.com/office/drawing/2014/main" id="{2B5C18E1-8FD6-F79E-21D5-1B9C2012777F}"/>
                  </a:ext>
                </a:extLst>
              </p:cNvPr>
              <p:cNvSpPr txBox="1">
                <a:spLocks noChangeArrowheads="1"/>
              </p:cNvSpPr>
              <p:nvPr/>
            </p:nvSpPr>
            <p:spPr bwMode="auto">
              <a:xfrm>
                <a:off x="1387794" y="3378953"/>
                <a:ext cx="754173" cy="124966"/>
              </a:xfrm>
              <a:prstGeom prst="rect">
                <a:avLst/>
              </a:prstGeom>
              <a:noFill/>
              <a:ln w="9525">
                <a:noFill/>
                <a:miter lim="800000"/>
                <a:headEnd/>
                <a:tailEnd/>
              </a:ln>
            </p:spPr>
            <p:txBody>
              <a:bodyPr wrap="square" lIns="0" tIns="0" rIns="0" bIns="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rPr>
                  <a:t>Bhubaneshwar</a:t>
                </a:r>
              </a:p>
            </p:txBody>
          </p:sp>
        </p:grpSp>
        <p:sp>
          <p:nvSpPr>
            <p:cNvPr id="273" name="TextBox 290">
              <a:extLst>
                <a:ext uri="{FF2B5EF4-FFF2-40B4-BE49-F238E27FC236}">
                  <a16:creationId xmlns:a16="http://schemas.microsoft.com/office/drawing/2014/main" id="{2A845B60-815C-C4AD-0C4A-2BA786F959B6}"/>
                </a:ext>
              </a:extLst>
            </p:cNvPr>
            <p:cNvSpPr txBox="1">
              <a:spLocks noChangeArrowheads="1"/>
            </p:cNvSpPr>
            <p:nvPr/>
          </p:nvSpPr>
          <p:spPr bwMode="auto">
            <a:xfrm>
              <a:off x="1657571" y="3589357"/>
              <a:ext cx="421237" cy="180374"/>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rPr>
                <a:t>Noida</a:t>
              </a:r>
            </a:p>
          </p:txBody>
        </p:sp>
        <p:sp>
          <p:nvSpPr>
            <p:cNvPr id="274" name="Oval 273">
              <a:extLst>
                <a:ext uri="{FF2B5EF4-FFF2-40B4-BE49-F238E27FC236}">
                  <a16:creationId xmlns:a16="http://schemas.microsoft.com/office/drawing/2014/main" id="{A74A2A71-1E57-D3BA-6292-1520C64A9C69}"/>
                </a:ext>
              </a:extLst>
            </p:cNvPr>
            <p:cNvSpPr/>
            <p:nvPr/>
          </p:nvSpPr>
          <p:spPr>
            <a:xfrm>
              <a:off x="1566153" y="3636610"/>
              <a:ext cx="72813" cy="72813"/>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grpSp>
      <p:grpSp>
        <p:nvGrpSpPr>
          <p:cNvPr id="4" name="Group 3">
            <a:extLst>
              <a:ext uri="{FF2B5EF4-FFF2-40B4-BE49-F238E27FC236}">
                <a16:creationId xmlns:a16="http://schemas.microsoft.com/office/drawing/2014/main" id="{F38C69E5-6741-7161-0260-0F494C58F8C4}"/>
              </a:ext>
            </a:extLst>
          </p:cNvPr>
          <p:cNvGrpSpPr/>
          <p:nvPr/>
        </p:nvGrpSpPr>
        <p:grpSpPr>
          <a:xfrm>
            <a:off x="1049881" y="1663590"/>
            <a:ext cx="10092239" cy="1411356"/>
            <a:chOff x="1049881" y="1663590"/>
            <a:chExt cx="10092239" cy="1411356"/>
          </a:xfrm>
        </p:grpSpPr>
        <p:sp>
          <p:nvSpPr>
            <p:cNvPr id="5" name="Graphic 1194">
              <a:extLst>
                <a:ext uri="{FF2B5EF4-FFF2-40B4-BE49-F238E27FC236}">
                  <a16:creationId xmlns:a16="http://schemas.microsoft.com/office/drawing/2014/main" id="{6B0370B8-C3DD-4D45-0B61-9C180EBFEC3F}"/>
                </a:ext>
              </a:extLst>
            </p:cNvPr>
            <p:cNvSpPr/>
            <p:nvPr/>
          </p:nvSpPr>
          <p:spPr>
            <a:xfrm>
              <a:off x="4707973" y="1689316"/>
              <a:ext cx="717859" cy="331252"/>
            </a:xfrm>
            <a:custGeom>
              <a:avLst/>
              <a:gdLst>
                <a:gd name="connsiteX0" fmla="*/ 749150 w 1367991"/>
                <a:gd name="connsiteY0" fmla="*/ 631253 h 631252"/>
                <a:gd name="connsiteX1" fmla="*/ 0 w 1367991"/>
                <a:gd name="connsiteY1" fmla="*/ 631253 h 631252"/>
                <a:gd name="connsiteX2" fmla="*/ 0 w 1367991"/>
                <a:gd name="connsiteY2" fmla="*/ 613697 h 631252"/>
                <a:gd name="connsiteX3" fmla="*/ 741883 w 1367991"/>
                <a:gd name="connsiteY3" fmla="*/ 613697 h 631252"/>
                <a:gd name="connsiteX4" fmla="*/ 1355580 w 1367991"/>
                <a:gd name="connsiteY4" fmla="*/ 0 h 631252"/>
                <a:gd name="connsiteX5" fmla="*/ 1367991 w 1367991"/>
                <a:gd name="connsiteY5" fmla="*/ 12411 h 63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7991" h="631252">
                  <a:moveTo>
                    <a:pt x="749150" y="631253"/>
                  </a:moveTo>
                  <a:lnTo>
                    <a:pt x="0" y="631253"/>
                  </a:lnTo>
                  <a:lnTo>
                    <a:pt x="0" y="613697"/>
                  </a:lnTo>
                  <a:lnTo>
                    <a:pt x="741883" y="613697"/>
                  </a:lnTo>
                  <a:lnTo>
                    <a:pt x="1355580" y="0"/>
                  </a:lnTo>
                  <a:lnTo>
                    <a:pt x="1367991" y="12411"/>
                  </a:ln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9" name="Graphic 1194">
              <a:extLst>
                <a:ext uri="{FF2B5EF4-FFF2-40B4-BE49-F238E27FC236}">
                  <a16:creationId xmlns:a16="http://schemas.microsoft.com/office/drawing/2014/main" id="{C966CD86-4796-1DB1-F617-EFEB4F4B5E1B}"/>
                </a:ext>
              </a:extLst>
            </p:cNvPr>
            <p:cNvSpPr/>
            <p:nvPr/>
          </p:nvSpPr>
          <p:spPr>
            <a:xfrm>
              <a:off x="4707973" y="2718070"/>
              <a:ext cx="717859" cy="331252"/>
            </a:xfrm>
            <a:custGeom>
              <a:avLst/>
              <a:gdLst>
                <a:gd name="connsiteX0" fmla="*/ 1355580 w 1367991"/>
                <a:gd name="connsiteY0" fmla="*/ 631253 h 631253"/>
                <a:gd name="connsiteX1" fmla="*/ 741883 w 1367991"/>
                <a:gd name="connsiteY1" fmla="*/ 17556 h 631253"/>
                <a:gd name="connsiteX2" fmla="*/ 0 w 1367991"/>
                <a:gd name="connsiteY2" fmla="*/ 17556 h 631253"/>
                <a:gd name="connsiteX3" fmla="*/ 0 w 1367991"/>
                <a:gd name="connsiteY3" fmla="*/ 0 h 631253"/>
                <a:gd name="connsiteX4" fmla="*/ 749150 w 1367991"/>
                <a:gd name="connsiteY4" fmla="*/ 0 h 631253"/>
                <a:gd name="connsiteX5" fmla="*/ 1367991 w 1367991"/>
                <a:gd name="connsiteY5" fmla="*/ 618841 h 63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7991" h="631253">
                  <a:moveTo>
                    <a:pt x="1355580" y="631253"/>
                  </a:moveTo>
                  <a:lnTo>
                    <a:pt x="741883" y="17556"/>
                  </a:lnTo>
                  <a:lnTo>
                    <a:pt x="0" y="17556"/>
                  </a:lnTo>
                  <a:lnTo>
                    <a:pt x="0" y="0"/>
                  </a:lnTo>
                  <a:lnTo>
                    <a:pt x="749150" y="0"/>
                  </a:lnTo>
                  <a:lnTo>
                    <a:pt x="1367991" y="618841"/>
                  </a:ln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12" name="Graphic 1194">
              <a:extLst>
                <a:ext uri="{FF2B5EF4-FFF2-40B4-BE49-F238E27FC236}">
                  <a16:creationId xmlns:a16="http://schemas.microsoft.com/office/drawing/2014/main" id="{C01EA2EF-79BD-9388-D89B-3CFE66A4E951}"/>
                </a:ext>
              </a:extLst>
            </p:cNvPr>
            <p:cNvSpPr/>
            <p:nvPr/>
          </p:nvSpPr>
          <p:spPr>
            <a:xfrm>
              <a:off x="6757035" y="1689316"/>
              <a:ext cx="717858" cy="331252"/>
            </a:xfrm>
            <a:custGeom>
              <a:avLst/>
              <a:gdLst>
                <a:gd name="connsiteX0" fmla="*/ 1367991 w 1367990"/>
                <a:gd name="connsiteY0" fmla="*/ 631253 h 631252"/>
                <a:gd name="connsiteX1" fmla="*/ 618817 w 1367990"/>
                <a:gd name="connsiteY1" fmla="*/ 631253 h 631252"/>
                <a:gd name="connsiteX2" fmla="*/ 616257 w 1367990"/>
                <a:gd name="connsiteY2" fmla="*/ 628693 h 631252"/>
                <a:gd name="connsiteX3" fmla="*/ 0 w 1367990"/>
                <a:gd name="connsiteY3" fmla="*/ 12411 h 631252"/>
                <a:gd name="connsiteX4" fmla="*/ 12411 w 1367990"/>
                <a:gd name="connsiteY4" fmla="*/ 0 h 631252"/>
                <a:gd name="connsiteX5" fmla="*/ 626084 w 1367990"/>
                <a:gd name="connsiteY5" fmla="*/ 613697 h 631252"/>
                <a:gd name="connsiteX6" fmla="*/ 1367991 w 1367990"/>
                <a:gd name="connsiteY6" fmla="*/ 613697 h 63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990" h="631252">
                  <a:moveTo>
                    <a:pt x="1367991" y="631253"/>
                  </a:moveTo>
                  <a:lnTo>
                    <a:pt x="618817" y="631253"/>
                  </a:lnTo>
                  <a:lnTo>
                    <a:pt x="616257" y="628693"/>
                  </a:lnTo>
                  <a:lnTo>
                    <a:pt x="0" y="12411"/>
                  </a:lnTo>
                  <a:lnTo>
                    <a:pt x="12411" y="0"/>
                  </a:lnTo>
                  <a:lnTo>
                    <a:pt x="626084" y="613697"/>
                  </a:lnTo>
                  <a:lnTo>
                    <a:pt x="1367991" y="613697"/>
                  </a:ln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18" name="Graphic 1194">
              <a:extLst>
                <a:ext uri="{FF2B5EF4-FFF2-40B4-BE49-F238E27FC236}">
                  <a16:creationId xmlns:a16="http://schemas.microsoft.com/office/drawing/2014/main" id="{27B520EE-D4C0-11CD-D3F2-29EC45115EF5}"/>
                </a:ext>
              </a:extLst>
            </p:cNvPr>
            <p:cNvSpPr/>
            <p:nvPr/>
          </p:nvSpPr>
          <p:spPr>
            <a:xfrm>
              <a:off x="6757035" y="2718070"/>
              <a:ext cx="717858" cy="331252"/>
            </a:xfrm>
            <a:custGeom>
              <a:avLst/>
              <a:gdLst>
                <a:gd name="connsiteX0" fmla="*/ 12411 w 1367990"/>
                <a:gd name="connsiteY0" fmla="*/ 631253 h 631253"/>
                <a:gd name="connsiteX1" fmla="*/ 0 w 1367990"/>
                <a:gd name="connsiteY1" fmla="*/ 618841 h 631253"/>
                <a:gd name="connsiteX2" fmla="*/ 618817 w 1367990"/>
                <a:gd name="connsiteY2" fmla="*/ 0 h 631253"/>
                <a:gd name="connsiteX3" fmla="*/ 1367991 w 1367990"/>
                <a:gd name="connsiteY3" fmla="*/ 0 h 631253"/>
                <a:gd name="connsiteX4" fmla="*/ 1367991 w 1367990"/>
                <a:gd name="connsiteY4" fmla="*/ 17556 h 631253"/>
                <a:gd name="connsiteX5" fmla="*/ 626084 w 1367990"/>
                <a:gd name="connsiteY5" fmla="*/ 17556 h 63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7990" h="631253">
                  <a:moveTo>
                    <a:pt x="12411" y="631253"/>
                  </a:moveTo>
                  <a:lnTo>
                    <a:pt x="0" y="618841"/>
                  </a:lnTo>
                  <a:lnTo>
                    <a:pt x="618817" y="0"/>
                  </a:lnTo>
                  <a:lnTo>
                    <a:pt x="1367991" y="0"/>
                  </a:lnTo>
                  <a:lnTo>
                    <a:pt x="1367991" y="17556"/>
                  </a:lnTo>
                  <a:lnTo>
                    <a:pt x="626084" y="17556"/>
                  </a:ln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19" name="Graphic 1194">
              <a:extLst>
                <a:ext uri="{FF2B5EF4-FFF2-40B4-BE49-F238E27FC236}">
                  <a16:creationId xmlns:a16="http://schemas.microsoft.com/office/drawing/2014/main" id="{3D8E3D68-8435-F855-3E85-6890A0C3FD74}"/>
                </a:ext>
              </a:extLst>
            </p:cNvPr>
            <p:cNvSpPr/>
            <p:nvPr/>
          </p:nvSpPr>
          <p:spPr>
            <a:xfrm>
              <a:off x="6737674" y="1665695"/>
              <a:ext cx="53025" cy="53025"/>
            </a:xfrm>
            <a:custGeom>
              <a:avLst/>
              <a:gdLst>
                <a:gd name="connsiteX0" fmla="*/ 101047 w 101047"/>
                <a:gd name="connsiteY0" fmla="*/ 50524 h 101047"/>
                <a:gd name="connsiteX1" fmla="*/ 50524 w 101047"/>
                <a:gd name="connsiteY1" fmla="*/ 101047 h 101047"/>
                <a:gd name="connsiteX2" fmla="*/ 0 w 101047"/>
                <a:gd name="connsiteY2" fmla="*/ 50524 h 101047"/>
                <a:gd name="connsiteX3" fmla="*/ 50524 w 101047"/>
                <a:gd name="connsiteY3" fmla="*/ 0 h 101047"/>
                <a:gd name="connsiteX4" fmla="*/ 101047 w 101047"/>
                <a:gd name="connsiteY4" fmla="*/ 50524 h 10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47" h="101047">
                  <a:moveTo>
                    <a:pt x="101047" y="50524"/>
                  </a:moveTo>
                  <a:cubicBezTo>
                    <a:pt x="101047" y="78427"/>
                    <a:pt x="78427" y="101047"/>
                    <a:pt x="50524" y="101047"/>
                  </a:cubicBezTo>
                  <a:cubicBezTo>
                    <a:pt x="22620" y="101047"/>
                    <a:pt x="0" y="78427"/>
                    <a:pt x="0" y="50524"/>
                  </a:cubicBezTo>
                  <a:cubicBezTo>
                    <a:pt x="0" y="22620"/>
                    <a:pt x="22620" y="0"/>
                    <a:pt x="50524" y="0"/>
                  </a:cubicBezTo>
                  <a:cubicBezTo>
                    <a:pt x="78427" y="0"/>
                    <a:pt x="101047" y="22620"/>
                    <a:pt x="101047" y="50524"/>
                  </a:cubicBez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20" name="Graphic 1194">
              <a:extLst>
                <a:ext uri="{FF2B5EF4-FFF2-40B4-BE49-F238E27FC236}">
                  <a16:creationId xmlns:a16="http://schemas.microsoft.com/office/drawing/2014/main" id="{76F5B2DE-C4B8-E9A2-347E-2672780FCA05}"/>
                </a:ext>
              </a:extLst>
            </p:cNvPr>
            <p:cNvSpPr/>
            <p:nvPr/>
          </p:nvSpPr>
          <p:spPr>
            <a:xfrm>
              <a:off x="6738006" y="3015157"/>
              <a:ext cx="53025" cy="53025"/>
            </a:xfrm>
            <a:custGeom>
              <a:avLst/>
              <a:gdLst>
                <a:gd name="connsiteX0" fmla="*/ 101047 w 101047"/>
                <a:gd name="connsiteY0" fmla="*/ 50524 h 101047"/>
                <a:gd name="connsiteX1" fmla="*/ 50524 w 101047"/>
                <a:gd name="connsiteY1" fmla="*/ 101047 h 101047"/>
                <a:gd name="connsiteX2" fmla="*/ 0 w 101047"/>
                <a:gd name="connsiteY2" fmla="*/ 50524 h 101047"/>
                <a:gd name="connsiteX3" fmla="*/ 50524 w 101047"/>
                <a:gd name="connsiteY3" fmla="*/ 0 h 101047"/>
                <a:gd name="connsiteX4" fmla="*/ 101047 w 101047"/>
                <a:gd name="connsiteY4" fmla="*/ 50524 h 10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47" h="101047">
                  <a:moveTo>
                    <a:pt x="101047" y="50524"/>
                  </a:moveTo>
                  <a:cubicBezTo>
                    <a:pt x="101047" y="78427"/>
                    <a:pt x="78427" y="101047"/>
                    <a:pt x="50524" y="101047"/>
                  </a:cubicBezTo>
                  <a:cubicBezTo>
                    <a:pt x="22620" y="101047"/>
                    <a:pt x="0" y="78427"/>
                    <a:pt x="0" y="50524"/>
                  </a:cubicBezTo>
                  <a:cubicBezTo>
                    <a:pt x="0" y="22620"/>
                    <a:pt x="22620" y="0"/>
                    <a:pt x="50524" y="0"/>
                  </a:cubicBezTo>
                  <a:cubicBezTo>
                    <a:pt x="78427" y="0"/>
                    <a:pt x="101047" y="22620"/>
                    <a:pt x="101047" y="50524"/>
                  </a:cubicBez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21" name="Graphic 1194">
              <a:extLst>
                <a:ext uri="{FF2B5EF4-FFF2-40B4-BE49-F238E27FC236}">
                  <a16:creationId xmlns:a16="http://schemas.microsoft.com/office/drawing/2014/main" id="{0451EF7A-6588-3E35-2D97-7DA947237F59}"/>
                </a:ext>
              </a:extLst>
            </p:cNvPr>
            <p:cNvSpPr/>
            <p:nvPr/>
          </p:nvSpPr>
          <p:spPr>
            <a:xfrm>
              <a:off x="5395902" y="1665695"/>
              <a:ext cx="53025" cy="53025"/>
            </a:xfrm>
            <a:custGeom>
              <a:avLst/>
              <a:gdLst>
                <a:gd name="connsiteX0" fmla="*/ 101047 w 101047"/>
                <a:gd name="connsiteY0" fmla="*/ 50524 h 101047"/>
                <a:gd name="connsiteX1" fmla="*/ 50524 w 101047"/>
                <a:gd name="connsiteY1" fmla="*/ 101047 h 101047"/>
                <a:gd name="connsiteX2" fmla="*/ 0 w 101047"/>
                <a:gd name="connsiteY2" fmla="*/ 50524 h 101047"/>
                <a:gd name="connsiteX3" fmla="*/ 50524 w 101047"/>
                <a:gd name="connsiteY3" fmla="*/ 0 h 101047"/>
                <a:gd name="connsiteX4" fmla="*/ 101047 w 101047"/>
                <a:gd name="connsiteY4" fmla="*/ 50524 h 10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47" h="101047">
                  <a:moveTo>
                    <a:pt x="101047" y="50524"/>
                  </a:moveTo>
                  <a:cubicBezTo>
                    <a:pt x="101047" y="78427"/>
                    <a:pt x="78427" y="101047"/>
                    <a:pt x="50524" y="101047"/>
                  </a:cubicBezTo>
                  <a:cubicBezTo>
                    <a:pt x="22620" y="101047"/>
                    <a:pt x="0" y="78427"/>
                    <a:pt x="0" y="50524"/>
                  </a:cubicBezTo>
                  <a:cubicBezTo>
                    <a:pt x="0" y="22620"/>
                    <a:pt x="22620" y="0"/>
                    <a:pt x="50524" y="0"/>
                  </a:cubicBezTo>
                  <a:cubicBezTo>
                    <a:pt x="78427" y="0"/>
                    <a:pt x="101047" y="22620"/>
                    <a:pt x="101047" y="50524"/>
                  </a:cubicBez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23" name="Graphic 1194">
              <a:extLst>
                <a:ext uri="{FF2B5EF4-FFF2-40B4-BE49-F238E27FC236}">
                  <a16:creationId xmlns:a16="http://schemas.microsoft.com/office/drawing/2014/main" id="{4A99CBD0-056B-9F49-3F8E-2FE417D86292}"/>
                </a:ext>
              </a:extLst>
            </p:cNvPr>
            <p:cNvSpPr/>
            <p:nvPr/>
          </p:nvSpPr>
          <p:spPr>
            <a:xfrm>
              <a:off x="5395570" y="3015157"/>
              <a:ext cx="53025" cy="53025"/>
            </a:xfrm>
            <a:custGeom>
              <a:avLst/>
              <a:gdLst>
                <a:gd name="connsiteX0" fmla="*/ 101047 w 101047"/>
                <a:gd name="connsiteY0" fmla="*/ 50524 h 101047"/>
                <a:gd name="connsiteX1" fmla="*/ 50524 w 101047"/>
                <a:gd name="connsiteY1" fmla="*/ 101047 h 101047"/>
                <a:gd name="connsiteX2" fmla="*/ 0 w 101047"/>
                <a:gd name="connsiteY2" fmla="*/ 50524 h 101047"/>
                <a:gd name="connsiteX3" fmla="*/ 50524 w 101047"/>
                <a:gd name="connsiteY3" fmla="*/ 0 h 101047"/>
                <a:gd name="connsiteX4" fmla="*/ 101047 w 101047"/>
                <a:gd name="connsiteY4" fmla="*/ 50524 h 10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47" h="101047">
                  <a:moveTo>
                    <a:pt x="101047" y="50524"/>
                  </a:moveTo>
                  <a:cubicBezTo>
                    <a:pt x="101047" y="78427"/>
                    <a:pt x="78427" y="101047"/>
                    <a:pt x="50524" y="101047"/>
                  </a:cubicBezTo>
                  <a:cubicBezTo>
                    <a:pt x="22620" y="101047"/>
                    <a:pt x="0" y="78427"/>
                    <a:pt x="0" y="50524"/>
                  </a:cubicBezTo>
                  <a:cubicBezTo>
                    <a:pt x="0" y="22620"/>
                    <a:pt x="22620" y="0"/>
                    <a:pt x="50524" y="0"/>
                  </a:cubicBezTo>
                  <a:cubicBezTo>
                    <a:pt x="78427" y="0"/>
                    <a:pt x="101047" y="22620"/>
                    <a:pt x="101047" y="50524"/>
                  </a:cubicBez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grpSp>
          <p:nvGrpSpPr>
            <p:cNvPr id="57" name="Group 56">
              <a:extLst>
                <a:ext uri="{FF2B5EF4-FFF2-40B4-BE49-F238E27FC236}">
                  <a16:creationId xmlns:a16="http://schemas.microsoft.com/office/drawing/2014/main" id="{10784EE4-066E-ECCA-79D8-DBB3831E5568}"/>
                </a:ext>
              </a:extLst>
            </p:cNvPr>
            <p:cNvGrpSpPr/>
            <p:nvPr/>
          </p:nvGrpSpPr>
          <p:grpSpPr>
            <a:xfrm>
              <a:off x="5390067" y="1663590"/>
              <a:ext cx="1411859" cy="1411356"/>
              <a:chOff x="5220424" y="1492878"/>
              <a:chExt cx="1753405" cy="1752780"/>
            </a:xfrm>
          </p:grpSpPr>
          <p:sp>
            <p:nvSpPr>
              <p:cNvPr id="478" name="Graphic 1194">
                <a:extLst>
                  <a:ext uri="{FF2B5EF4-FFF2-40B4-BE49-F238E27FC236}">
                    <a16:creationId xmlns:a16="http://schemas.microsoft.com/office/drawing/2014/main" id="{A0AF0713-78A1-34C2-1517-378AD53851B5}"/>
                  </a:ext>
                </a:extLst>
              </p:cNvPr>
              <p:cNvSpPr/>
              <p:nvPr/>
            </p:nvSpPr>
            <p:spPr>
              <a:xfrm>
                <a:off x="5220424" y="1492878"/>
                <a:ext cx="876318" cy="866339"/>
              </a:xfrm>
              <a:custGeom>
                <a:avLst/>
                <a:gdLst>
                  <a:gd name="connsiteX0" fmla="*/ 0 w 1669962"/>
                  <a:gd name="connsiteY0" fmla="*/ 1650943 h 1650943"/>
                  <a:gd name="connsiteX1" fmla="*/ 1669963 w 1669962"/>
                  <a:gd name="connsiteY1" fmla="*/ 0 h 1650943"/>
                  <a:gd name="connsiteX2" fmla="*/ 1669963 w 1669962"/>
                  <a:gd name="connsiteY2" fmla="*/ 1650943 h 1650943"/>
                  <a:gd name="connsiteX3" fmla="*/ 0 w 1669962"/>
                  <a:gd name="connsiteY3" fmla="*/ 1650943 h 1650943"/>
                </a:gdLst>
                <a:ahLst/>
                <a:cxnLst>
                  <a:cxn ang="0">
                    <a:pos x="connsiteX0" y="connsiteY0"/>
                  </a:cxn>
                  <a:cxn ang="0">
                    <a:pos x="connsiteX1" y="connsiteY1"/>
                  </a:cxn>
                  <a:cxn ang="0">
                    <a:pos x="connsiteX2" y="connsiteY2"/>
                  </a:cxn>
                  <a:cxn ang="0">
                    <a:pos x="connsiteX3" y="connsiteY3"/>
                  </a:cxn>
                </a:cxnLst>
                <a:rect l="l" t="t" r="r" b="b"/>
                <a:pathLst>
                  <a:path w="1669962" h="1650943">
                    <a:moveTo>
                      <a:pt x="0" y="1650943"/>
                    </a:moveTo>
                    <a:cubicBezTo>
                      <a:pt x="10266" y="737397"/>
                      <a:pt x="754002" y="0"/>
                      <a:pt x="1669963" y="0"/>
                    </a:cubicBezTo>
                    <a:lnTo>
                      <a:pt x="1669963" y="1650943"/>
                    </a:lnTo>
                    <a:lnTo>
                      <a:pt x="0" y="1650943"/>
                    </a:lnTo>
                    <a:close/>
                  </a:path>
                </a:pathLst>
              </a:custGeom>
              <a:solidFill>
                <a:srgbClr val="0076A8"/>
              </a:solidFill>
              <a:ln w="243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479" name="Graphic 1194">
                <a:extLst>
                  <a:ext uri="{FF2B5EF4-FFF2-40B4-BE49-F238E27FC236}">
                    <a16:creationId xmlns:a16="http://schemas.microsoft.com/office/drawing/2014/main" id="{133B7860-7D52-0CAD-6ABC-FBD2D39E64B8}"/>
                  </a:ext>
                </a:extLst>
              </p:cNvPr>
              <p:cNvSpPr/>
              <p:nvPr/>
            </p:nvSpPr>
            <p:spPr>
              <a:xfrm>
                <a:off x="5220424" y="2379115"/>
                <a:ext cx="876318" cy="866543"/>
              </a:xfrm>
              <a:custGeom>
                <a:avLst/>
                <a:gdLst>
                  <a:gd name="connsiteX0" fmla="*/ 1669963 w 1669962"/>
                  <a:gd name="connsiteY0" fmla="*/ 0 h 1651333"/>
                  <a:gd name="connsiteX1" fmla="*/ 1669963 w 1669962"/>
                  <a:gd name="connsiteY1" fmla="*/ 1651333 h 1651333"/>
                  <a:gd name="connsiteX2" fmla="*/ 0 w 1669962"/>
                  <a:gd name="connsiteY2" fmla="*/ 0 h 1651333"/>
                  <a:gd name="connsiteX3" fmla="*/ 1669963 w 1669962"/>
                  <a:gd name="connsiteY3" fmla="*/ 0 h 1651333"/>
                </a:gdLst>
                <a:ahLst/>
                <a:cxnLst>
                  <a:cxn ang="0">
                    <a:pos x="connsiteX0" y="connsiteY0"/>
                  </a:cxn>
                  <a:cxn ang="0">
                    <a:pos x="connsiteX1" y="connsiteY1"/>
                  </a:cxn>
                  <a:cxn ang="0">
                    <a:pos x="connsiteX2" y="connsiteY2"/>
                  </a:cxn>
                  <a:cxn ang="0">
                    <a:pos x="connsiteX3" y="connsiteY3"/>
                  </a:cxn>
                </a:cxnLst>
                <a:rect l="l" t="t" r="r" b="b"/>
                <a:pathLst>
                  <a:path w="1669962" h="1651333">
                    <a:moveTo>
                      <a:pt x="1669963" y="0"/>
                    </a:moveTo>
                    <a:lnTo>
                      <a:pt x="1669963" y="1651333"/>
                    </a:lnTo>
                    <a:cubicBezTo>
                      <a:pt x="753856" y="1651333"/>
                      <a:pt x="10046" y="913717"/>
                      <a:pt x="0" y="0"/>
                    </a:cubicBezTo>
                    <a:lnTo>
                      <a:pt x="1669963" y="0"/>
                    </a:lnTo>
                    <a:close/>
                  </a:path>
                </a:pathLst>
              </a:custGeom>
              <a:solidFill>
                <a:srgbClr val="00ABAB"/>
              </a:solidFill>
              <a:ln w="243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480" name="Graphic 1194">
                <a:extLst>
                  <a:ext uri="{FF2B5EF4-FFF2-40B4-BE49-F238E27FC236}">
                    <a16:creationId xmlns:a16="http://schemas.microsoft.com/office/drawing/2014/main" id="{E05070BD-5FF7-EC28-2840-34533F5C3F60}"/>
                  </a:ext>
                </a:extLst>
              </p:cNvPr>
              <p:cNvSpPr/>
              <p:nvPr/>
            </p:nvSpPr>
            <p:spPr>
              <a:xfrm>
                <a:off x="6097511" y="1492878"/>
                <a:ext cx="876318" cy="866339"/>
              </a:xfrm>
              <a:custGeom>
                <a:avLst/>
                <a:gdLst>
                  <a:gd name="connsiteX0" fmla="*/ 1669963 w 1669962"/>
                  <a:gd name="connsiteY0" fmla="*/ 1650943 h 1650943"/>
                  <a:gd name="connsiteX1" fmla="*/ 0 w 1669962"/>
                  <a:gd name="connsiteY1" fmla="*/ 0 h 1650943"/>
                  <a:gd name="connsiteX2" fmla="*/ 0 w 1669962"/>
                  <a:gd name="connsiteY2" fmla="*/ 1650943 h 1650943"/>
                  <a:gd name="connsiteX3" fmla="*/ 1669963 w 1669962"/>
                  <a:gd name="connsiteY3" fmla="*/ 1650943 h 1650943"/>
                </a:gdLst>
                <a:ahLst/>
                <a:cxnLst>
                  <a:cxn ang="0">
                    <a:pos x="connsiteX0" y="connsiteY0"/>
                  </a:cxn>
                  <a:cxn ang="0">
                    <a:pos x="connsiteX1" y="connsiteY1"/>
                  </a:cxn>
                  <a:cxn ang="0">
                    <a:pos x="connsiteX2" y="connsiteY2"/>
                  </a:cxn>
                  <a:cxn ang="0">
                    <a:pos x="connsiteX3" y="connsiteY3"/>
                  </a:cxn>
                </a:cxnLst>
                <a:rect l="l" t="t" r="r" b="b"/>
                <a:pathLst>
                  <a:path w="1669962" h="1650943">
                    <a:moveTo>
                      <a:pt x="1669963" y="1650943"/>
                    </a:moveTo>
                    <a:cubicBezTo>
                      <a:pt x="1659697" y="737397"/>
                      <a:pt x="915961" y="0"/>
                      <a:pt x="0" y="0"/>
                    </a:cubicBezTo>
                    <a:lnTo>
                      <a:pt x="0" y="1650943"/>
                    </a:lnTo>
                    <a:lnTo>
                      <a:pt x="1669963" y="1650943"/>
                    </a:lnTo>
                    <a:close/>
                  </a:path>
                </a:pathLst>
              </a:custGeom>
              <a:solidFill>
                <a:srgbClr val="00ABAB"/>
              </a:solidFill>
              <a:ln w="243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481" name="Graphic 1194">
                <a:extLst>
                  <a:ext uri="{FF2B5EF4-FFF2-40B4-BE49-F238E27FC236}">
                    <a16:creationId xmlns:a16="http://schemas.microsoft.com/office/drawing/2014/main" id="{51B6C634-1F10-20DC-8B7B-125286F60C30}"/>
                  </a:ext>
                </a:extLst>
              </p:cNvPr>
              <p:cNvSpPr/>
              <p:nvPr/>
            </p:nvSpPr>
            <p:spPr>
              <a:xfrm>
                <a:off x="6097497" y="2379115"/>
                <a:ext cx="876318" cy="866543"/>
              </a:xfrm>
              <a:custGeom>
                <a:avLst/>
                <a:gdLst>
                  <a:gd name="connsiteX0" fmla="*/ 0 w 1669962"/>
                  <a:gd name="connsiteY0" fmla="*/ 0 h 1651333"/>
                  <a:gd name="connsiteX1" fmla="*/ 0 w 1669962"/>
                  <a:gd name="connsiteY1" fmla="*/ 1651333 h 1651333"/>
                  <a:gd name="connsiteX2" fmla="*/ 1669963 w 1669962"/>
                  <a:gd name="connsiteY2" fmla="*/ 0 h 1651333"/>
                  <a:gd name="connsiteX3" fmla="*/ 0 w 1669962"/>
                  <a:gd name="connsiteY3" fmla="*/ 0 h 1651333"/>
                </a:gdLst>
                <a:ahLst/>
                <a:cxnLst>
                  <a:cxn ang="0">
                    <a:pos x="connsiteX0" y="connsiteY0"/>
                  </a:cxn>
                  <a:cxn ang="0">
                    <a:pos x="connsiteX1" y="connsiteY1"/>
                  </a:cxn>
                  <a:cxn ang="0">
                    <a:pos x="connsiteX2" y="connsiteY2"/>
                  </a:cxn>
                  <a:cxn ang="0">
                    <a:pos x="connsiteX3" y="connsiteY3"/>
                  </a:cxn>
                </a:cxnLst>
                <a:rect l="l" t="t" r="r" b="b"/>
                <a:pathLst>
                  <a:path w="1669962" h="1651333">
                    <a:moveTo>
                      <a:pt x="0" y="0"/>
                    </a:moveTo>
                    <a:lnTo>
                      <a:pt x="0" y="1651333"/>
                    </a:lnTo>
                    <a:cubicBezTo>
                      <a:pt x="916107" y="1651333"/>
                      <a:pt x="1659916" y="913717"/>
                      <a:pt x="1669963" y="0"/>
                    </a:cubicBezTo>
                    <a:lnTo>
                      <a:pt x="0" y="0"/>
                    </a:lnTo>
                    <a:close/>
                  </a:path>
                </a:pathLst>
              </a:custGeom>
              <a:solidFill>
                <a:srgbClr val="0076A8"/>
              </a:solidFill>
              <a:ln w="243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482" name="Graphic 1194">
                <a:extLst>
                  <a:ext uri="{FF2B5EF4-FFF2-40B4-BE49-F238E27FC236}">
                    <a16:creationId xmlns:a16="http://schemas.microsoft.com/office/drawing/2014/main" id="{3E8CBB66-6BB6-415E-3462-3D642E51F7D0}"/>
                  </a:ext>
                </a:extLst>
              </p:cNvPr>
              <p:cNvSpPr/>
              <p:nvPr/>
            </p:nvSpPr>
            <p:spPr>
              <a:xfrm>
                <a:off x="5428656" y="1700421"/>
                <a:ext cx="1337708" cy="1337719"/>
              </a:xfrm>
              <a:custGeom>
                <a:avLst/>
                <a:gdLst>
                  <a:gd name="connsiteX0" fmla="*/ 3134271 w 3134270"/>
                  <a:gd name="connsiteY0" fmla="*/ 1567135 h 3134295"/>
                  <a:gd name="connsiteX1" fmla="*/ 1567111 w 3134270"/>
                  <a:gd name="connsiteY1" fmla="*/ 3134295 h 3134295"/>
                  <a:gd name="connsiteX2" fmla="*/ 0 w 3134270"/>
                  <a:gd name="connsiteY2" fmla="*/ 1567135 h 3134295"/>
                  <a:gd name="connsiteX3" fmla="*/ 864754 w 3134270"/>
                  <a:gd name="connsiteY3" fmla="*/ 165884 h 3134295"/>
                  <a:gd name="connsiteX4" fmla="*/ 1206643 w 3134270"/>
                  <a:gd name="connsiteY4" fmla="*/ 41697 h 3134295"/>
                  <a:gd name="connsiteX5" fmla="*/ 1567135 w 3134270"/>
                  <a:gd name="connsiteY5" fmla="*/ 0 h 3134295"/>
                  <a:gd name="connsiteX6" fmla="*/ 3134271 w 3134270"/>
                  <a:gd name="connsiteY6" fmla="*/ 1567135 h 313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270" h="3134295">
                    <a:moveTo>
                      <a:pt x="3134271" y="1567135"/>
                    </a:moveTo>
                    <a:cubicBezTo>
                      <a:pt x="3134271" y="2432670"/>
                      <a:pt x="2432645" y="3134295"/>
                      <a:pt x="1567111" y="3134295"/>
                    </a:cubicBezTo>
                    <a:cubicBezTo>
                      <a:pt x="701625" y="3134295"/>
                      <a:pt x="0" y="2432670"/>
                      <a:pt x="0" y="1567135"/>
                    </a:cubicBezTo>
                    <a:cubicBezTo>
                      <a:pt x="0" y="954170"/>
                      <a:pt x="351959" y="423404"/>
                      <a:pt x="864754" y="165884"/>
                    </a:cubicBezTo>
                    <a:cubicBezTo>
                      <a:pt x="972239" y="111874"/>
                      <a:pt x="1086795" y="69860"/>
                      <a:pt x="1206643" y="41697"/>
                    </a:cubicBezTo>
                    <a:cubicBezTo>
                      <a:pt x="1322369" y="14411"/>
                      <a:pt x="1443094" y="0"/>
                      <a:pt x="1567135" y="0"/>
                    </a:cubicBezTo>
                    <a:cubicBezTo>
                      <a:pt x="2432645" y="0"/>
                      <a:pt x="3134271" y="701625"/>
                      <a:pt x="3134271" y="1567135"/>
                    </a:cubicBezTo>
                    <a:close/>
                  </a:path>
                </a:pathLst>
              </a:custGeom>
              <a:solidFill>
                <a:schemeClr val="bg1"/>
              </a:solidFill>
              <a:ln w="11301" cap="flat">
                <a:noFill/>
                <a:prstDash val="solid"/>
                <a:miter/>
              </a:ln>
              <a:effectLst>
                <a:outerShdw blurRad="50800" dist="38100" dir="5400000" algn="t" rotWithShape="0">
                  <a:prstClr val="black">
                    <a:alpha val="40000"/>
                  </a:prst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b="1">
                    <a:ea typeface="Verdana" panose="020B0604030504040204" pitchFamily="34" charset="0"/>
                    <a:cs typeface="Times New Roman" panose="02020603050405020304" pitchFamily="18" charset="0"/>
                  </a:rPr>
                  <a:t>Services</a:t>
                </a:r>
                <a:br>
                  <a:rPr lang="en-US" sz="1400" b="1">
                    <a:ea typeface="Verdana" panose="020B0604030504040204" pitchFamily="34" charset="0"/>
                    <a:cs typeface="Times New Roman" panose="02020603050405020304" pitchFamily="18" charset="0"/>
                  </a:rPr>
                </a:br>
                <a:r>
                  <a:rPr lang="en-US" sz="1400" b="1">
                    <a:ea typeface="Verdana" panose="020B0604030504040204" pitchFamily="34" charset="0"/>
                    <a:cs typeface="Times New Roman" panose="02020603050405020304" pitchFamily="18" charset="0"/>
                  </a:rPr>
                  <a:t>in India</a:t>
                </a:r>
              </a:p>
            </p:txBody>
          </p:sp>
        </p:grpSp>
        <p:sp>
          <p:nvSpPr>
            <p:cNvPr id="58" name="Graphic 1194">
              <a:extLst>
                <a:ext uri="{FF2B5EF4-FFF2-40B4-BE49-F238E27FC236}">
                  <a16:creationId xmlns:a16="http://schemas.microsoft.com/office/drawing/2014/main" id="{DDDE3106-0B75-55AF-8DDE-A8493F16F4A9}"/>
                </a:ext>
              </a:extLst>
            </p:cNvPr>
            <p:cNvSpPr/>
            <p:nvPr/>
          </p:nvSpPr>
          <p:spPr>
            <a:xfrm>
              <a:off x="7635068" y="1858377"/>
              <a:ext cx="3507052" cy="313532"/>
            </a:xfrm>
            <a:prstGeom prst="roundRect">
              <a:avLst>
                <a:gd name="adj" fmla="val 50000"/>
              </a:avLst>
            </a:prstGeom>
            <a:solidFill>
              <a:schemeClr val="accent2">
                <a:lumMod val="60000"/>
                <a:lumOff val="40000"/>
              </a:schemeClr>
            </a:solidFill>
            <a:ln w="2438" cap="flat">
              <a:solidFill>
                <a:schemeClr val="bg1"/>
              </a:solidFill>
              <a:prstDash val="solid"/>
              <a:miter/>
            </a:ln>
          </p:spPr>
          <p:txBody>
            <a:bodyPr lIns="9144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ea typeface="Verdana" panose="020B0604030504040204" pitchFamily="34" charset="0"/>
                  <a:cs typeface="Times New Roman" panose="02020603050405020304" pitchFamily="18" charset="0"/>
                </a:rPr>
                <a:t>Assurance</a:t>
              </a:r>
            </a:p>
          </p:txBody>
        </p:sp>
        <p:sp>
          <p:nvSpPr>
            <p:cNvPr id="448" name="Graphic 1194">
              <a:extLst>
                <a:ext uri="{FF2B5EF4-FFF2-40B4-BE49-F238E27FC236}">
                  <a16:creationId xmlns:a16="http://schemas.microsoft.com/office/drawing/2014/main" id="{64BFBE51-35C6-728B-3F3F-016BB7016654}"/>
                </a:ext>
              </a:extLst>
            </p:cNvPr>
            <p:cNvSpPr/>
            <p:nvPr/>
          </p:nvSpPr>
          <p:spPr>
            <a:xfrm>
              <a:off x="7635067" y="2568520"/>
              <a:ext cx="3507052" cy="313532"/>
            </a:xfrm>
            <a:prstGeom prst="roundRect">
              <a:avLst>
                <a:gd name="adj" fmla="val 50000"/>
              </a:avLst>
            </a:prstGeom>
            <a:solidFill>
              <a:srgbClr val="009A44"/>
            </a:solidFill>
            <a:ln w="2438" cap="flat">
              <a:noFill/>
              <a:prstDash val="solid"/>
              <a:miter/>
            </a:ln>
          </p:spPr>
          <p:txBody>
            <a:bodyPr lIns="9144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b="1">
                  <a:solidFill>
                    <a:srgbClr val="FFFFFF"/>
                  </a:solidFill>
                  <a:ea typeface="Verdana" panose="020B0604030504040204" pitchFamily="34" charset="0"/>
                  <a:cs typeface="Times New Roman" panose="02020603050405020304" pitchFamily="18" charset="0"/>
                </a:rPr>
                <a:t>Tax </a:t>
              </a:r>
            </a:p>
          </p:txBody>
        </p:sp>
        <p:sp>
          <p:nvSpPr>
            <p:cNvPr id="449" name="Graphic 1194">
              <a:extLst>
                <a:ext uri="{FF2B5EF4-FFF2-40B4-BE49-F238E27FC236}">
                  <a16:creationId xmlns:a16="http://schemas.microsoft.com/office/drawing/2014/main" id="{0108F0CB-62E6-2751-C2ED-6638890342C2}"/>
                </a:ext>
              </a:extLst>
            </p:cNvPr>
            <p:cNvSpPr/>
            <p:nvPr/>
          </p:nvSpPr>
          <p:spPr>
            <a:xfrm>
              <a:off x="1049881" y="1856522"/>
              <a:ext cx="3507052" cy="313532"/>
            </a:xfrm>
            <a:prstGeom prst="roundRect">
              <a:avLst>
                <a:gd name="adj" fmla="val 50000"/>
              </a:avLst>
            </a:prstGeom>
            <a:solidFill>
              <a:srgbClr val="009A44"/>
            </a:solidFill>
            <a:ln w="2438" cap="flat">
              <a:noFill/>
              <a:prstDash val="solid"/>
              <a:miter/>
            </a:ln>
          </p:spPr>
          <p:txBody>
            <a:bodyPr lIns="91440" rIns="7315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ea typeface="Verdana" panose="020B0604030504040204" pitchFamily="34" charset="0"/>
                  <a:cs typeface="Times New Roman" panose="02020603050405020304" pitchFamily="18" charset="0"/>
                </a:rPr>
                <a:t>Strategy, Risk &amp; Transactions</a:t>
              </a:r>
            </a:p>
          </p:txBody>
        </p:sp>
        <p:sp>
          <p:nvSpPr>
            <p:cNvPr id="453" name="Graphic 1194">
              <a:extLst>
                <a:ext uri="{FF2B5EF4-FFF2-40B4-BE49-F238E27FC236}">
                  <a16:creationId xmlns:a16="http://schemas.microsoft.com/office/drawing/2014/main" id="{9757C027-7804-49D7-C926-7445F6D5E0FA}"/>
                </a:ext>
              </a:extLst>
            </p:cNvPr>
            <p:cNvSpPr/>
            <p:nvPr/>
          </p:nvSpPr>
          <p:spPr>
            <a:xfrm>
              <a:off x="1049881" y="2566666"/>
              <a:ext cx="3507052" cy="313532"/>
            </a:xfrm>
            <a:prstGeom prst="roundRect">
              <a:avLst>
                <a:gd name="adj" fmla="val 50000"/>
              </a:avLst>
            </a:prstGeom>
            <a:solidFill>
              <a:schemeClr val="accent2">
                <a:lumMod val="60000"/>
                <a:lumOff val="40000"/>
              </a:schemeClr>
            </a:solidFill>
            <a:ln w="2438" cap="flat">
              <a:noFill/>
              <a:prstDash val="solid"/>
              <a:miter/>
            </a:ln>
          </p:spPr>
          <p:txBody>
            <a:bodyPr rIns="7315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ea typeface="Verdana" panose="020B0604030504040204" pitchFamily="34" charset="0"/>
                  <a:cs typeface="Times New Roman" panose="02020603050405020304" pitchFamily="18" charset="0"/>
                </a:rPr>
                <a:t>Technology &amp; Transformation</a:t>
              </a:r>
            </a:p>
          </p:txBody>
        </p:sp>
        <p:sp>
          <p:nvSpPr>
            <p:cNvPr id="454" name="Graphic 1194">
              <a:extLst>
                <a:ext uri="{FF2B5EF4-FFF2-40B4-BE49-F238E27FC236}">
                  <a16:creationId xmlns:a16="http://schemas.microsoft.com/office/drawing/2014/main" id="{A5979D98-BDA4-C95A-CDE4-5CEB53C88465}"/>
                </a:ext>
              </a:extLst>
            </p:cNvPr>
            <p:cNvSpPr>
              <a:spLocks noChangeAspect="1"/>
            </p:cNvSpPr>
            <p:nvPr/>
          </p:nvSpPr>
          <p:spPr>
            <a:xfrm>
              <a:off x="7422698" y="1771668"/>
              <a:ext cx="486951" cy="486951"/>
            </a:xfrm>
            <a:custGeom>
              <a:avLst/>
              <a:gdLst>
                <a:gd name="connsiteX0" fmla="*/ 958730 w 958729"/>
                <a:gd name="connsiteY0" fmla="*/ 479365 h 958730"/>
                <a:gd name="connsiteX1" fmla="*/ 479365 w 958729"/>
                <a:gd name="connsiteY1" fmla="*/ 958730 h 958730"/>
                <a:gd name="connsiteX2" fmla="*/ 0 w 958729"/>
                <a:gd name="connsiteY2" fmla="*/ 479365 h 958730"/>
                <a:gd name="connsiteX3" fmla="*/ 264518 w 958729"/>
                <a:gd name="connsiteY3" fmla="*/ 50743 h 958730"/>
                <a:gd name="connsiteX4" fmla="*/ 369101 w 958729"/>
                <a:gd name="connsiteY4" fmla="*/ 12753 h 958730"/>
                <a:gd name="connsiteX5" fmla="*/ 479365 w 958729"/>
                <a:gd name="connsiteY5" fmla="*/ 0 h 958730"/>
                <a:gd name="connsiteX6" fmla="*/ 958730 w 958729"/>
                <a:gd name="connsiteY6" fmla="*/ 479365 h 9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729" h="958730">
                  <a:moveTo>
                    <a:pt x="958730" y="479365"/>
                  </a:moveTo>
                  <a:cubicBezTo>
                    <a:pt x="958730" y="744127"/>
                    <a:pt x="744102" y="958730"/>
                    <a:pt x="479365" y="958730"/>
                  </a:cubicBezTo>
                  <a:cubicBezTo>
                    <a:pt x="214628" y="958730"/>
                    <a:pt x="0" y="744102"/>
                    <a:pt x="0" y="479365"/>
                  </a:cubicBezTo>
                  <a:cubicBezTo>
                    <a:pt x="0" y="291876"/>
                    <a:pt x="107656" y="129503"/>
                    <a:pt x="264518" y="50743"/>
                  </a:cubicBezTo>
                  <a:cubicBezTo>
                    <a:pt x="297387" y="34211"/>
                    <a:pt x="332427" y="21385"/>
                    <a:pt x="369101" y="12753"/>
                  </a:cubicBezTo>
                  <a:cubicBezTo>
                    <a:pt x="404507" y="4413"/>
                    <a:pt x="441424" y="0"/>
                    <a:pt x="479365" y="0"/>
                  </a:cubicBezTo>
                  <a:cubicBezTo>
                    <a:pt x="744102" y="0"/>
                    <a:pt x="958730" y="214604"/>
                    <a:pt x="958730" y="479365"/>
                  </a:cubicBezTo>
                  <a:close/>
                </a:path>
              </a:pathLst>
            </a:custGeom>
            <a:solidFill>
              <a:schemeClr val="bg1"/>
            </a:solidFill>
            <a:ln w="11301" cap="flat">
              <a:noFill/>
              <a:prstDash val="solid"/>
              <a:miter/>
            </a:ln>
            <a:effectLst>
              <a:outerShdw blurRad="190500" dist="12700" dir="5400000" rotWithShape="0">
                <a:srgbClr val="000000">
                  <a:alpha val="20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455" name="Graphic 1194">
              <a:extLst>
                <a:ext uri="{FF2B5EF4-FFF2-40B4-BE49-F238E27FC236}">
                  <a16:creationId xmlns:a16="http://schemas.microsoft.com/office/drawing/2014/main" id="{97076F96-A051-604F-2AB7-7DB88578C89A}"/>
                </a:ext>
              </a:extLst>
            </p:cNvPr>
            <p:cNvSpPr>
              <a:spLocks noChangeAspect="1"/>
            </p:cNvSpPr>
            <p:nvPr/>
          </p:nvSpPr>
          <p:spPr>
            <a:xfrm>
              <a:off x="7422698" y="2481811"/>
              <a:ext cx="486951" cy="486951"/>
            </a:xfrm>
            <a:custGeom>
              <a:avLst/>
              <a:gdLst>
                <a:gd name="connsiteX0" fmla="*/ 958730 w 958729"/>
                <a:gd name="connsiteY0" fmla="*/ 479365 h 958730"/>
                <a:gd name="connsiteX1" fmla="*/ 479365 w 958729"/>
                <a:gd name="connsiteY1" fmla="*/ 958730 h 958730"/>
                <a:gd name="connsiteX2" fmla="*/ 0 w 958729"/>
                <a:gd name="connsiteY2" fmla="*/ 479365 h 958730"/>
                <a:gd name="connsiteX3" fmla="*/ 264518 w 958729"/>
                <a:gd name="connsiteY3" fmla="*/ 50743 h 958730"/>
                <a:gd name="connsiteX4" fmla="*/ 369101 w 958729"/>
                <a:gd name="connsiteY4" fmla="*/ 12753 h 958730"/>
                <a:gd name="connsiteX5" fmla="*/ 479365 w 958729"/>
                <a:gd name="connsiteY5" fmla="*/ 0 h 958730"/>
                <a:gd name="connsiteX6" fmla="*/ 958730 w 958729"/>
                <a:gd name="connsiteY6" fmla="*/ 479365 h 9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729" h="958730">
                  <a:moveTo>
                    <a:pt x="958730" y="479365"/>
                  </a:moveTo>
                  <a:cubicBezTo>
                    <a:pt x="958730" y="744127"/>
                    <a:pt x="744102" y="958730"/>
                    <a:pt x="479365" y="958730"/>
                  </a:cubicBezTo>
                  <a:cubicBezTo>
                    <a:pt x="214628" y="958730"/>
                    <a:pt x="0" y="744102"/>
                    <a:pt x="0" y="479365"/>
                  </a:cubicBezTo>
                  <a:cubicBezTo>
                    <a:pt x="0" y="291877"/>
                    <a:pt x="107656" y="129504"/>
                    <a:pt x="264518" y="50743"/>
                  </a:cubicBezTo>
                  <a:cubicBezTo>
                    <a:pt x="297387" y="34235"/>
                    <a:pt x="332427" y="21385"/>
                    <a:pt x="369101" y="12753"/>
                  </a:cubicBezTo>
                  <a:cubicBezTo>
                    <a:pt x="404507" y="4414"/>
                    <a:pt x="441424" y="0"/>
                    <a:pt x="479365" y="0"/>
                  </a:cubicBezTo>
                  <a:cubicBezTo>
                    <a:pt x="744102" y="24"/>
                    <a:pt x="958730" y="214628"/>
                    <a:pt x="958730" y="479365"/>
                  </a:cubicBezTo>
                  <a:close/>
                </a:path>
              </a:pathLst>
            </a:custGeom>
            <a:solidFill>
              <a:schemeClr val="bg1"/>
            </a:solidFill>
            <a:ln w="11301" cap="flat">
              <a:noFill/>
              <a:prstDash val="solid"/>
              <a:miter/>
            </a:ln>
            <a:effectLst>
              <a:outerShdw blurRad="190500" dist="12700" dir="5400000" rotWithShape="0">
                <a:srgbClr val="000000">
                  <a:alpha val="20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456" name="Graphic 1194">
              <a:extLst>
                <a:ext uri="{FF2B5EF4-FFF2-40B4-BE49-F238E27FC236}">
                  <a16:creationId xmlns:a16="http://schemas.microsoft.com/office/drawing/2014/main" id="{F19E25B0-16AF-A448-AF93-4FC00255AB6D}"/>
                </a:ext>
              </a:extLst>
            </p:cNvPr>
            <p:cNvSpPr>
              <a:spLocks noChangeAspect="1"/>
            </p:cNvSpPr>
            <p:nvPr/>
          </p:nvSpPr>
          <p:spPr>
            <a:xfrm>
              <a:off x="4282353" y="1771668"/>
              <a:ext cx="486951" cy="486951"/>
            </a:xfrm>
            <a:custGeom>
              <a:avLst/>
              <a:gdLst>
                <a:gd name="connsiteX0" fmla="*/ 958730 w 958730"/>
                <a:gd name="connsiteY0" fmla="*/ 479365 h 958730"/>
                <a:gd name="connsiteX1" fmla="*/ 479365 w 958730"/>
                <a:gd name="connsiteY1" fmla="*/ 958730 h 958730"/>
                <a:gd name="connsiteX2" fmla="*/ 0 w 958730"/>
                <a:gd name="connsiteY2" fmla="*/ 479365 h 958730"/>
                <a:gd name="connsiteX3" fmla="*/ 264518 w 958730"/>
                <a:gd name="connsiteY3" fmla="*/ 50743 h 958730"/>
                <a:gd name="connsiteX4" fmla="*/ 369101 w 958730"/>
                <a:gd name="connsiteY4" fmla="*/ 12753 h 958730"/>
                <a:gd name="connsiteX5" fmla="*/ 479365 w 958730"/>
                <a:gd name="connsiteY5" fmla="*/ 0 h 958730"/>
                <a:gd name="connsiteX6" fmla="*/ 958730 w 958730"/>
                <a:gd name="connsiteY6" fmla="*/ 479365 h 9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730" h="958730">
                  <a:moveTo>
                    <a:pt x="958730" y="479365"/>
                  </a:moveTo>
                  <a:cubicBezTo>
                    <a:pt x="958730" y="744127"/>
                    <a:pt x="744102" y="958730"/>
                    <a:pt x="479365" y="958730"/>
                  </a:cubicBezTo>
                  <a:cubicBezTo>
                    <a:pt x="214628" y="958730"/>
                    <a:pt x="0" y="744102"/>
                    <a:pt x="0" y="479365"/>
                  </a:cubicBezTo>
                  <a:cubicBezTo>
                    <a:pt x="0" y="291876"/>
                    <a:pt x="107655" y="129503"/>
                    <a:pt x="264518" y="50743"/>
                  </a:cubicBezTo>
                  <a:cubicBezTo>
                    <a:pt x="297387" y="34211"/>
                    <a:pt x="332427" y="21385"/>
                    <a:pt x="369101" y="12753"/>
                  </a:cubicBezTo>
                  <a:cubicBezTo>
                    <a:pt x="404506" y="4413"/>
                    <a:pt x="441424" y="0"/>
                    <a:pt x="479365" y="0"/>
                  </a:cubicBezTo>
                  <a:cubicBezTo>
                    <a:pt x="744102" y="0"/>
                    <a:pt x="958730" y="214604"/>
                    <a:pt x="958730" y="479365"/>
                  </a:cubicBezTo>
                  <a:close/>
                </a:path>
              </a:pathLst>
            </a:custGeom>
            <a:solidFill>
              <a:schemeClr val="bg1"/>
            </a:solidFill>
            <a:ln w="11301" cap="flat">
              <a:noFill/>
              <a:prstDash val="solid"/>
              <a:miter/>
            </a:ln>
            <a:effectLst>
              <a:outerShdw blurRad="190500" dist="12700" dir="5400000" rotWithShape="0">
                <a:srgbClr val="000000">
                  <a:alpha val="20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461" name="Graphic 1194">
              <a:extLst>
                <a:ext uri="{FF2B5EF4-FFF2-40B4-BE49-F238E27FC236}">
                  <a16:creationId xmlns:a16="http://schemas.microsoft.com/office/drawing/2014/main" id="{EDFB2430-A632-EC2C-3170-E29FBFBE701F}"/>
                </a:ext>
              </a:extLst>
            </p:cNvPr>
            <p:cNvSpPr>
              <a:spLocks noChangeAspect="1"/>
            </p:cNvSpPr>
            <p:nvPr/>
          </p:nvSpPr>
          <p:spPr>
            <a:xfrm>
              <a:off x="4282353" y="2481811"/>
              <a:ext cx="486951" cy="486951"/>
            </a:xfrm>
            <a:custGeom>
              <a:avLst/>
              <a:gdLst>
                <a:gd name="connsiteX0" fmla="*/ 958730 w 958730"/>
                <a:gd name="connsiteY0" fmla="*/ 479365 h 958730"/>
                <a:gd name="connsiteX1" fmla="*/ 479365 w 958730"/>
                <a:gd name="connsiteY1" fmla="*/ 958730 h 958730"/>
                <a:gd name="connsiteX2" fmla="*/ 0 w 958730"/>
                <a:gd name="connsiteY2" fmla="*/ 479365 h 958730"/>
                <a:gd name="connsiteX3" fmla="*/ 264518 w 958730"/>
                <a:gd name="connsiteY3" fmla="*/ 50743 h 958730"/>
                <a:gd name="connsiteX4" fmla="*/ 369101 w 958730"/>
                <a:gd name="connsiteY4" fmla="*/ 12753 h 958730"/>
                <a:gd name="connsiteX5" fmla="*/ 479365 w 958730"/>
                <a:gd name="connsiteY5" fmla="*/ 0 h 958730"/>
                <a:gd name="connsiteX6" fmla="*/ 958730 w 958730"/>
                <a:gd name="connsiteY6" fmla="*/ 479365 h 9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730" h="958730">
                  <a:moveTo>
                    <a:pt x="958730" y="479365"/>
                  </a:moveTo>
                  <a:cubicBezTo>
                    <a:pt x="958730" y="744127"/>
                    <a:pt x="744102" y="958730"/>
                    <a:pt x="479365" y="958730"/>
                  </a:cubicBezTo>
                  <a:cubicBezTo>
                    <a:pt x="214628" y="958730"/>
                    <a:pt x="0" y="744102"/>
                    <a:pt x="0" y="479365"/>
                  </a:cubicBezTo>
                  <a:cubicBezTo>
                    <a:pt x="0" y="291877"/>
                    <a:pt x="107655" y="129503"/>
                    <a:pt x="264518" y="50743"/>
                  </a:cubicBezTo>
                  <a:cubicBezTo>
                    <a:pt x="297387" y="34211"/>
                    <a:pt x="332427" y="21385"/>
                    <a:pt x="369101" y="12753"/>
                  </a:cubicBezTo>
                  <a:cubicBezTo>
                    <a:pt x="404506" y="4414"/>
                    <a:pt x="441424" y="0"/>
                    <a:pt x="479365" y="0"/>
                  </a:cubicBezTo>
                  <a:cubicBezTo>
                    <a:pt x="744102" y="0"/>
                    <a:pt x="958730" y="214604"/>
                    <a:pt x="958730" y="479365"/>
                  </a:cubicBezTo>
                  <a:close/>
                </a:path>
              </a:pathLst>
            </a:custGeom>
            <a:solidFill>
              <a:schemeClr val="bg1"/>
            </a:solidFill>
            <a:ln w="11301" cap="flat">
              <a:noFill/>
              <a:prstDash val="solid"/>
              <a:miter/>
            </a:ln>
            <a:effectLst>
              <a:outerShdw blurRad="190500" dist="12700" dir="5400000" rotWithShape="0">
                <a:srgbClr val="000000">
                  <a:alpha val="20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grpSp>
          <p:nvGrpSpPr>
            <p:cNvPr id="462" name="Graphic 4">
              <a:extLst>
                <a:ext uri="{FF2B5EF4-FFF2-40B4-BE49-F238E27FC236}">
                  <a16:creationId xmlns:a16="http://schemas.microsoft.com/office/drawing/2014/main" id="{38443D66-B60A-C438-3643-867D9B443C8B}"/>
                </a:ext>
              </a:extLst>
            </p:cNvPr>
            <p:cNvGrpSpPr>
              <a:grpSpLocks noChangeAspect="1"/>
            </p:cNvGrpSpPr>
            <p:nvPr/>
          </p:nvGrpSpPr>
          <p:grpSpPr>
            <a:xfrm>
              <a:off x="7485338" y="1834476"/>
              <a:ext cx="361670" cy="361334"/>
              <a:chOff x="6753524" y="2371173"/>
              <a:chExt cx="361670" cy="361333"/>
            </a:xfrm>
            <a:solidFill>
              <a:srgbClr val="0076A8"/>
            </a:solidFill>
          </p:grpSpPr>
          <p:sp>
            <p:nvSpPr>
              <p:cNvPr id="475" name="Graphic 4">
                <a:extLst>
                  <a:ext uri="{FF2B5EF4-FFF2-40B4-BE49-F238E27FC236}">
                    <a16:creationId xmlns:a16="http://schemas.microsoft.com/office/drawing/2014/main" id="{A811954B-7EBA-573F-3E35-DC483150F9A1}"/>
                  </a:ext>
                </a:extLst>
              </p:cNvPr>
              <p:cNvSpPr/>
              <p:nvPr/>
            </p:nvSpPr>
            <p:spPr>
              <a:xfrm>
                <a:off x="6753524"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0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1157" y="0"/>
                      <a:pt x="180835" y="0"/>
                    </a:cubicBezTo>
                    <a:close/>
                    <a:moveTo>
                      <a:pt x="180835" y="349204"/>
                    </a:moveTo>
                    <a:cubicBezTo>
                      <a:pt x="88181" y="349204"/>
                      <a:pt x="12780" y="273873"/>
                      <a:pt x="12780" y="181305"/>
                    </a:cubicBezTo>
                    <a:cubicBezTo>
                      <a:pt x="12780" y="88738"/>
                      <a:pt x="88181" y="13406"/>
                      <a:pt x="180835" y="13406"/>
                    </a:cubicBezTo>
                    <a:cubicBezTo>
                      <a:pt x="273489" y="13406"/>
                      <a:pt x="348890" y="88738"/>
                      <a:pt x="348890" y="181305"/>
                    </a:cubicBezTo>
                    <a:cubicBezTo>
                      <a:pt x="348890" y="273873"/>
                      <a:pt x="274128" y="349204"/>
                      <a:pt x="180835" y="349204"/>
                    </a:cubicBezTo>
                    <a:close/>
                  </a:path>
                </a:pathLst>
              </a:custGeom>
              <a:solidFill>
                <a:srgbClr val="00ABAB"/>
              </a:solidFill>
              <a:ln w="6390" cap="flat">
                <a:noFill/>
                <a:prstDash val="solid"/>
                <a:miter/>
              </a:ln>
            </p:spPr>
            <p:txBody>
              <a:bodyPr rtlCol="0" anchor="ctr"/>
              <a:lstStyle/>
              <a:p>
                <a:endParaRPr lang="en-US"/>
              </a:p>
            </p:txBody>
          </p:sp>
          <p:sp>
            <p:nvSpPr>
              <p:cNvPr id="476" name="Graphic 4">
                <a:extLst>
                  <a:ext uri="{FF2B5EF4-FFF2-40B4-BE49-F238E27FC236}">
                    <a16:creationId xmlns:a16="http://schemas.microsoft.com/office/drawing/2014/main" id="{6BDE6995-E1BA-7A61-88A0-D6DA1BDE25CF}"/>
                  </a:ext>
                </a:extLst>
              </p:cNvPr>
              <p:cNvSpPr/>
              <p:nvPr/>
            </p:nvSpPr>
            <p:spPr>
              <a:xfrm>
                <a:off x="6818788" y="2535880"/>
                <a:ext cx="232507" cy="111719"/>
              </a:xfrm>
              <a:custGeom>
                <a:avLst/>
                <a:gdLst>
                  <a:gd name="connsiteX0" fmla="*/ 225479 w 232507"/>
                  <a:gd name="connsiteY0" fmla="*/ 55541 h 111719"/>
                  <a:gd name="connsiteX1" fmla="*/ 222922 w 232507"/>
                  <a:gd name="connsiteY1" fmla="*/ 55541 h 111719"/>
                  <a:gd name="connsiteX2" fmla="*/ 196085 w 232507"/>
                  <a:gd name="connsiteY2" fmla="*/ 63840 h 111719"/>
                  <a:gd name="connsiteX3" fmla="*/ 153272 w 232507"/>
                  <a:gd name="connsiteY3" fmla="*/ 92568 h 111719"/>
                  <a:gd name="connsiteX4" fmla="*/ 132824 w 232507"/>
                  <a:gd name="connsiteY4" fmla="*/ 98952 h 111719"/>
                  <a:gd name="connsiteX5" fmla="*/ 82983 w 232507"/>
                  <a:gd name="connsiteY5" fmla="*/ 98952 h 111719"/>
                  <a:gd name="connsiteX6" fmla="*/ 71481 w 232507"/>
                  <a:gd name="connsiteY6" fmla="*/ 96398 h 111719"/>
                  <a:gd name="connsiteX7" fmla="*/ 13332 w 232507"/>
                  <a:gd name="connsiteY7" fmla="*/ 70224 h 111719"/>
                  <a:gd name="connsiteX8" fmla="*/ 12693 w 232507"/>
                  <a:gd name="connsiteY8" fmla="*/ 69585 h 111719"/>
                  <a:gd name="connsiteX9" fmla="*/ 13972 w 232507"/>
                  <a:gd name="connsiteY9" fmla="*/ 67032 h 111719"/>
                  <a:gd name="connsiteX10" fmla="*/ 22278 w 232507"/>
                  <a:gd name="connsiteY10" fmla="*/ 63840 h 111719"/>
                  <a:gd name="connsiteX11" fmla="*/ 74676 w 232507"/>
                  <a:gd name="connsiteY11" fmla="*/ 76608 h 111719"/>
                  <a:gd name="connsiteX12" fmla="*/ 76593 w 232507"/>
                  <a:gd name="connsiteY12" fmla="*/ 84268 h 111719"/>
                  <a:gd name="connsiteX13" fmla="*/ 88095 w 232507"/>
                  <a:gd name="connsiteY13" fmla="*/ 91291 h 111719"/>
                  <a:gd name="connsiteX14" fmla="*/ 94485 w 232507"/>
                  <a:gd name="connsiteY14" fmla="*/ 90014 h 111719"/>
                  <a:gd name="connsiteX15" fmla="*/ 126435 w 232507"/>
                  <a:gd name="connsiteY15" fmla="*/ 82992 h 111719"/>
                  <a:gd name="connsiteX16" fmla="*/ 143048 w 232507"/>
                  <a:gd name="connsiteY16" fmla="*/ 75331 h 111719"/>
                  <a:gd name="connsiteX17" fmla="*/ 164135 w 232507"/>
                  <a:gd name="connsiteY17" fmla="*/ 59371 h 111719"/>
                  <a:gd name="connsiteX18" fmla="*/ 165413 w 232507"/>
                  <a:gd name="connsiteY18" fmla="*/ 50433 h 111719"/>
                  <a:gd name="connsiteX19" fmla="*/ 156467 w 232507"/>
                  <a:gd name="connsiteY19" fmla="*/ 49157 h 111719"/>
                  <a:gd name="connsiteX20" fmla="*/ 135381 w 232507"/>
                  <a:gd name="connsiteY20" fmla="*/ 65117 h 111719"/>
                  <a:gd name="connsiteX21" fmla="*/ 123240 w 232507"/>
                  <a:gd name="connsiteY21" fmla="*/ 70862 h 111719"/>
                  <a:gd name="connsiteX22" fmla="*/ 90651 w 232507"/>
                  <a:gd name="connsiteY22" fmla="*/ 77884 h 111719"/>
                  <a:gd name="connsiteX23" fmla="*/ 86816 w 232507"/>
                  <a:gd name="connsiteY23" fmla="*/ 78523 h 111719"/>
                  <a:gd name="connsiteX24" fmla="*/ 93206 w 232507"/>
                  <a:gd name="connsiteY24" fmla="*/ 65117 h 111719"/>
                  <a:gd name="connsiteX25" fmla="*/ 120045 w 232507"/>
                  <a:gd name="connsiteY25" fmla="*/ 51710 h 111719"/>
                  <a:gd name="connsiteX26" fmla="*/ 123240 w 232507"/>
                  <a:gd name="connsiteY26" fmla="*/ 48518 h 111719"/>
                  <a:gd name="connsiteX27" fmla="*/ 164774 w 232507"/>
                  <a:gd name="connsiteY27" fmla="*/ 12768 h 111719"/>
                  <a:gd name="connsiteX28" fmla="*/ 222922 w 232507"/>
                  <a:gd name="connsiteY28" fmla="*/ 12768 h 111719"/>
                  <a:gd name="connsiteX29" fmla="*/ 229312 w 232507"/>
                  <a:gd name="connsiteY29" fmla="*/ 6384 h 111719"/>
                  <a:gd name="connsiteX30" fmla="*/ 222922 w 232507"/>
                  <a:gd name="connsiteY30" fmla="*/ 0 h 111719"/>
                  <a:gd name="connsiteX31" fmla="*/ 164774 w 232507"/>
                  <a:gd name="connsiteY31" fmla="*/ 0 h 111719"/>
                  <a:gd name="connsiteX32" fmla="*/ 113016 w 232507"/>
                  <a:gd name="connsiteY32" fmla="*/ 40219 h 111719"/>
                  <a:gd name="connsiteX33" fmla="*/ 84900 w 232507"/>
                  <a:gd name="connsiteY33" fmla="*/ 54902 h 111719"/>
                  <a:gd name="connsiteX34" fmla="*/ 77232 w 232507"/>
                  <a:gd name="connsiteY34" fmla="*/ 64478 h 111719"/>
                  <a:gd name="connsiteX35" fmla="*/ 24196 w 232507"/>
                  <a:gd name="connsiteY35" fmla="*/ 51710 h 111719"/>
                  <a:gd name="connsiteX36" fmla="*/ 23557 w 232507"/>
                  <a:gd name="connsiteY36" fmla="*/ 51710 h 111719"/>
                  <a:gd name="connsiteX37" fmla="*/ 552 w 232507"/>
                  <a:gd name="connsiteY37" fmla="*/ 65755 h 111719"/>
                  <a:gd name="connsiteX38" fmla="*/ 8221 w 232507"/>
                  <a:gd name="connsiteY38" fmla="*/ 81715 h 111719"/>
                  <a:gd name="connsiteX39" fmla="*/ 66369 w 232507"/>
                  <a:gd name="connsiteY39" fmla="*/ 107889 h 111719"/>
                  <a:gd name="connsiteX40" fmla="*/ 83621 w 232507"/>
                  <a:gd name="connsiteY40" fmla="*/ 111720 h 111719"/>
                  <a:gd name="connsiteX41" fmla="*/ 133463 w 232507"/>
                  <a:gd name="connsiteY41" fmla="*/ 111720 h 111719"/>
                  <a:gd name="connsiteX42" fmla="*/ 160940 w 232507"/>
                  <a:gd name="connsiteY42" fmla="*/ 103420 h 111719"/>
                  <a:gd name="connsiteX43" fmla="*/ 203753 w 232507"/>
                  <a:gd name="connsiteY43" fmla="*/ 74692 h 111719"/>
                  <a:gd name="connsiteX44" fmla="*/ 223561 w 232507"/>
                  <a:gd name="connsiteY44" fmla="*/ 68947 h 111719"/>
                  <a:gd name="connsiteX45" fmla="*/ 226117 w 232507"/>
                  <a:gd name="connsiteY45" fmla="*/ 68947 h 111719"/>
                  <a:gd name="connsiteX46" fmla="*/ 232507 w 232507"/>
                  <a:gd name="connsiteY46" fmla="*/ 62563 h 111719"/>
                  <a:gd name="connsiteX47" fmla="*/ 225479 w 232507"/>
                  <a:gd name="connsiteY47" fmla="*/ 55541 h 11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32507" h="111719">
                    <a:moveTo>
                      <a:pt x="225479" y="55541"/>
                    </a:moveTo>
                    <a:lnTo>
                      <a:pt x="222922" y="55541"/>
                    </a:lnTo>
                    <a:cubicBezTo>
                      <a:pt x="213338" y="55541"/>
                      <a:pt x="203753" y="58094"/>
                      <a:pt x="196085" y="63840"/>
                    </a:cubicBezTo>
                    <a:lnTo>
                      <a:pt x="153272" y="92568"/>
                    </a:lnTo>
                    <a:cubicBezTo>
                      <a:pt x="147521" y="96398"/>
                      <a:pt x="140492" y="98952"/>
                      <a:pt x="132824" y="98952"/>
                    </a:cubicBezTo>
                    <a:lnTo>
                      <a:pt x="82983" y="98952"/>
                    </a:lnTo>
                    <a:cubicBezTo>
                      <a:pt x="79149" y="98952"/>
                      <a:pt x="74676" y="98313"/>
                      <a:pt x="71481" y="96398"/>
                    </a:cubicBezTo>
                    <a:lnTo>
                      <a:pt x="13332" y="70224"/>
                    </a:lnTo>
                    <a:cubicBezTo>
                      <a:pt x="12693" y="70224"/>
                      <a:pt x="12693" y="69585"/>
                      <a:pt x="12693" y="69585"/>
                    </a:cubicBezTo>
                    <a:cubicBezTo>
                      <a:pt x="12693" y="69585"/>
                      <a:pt x="12693" y="68308"/>
                      <a:pt x="13972" y="67032"/>
                    </a:cubicBezTo>
                    <a:cubicBezTo>
                      <a:pt x="14611" y="66393"/>
                      <a:pt x="17167" y="63840"/>
                      <a:pt x="22278" y="63840"/>
                    </a:cubicBezTo>
                    <a:lnTo>
                      <a:pt x="74676" y="76608"/>
                    </a:lnTo>
                    <a:cubicBezTo>
                      <a:pt x="74676" y="79161"/>
                      <a:pt x="75315" y="82353"/>
                      <a:pt x="76593" y="84268"/>
                    </a:cubicBezTo>
                    <a:cubicBezTo>
                      <a:pt x="77871" y="86184"/>
                      <a:pt x="81066" y="91291"/>
                      <a:pt x="88095" y="91291"/>
                    </a:cubicBezTo>
                    <a:cubicBezTo>
                      <a:pt x="90011" y="91291"/>
                      <a:pt x="91929" y="90652"/>
                      <a:pt x="94485" y="90014"/>
                    </a:cubicBezTo>
                    <a:lnTo>
                      <a:pt x="126435" y="82992"/>
                    </a:lnTo>
                    <a:cubicBezTo>
                      <a:pt x="132824" y="81715"/>
                      <a:pt x="138576" y="79161"/>
                      <a:pt x="143048" y="75331"/>
                    </a:cubicBezTo>
                    <a:lnTo>
                      <a:pt x="164135" y="59371"/>
                    </a:lnTo>
                    <a:cubicBezTo>
                      <a:pt x="166691" y="57456"/>
                      <a:pt x="167330" y="52987"/>
                      <a:pt x="165413" y="50433"/>
                    </a:cubicBezTo>
                    <a:cubicBezTo>
                      <a:pt x="163496" y="47880"/>
                      <a:pt x="159023" y="47241"/>
                      <a:pt x="156467" y="49157"/>
                    </a:cubicBezTo>
                    <a:lnTo>
                      <a:pt x="135381" y="65117"/>
                    </a:lnTo>
                    <a:cubicBezTo>
                      <a:pt x="132186" y="67670"/>
                      <a:pt x="127712" y="69585"/>
                      <a:pt x="123240" y="70862"/>
                    </a:cubicBezTo>
                    <a:lnTo>
                      <a:pt x="90651" y="77884"/>
                    </a:lnTo>
                    <a:cubicBezTo>
                      <a:pt x="88095" y="78523"/>
                      <a:pt x="86816" y="78523"/>
                      <a:pt x="86816" y="78523"/>
                    </a:cubicBezTo>
                    <a:cubicBezTo>
                      <a:pt x="85539" y="76608"/>
                      <a:pt x="87456" y="69585"/>
                      <a:pt x="93206" y="65117"/>
                    </a:cubicBezTo>
                    <a:cubicBezTo>
                      <a:pt x="99596" y="60009"/>
                      <a:pt x="109821" y="55541"/>
                      <a:pt x="120045" y="51710"/>
                    </a:cubicBezTo>
                    <a:cubicBezTo>
                      <a:pt x="121322" y="51072"/>
                      <a:pt x="122601" y="49795"/>
                      <a:pt x="123240" y="48518"/>
                    </a:cubicBezTo>
                    <a:cubicBezTo>
                      <a:pt x="123240" y="47880"/>
                      <a:pt x="139214" y="14045"/>
                      <a:pt x="164774" y="12768"/>
                    </a:cubicBezTo>
                    <a:lnTo>
                      <a:pt x="222922" y="12768"/>
                    </a:lnTo>
                    <a:cubicBezTo>
                      <a:pt x="226756" y="12768"/>
                      <a:pt x="229312" y="10214"/>
                      <a:pt x="229312" y="6384"/>
                    </a:cubicBezTo>
                    <a:cubicBezTo>
                      <a:pt x="229312" y="2554"/>
                      <a:pt x="226756" y="0"/>
                      <a:pt x="222922" y="0"/>
                    </a:cubicBezTo>
                    <a:lnTo>
                      <a:pt x="164774" y="0"/>
                    </a:lnTo>
                    <a:cubicBezTo>
                      <a:pt x="136019" y="1277"/>
                      <a:pt x="117488" y="31281"/>
                      <a:pt x="113016" y="40219"/>
                    </a:cubicBezTo>
                    <a:cubicBezTo>
                      <a:pt x="102152" y="44049"/>
                      <a:pt x="92568" y="48518"/>
                      <a:pt x="84900" y="54902"/>
                    </a:cubicBezTo>
                    <a:cubicBezTo>
                      <a:pt x="81705" y="57456"/>
                      <a:pt x="79149" y="60648"/>
                      <a:pt x="77232" y="64478"/>
                    </a:cubicBezTo>
                    <a:lnTo>
                      <a:pt x="24196" y="51710"/>
                    </a:lnTo>
                    <a:cubicBezTo>
                      <a:pt x="24196" y="51710"/>
                      <a:pt x="23557" y="51710"/>
                      <a:pt x="23557" y="51710"/>
                    </a:cubicBezTo>
                    <a:cubicBezTo>
                      <a:pt x="11416" y="50433"/>
                      <a:pt x="2470" y="58094"/>
                      <a:pt x="552" y="65755"/>
                    </a:cubicBezTo>
                    <a:cubicBezTo>
                      <a:pt x="-1364" y="72139"/>
                      <a:pt x="1831" y="78523"/>
                      <a:pt x="8221" y="81715"/>
                    </a:cubicBezTo>
                    <a:lnTo>
                      <a:pt x="66369" y="107889"/>
                    </a:lnTo>
                    <a:cubicBezTo>
                      <a:pt x="71481" y="110443"/>
                      <a:pt x="77232" y="111720"/>
                      <a:pt x="83621" y="111720"/>
                    </a:cubicBezTo>
                    <a:lnTo>
                      <a:pt x="133463" y="111720"/>
                    </a:lnTo>
                    <a:cubicBezTo>
                      <a:pt x="143048" y="111720"/>
                      <a:pt x="152633" y="109166"/>
                      <a:pt x="160940" y="103420"/>
                    </a:cubicBezTo>
                    <a:lnTo>
                      <a:pt x="203753" y="74692"/>
                    </a:lnTo>
                    <a:cubicBezTo>
                      <a:pt x="209504" y="70862"/>
                      <a:pt x="216532" y="68947"/>
                      <a:pt x="223561" y="68947"/>
                    </a:cubicBezTo>
                    <a:lnTo>
                      <a:pt x="226117" y="68947"/>
                    </a:lnTo>
                    <a:cubicBezTo>
                      <a:pt x="229951" y="68947"/>
                      <a:pt x="232507" y="66393"/>
                      <a:pt x="232507" y="62563"/>
                    </a:cubicBezTo>
                    <a:cubicBezTo>
                      <a:pt x="232507" y="58733"/>
                      <a:pt x="229312" y="55541"/>
                      <a:pt x="225479" y="55541"/>
                    </a:cubicBezTo>
                    <a:close/>
                  </a:path>
                </a:pathLst>
              </a:custGeom>
              <a:solidFill>
                <a:srgbClr val="00ABAB"/>
              </a:solidFill>
              <a:ln w="6390" cap="flat">
                <a:noFill/>
                <a:prstDash val="solid"/>
                <a:miter/>
              </a:ln>
            </p:spPr>
            <p:txBody>
              <a:bodyPr rtlCol="0" anchor="ctr"/>
              <a:lstStyle/>
              <a:p>
                <a:endParaRPr lang="en-US"/>
              </a:p>
            </p:txBody>
          </p:sp>
          <p:sp>
            <p:nvSpPr>
              <p:cNvPr id="477" name="Graphic 4">
                <a:extLst>
                  <a:ext uri="{FF2B5EF4-FFF2-40B4-BE49-F238E27FC236}">
                    <a16:creationId xmlns:a16="http://schemas.microsoft.com/office/drawing/2014/main" id="{B05B7426-672A-B79B-9999-2426D267AAA7}"/>
                  </a:ext>
                </a:extLst>
              </p:cNvPr>
              <p:cNvSpPr/>
              <p:nvPr/>
            </p:nvSpPr>
            <p:spPr>
              <a:xfrm>
                <a:off x="6817424" y="2456080"/>
                <a:ext cx="232506" cy="111719"/>
              </a:xfrm>
              <a:custGeom>
                <a:avLst/>
                <a:gdLst>
                  <a:gd name="connsiteX0" fmla="*/ 7668 w 232506"/>
                  <a:gd name="connsiteY0" fmla="*/ 56179 h 111719"/>
                  <a:gd name="connsiteX1" fmla="*/ 10224 w 232506"/>
                  <a:gd name="connsiteY1" fmla="*/ 56179 h 111719"/>
                  <a:gd name="connsiteX2" fmla="*/ 37061 w 232506"/>
                  <a:gd name="connsiteY2" fmla="*/ 47880 h 111719"/>
                  <a:gd name="connsiteX3" fmla="*/ 79874 w 232506"/>
                  <a:gd name="connsiteY3" fmla="*/ 19152 h 111719"/>
                  <a:gd name="connsiteX4" fmla="*/ 100322 w 232506"/>
                  <a:gd name="connsiteY4" fmla="*/ 12768 h 111719"/>
                  <a:gd name="connsiteX5" fmla="*/ 150164 w 232506"/>
                  <a:gd name="connsiteY5" fmla="*/ 12768 h 111719"/>
                  <a:gd name="connsiteX6" fmla="*/ 161665 w 232506"/>
                  <a:gd name="connsiteY6" fmla="*/ 15322 h 111719"/>
                  <a:gd name="connsiteX7" fmla="*/ 219814 w 232506"/>
                  <a:gd name="connsiteY7" fmla="*/ 41496 h 111719"/>
                  <a:gd name="connsiteX8" fmla="*/ 220453 w 232506"/>
                  <a:gd name="connsiteY8" fmla="*/ 42134 h 111719"/>
                  <a:gd name="connsiteX9" fmla="*/ 219174 w 232506"/>
                  <a:gd name="connsiteY9" fmla="*/ 44688 h 111719"/>
                  <a:gd name="connsiteX10" fmla="*/ 210868 w 232506"/>
                  <a:gd name="connsiteY10" fmla="*/ 47880 h 111719"/>
                  <a:gd name="connsiteX11" fmla="*/ 158470 w 232506"/>
                  <a:gd name="connsiteY11" fmla="*/ 35112 h 111719"/>
                  <a:gd name="connsiteX12" fmla="*/ 156553 w 232506"/>
                  <a:gd name="connsiteY12" fmla="*/ 27451 h 111719"/>
                  <a:gd name="connsiteX13" fmla="*/ 138022 w 232506"/>
                  <a:gd name="connsiteY13" fmla="*/ 21706 h 111719"/>
                  <a:gd name="connsiteX14" fmla="*/ 106073 w 232506"/>
                  <a:gd name="connsiteY14" fmla="*/ 28728 h 111719"/>
                  <a:gd name="connsiteX15" fmla="*/ 89459 w 232506"/>
                  <a:gd name="connsiteY15" fmla="*/ 36389 h 111719"/>
                  <a:gd name="connsiteX16" fmla="*/ 68372 w 232506"/>
                  <a:gd name="connsiteY16" fmla="*/ 52349 h 111719"/>
                  <a:gd name="connsiteX17" fmla="*/ 67094 w 232506"/>
                  <a:gd name="connsiteY17" fmla="*/ 61286 h 111719"/>
                  <a:gd name="connsiteX18" fmla="*/ 76040 w 232506"/>
                  <a:gd name="connsiteY18" fmla="*/ 62563 h 111719"/>
                  <a:gd name="connsiteX19" fmla="*/ 97127 w 232506"/>
                  <a:gd name="connsiteY19" fmla="*/ 46603 h 111719"/>
                  <a:gd name="connsiteX20" fmla="*/ 109268 w 232506"/>
                  <a:gd name="connsiteY20" fmla="*/ 40857 h 111719"/>
                  <a:gd name="connsiteX21" fmla="*/ 141856 w 232506"/>
                  <a:gd name="connsiteY21" fmla="*/ 33835 h 111719"/>
                  <a:gd name="connsiteX22" fmla="*/ 145690 w 232506"/>
                  <a:gd name="connsiteY22" fmla="*/ 33197 h 111719"/>
                  <a:gd name="connsiteX23" fmla="*/ 139300 w 232506"/>
                  <a:gd name="connsiteY23" fmla="*/ 46603 h 111719"/>
                  <a:gd name="connsiteX24" fmla="*/ 112463 w 232506"/>
                  <a:gd name="connsiteY24" fmla="*/ 60009 h 111719"/>
                  <a:gd name="connsiteX25" fmla="*/ 109268 w 232506"/>
                  <a:gd name="connsiteY25" fmla="*/ 63201 h 111719"/>
                  <a:gd name="connsiteX26" fmla="*/ 67733 w 232506"/>
                  <a:gd name="connsiteY26" fmla="*/ 98952 h 111719"/>
                  <a:gd name="connsiteX27" fmla="*/ 9585 w 232506"/>
                  <a:gd name="connsiteY27" fmla="*/ 98952 h 111719"/>
                  <a:gd name="connsiteX28" fmla="*/ 3195 w 232506"/>
                  <a:gd name="connsiteY28" fmla="*/ 105336 h 111719"/>
                  <a:gd name="connsiteX29" fmla="*/ 9585 w 232506"/>
                  <a:gd name="connsiteY29" fmla="*/ 111720 h 111719"/>
                  <a:gd name="connsiteX30" fmla="*/ 67733 w 232506"/>
                  <a:gd name="connsiteY30" fmla="*/ 111720 h 111719"/>
                  <a:gd name="connsiteX31" fmla="*/ 119492 w 232506"/>
                  <a:gd name="connsiteY31" fmla="*/ 71500 h 111719"/>
                  <a:gd name="connsiteX32" fmla="*/ 147607 w 232506"/>
                  <a:gd name="connsiteY32" fmla="*/ 56817 h 111719"/>
                  <a:gd name="connsiteX33" fmla="*/ 155275 w 232506"/>
                  <a:gd name="connsiteY33" fmla="*/ 47241 h 111719"/>
                  <a:gd name="connsiteX34" fmla="*/ 208312 w 232506"/>
                  <a:gd name="connsiteY34" fmla="*/ 60009 h 111719"/>
                  <a:gd name="connsiteX35" fmla="*/ 208951 w 232506"/>
                  <a:gd name="connsiteY35" fmla="*/ 60009 h 111719"/>
                  <a:gd name="connsiteX36" fmla="*/ 211507 w 232506"/>
                  <a:gd name="connsiteY36" fmla="*/ 60009 h 111719"/>
                  <a:gd name="connsiteX37" fmla="*/ 231954 w 232506"/>
                  <a:gd name="connsiteY37" fmla="*/ 45965 h 111719"/>
                  <a:gd name="connsiteX38" fmla="*/ 224287 w 232506"/>
                  <a:gd name="connsiteY38" fmla="*/ 30005 h 111719"/>
                  <a:gd name="connsiteX39" fmla="*/ 166138 w 232506"/>
                  <a:gd name="connsiteY39" fmla="*/ 3830 h 111719"/>
                  <a:gd name="connsiteX40" fmla="*/ 148885 w 232506"/>
                  <a:gd name="connsiteY40" fmla="*/ 0 h 111719"/>
                  <a:gd name="connsiteX41" fmla="*/ 99044 w 232506"/>
                  <a:gd name="connsiteY41" fmla="*/ 0 h 111719"/>
                  <a:gd name="connsiteX42" fmla="*/ 71567 w 232506"/>
                  <a:gd name="connsiteY42" fmla="*/ 8299 h 111719"/>
                  <a:gd name="connsiteX43" fmla="*/ 28755 w 232506"/>
                  <a:gd name="connsiteY43" fmla="*/ 37027 h 111719"/>
                  <a:gd name="connsiteX44" fmla="*/ 8946 w 232506"/>
                  <a:gd name="connsiteY44" fmla="*/ 42773 h 111719"/>
                  <a:gd name="connsiteX45" fmla="*/ 6390 w 232506"/>
                  <a:gd name="connsiteY45" fmla="*/ 42773 h 111719"/>
                  <a:gd name="connsiteX46" fmla="*/ 0 w 232506"/>
                  <a:gd name="connsiteY46" fmla="*/ 49157 h 111719"/>
                  <a:gd name="connsiteX47" fmla="*/ 7668 w 232506"/>
                  <a:gd name="connsiteY47" fmla="*/ 56179 h 11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32506" h="111719">
                    <a:moveTo>
                      <a:pt x="7668" y="56179"/>
                    </a:moveTo>
                    <a:lnTo>
                      <a:pt x="10224" y="56179"/>
                    </a:lnTo>
                    <a:cubicBezTo>
                      <a:pt x="19809" y="56179"/>
                      <a:pt x="29394" y="53625"/>
                      <a:pt x="37061" y="47880"/>
                    </a:cubicBezTo>
                    <a:lnTo>
                      <a:pt x="79874" y="19152"/>
                    </a:lnTo>
                    <a:cubicBezTo>
                      <a:pt x="85625" y="15322"/>
                      <a:pt x="92654" y="12768"/>
                      <a:pt x="100322" y="12768"/>
                    </a:cubicBezTo>
                    <a:lnTo>
                      <a:pt x="150164" y="12768"/>
                    </a:lnTo>
                    <a:cubicBezTo>
                      <a:pt x="153997" y="12768"/>
                      <a:pt x="158470" y="13406"/>
                      <a:pt x="161665" y="15322"/>
                    </a:cubicBezTo>
                    <a:lnTo>
                      <a:pt x="219814" y="41496"/>
                    </a:lnTo>
                    <a:cubicBezTo>
                      <a:pt x="220453" y="41496"/>
                      <a:pt x="220453" y="42134"/>
                      <a:pt x="220453" y="42134"/>
                    </a:cubicBezTo>
                    <a:cubicBezTo>
                      <a:pt x="220453" y="42134"/>
                      <a:pt x="220453" y="43411"/>
                      <a:pt x="219174" y="44688"/>
                    </a:cubicBezTo>
                    <a:cubicBezTo>
                      <a:pt x="218536" y="45326"/>
                      <a:pt x="215979" y="47880"/>
                      <a:pt x="210868" y="47880"/>
                    </a:cubicBezTo>
                    <a:lnTo>
                      <a:pt x="158470" y="35112"/>
                    </a:lnTo>
                    <a:cubicBezTo>
                      <a:pt x="158470" y="32558"/>
                      <a:pt x="157831" y="29366"/>
                      <a:pt x="156553" y="27451"/>
                    </a:cubicBezTo>
                    <a:cubicBezTo>
                      <a:pt x="155275" y="24897"/>
                      <a:pt x="150164" y="17875"/>
                      <a:pt x="138022" y="21706"/>
                    </a:cubicBezTo>
                    <a:lnTo>
                      <a:pt x="106073" y="28728"/>
                    </a:lnTo>
                    <a:cubicBezTo>
                      <a:pt x="99683" y="30005"/>
                      <a:pt x="93932" y="32558"/>
                      <a:pt x="89459" y="36389"/>
                    </a:cubicBezTo>
                    <a:lnTo>
                      <a:pt x="68372" y="52349"/>
                    </a:lnTo>
                    <a:cubicBezTo>
                      <a:pt x="65816" y="54264"/>
                      <a:pt x="65177" y="58733"/>
                      <a:pt x="67094" y="61286"/>
                    </a:cubicBezTo>
                    <a:cubicBezTo>
                      <a:pt x="69011" y="63840"/>
                      <a:pt x="73484" y="64478"/>
                      <a:pt x="76040" y="62563"/>
                    </a:cubicBezTo>
                    <a:lnTo>
                      <a:pt x="97127" y="46603"/>
                    </a:lnTo>
                    <a:cubicBezTo>
                      <a:pt x="100322" y="44049"/>
                      <a:pt x="104795" y="42134"/>
                      <a:pt x="109268" y="40857"/>
                    </a:cubicBezTo>
                    <a:lnTo>
                      <a:pt x="141856" y="33835"/>
                    </a:lnTo>
                    <a:cubicBezTo>
                      <a:pt x="144412" y="33197"/>
                      <a:pt x="145690" y="33197"/>
                      <a:pt x="145690" y="33197"/>
                    </a:cubicBezTo>
                    <a:cubicBezTo>
                      <a:pt x="146969" y="35112"/>
                      <a:pt x="145051" y="42134"/>
                      <a:pt x="139300" y="46603"/>
                    </a:cubicBezTo>
                    <a:cubicBezTo>
                      <a:pt x="132910" y="51710"/>
                      <a:pt x="122686" y="56179"/>
                      <a:pt x="112463" y="60009"/>
                    </a:cubicBezTo>
                    <a:cubicBezTo>
                      <a:pt x="111185" y="60648"/>
                      <a:pt x="109907" y="61925"/>
                      <a:pt x="109268" y="63201"/>
                    </a:cubicBezTo>
                    <a:cubicBezTo>
                      <a:pt x="109268" y="63840"/>
                      <a:pt x="93293" y="97675"/>
                      <a:pt x="67733" y="98952"/>
                    </a:cubicBezTo>
                    <a:lnTo>
                      <a:pt x="9585" y="98952"/>
                    </a:lnTo>
                    <a:cubicBezTo>
                      <a:pt x="5751" y="98952"/>
                      <a:pt x="3195" y="101505"/>
                      <a:pt x="3195" y="105336"/>
                    </a:cubicBezTo>
                    <a:cubicBezTo>
                      <a:pt x="3195" y="109166"/>
                      <a:pt x="5751" y="111720"/>
                      <a:pt x="9585" y="111720"/>
                    </a:cubicBezTo>
                    <a:lnTo>
                      <a:pt x="67733" y="111720"/>
                    </a:lnTo>
                    <a:cubicBezTo>
                      <a:pt x="96488" y="110443"/>
                      <a:pt x="115019" y="80438"/>
                      <a:pt x="119492" y="71500"/>
                    </a:cubicBezTo>
                    <a:cubicBezTo>
                      <a:pt x="130355" y="67670"/>
                      <a:pt x="139940" y="63201"/>
                      <a:pt x="147607" y="56817"/>
                    </a:cubicBezTo>
                    <a:cubicBezTo>
                      <a:pt x="150802" y="54264"/>
                      <a:pt x="153358" y="51072"/>
                      <a:pt x="155275" y="47241"/>
                    </a:cubicBezTo>
                    <a:lnTo>
                      <a:pt x="208312" y="60009"/>
                    </a:lnTo>
                    <a:cubicBezTo>
                      <a:pt x="208312" y="60009"/>
                      <a:pt x="208951" y="60009"/>
                      <a:pt x="208951" y="60009"/>
                    </a:cubicBezTo>
                    <a:cubicBezTo>
                      <a:pt x="209589" y="60009"/>
                      <a:pt x="210868" y="60009"/>
                      <a:pt x="211507" y="60009"/>
                    </a:cubicBezTo>
                    <a:cubicBezTo>
                      <a:pt x="222369" y="60009"/>
                      <a:pt x="230038" y="52987"/>
                      <a:pt x="231954" y="45965"/>
                    </a:cubicBezTo>
                    <a:cubicBezTo>
                      <a:pt x="233872" y="39581"/>
                      <a:pt x="230677" y="33197"/>
                      <a:pt x="224287" y="30005"/>
                    </a:cubicBezTo>
                    <a:lnTo>
                      <a:pt x="166138" y="3830"/>
                    </a:lnTo>
                    <a:cubicBezTo>
                      <a:pt x="161026" y="1277"/>
                      <a:pt x="155275" y="0"/>
                      <a:pt x="148885" y="0"/>
                    </a:cubicBezTo>
                    <a:lnTo>
                      <a:pt x="99044" y="0"/>
                    </a:lnTo>
                    <a:cubicBezTo>
                      <a:pt x="89459" y="0"/>
                      <a:pt x="79874" y="2554"/>
                      <a:pt x="71567" y="8299"/>
                    </a:cubicBezTo>
                    <a:lnTo>
                      <a:pt x="28755" y="37027"/>
                    </a:lnTo>
                    <a:cubicBezTo>
                      <a:pt x="23004" y="40857"/>
                      <a:pt x="15975" y="42773"/>
                      <a:pt x="8946" y="42773"/>
                    </a:cubicBezTo>
                    <a:lnTo>
                      <a:pt x="6390" y="42773"/>
                    </a:lnTo>
                    <a:cubicBezTo>
                      <a:pt x="2556" y="42773"/>
                      <a:pt x="0" y="45326"/>
                      <a:pt x="0" y="49157"/>
                    </a:cubicBezTo>
                    <a:cubicBezTo>
                      <a:pt x="0" y="52987"/>
                      <a:pt x="3834" y="56179"/>
                      <a:pt x="7668" y="56179"/>
                    </a:cubicBezTo>
                    <a:close/>
                  </a:path>
                </a:pathLst>
              </a:custGeom>
              <a:solidFill>
                <a:srgbClr val="00ABAB"/>
              </a:solidFill>
              <a:ln w="6390" cap="flat">
                <a:noFill/>
                <a:prstDash val="solid"/>
                <a:miter/>
              </a:ln>
            </p:spPr>
            <p:txBody>
              <a:bodyPr rtlCol="0" anchor="ctr"/>
              <a:lstStyle/>
              <a:p>
                <a:endParaRPr lang="en-US"/>
              </a:p>
            </p:txBody>
          </p:sp>
        </p:grpSp>
        <p:grpSp>
          <p:nvGrpSpPr>
            <p:cNvPr id="463" name="Group 462">
              <a:extLst>
                <a:ext uri="{FF2B5EF4-FFF2-40B4-BE49-F238E27FC236}">
                  <a16:creationId xmlns:a16="http://schemas.microsoft.com/office/drawing/2014/main" id="{9F1B1ECE-F5A7-F670-19A9-2959B3A9164A}"/>
                </a:ext>
              </a:extLst>
            </p:cNvPr>
            <p:cNvGrpSpPr/>
            <p:nvPr/>
          </p:nvGrpSpPr>
          <p:grpSpPr>
            <a:xfrm>
              <a:off x="7464024" y="2524118"/>
              <a:ext cx="404298" cy="402336"/>
              <a:chOff x="11341003" y="1991092"/>
              <a:chExt cx="404298" cy="402336"/>
            </a:xfrm>
          </p:grpSpPr>
          <p:sp>
            <p:nvSpPr>
              <p:cNvPr id="470" name="Oval 469">
                <a:extLst>
                  <a:ext uri="{FF2B5EF4-FFF2-40B4-BE49-F238E27FC236}">
                    <a16:creationId xmlns:a16="http://schemas.microsoft.com/office/drawing/2014/main" id="{8407E2E4-E0CD-24CF-936D-8AC8AE38E67B}"/>
                  </a:ext>
                </a:extLst>
              </p:cNvPr>
              <p:cNvSpPr>
                <a:spLocks noChangeAspect="1"/>
              </p:cNvSpPr>
              <p:nvPr/>
            </p:nvSpPr>
            <p:spPr>
              <a:xfrm>
                <a:off x="11341003" y="1991092"/>
                <a:ext cx="404298" cy="40233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613"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grpSp>
            <p:nvGrpSpPr>
              <p:cNvPr id="471" name="Graphic 4">
                <a:extLst>
                  <a:ext uri="{FF2B5EF4-FFF2-40B4-BE49-F238E27FC236}">
                    <a16:creationId xmlns:a16="http://schemas.microsoft.com/office/drawing/2014/main" id="{702B35C2-32C9-E40C-2621-096FE8C64461}"/>
                  </a:ext>
                </a:extLst>
              </p:cNvPr>
              <p:cNvGrpSpPr>
                <a:grpSpLocks noChangeAspect="1"/>
              </p:cNvGrpSpPr>
              <p:nvPr/>
            </p:nvGrpSpPr>
            <p:grpSpPr>
              <a:xfrm>
                <a:off x="11362317" y="2011593"/>
                <a:ext cx="361670" cy="361334"/>
                <a:chOff x="467743" y="1402085"/>
                <a:chExt cx="361670" cy="361333"/>
              </a:xfrm>
              <a:solidFill>
                <a:srgbClr val="00ABAB"/>
              </a:solidFill>
            </p:grpSpPr>
            <p:sp>
              <p:nvSpPr>
                <p:cNvPr id="472" name="Graphic 4">
                  <a:extLst>
                    <a:ext uri="{FF2B5EF4-FFF2-40B4-BE49-F238E27FC236}">
                      <a16:creationId xmlns:a16="http://schemas.microsoft.com/office/drawing/2014/main" id="{D8954FE8-11A9-B75E-6344-634E9FA21388}"/>
                    </a:ext>
                  </a:extLst>
                </p:cNvPr>
                <p:cNvSpPr/>
                <p:nvPr/>
              </p:nvSpPr>
              <p:spPr>
                <a:xfrm>
                  <a:off x="467743"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solidFill>
                  <a:srgbClr val="0076A8"/>
                </a:solidFill>
                <a:ln w="6390" cap="flat">
                  <a:noFill/>
                  <a:prstDash val="solid"/>
                  <a:miter/>
                </a:ln>
              </p:spPr>
              <p:txBody>
                <a:bodyPr rtlCol="0" anchor="ctr"/>
                <a:lstStyle/>
                <a:p>
                  <a:endParaRPr lang="en-US"/>
                </a:p>
              </p:txBody>
            </p:sp>
            <p:sp>
              <p:nvSpPr>
                <p:cNvPr id="473" name="Graphic 4">
                  <a:extLst>
                    <a:ext uri="{FF2B5EF4-FFF2-40B4-BE49-F238E27FC236}">
                      <a16:creationId xmlns:a16="http://schemas.microsoft.com/office/drawing/2014/main" id="{B7142E16-B033-8217-268B-2F92353B32E3}"/>
                    </a:ext>
                  </a:extLst>
                </p:cNvPr>
                <p:cNvSpPr/>
                <p:nvPr/>
              </p:nvSpPr>
              <p:spPr>
                <a:xfrm>
                  <a:off x="539310" y="1485076"/>
                  <a:ext cx="217896" cy="195988"/>
                </a:xfrm>
                <a:custGeom>
                  <a:avLst/>
                  <a:gdLst>
                    <a:gd name="connsiteX0" fmla="*/ 211507 w 217896"/>
                    <a:gd name="connsiteY0" fmla="*/ 66393 h 195988"/>
                    <a:gd name="connsiteX1" fmla="*/ 200644 w 217896"/>
                    <a:gd name="connsiteY1" fmla="*/ 66393 h 195988"/>
                    <a:gd name="connsiteX2" fmla="*/ 174445 w 217896"/>
                    <a:gd name="connsiteY2" fmla="*/ 33197 h 195988"/>
                    <a:gd name="connsiteX3" fmla="*/ 180835 w 217896"/>
                    <a:gd name="connsiteY3" fmla="*/ 8299 h 195988"/>
                    <a:gd name="connsiteX4" fmla="*/ 179557 w 217896"/>
                    <a:gd name="connsiteY4" fmla="*/ 2554 h 195988"/>
                    <a:gd name="connsiteX5" fmla="*/ 174445 w 217896"/>
                    <a:gd name="connsiteY5" fmla="*/ 0 h 195988"/>
                    <a:gd name="connsiteX6" fmla="*/ 135467 w 217896"/>
                    <a:gd name="connsiteY6" fmla="*/ 20429 h 195988"/>
                    <a:gd name="connsiteX7" fmla="*/ 94571 w 217896"/>
                    <a:gd name="connsiteY7" fmla="*/ 14683 h 195988"/>
                    <a:gd name="connsiteX8" fmla="*/ 0 w 217896"/>
                    <a:gd name="connsiteY8" fmla="*/ 109166 h 195988"/>
                    <a:gd name="connsiteX9" fmla="*/ 12780 w 217896"/>
                    <a:gd name="connsiteY9" fmla="*/ 156408 h 195988"/>
                    <a:gd name="connsiteX10" fmla="*/ 17892 w 217896"/>
                    <a:gd name="connsiteY10" fmla="*/ 159600 h 195988"/>
                    <a:gd name="connsiteX11" fmla="*/ 44091 w 217896"/>
                    <a:gd name="connsiteY11" fmla="*/ 189604 h 195988"/>
                    <a:gd name="connsiteX12" fmla="*/ 50481 w 217896"/>
                    <a:gd name="connsiteY12" fmla="*/ 195988 h 195988"/>
                    <a:gd name="connsiteX13" fmla="*/ 86903 w 217896"/>
                    <a:gd name="connsiteY13" fmla="*/ 195988 h 195988"/>
                    <a:gd name="connsiteX14" fmla="*/ 93293 w 217896"/>
                    <a:gd name="connsiteY14" fmla="*/ 189604 h 195988"/>
                    <a:gd name="connsiteX15" fmla="*/ 93293 w 217896"/>
                    <a:gd name="connsiteY15" fmla="*/ 181305 h 195988"/>
                    <a:gd name="connsiteX16" fmla="*/ 109907 w 217896"/>
                    <a:gd name="connsiteY16" fmla="*/ 181305 h 195988"/>
                    <a:gd name="connsiteX17" fmla="*/ 109907 w 217896"/>
                    <a:gd name="connsiteY17" fmla="*/ 189604 h 195988"/>
                    <a:gd name="connsiteX18" fmla="*/ 116297 w 217896"/>
                    <a:gd name="connsiteY18" fmla="*/ 195988 h 195988"/>
                    <a:gd name="connsiteX19" fmla="*/ 152720 w 217896"/>
                    <a:gd name="connsiteY19" fmla="*/ 195988 h 195988"/>
                    <a:gd name="connsiteX20" fmla="*/ 159109 w 217896"/>
                    <a:gd name="connsiteY20" fmla="*/ 189604 h 195988"/>
                    <a:gd name="connsiteX21" fmla="*/ 159109 w 217896"/>
                    <a:gd name="connsiteY21" fmla="*/ 176836 h 195988"/>
                    <a:gd name="connsiteX22" fmla="*/ 187225 w 217896"/>
                    <a:gd name="connsiteY22" fmla="*/ 122572 h 195988"/>
                    <a:gd name="connsiteX23" fmla="*/ 211507 w 217896"/>
                    <a:gd name="connsiteY23" fmla="*/ 122572 h 195988"/>
                    <a:gd name="connsiteX24" fmla="*/ 217897 w 217896"/>
                    <a:gd name="connsiteY24" fmla="*/ 116188 h 195988"/>
                    <a:gd name="connsiteX25" fmla="*/ 217897 w 217896"/>
                    <a:gd name="connsiteY25" fmla="*/ 72139 h 195988"/>
                    <a:gd name="connsiteX26" fmla="*/ 211507 w 217896"/>
                    <a:gd name="connsiteY26" fmla="*/ 66393 h 195988"/>
                    <a:gd name="connsiteX27" fmla="*/ 205117 w 217896"/>
                    <a:gd name="connsiteY27" fmla="*/ 110443 h 195988"/>
                    <a:gd name="connsiteX28" fmla="*/ 182113 w 217896"/>
                    <a:gd name="connsiteY28" fmla="*/ 110443 h 195988"/>
                    <a:gd name="connsiteX29" fmla="*/ 175723 w 217896"/>
                    <a:gd name="connsiteY29" fmla="*/ 116188 h 195988"/>
                    <a:gd name="connsiteX30" fmla="*/ 148247 w 217896"/>
                    <a:gd name="connsiteY30" fmla="*/ 169814 h 195988"/>
                    <a:gd name="connsiteX31" fmla="*/ 146330 w 217896"/>
                    <a:gd name="connsiteY31" fmla="*/ 174283 h 195988"/>
                    <a:gd name="connsiteX32" fmla="*/ 146330 w 217896"/>
                    <a:gd name="connsiteY32" fmla="*/ 183220 h 195988"/>
                    <a:gd name="connsiteX33" fmla="*/ 122687 w 217896"/>
                    <a:gd name="connsiteY33" fmla="*/ 183220 h 195988"/>
                    <a:gd name="connsiteX34" fmla="*/ 122687 w 217896"/>
                    <a:gd name="connsiteY34" fmla="*/ 174921 h 195988"/>
                    <a:gd name="connsiteX35" fmla="*/ 116297 w 217896"/>
                    <a:gd name="connsiteY35" fmla="*/ 168537 h 195988"/>
                    <a:gd name="connsiteX36" fmla="*/ 86903 w 217896"/>
                    <a:gd name="connsiteY36" fmla="*/ 168537 h 195988"/>
                    <a:gd name="connsiteX37" fmla="*/ 80513 w 217896"/>
                    <a:gd name="connsiteY37" fmla="*/ 174921 h 195988"/>
                    <a:gd name="connsiteX38" fmla="*/ 80513 w 217896"/>
                    <a:gd name="connsiteY38" fmla="*/ 183220 h 195988"/>
                    <a:gd name="connsiteX39" fmla="*/ 56231 w 217896"/>
                    <a:gd name="connsiteY39" fmla="*/ 183220 h 195988"/>
                    <a:gd name="connsiteX40" fmla="*/ 21726 w 217896"/>
                    <a:gd name="connsiteY40" fmla="*/ 146832 h 195988"/>
                    <a:gd name="connsiteX41" fmla="*/ 12141 w 217896"/>
                    <a:gd name="connsiteY41" fmla="*/ 109166 h 195988"/>
                    <a:gd name="connsiteX42" fmla="*/ 93932 w 217896"/>
                    <a:gd name="connsiteY42" fmla="*/ 27451 h 195988"/>
                    <a:gd name="connsiteX43" fmla="*/ 135467 w 217896"/>
                    <a:gd name="connsiteY43" fmla="*/ 34473 h 195988"/>
                    <a:gd name="connsiteX44" fmla="*/ 143135 w 217896"/>
                    <a:gd name="connsiteY44" fmla="*/ 31281 h 195988"/>
                    <a:gd name="connsiteX45" fmla="*/ 165499 w 217896"/>
                    <a:gd name="connsiteY45" fmla="*/ 14683 h 195988"/>
                    <a:gd name="connsiteX46" fmla="*/ 160387 w 217896"/>
                    <a:gd name="connsiteY46" fmla="*/ 34473 h 195988"/>
                    <a:gd name="connsiteX47" fmla="*/ 163582 w 217896"/>
                    <a:gd name="connsiteY47" fmla="*/ 41496 h 195988"/>
                    <a:gd name="connsiteX48" fmla="*/ 190420 w 217896"/>
                    <a:gd name="connsiteY48" fmla="*/ 75331 h 195988"/>
                    <a:gd name="connsiteX49" fmla="*/ 196171 w 217896"/>
                    <a:gd name="connsiteY49" fmla="*/ 79161 h 195988"/>
                    <a:gd name="connsiteX50" fmla="*/ 204478 w 217896"/>
                    <a:gd name="connsiteY50" fmla="*/ 79161 h 195988"/>
                    <a:gd name="connsiteX51" fmla="*/ 204478 w 217896"/>
                    <a:gd name="connsiteY51" fmla="*/ 110443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7896" h="195988">
                      <a:moveTo>
                        <a:pt x="211507" y="66393"/>
                      </a:moveTo>
                      <a:lnTo>
                        <a:pt x="200644" y="66393"/>
                      </a:lnTo>
                      <a:cubicBezTo>
                        <a:pt x="196810" y="59371"/>
                        <a:pt x="187225" y="42773"/>
                        <a:pt x="174445" y="33197"/>
                      </a:cubicBezTo>
                      <a:lnTo>
                        <a:pt x="180835" y="8299"/>
                      </a:lnTo>
                      <a:cubicBezTo>
                        <a:pt x="181474" y="6384"/>
                        <a:pt x="180835" y="4469"/>
                        <a:pt x="179557" y="2554"/>
                      </a:cubicBezTo>
                      <a:cubicBezTo>
                        <a:pt x="178279" y="1277"/>
                        <a:pt x="176362" y="0"/>
                        <a:pt x="174445" y="0"/>
                      </a:cubicBezTo>
                      <a:cubicBezTo>
                        <a:pt x="173167" y="0"/>
                        <a:pt x="148247" y="1277"/>
                        <a:pt x="135467" y="20429"/>
                      </a:cubicBezTo>
                      <a:cubicBezTo>
                        <a:pt x="122687" y="16598"/>
                        <a:pt x="109907" y="14683"/>
                        <a:pt x="94571" y="14683"/>
                      </a:cubicBezTo>
                      <a:cubicBezTo>
                        <a:pt x="42813" y="14683"/>
                        <a:pt x="0" y="56817"/>
                        <a:pt x="0" y="109166"/>
                      </a:cubicBezTo>
                      <a:cubicBezTo>
                        <a:pt x="0" y="125764"/>
                        <a:pt x="4473" y="141724"/>
                        <a:pt x="12780" y="156408"/>
                      </a:cubicBezTo>
                      <a:cubicBezTo>
                        <a:pt x="14058" y="158323"/>
                        <a:pt x="15975" y="159600"/>
                        <a:pt x="17892" y="159600"/>
                      </a:cubicBezTo>
                      <a:cubicBezTo>
                        <a:pt x="19170" y="159600"/>
                        <a:pt x="44091" y="160876"/>
                        <a:pt x="44091" y="189604"/>
                      </a:cubicBezTo>
                      <a:cubicBezTo>
                        <a:pt x="44091" y="193435"/>
                        <a:pt x="46647" y="195988"/>
                        <a:pt x="50481" y="195988"/>
                      </a:cubicBezTo>
                      <a:lnTo>
                        <a:pt x="86903" y="195988"/>
                      </a:lnTo>
                      <a:cubicBezTo>
                        <a:pt x="90737" y="195988"/>
                        <a:pt x="93293" y="193435"/>
                        <a:pt x="93293" y="189604"/>
                      </a:cubicBezTo>
                      <a:lnTo>
                        <a:pt x="93293" y="181305"/>
                      </a:lnTo>
                      <a:lnTo>
                        <a:pt x="109907" y="181305"/>
                      </a:lnTo>
                      <a:lnTo>
                        <a:pt x="109907" y="189604"/>
                      </a:lnTo>
                      <a:cubicBezTo>
                        <a:pt x="109907" y="193435"/>
                        <a:pt x="112463" y="195988"/>
                        <a:pt x="116297" y="195988"/>
                      </a:cubicBezTo>
                      <a:lnTo>
                        <a:pt x="152720" y="195988"/>
                      </a:lnTo>
                      <a:cubicBezTo>
                        <a:pt x="156553" y="195988"/>
                        <a:pt x="159109" y="193435"/>
                        <a:pt x="159109" y="189604"/>
                      </a:cubicBezTo>
                      <a:lnTo>
                        <a:pt x="159109" y="176836"/>
                      </a:lnTo>
                      <a:cubicBezTo>
                        <a:pt x="168694" y="166622"/>
                        <a:pt x="183391" y="147470"/>
                        <a:pt x="187225" y="122572"/>
                      </a:cubicBezTo>
                      <a:lnTo>
                        <a:pt x="211507" y="122572"/>
                      </a:lnTo>
                      <a:cubicBezTo>
                        <a:pt x="215341" y="122572"/>
                        <a:pt x="217897" y="120019"/>
                        <a:pt x="217897" y="116188"/>
                      </a:cubicBezTo>
                      <a:lnTo>
                        <a:pt x="217897" y="72139"/>
                      </a:lnTo>
                      <a:cubicBezTo>
                        <a:pt x="217897" y="68947"/>
                        <a:pt x="215341" y="66393"/>
                        <a:pt x="211507" y="66393"/>
                      </a:cubicBezTo>
                      <a:close/>
                      <a:moveTo>
                        <a:pt x="205117" y="110443"/>
                      </a:moveTo>
                      <a:lnTo>
                        <a:pt x="182113" y="110443"/>
                      </a:lnTo>
                      <a:cubicBezTo>
                        <a:pt x="178918" y="110443"/>
                        <a:pt x="175723" y="112996"/>
                        <a:pt x="175723" y="116188"/>
                      </a:cubicBezTo>
                      <a:cubicBezTo>
                        <a:pt x="174445" y="134702"/>
                        <a:pt x="164221" y="154492"/>
                        <a:pt x="148247" y="169814"/>
                      </a:cubicBezTo>
                      <a:cubicBezTo>
                        <a:pt x="146969" y="171091"/>
                        <a:pt x="146330" y="172368"/>
                        <a:pt x="146330" y="174283"/>
                      </a:cubicBezTo>
                      <a:lnTo>
                        <a:pt x="146330" y="183220"/>
                      </a:lnTo>
                      <a:lnTo>
                        <a:pt x="122687" y="183220"/>
                      </a:lnTo>
                      <a:lnTo>
                        <a:pt x="122687" y="174921"/>
                      </a:lnTo>
                      <a:cubicBezTo>
                        <a:pt x="122687" y="171091"/>
                        <a:pt x="120131" y="168537"/>
                        <a:pt x="116297" y="168537"/>
                      </a:cubicBezTo>
                      <a:lnTo>
                        <a:pt x="86903" y="168537"/>
                      </a:lnTo>
                      <a:cubicBezTo>
                        <a:pt x="83069" y="168537"/>
                        <a:pt x="80513" y="171091"/>
                        <a:pt x="80513" y="174921"/>
                      </a:cubicBezTo>
                      <a:lnTo>
                        <a:pt x="80513" y="183220"/>
                      </a:lnTo>
                      <a:lnTo>
                        <a:pt x="56231" y="183220"/>
                      </a:lnTo>
                      <a:cubicBezTo>
                        <a:pt x="53675" y="158323"/>
                        <a:pt x="34506" y="148747"/>
                        <a:pt x="21726" y="146832"/>
                      </a:cubicBezTo>
                      <a:cubicBezTo>
                        <a:pt x="15336" y="135340"/>
                        <a:pt x="12141" y="121934"/>
                        <a:pt x="12141" y="109166"/>
                      </a:cubicBezTo>
                      <a:cubicBezTo>
                        <a:pt x="12141" y="64478"/>
                        <a:pt x="48564" y="27451"/>
                        <a:pt x="93932" y="27451"/>
                      </a:cubicBezTo>
                      <a:cubicBezTo>
                        <a:pt x="109907" y="27451"/>
                        <a:pt x="122687" y="29366"/>
                        <a:pt x="135467" y="34473"/>
                      </a:cubicBezTo>
                      <a:cubicBezTo>
                        <a:pt x="138662" y="35750"/>
                        <a:pt x="141857" y="34473"/>
                        <a:pt x="143135" y="31281"/>
                      </a:cubicBezTo>
                      <a:cubicBezTo>
                        <a:pt x="148247" y="21067"/>
                        <a:pt x="157831" y="16598"/>
                        <a:pt x="165499" y="14683"/>
                      </a:cubicBezTo>
                      <a:lnTo>
                        <a:pt x="160387" y="34473"/>
                      </a:lnTo>
                      <a:cubicBezTo>
                        <a:pt x="159748" y="37027"/>
                        <a:pt x="161026" y="40219"/>
                        <a:pt x="163582" y="41496"/>
                      </a:cubicBezTo>
                      <a:cubicBezTo>
                        <a:pt x="178918" y="50433"/>
                        <a:pt x="190420" y="75331"/>
                        <a:pt x="190420" y="75331"/>
                      </a:cubicBezTo>
                      <a:cubicBezTo>
                        <a:pt x="191698" y="77885"/>
                        <a:pt x="193615" y="79161"/>
                        <a:pt x="196171" y="79161"/>
                      </a:cubicBezTo>
                      <a:lnTo>
                        <a:pt x="204478" y="79161"/>
                      </a:lnTo>
                      <a:lnTo>
                        <a:pt x="204478" y="110443"/>
                      </a:lnTo>
                      <a:close/>
                    </a:path>
                  </a:pathLst>
                </a:custGeom>
                <a:solidFill>
                  <a:srgbClr val="0076A8"/>
                </a:solidFill>
                <a:ln w="6390" cap="flat">
                  <a:noFill/>
                  <a:prstDash val="solid"/>
                  <a:miter/>
                </a:ln>
              </p:spPr>
              <p:txBody>
                <a:bodyPr rtlCol="0" anchor="ctr"/>
                <a:lstStyle/>
                <a:p>
                  <a:endParaRPr lang="en-US"/>
                </a:p>
              </p:txBody>
            </p:sp>
            <p:sp>
              <p:nvSpPr>
                <p:cNvPr id="474" name="Graphic 4">
                  <a:extLst>
                    <a:ext uri="{FF2B5EF4-FFF2-40B4-BE49-F238E27FC236}">
                      <a16:creationId xmlns:a16="http://schemas.microsoft.com/office/drawing/2014/main" id="{BCF4CBE6-C51E-3C87-C55C-AAFF8F773B18}"/>
                    </a:ext>
                  </a:extLst>
                </p:cNvPr>
                <p:cNvSpPr/>
                <p:nvPr/>
              </p:nvSpPr>
              <p:spPr>
                <a:xfrm>
                  <a:off x="583691" y="1524535"/>
                  <a:ext cx="49887" cy="31403"/>
                </a:xfrm>
                <a:custGeom>
                  <a:avLst/>
                  <a:gdLst>
                    <a:gd name="connsiteX0" fmla="*/ 41245 w 49887"/>
                    <a:gd name="connsiteY0" fmla="*/ 122 h 31403"/>
                    <a:gd name="connsiteX1" fmla="*/ 2266 w 49887"/>
                    <a:gd name="connsiteY1" fmla="*/ 20551 h 31403"/>
                    <a:gd name="connsiteX2" fmla="*/ 1627 w 49887"/>
                    <a:gd name="connsiteY2" fmla="*/ 29489 h 31403"/>
                    <a:gd name="connsiteX3" fmla="*/ 6739 w 49887"/>
                    <a:gd name="connsiteY3" fmla="*/ 31404 h 31403"/>
                    <a:gd name="connsiteX4" fmla="*/ 11212 w 49887"/>
                    <a:gd name="connsiteY4" fmla="*/ 30127 h 31403"/>
                    <a:gd name="connsiteX5" fmla="*/ 45079 w 49887"/>
                    <a:gd name="connsiteY5" fmla="*/ 12252 h 31403"/>
                    <a:gd name="connsiteX6" fmla="*/ 49552 w 49887"/>
                    <a:gd name="connsiteY6" fmla="*/ 4591 h 31403"/>
                    <a:gd name="connsiteX7" fmla="*/ 41245 w 49887"/>
                    <a:gd name="connsiteY7" fmla="*/ 122 h 3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87" h="31403">
                      <a:moveTo>
                        <a:pt x="41245" y="122"/>
                      </a:moveTo>
                      <a:cubicBezTo>
                        <a:pt x="27187" y="3953"/>
                        <a:pt x="13768" y="10975"/>
                        <a:pt x="2266" y="20551"/>
                      </a:cubicBezTo>
                      <a:cubicBezTo>
                        <a:pt x="-290" y="23105"/>
                        <a:pt x="-929" y="26935"/>
                        <a:pt x="1627" y="29489"/>
                      </a:cubicBezTo>
                      <a:cubicBezTo>
                        <a:pt x="2905" y="30765"/>
                        <a:pt x="4822" y="31404"/>
                        <a:pt x="6739" y="31404"/>
                      </a:cubicBezTo>
                      <a:cubicBezTo>
                        <a:pt x="8017" y="31404"/>
                        <a:pt x="9934" y="30765"/>
                        <a:pt x="11212" y="30127"/>
                      </a:cubicBezTo>
                      <a:cubicBezTo>
                        <a:pt x="20797" y="21828"/>
                        <a:pt x="32299" y="15444"/>
                        <a:pt x="45079" y="12252"/>
                      </a:cubicBezTo>
                      <a:cubicBezTo>
                        <a:pt x="48274" y="11613"/>
                        <a:pt x="50830" y="7783"/>
                        <a:pt x="49552" y="4591"/>
                      </a:cubicBezTo>
                      <a:cubicBezTo>
                        <a:pt x="48274" y="1399"/>
                        <a:pt x="44440" y="-516"/>
                        <a:pt x="41245" y="122"/>
                      </a:cubicBezTo>
                      <a:close/>
                    </a:path>
                  </a:pathLst>
                </a:custGeom>
                <a:solidFill>
                  <a:srgbClr val="0076A8"/>
                </a:solidFill>
                <a:ln w="6390" cap="flat">
                  <a:noFill/>
                  <a:prstDash val="solid"/>
                  <a:miter/>
                </a:ln>
              </p:spPr>
              <p:txBody>
                <a:bodyPr rtlCol="0" anchor="ctr"/>
                <a:lstStyle/>
                <a:p>
                  <a:endParaRPr lang="en-US"/>
                </a:p>
              </p:txBody>
            </p:sp>
          </p:grpSp>
        </p:grpSp>
        <p:grpSp>
          <p:nvGrpSpPr>
            <p:cNvPr id="464" name="Graphic 4">
              <a:extLst>
                <a:ext uri="{FF2B5EF4-FFF2-40B4-BE49-F238E27FC236}">
                  <a16:creationId xmlns:a16="http://schemas.microsoft.com/office/drawing/2014/main" id="{8755852E-7EA9-B6AC-EA2C-6D917E356D14}"/>
                </a:ext>
              </a:extLst>
            </p:cNvPr>
            <p:cNvGrpSpPr>
              <a:grpSpLocks noChangeAspect="1"/>
            </p:cNvGrpSpPr>
            <p:nvPr/>
          </p:nvGrpSpPr>
          <p:grpSpPr>
            <a:xfrm>
              <a:off x="4326910" y="1816410"/>
              <a:ext cx="397837" cy="397467"/>
              <a:chOff x="467104" y="918179"/>
              <a:chExt cx="362309" cy="361971"/>
            </a:xfrm>
            <a:solidFill>
              <a:srgbClr val="0076A8"/>
            </a:solidFill>
          </p:grpSpPr>
          <p:sp>
            <p:nvSpPr>
              <p:cNvPr id="468" name="Graphic 4">
                <a:extLst>
                  <a:ext uri="{FF2B5EF4-FFF2-40B4-BE49-F238E27FC236}">
                    <a16:creationId xmlns:a16="http://schemas.microsoft.com/office/drawing/2014/main" id="{321E9FBC-0E8E-69A1-F47C-DE5E392ABB5C}"/>
                  </a:ext>
                </a:extLst>
              </p:cNvPr>
              <p:cNvSpPr/>
              <p:nvPr/>
            </p:nvSpPr>
            <p:spPr>
              <a:xfrm>
                <a:off x="467104" y="918179"/>
                <a:ext cx="362309" cy="361971"/>
              </a:xfrm>
              <a:custGeom>
                <a:avLst/>
                <a:gdLst>
                  <a:gd name="connsiteX0" fmla="*/ 181474 w 362309"/>
                  <a:gd name="connsiteY0" fmla="*/ 0 h 361971"/>
                  <a:gd name="connsiteX1" fmla="*/ 0 w 362309"/>
                  <a:gd name="connsiteY1" fmla="*/ 181305 h 361971"/>
                  <a:gd name="connsiteX2" fmla="*/ 181474 w 362309"/>
                  <a:gd name="connsiteY2" fmla="*/ 361972 h 361971"/>
                  <a:gd name="connsiteX3" fmla="*/ 362309 w 362309"/>
                  <a:gd name="connsiteY3" fmla="*/ 181305 h 361971"/>
                  <a:gd name="connsiteX4" fmla="*/ 181474 w 362309"/>
                  <a:gd name="connsiteY4" fmla="*/ 0 h 361971"/>
                  <a:gd name="connsiteX5" fmla="*/ 181474 w 362309"/>
                  <a:gd name="connsiteY5" fmla="*/ 0 h 361971"/>
                  <a:gd name="connsiteX6" fmla="*/ 181474 w 362309"/>
                  <a:gd name="connsiteY6" fmla="*/ 349204 h 361971"/>
                  <a:gd name="connsiteX7" fmla="*/ 13419 w 362309"/>
                  <a:gd name="connsiteY7" fmla="*/ 180667 h 361971"/>
                  <a:gd name="connsiteX8" fmla="*/ 181474 w 362309"/>
                  <a:gd name="connsiteY8" fmla="*/ 12768 h 361971"/>
                  <a:gd name="connsiteX9" fmla="*/ 349530 w 362309"/>
                  <a:gd name="connsiteY9" fmla="*/ 180667 h 361971"/>
                  <a:gd name="connsiteX10" fmla="*/ 181474 w 362309"/>
                  <a:gd name="connsiteY10"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close/>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close/>
                  </a:path>
                </a:pathLst>
              </a:custGeom>
              <a:grpFill/>
              <a:ln w="6390" cap="flat">
                <a:noFill/>
                <a:prstDash val="solid"/>
                <a:miter/>
              </a:ln>
            </p:spPr>
            <p:txBody>
              <a:bodyPr rtlCol="0" anchor="ctr"/>
              <a:lstStyle/>
              <a:p>
                <a:endParaRPr lang="en-US"/>
              </a:p>
            </p:txBody>
          </p:sp>
          <p:sp>
            <p:nvSpPr>
              <p:cNvPr id="469" name="Graphic 4">
                <a:extLst>
                  <a:ext uri="{FF2B5EF4-FFF2-40B4-BE49-F238E27FC236}">
                    <a16:creationId xmlns:a16="http://schemas.microsoft.com/office/drawing/2014/main" id="{8F037C34-114F-D342-DE10-744DA6FCAA6E}"/>
                  </a:ext>
                </a:extLst>
              </p:cNvPr>
              <p:cNvSpPr/>
              <p:nvPr/>
            </p:nvSpPr>
            <p:spPr>
              <a:xfrm>
                <a:off x="552594" y="1003724"/>
                <a:ext cx="190800" cy="203010"/>
              </a:xfrm>
              <a:custGeom>
                <a:avLst/>
                <a:gdLst>
                  <a:gd name="connsiteX0" fmla="*/ 186721 w 190800"/>
                  <a:gd name="connsiteY0" fmla="*/ 15322 h 203010"/>
                  <a:gd name="connsiteX1" fmla="*/ 180970 w 190800"/>
                  <a:gd name="connsiteY1" fmla="*/ 15322 h 203010"/>
                  <a:gd name="connsiteX2" fmla="*/ 100457 w 190800"/>
                  <a:gd name="connsiteY2" fmla="*/ 1915 h 203010"/>
                  <a:gd name="connsiteX3" fmla="*/ 91511 w 190800"/>
                  <a:gd name="connsiteY3" fmla="*/ 1915 h 203010"/>
                  <a:gd name="connsiteX4" fmla="*/ 10998 w 190800"/>
                  <a:gd name="connsiteY4" fmla="*/ 15322 h 203010"/>
                  <a:gd name="connsiteX5" fmla="*/ 2052 w 190800"/>
                  <a:gd name="connsiteY5" fmla="*/ 17875 h 203010"/>
                  <a:gd name="connsiteX6" fmla="*/ 1413 w 190800"/>
                  <a:gd name="connsiteY6" fmla="*/ 20429 h 203010"/>
                  <a:gd name="connsiteX7" fmla="*/ 92789 w 190800"/>
                  <a:gd name="connsiteY7" fmla="*/ 202372 h 203010"/>
                  <a:gd name="connsiteX8" fmla="*/ 93428 w 190800"/>
                  <a:gd name="connsiteY8" fmla="*/ 203011 h 203010"/>
                  <a:gd name="connsiteX9" fmla="*/ 94067 w 190800"/>
                  <a:gd name="connsiteY9" fmla="*/ 203011 h 203010"/>
                  <a:gd name="connsiteX10" fmla="*/ 95345 w 190800"/>
                  <a:gd name="connsiteY10" fmla="*/ 203011 h 203010"/>
                  <a:gd name="connsiteX11" fmla="*/ 95345 w 190800"/>
                  <a:gd name="connsiteY11" fmla="*/ 203011 h 203010"/>
                  <a:gd name="connsiteX12" fmla="*/ 96623 w 190800"/>
                  <a:gd name="connsiteY12" fmla="*/ 203011 h 203010"/>
                  <a:gd name="connsiteX13" fmla="*/ 97262 w 190800"/>
                  <a:gd name="connsiteY13" fmla="*/ 203011 h 203010"/>
                  <a:gd name="connsiteX14" fmla="*/ 97901 w 190800"/>
                  <a:gd name="connsiteY14" fmla="*/ 202372 h 203010"/>
                  <a:gd name="connsiteX15" fmla="*/ 189277 w 190800"/>
                  <a:gd name="connsiteY15" fmla="*/ 20429 h 203010"/>
                  <a:gd name="connsiteX16" fmla="*/ 186721 w 190800"/>
                  <a:gd name="connsiteY16" fmla="*/ 15322 h 203010"/>
                  <a:gd name="connsiteX17" fmla="*/ 13554 w 190800"/>
                  <a:gd name="connsiteY17" fmla="*/ 30643 h 203010"/>
                  <a:gd name="connsiteX18" fmla="*/ 95984 w 190800"/>
                  <a:gd name="connsiteY18" fmla="*/ 15322 h 203010"/>
                  <a:gd name="connsiteX19" fmla="*/ 126655 w 190800"/>
                  <a:gd name="connsiteY19" fmla="*/ 32558 h 203010"/>
                  <a:gd name="connsiteX20" fmla="*/ 33362 w 190800"/>
                  <a:gd name="connsiteY20" fmla="*/ 125764 h 203010"/>
                  <a:gd name="connsiteX21" fmla="*/ 13554 w 190800"/>
                  <a:gd name="connsiteY21" fmla="*/ 30643 h 203010"/>
                  <a:gd name="connsiteX22" fmla="*/ 13554 w 190800"/>
                  <a:gd name="connsiteY22" fmla="*/ 30643 h 203010"/>
                  <a:gd name="connsiteX23" fmla="*/ 48059 w 190800"/>
                  <a:gd name="connsiteY23" fmla="*/ 147470 h 203010"/>
                  <a:gd name="connsiteX24" fmla="*/ 40391 w 190800"/>
                  <a:gd name="connsiteY24" fmla="*/ 136617 h 203010"/>
                  <a:gd name="connsiteX25" fmla="*/ 141991 w 190800"/>
                  <a:gd name="connsiteY25" fmla="*/ 35112 h 203010"/>
                  <a:gd name="connsiteX26" fmla="*/ 161161 w 190800"/>
                  <a:gd name="connsiteY26" fmla="*/ 34474 h 203010"/>
                  <a:gd name="connsiteX27" fmla="*/ 48059 w 190800"/>
                  <a:gd name="connsiteY27" fmla="*/ 147470 h 203010"/>
                  <a:gd name="connsiteX28" fmla="*/ 95345 w 190800"/>
                  <a:gd name="connsiteY28" fmla="*/ 189604 h 203010"/>
                  <a:gd name="connsiteX29" fmla="*/ 55727 w 190800"/>
                  <a:gd name="connsiteY29" fmla="*/ 157684 h 203010"/>
                  <a:gd name="connsiteX30" fmla="*/ 177775 w 190800"/>
                  <a:gd name="connsiteY30" fmla="*/ 35750 h 203010"/>
                  <a:gd name="connsiteX31" fmla="*/ 95345 w 190800"/>
                  <a:gd name="connsiteY31" fmla="*/ 189604 h 203010"/>
                  <a:gd name="connsiteX32" fmla="*/ 95345 w 190800"/>
                  <a:gd name="connsiteY32" fmla="*/ 189604 h 2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800" h="203010">
                    <a:moveTo>
                      <a:pt x="186721" y="15322"/>
                    </a:moveTo>
                    <a:cubicBezTo>
                      <a:pt x="184804" y="14045"/>
                      <a:pt x="182248" y="14045"/>
                      <a:pt x="180970" y="15322"/>
                    </a:cubicBezTo>
                    <a:cubicBezTo>
                      <a:pt x="154132" y="29366"/>
                      <a:pt x="121543" y="23621"/>
                      <a:pt x="100457" y="1915"/>
                    </a:cubicBezTo>
                    <a:cubicBezTo>
                      <a:pt x="97901" y="-638"/>
                      <a:pt x="94067" y="-638"/>
                      <a:pt x="91511" y="1915"/>
                    </a:cubicBezTo>
                    <a:cubicBezTo>
                      <a:pt x="71063" y="24259"/>
                      <a:pt x="37835" y="29366"/>
                      <a:pt x="10998" y="15322"/>
                    </a:cubicBezTo>
                    <a:cubicBezTo>
                      <a:pt x="7803" y="13406"/>
                      <a:pt x="3969" y="14683"/>
                      <a:pt x="2052" y="17875"/>
                    </a:cubicBezTo>
                    <a:cubicBezTo>
                      <a:pt x="1413" y="18514"/>
                      <a:pt x="1413" y="19152"/>
                      <a:pt x="1413" y="20429"/>
                    </a:cubicBezTo>
                    <a:cubicBezTo>
                      <a:pt x="-13284" y="146193"/>
                      <a:pt x="91511" y="201734"/>
                      <a:pt x="92789" y="202372"/>
                    </a:cubicBezTo>
                    <a:lnTo>
                      <a:pt x="93428" y="203011"/>
                    </a:lnTo>
                    <a:lnTo>
                      <a:pt x="94067" y="203011"/>
                    </a:lnTo>
                    <a:lnTo>
                      <a:pt x="95345" y="203011"/>
                    </a:lnTo>
                    <a:lnTo>
                      <a:pt x="95345" y="203011"/>
                    </a:lnTo>
                    <a:lnTo>
                      <a:pt x="96623" y="203011"/>
                    </a:lnTo>
                    <a:lnTo>
                      <a:pt x="97262" y="203011"/>
                    </a:lnTo>
                    <a:lnTo>
                      <a:pt x="97901" y="202372"/>
                    </a:lnTo>
                    <a:cubicBezTo>
                      <a:pt x="99179" y="201734"/>
                      <a:pt x="204613" y="146193"/>
                      <a:pt x="189277" y="20429"/>
                    </a:cubicBezTo>
                    <a:cubicBezTo>
                      <a:pt x="189916" y="17875"/>
                      <a:pt x="188638" y="15960"/>
                      <a:pt x="186721" y="15322"/>
                    </a:cubicBezTo>
                    <a:close/>
                    <a:moveTo>
                      <a:pt x="13554" y="30643"/>
                    </a:moveTo>
                    <a:cubicBezTo>
                      <a:pt x="41669" y="41496"/>
                      <a:pt x="73619" y="35750"/>
                      <a:pt x="95984" y="15322"/>
                    </a:cubicBezTo>
                    <a:cubicBezTo>
                      <a:pt x="104930" y="23621"/>
                      <a:pt x="115154" y="29366"/>
                      <a:pt x="126655" y="32558"/>
                    </a:cubicBezTo>
                    <a:lnTo>
                      <a:pt x="33362" y="125764"/>
                    </a:lnTo>
                    <a:cubicBezTo>
                      <a:pt x="17387" y="96398"/>
                      <a:pt x="10359" y="63201"/>
                      <a:pt x="13554" y="30643"/>
                    </a:cubicBezTo>
                    <a:lnTo>
                      <a:pt x="13554" y="30643"/>
                    </a:lnTo>
                    <a:close/>
                    <a:moveTo>
                      <a:pt x="48059" y="147470"/>
                    </a:moveTo>
                    <a:cubicBezTo>
                      <a:pt x="45503" y="144278"/>
                      <a:pt x="42947" y="140448"/>
                      <a:pt x="40391" y="136617"/>
                    </a:cubicBezTo>
                    <a:lnTo>
                      <a:pt x="141991" y="35112"/>
                    </a:lnTo>
                    <a:cubicBezTo>
                      <a:pt x="148381" y="35750"/>
                      <a:pt x="154771" y="35112"/>
                      <a:pt x="161161" y="34474"/>
                    </a:cubicBezTo>
                    <a:lnTo>
                      <a:pt x="48059" y="147470"/>
                    </a:lnTo>
                    <a:close/>
                    <a:moveTo>
                      <a:pt x="95345" y="189604"/>
                    </a:moveTo>
                    <a:cubicBezTo>
                      <a:pt x="80648" y="180667"/>
                      <a:pt x="67229" y="170452"/>
                      <a:pt x="55727" y="157684"/>
                    </a:cubicBezTo>
                    <a:lnTo>
                      <a:pt x="177775" y="35750"/>
                    </a:lnTo>
                    <a:cubicBezTo>
                      <a:pt x="183526" y="132787"/>
                      <a:pt x="111959" y="180667"/>
                      <a:pt x="95345" y="189604"/>
                    </a:cubicBezTo>
                    <a:lnTo>
                      <a:pt x="95345" y="189604"/>
                    </a:lnTo>
                    <a:close/>
                  </a:path>
                </a:pathLst>
              </a:custGeom>
              <a:grpFill/>
              <a:ln w="6390" cap="flat">
                <a:noFill/>
                <a:prstDash val="solid"/>
                <a:miter/>
              </a:ln>
            </p:spPr>
            <p:txBody>
              <a:bodyPr rtlCol="0" anchor="ctr"/>
              <a:lstStyle/>
              <a:p>
                <a:endParaRPr lang="en-US"/>
              </a:p>
            </p:txBody>
          </p:sp>
        </p:grpSp>
        <p:grpSp>
          <p:nvGrpSpPr>
            <p:cNvPr id="465" name="Graphic 1100">
              <a:extLst>
                <a:ext uri="{FF2B5EF4-FFF2-40B4-BE49-F238E27FC236}">
                  <a16:creationId xmlns:a16="http://schemas.microsoft.com/office/drawing/2014/main" id="{42A25D17-50F6-85BB-9B54-1A0C44F67445}"/>
                </a:ext>
              </a:extLst>
            </p:cNvPr>
            <p:cNvGrpSpPr>
              <a:grpSpLocks noChangeAspect="1"/>
            </p:cNvGrpSpPr>
            <p:nvPr/>
          </p:nvGrpSpPr>
          <p:grpSpPr>
            <a:xfrm>
              <a:off x="4326910" y="2526553"/>
              <a:ext cx="397837" cy="397467"/>
              <a:chOff x="1515054" y="4312706"/>
              <a:chExt cx="362309" cy="361971"/>
            </a:xfrm>
            <a:solidFill>
              <a:srgbClr val="00ABAB"/>
            </a:solidFill>
          </p:grpSpPr>
          <p:sp>
            <p:nvSpPr>
              <p:cNvPr id="466" name="Graphic 1100">
                <a:extLst>
                  <a:ext uri="{FF2B5EF4-FFF2-40B4-BE49-F238E27FC236}">
                    <a16:creationId xmlns:a16="http://schemas.microsoft.com/office/drawing/2014/main" id="{60C45A34-84F9-EA72-11C6-9A0A839BC781}"/>
                  </a:ext>
                </a:extLst>
              </p:cNvPr>
              <p:cNvSpPr/>
              <p:nvPr/>
            </p:nvSpPr>
            <p:spPr>
              <a:xfrm>
                <a:off x="1515054" y="4312706"/>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0 h 361971"/>
                  <a:gd name="connsiteX7" fmla="*/ 180835 w 362309"/>
                  <a:gd name="connsiteY7" fmla="*/ 349204 h 361971"/>
                  <a:gd name="connsiteX8" fmla="*/ 12780 w 362309"/>
                  <a:gd name="connsiteY8" fmla="*/ 180667 h 361971"/>
                  <a:gd name="connsiteX9" fmla="*/ 180835 w 362309"/>
                  <a:gd name="connsiteY9" fmla="*/ 12768 h 361971"/>
                  <a:gd name="connsiteX10" fmla="*/ 349529 w 362309"/>
                  <a:gd name="connsiteY10" fmla="*/ 181305 h 361971"/>
                  <a:gd name="connsiteX11" fmla="*/ 349529 w 362309"/>
                  <a:gd name="connsiteY11" fmla="*/ 181305 h 361971"/>
                  <a:gd name="connsiteX12" fmla="*/ 180835 w 362309"/>
                  <a:gd name="connsiteY12" fmla="*/ 349204 h 361971"/>
                  <a:gd name="connsiteX13" fmla="*/ 180835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1077"/>
                      <a:pt x="281157" y="0"/>
                      <a:pt x="180835" y="0"/>
                    </a:cubicBezTo>
                    <a:cubicBezTo>
                      <a:pt x="180835" y="0"/>
                      <a:pt x="180835" y="0"/>
                      <a:pt x="180835" y="0"/>
                    </a:cubicBezTo>
                    <a:close/>
                    <a:moveTo>
                      <a:pt x="180835" y="349204"/>
                    </a:moveTo>
                    <a:cubicBezTo>
                      <a:pt x="87542" y="349204"/>
                      <a:pt x="12780" y="273873"/>
                      <a:pt x="12780" y="180667"/>
                    </a:cubicBezTo>
                    <a:cubicBezTo>
                      <a:pt x="12780" y="87461"/>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endParaRPr lang="en-US"/>
              </a:p>
            </p:txBody>
          </p:sp>
          <p:sp>
            <p:nvSpPr>
              <p:cNvPr id="467" name="Graphic 1100">
                <a:extLst>
                  <a:ext uri="{FF2B5EF4-FFF2-40B4-BE49-F238E27FC236}">
                    <a16:creationId xmlns:a16="http://schemas.microsoft.com/office/drawing/2014/main" id="{1BFA60EF-EC2E-D795-5793-4DA6EF405128}"/>
                  </a:ext>
                </a:extLst>
              </p:cNvPr>
              <p:cNvSpPr/>
              <p:nvPr/>
            </p:nvSpPr>
            <p:spPr>
              <a:xfrm>
                <a:off x="1567962" y="4417914"/>
                <a:ext cx="254617" cy="151427"/>
              </a:xfrm>
              <a:custGeom>
                <a:avLst/>
                <a:gdLst>
                  <a:gd name="connsiteX0" fmla="*/ 252530 w 254617"/>
                  <a:gd name="connsiteY0" fmla="*/ 70351 h 151427"/>
                  <a:gd name="connsiteX1" fmla="*/ 218025 w 254617"/>
                  <a:gd name="connsiteY1" fmla="*/ 44815 h 151427"/>
                  <a:gd name="connsiteX2" fmla="*/ 209079 w 254617"/>
                  <a:gd name="connsiteY2" fmla="*/ 46092 h 151427"/>
                  <a:gd name="connsiteX3" fmla="*/ 207801 w 254617"/>
                  <a:gd name="connsiteY3" fmla="*/ 49922 h 151427"/>
                  <a:gd name="connsiteX4" fmla="*/ 207801 w 254617"/>
                  <a:gd name="connsiteY4" fmla="*/ 69074 h 151427"/>
                  <a:gd name="connsiteX5" fmla="*/ 74251 w 254617"/>
                  <a:gd name="connsiteY5" fmla="*/ 69074 h 151427"/>
                  <a:gd name="connsiteX6" fmla="*/ 106201 w 254617"/>
                  <a:gd name="connsiteY6" fmla="*/ 37155 h 151427"/>
                  <a:gd name="connsiteX7" fmla="*/ 127288 w 254617"/>
                  <a:gd name="connsiteY7" fmla="*/ 30132 h 151427"/>
                  <a:gd name="connsiteX8" fmla="*/ 130482 w 254617"/>
                  <a:gd name="connsiteY8" fmla="*/ 30132 h 151427"/>
                  <a:gd name="connsiteX9" fmla="*/ 159876 w 254617"/>
                  <a:gd name="connsiteY9" fmla="*/ 46730 h 151427"/>
                  <a:gd name="connsiteX10" fmla="*/ 176490 w 254617"/>
                  <a:gd name="connsiteY10" fmla="*/ 17364 h 151427"/>
                  <a:gd name="connsiteX11" fmla="*/ 147096 w 254617"/>
                  <a:gd name="connsiteY11" fmla="*/ 766 h 151427"/>
                  <a:gd name="connsiteX12" fmla="*/ 130482 w 254617"/>
                  <a:gd name="connsiteY12" fmla="*/ 17364 h 151427"/>
                  <a:gd name="connsiteX13" fmla="*/ 127288 w 254617"/>
                  <a:gd name="connsiteY13" fmla="*/ 17364 h 151427"/>
                  <a:gd name="connsiteX14" fmla="*/ 96616 w 254617"/>
                  <a:gd name="connsiteY14" fmla="*/ 27579 h 151427"/>
                  <a:gd name="connsiteX15" fmla="*/ 55720 w 254617"/>
                  <a:gd name="connsiteY15" fmla="*/ 69074 h 151427"/>
                  <a:gd name="connsiteX16" fmla="*/ 46774 w 254617"/>
                  <a:gd name="connsiteY16" fmla="*/ 69074 h 151427"/>
                  <a:gd name="connsiteX17" fmla="*/ 17381 w 254617"/>
                  <a:gd name="connsiteY17" fmla="*/ 52476 h 151427"/>
                  <a:gd name="connsiteX18" fmla="*/ 767 w 254617"/>
                  <a:gd name="connsiteY18" fmla="*/ 81842 h 151427"/>
                  <a:gd name="connsiteX19" fmla="*/ 30161 w 254617"/>
                  <a:gd name="connsiteY19" fmla="*/ 98441 h 151427"/>
                  <a:gd name="connsiteX20" fmla="*/ 46774 w 254617"/>
                  <a:gd name="connsiteY20" fmla="*/ 81842 h 151427"/>
                  <a:gd name="connsiteX21" fmla="*/ 64666 w 254617"/>
                  <a:gd name="connsiteY21" fmla="*/ 81842 h 151427"/>
                  <a:gd name="connsiteX22" fmla="*/ 106201 w 254617"/>
                  <a:gd name="connsiteY22" fmla="*/ 123338 h 151427"/>
                  <a:gd name="connsiteX23" fmla="*/ 136234 w 254617"/>
                  <a:gd name="connsiteY23" fmla="*/ 134191 h 151427"/>
                  <a:gd name="connsiteX24" fmla="*/ 138790 w 254617"/>
                  <a:gd name="connsiteY24" fmla="*/ 134191 h 151427"/>
                  <a:gd name="connsiteX25" fmla="*/ 138790 w 254617"/>
                  <a:gd name="connsiteY25" fmla="*/ 145044 h 151427"/>
                  <a:gd name="connsiteX26" fmla="*/ 145179 w 254617"/>
                  <a:gd name="connsiteY26" fmla="*/ 151428 h 151427"/>
                  <a:gd name="connsiteX27" fmla="*/ 179685 w 254617"/>
                  <a:gd name="connsiteY27" fmla="*/ 151428 h 151427"/>
                  <a:gd name="connsiteX28" fmla="*/ 186075 w 254617"/>
                  <a:gd name="connsiteY28" fmla="*/ 145044 h 151427"/>
                  <a:gd name="connsiteX29" fmla="*/ 186075 w 254617"/>
                  <a:gd name="connsiteY29" fmla="*/ 109932 h 151427"/>
                  <a:gd name="connsiteX30" fmla="*/ 179685 w 254617"/>
                  <a:gd name="connsiteY30" fmla="*/ 103548 h 151427"/>
                  <a:gd name="connsiteX31" fmla="*/ 144540 w 254617"/>
                  <a:gd name="connsiteY31" fmla="*/ 103548 h 151427"/>
                  <a:gd name="connsiteX32" fmla="*/ 138150 w 254617"/>
                  <a:gd name="connsiteY32" fmla="*/ 109932 h 151427"/>
                  <a:gd name="connsiteX33" fmla="*/ 138150 w 254617"/>
                  <a:gd name="connsiteY33" fmla="*/ 120785 h 151427"/>
                  <a:gd name="connsiteX34" fmla="*/ 135595 w 254617"/>
                  <a:gd name="connsiteY34" fmla="*/ 120785 h 151427"/>
                  <a:gd name="connsiteX35" fmla="*/ 114508 w 254617"/>
                  <a:gd name="connsiteY35" fmla="*/ 114401 h 151427"/>
                  <a:gd name="connsiteX36" fmla="*/ 82558 w 254617"/>
                  <a:gd name="connsiteY36" fmla="*/ 82481 h 151427"/>
                  <a:gd name="connsiteX37" fmla="*/ 207162 w 254617"/>
                  <a:gd name="connsiteY37" fmla="*/ 82481 h 151427"/>
                  <a:gd name="connsiteX38" fmla="*/ 207162 w 254617"/>
                  <a:gd name="connsiteY38" fmla="*/ 101633 h 151427"/>
                  <a:gd name="connsiteX39" fmla="*/ 213552 w 254617"/>
                  <a:gd name="connsiteY39" fmla="*/ 108017 h 151427"/>
                  <a:gd name="connsiteX40" fmla="*/ 217386 w 254617"/>
                  <a:gd name="connsiteY40" fmla="*/ 106740 h 151427"/>
                  <a:gd name="connsiteX41" fmla="*/ 251891 w 254617"/>
                  <a:gd name="connsiteY41" fmla="*/ 81204 h 151427"/>
                  <a:gd name="connsiteX42" fmla="*/ 254447 w 254617"/>
                  <a:gd name="connsiteY42" fmla="*/ 76097 h 151427"/>
                  <a:gd name="connsiteX43" fmla="*/ 252530 w 254617"/>
                  <a:gd name="connsiteY43" fmla="*/ 70351 h 151427"/>
                  <a:gd name="connsiteX44" fmla="*/ 153486 w 254617"/>
                  <a:gd name="connsiteY44" fmla="*/ 12895 h 151427"/>
                  <a:gd name="connsiteX45" fmla="*/ 164349 w 254617"/>
                  <a:gd name="connsiteY45" fmla="*/ 23748 h 151427"/>
                  <a:gd name="connsiteX46" fmla="*/ 153486 w 254617"/>
                  <a:gd name="connsiteY46" fmla="*/ 34601 h 151427"/>
                  <a:gd name="connsiteX47" fmla="*/ 142624 w 254617"/>
                  <a:gd name="connsiteY47" fmla="*/ 23748 h 151427"/>
                  <a:gd name="connsiteX48" fmla="*/ 153486 w 254617"/>
                  <a:gd name="connsiteY48" fmla="*/ 12895 h 151427"/>
                  <a:gd name="connsiteX49" fmla="*/ 153486 w 254617"/>
                  <a:gd name="connsiteY49" fmla="*/ 12895 h 151427"/>
                  <a:gd name="connsiteX50" fmla="*/ 151569 w 254617"/>
                  <a:gd name="connsiteY50" fmla="*/ 116316 h 151427"/>
                  <a:gd name="connsiteX51" fmla="*/ 173295 w 254617"/>
                  <a:gd name="connsiteY51" fmla="*/ 116316 h 151427"/>
                  <a:gd name="connsiteX52" fmla="*/ 173295 w 254617"/>
                  <a:gd name="connsiteY52" fmla="*/ 138022 h 151427"/>
                  <a:gd name="connsiteX53" fmla="*/ 151569 w 254617"/>
                  <a:gd name="connsiteY53" fmla="*/ 138022 h 151427"/>
                  <a:gd name="connsiteX54" fmla="*/ 151569 w 254617"/>
                  <a:gd name="connsiteY54" fmla="*/ 116316 h 151427"/>
                  <a:gd name="connsiteX55" fmla="*/ 24410 w 254617"/>
                  <a:gd name="connsiteY55" fmla="*/ 86311 h 151427"/>
                  <a:gd name="connsiteX56" fmla="*/ 13547 w 254617"/>
                  <a:gd name="connsiteY56" fmla="*/ 75458 h 151427"/>
                  <a:gd name="connsiteX57" fmla="*/ 24410 w 254617"/>
                  <a:gd name="connsiteY57" fmla="*/ 64606 h 151427"/>
                  <a:gd name="connsiteX58" fmla="*/ 35272 w 254617"/>
                  <a:gd name="connsiteY58" fmla="*/ 75458 h 151427"/>
                  <a:gd name="connsiteX59" fmla="*/ 35272 w 254617"/>
                  <a:gd name="connsiteY59" fmla="*/ 75458 h 151427"/>
                  <a:gd name="connsiteX60" fmla="*/ 24410 w 254617"/>
                  <a:gd name="connsiteY60" fmla="*/ 86311 h 151427"/>
                  <a:gd name="connsiteX61" fmla="*/ 24410 w 254617"/>
                  <a:gd name="connsiteY61" fmla="*/ 86311 h 151427"/>
                  <a:gd name="connsiteX62" fmla="*/ 24410 w 254617"/>
                  <a:gd name="connsiteY62" fmla="*/ 86311 h 151427"/>
                  <a:gd name="connsiteX63" fmla="*/ 220581 w 254617"/>
                  <a:gd name="connsiteY63" fmla="*/ 88226 h 151427"/>
                  <a:gd name="connsiteX64" fmla="*/ 220581 w 254617"/>
                  <a:gd name="connsiteY64" fmla="*/ 62052 h 151427"/>
                  <a:gd name="connsiteX65" fmla="*/ 237834 w 254617"/>
                  <a:gd name="connsiteY65" fmla="*/ 74820 h 151427"/>
                  <a:gd name="connsiteX66" fmla="*/ 220581 w 254617"/>
                  <a:gd name="connsiteY66" fmla="*/ 88226 h 151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54617" h="151427">
                    <a:moveTo>
                      <a:pt x="252530" y="70351"/>
                    </a:moveTo>
                    <a:lnTo>
                      <a:pt x="218025" y="44815"/>
                    </a:lnTo>
                    <a:cubicBezTo>
                      <a:pt x="215469" y="42900"/>
                      <a:pt x="210996" y="43538"/>
                      <a:pt x="209079" y="46092"/>
                    </a:cubicBezTo>
                    <a:cubicBezTo>
                      <a:pt x="208440" y="47369"/>
                      <a:pt x="207801" y="48646"/>
                      <a:pt x="207801" y="49922"/>
                    </a:cubicBezTo>
                    <a:lnTo>
                      <a:pt x="207801" y="69074"/>
                    </a:lnTo>
                    <a:lnTo>
                      <a:pt x="74251" y="69074"/>
                    </a:lnTo>
                    <a:lnTo>
                      <a:pt x="106201" y="37155"/>
                    </a:lnTo>
                    <a:cubicBezTo>
                      <a:pt x="112591" y="32686"/>
                      <a:pt x="119620" y="30132"/>
                      <a:pt x="127288" y="30132"/>
                    </a:cubicBezTo>
                    <a:lnTo>
                      <a:pt x="130482" y="30132"/>
                    </a:lnTo>
                    <a:cubicBezTo>
                      <a:pt x="134316" y="42900"/>
                      <a:pt x="147096" y="49922"/>
                      <a:pt x="159876" y="46730"/>
                    </a:cubicBezTo>
                    <a:cubicBezTo>
                      <a:pt x="172656" y="42900"/>
                      <a:pt x="179685" y="30132"/>
                      <a:pt x="176490" y="17364"/>
                    </a:cubicBezTo>
                    <a:cubicBezTo>
                      <a:pt x="173295" y="4596"/>
                      <a:pt x="159876" y="-2426"/>
                      <a:pt x="147096" y="766"/>
                    </a:cubicBezTo>
                    <a:cubicBezTo>
                      <a:pt x="139429" y="2681"/>
                      <a:pt x="133039" y="9065"/>
                      <a:pt x="130482" y="17364"/>
                    </a:cubicBezTo>
                    <a:lnTo>
                      <a:pt x="127288" y="17364"/>
                    </a:lnTo>
                    <a:cubicBezTo>
                      <a:pt x="126649" y="17364"/>
                      <a:pt x="107479" y="16726"/>
                      <a:pt x="96616" y="27579"/>
                    </a:cubicBezTo>
                    <a:lnTo>
                      <a:pt x="55720" y="69074"/>
                    </a:lnTo>
                    <a:lnTo>
                      <a:pt x="46774" y="69074"/>
                    </a:lnTo>
                    <a:cubicBezTo>
                      <a:pt x="42940" y="56306"/>
                      <a:pt x="30161" y="49284"/>
                      <a:pt x="17381" y="52476"/>
                    </a:cubicBezTo>
                    <a:cubicBezTo>
                      <a:pt x="4601" y="56306"/>
                      <a:pt x="-2428" y="69074"/>
                      <a:pt x="767" y="81842"/>
                    </a:cubicBezTo>
                    <a:cubicBezTo>
                      <a:pt x="4601" y="94610"/>
                      <a:pt x="17381" y="101633"/>
                      <a:pt x="30161" y="98441"/>
                    </a:cubicBezTo>
                    <a:cubicBezTo>
                      <a:pt x="37828" y="96526"/>
                      <a:pt x="44218" y="90142"/>
                      <a:pt x="46774" y="81842"/>
                    </a:cubicBezTo>
                    <a:lnTo>
                      <a:pt x="64666" y="81842"/>
                    </a:lnTo>
                    <a:lnTo>
                      <a:pt x="106201" y="123338"/>
                    </a:lnTo>
                    <a:cubicBezTo>
                      <a:pt x="114508" y="130361"/>
                      <a:pt x="125371" y="134191"/>
                      <a:pt x="136234" y="134191"/>
                    </a:cubicBezTo>
                    <a:lnTo>
                      <a:pt x="138790" y="134191"/>
                    </a:lnTo>
                    <a:lnTo>
                      <a:pt x="138790" y="145044"/>
                    </a:lnTo>
                    <a:cubicBezTo>
                      <a:pt x="138790" y="148874"/>
                      <a:pt x="141345" y="151428"/>
                      <a:pt x="145179" y="151428"/>
                    </a:cubicBezTo>
                    <a:lnTo>
                      <a:pt x="179685" y="151428"/>
                    </a:lnTo>
                    <a:cubicBezTo>
                      <a:pt x="183519" y="151428"/>
                      <a:pt x="186075" y="148874"/>
                      <a:pt x="186075" y="145044"/>
                    </a:cubicBezTo>
                    <a:lnTo>
                      <a:pt x="186075" y="109932"/>
                    </a:lnTo>
                    <a:cubicBezTo>
                      <a:pt x="186075" y="106102"/>
                      <a:pt x="183519" y="103548"/>
                      <a:pt x="179685" y="103548"/>
                    </a:cubicBezTo>
                    <a:lnTo>
                      <a:pt x="144540" y="103548"/>
                    </a:lnTo>
                    <a:cubicBezTo>
                      <a:pt x="140706" y="103548"/>
                      <a:pt x="138150" y="106102"/>
                      <a:pt x="138150" y="109932"/>
                    </a:cubicBezTo>
                    <a:lnTo>
                      <a:pt x="138150" y="120785"/>
                    </a:lnTo>
                    <a:lnTo>
                      <a:pt x="135595" y="120785"/>
                    </a:lnTo>
                    <a:cubicBezTo>
                      <a:pt x="127927" y="121423"/>
                      <a:pt x="120259" y="118870"/>
                      <a:pt x="114508" y="114401"/>
                    </a:cubicBezTo>
                    <a:lnTo>
                      <a:pt x="82558" y="82481"/>
                    </a:lnTo>
                    <a:lnTo>
                      <a:pt x="207162" y="82481"/>
                    </a:lnTo>
                    <a:lnTo>
                      <a:pt x="207162" y="101633"/>
                    </a:lnTo>
                    <a:cubicBezTo>
                      <a:pt x="207162" y="105463"/>
                      <a:pt x="209718" y="108017"/>
                      <a:pt x="213552" y="108017"/>
                    </a:cubicBezTo>
                    <a:cubicBezTo>
                      <a:pt x="214830" y="108017"/>
                      <a:pt x="216108" y="107378"/>
                      <a:pt x="217386" y="106740"/>
                    </a:cubicBezTo>
                    <a:lnTo>
                      <a:pt x="251891" y="81204"/>
                    </a:lnTo>
                    <a:cubicBezTo>
                      <a:pt x="253808" y="79927"/>
                      <a:pt x="254447" y="78012"/>
                      <a:pt x="254447" y="76097"/>
                    </a:cubicBezTo>
                    <a:cubicBezTo>
                      <a:pt x="255086" y="73543"/>
                      <a:pt x="253808" y="71628"/>
                      <a:pt x="252530" y="70351"/>
                    </a:cubicBezTo>
                    <a:close/>
                    <a:moveTo>
                      <a:pt x="153486" y="12895"/>
                    </a:moveTo>
                    <a:cubicBezTo>
                      <a:pt x="159237" y="12895"/>
                      <a:pt x="164349" y="18003"/>
                      <a:pt x="164349" y="23748"/>
                    </a:cubicBezTo>
                    <a:cubicBezTo>
                      <a:pt x="164349" y="29494"/>
                      <a:pt x="159237" y="34601"/>
                      <a:pt x="153486" y="34601"/>
                    </a:cubicBezTo>
                    <a:cubicBezTo>
                      <a:pt x="147735" y="34601"/>
                      <a:pt x="142624" y="29494"/>
                      <a:pt x="142624" y="23748"/>
                    </a:cubicBezTo>
                    <a:cubicBezTo>
                      <a:pt x="142624" y="18003"/>
                      <a:pt x="147735" y="12895"/>
                      <a:pt x="153486" y="12895"/>
                    </a:cubicBezTo>
                    <a:lnTo>
                      <a:pt x="153486" y="12895"/>
                    </a:lnTo>
                    <a:close/>
                    <a:moveTo>
                      <a:pt x="151569" y="116316"/>
                    </a:moveTo>
                    <a:lnTo>
                      <a:pt x="173295" y="116316"/>
                    </a:lnTo>
                    <a:lnTo>
                      <a:pt x="173295" y="138022"/>
                    </a:lnTo>
                    <a:lnTo>
                      <a:pt x="151569" y="138022"/>
                    </a:lnTo>
                    <a:lnTo>
                      <a:pt x="151569" y="116316"/>
                    </a:lnTo>
                    <a:close/>
                    <a:moveTo>
                      <a:pt x="24410" y="86311"/>
                    </a:moveTo>
                    <a:cubicBezTo>
                      <a:pt x="18659" y="86311"/>
                      <a:pt x="13547" y="81204"/>
                      <a:pt x="13547" y="75458"/>
                    </a:cubicBezTo>
                    <a:cubicBezTo>
                      <a:pt x="13547" y="69713"/>
                      <a:pt x="18659" y="64606"/>
                      <a:pt x="24410" y="64606"/>
                    </a:cubicBezTo>
                    <a:cubicBezTo>
                      <a:pt x="30161" y="64606"/>
                      <a:pt x="35272" y="69713"/>
                      <a:pt x="35272" y="75458"/>
                    </a:cubicBezTo>
                    <a:cubicBezTo>
                      <a:pt x="35272" y="75458"/>
                      <a:pt x="35272" y="75458"/>
                      <a:pt x="35272" y="75458"/>
                    </a:cubicBezTo>
                    <a:cubicBezTo>
                      <a:pt x="35272" y="81204"/>
                      <a:pt x="30800" y="86311"/>
                      <a:pt x="24410" y="86311"/>
                    </a:cubicBezTo>
                    <a:cubicBezTo>
                      <a:pt x="24410" y="86311"/>
                      <a:pt x="24410" y="86311"/>
                      <a:pt x="24410" y="86311"/>
                    </a:cubicBezTo>
                    <a:lnTo>
                      <a:pt x="24410" y="86311"/>
                    </a:lnTo>
                    <a:close/>
                    <a:moveTo>
                      <a:pt x="220581" y="88226"/>
                    </a:moveTo>
                    <a:lnTo>
                      <a:pt x="220581" y="62052"/>
                    </a:lnTo>
                    <a:lnTo>
                      <a:pt x="237834" y="74820"/>
                    </a:lnTo>
                    <a:lnTo>
                      <a:pt x="220581" y="88226"/>
                    </a:lnTo>
                    <a:close/>
                  </a:path>
                </a:pathLst>
              </a:custGeom>
              <a:grpFill/>
              <a:ln w="6390" cap="flat">
                <a:noFill/>
                <a:prstDash val="solid"/>
                <a:miter/>
              </a:ln>
            </p:spPr>
            <p:txBody>
              <a:bodyPr rtlCol="0" anchor="ctr"/>
              <a:lstStyle/>
              <a:p>
                <a:endParaRPr lang="en-US"/>
              </a:p>
            </p:txBody>
          </p:sp>
        </p:grpSp>
      </p:grpSp>
      <p:sp>
        <p:nvSpPr>
          <p:cNvPr id="10" name="Oval 9">
            <a:extLst>
              <a:ext uri="{FF2B5EF4-FFF2-40B4-BE49-F238E27FC236}">
                <a16:creationId xmlns:a16="http://schemas.microsoft.com/office/drawing/2014/main" id="{220C096F-6556-084F-0F5A-389377064823}"/>
              </a:ext>
            </a:extLst>
          </p:cNvPr>
          <p:cNvSpPr/>
          <p:nvPr/>
        </p:nvSpPr>
        <p:spPr>
          <a:xfrm>
            <a:off x="1231970" y="5132232"/>
            <a:ext cx="67751" cy="67751"/>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52405731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9E4D5D7-C4AB-B03D-D357-5EE17DB97198}"/>
              </a:ext>
            </a:extLst>
          </p:cNvPr>
          <p:cNvSpPr txBox="1">
            <a:spLocks/>
          </p:cNvSpPr>
          <p:nvPr/>
        </p:nvSpPr>
        <p:spPr>
          <a:xfrm>
            <a:off x="501649" y="717702"/>
            <a:ext cx="10309006" cy="71998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82880" indent="-18288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65760" indent="-18288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3pPr>
            <a:lvl4pPr marL="548640" indent="-182880" algn="l" defTabSz="914400" rtl="0" eaLnBrk="1" latinLnBrk="0" hangingPunct="1">
              <a:spcBef>
                <a:spcPts val="0"/>
              </a:spcBef>
              <a:spcAft>
                <a:spcPts val="1000"/>
              </a:spcAft>
              <a:buClrTx/>
              <a:buSzPct val="100000"/>
              <a:buFont typeface="Arial" panose="020B0604020202020204" pitchFamily="34" charset="0"/>
              <a:buChar char="◦"/>
              <a:defRPr lang="en-US" sz="1300" b="0" kern="1200" baseline="0" dirty="0" smtClean="0">
                <a:solidFill>
                  <a:schemeClr val="tx1"/>
                </a:solidFill>
                <a:latin typeface="+mn-lt"/>
                <a:ea typeface="+mn-ea"/>
                <a:cs typeface="Calibri Light" panose="020F0302020204030204" pitchFamily="34" charset="0"/>
              </a:defRPr>
            </a:lvl4pPr>
            <a:lvl5pPr marL="731520" indent="-182880" algn="l" defTabSz="798513" rtl="0" eaLnBrk="1" latinLnBrk="0" hangingPunct="1">
              <a:spcBef>
                <a:spcPts val="0"/>
              </a:spcBef>
              <a:spcAft>
                <a:spcPts val="1000"/>
              </a:spcAft>
              <a:buClrTx/>
              <a:buSzPct val="100000"/>
              <a:buFont typeface="Arial" panose="020B0604020202020204" pitchFamily="34" charset="0"/>
              <a:buChar char="−"/>
              <a:tabLst/>
              <a:defRPr lang="en-US" sz="1300" b="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Unique mix of technology and sectoral expertise distinguishes us vis a vis a pure technology player</a:t>
            </a:r>
          </a:p>
        </p:txBody>
      </p:sp>
      <p:sp>
        <p:nvSpPr>
          <p:cNvPr id="5" name="Title 2">
            <a:extLst>
              <a:ext uri="{FF2B5EF4-FFF2-40B4-BE49-F238E27FC236}">
                <a16:creationId xmlns:a16="http://schemas.microsoft.com/office/drawing/2014/main" id="{0CE65A49-3974-671A-2966-AC9A34E83586}"/>
              </a:ext>
            </a:extLst>
          </p:cNvPr>
          <p:cNvSpPr txBox="1">
            <a:spLocks/>
          </p:cNvSpPr>
          <p:nvPr/>
        </p:nvSpPr>
        <p:spPr bwMode="gray">
          <a:xfrm>
            <a:off x="501649" y="317500"/>
            <a:ext cx="8728977" cy="334099"/>
          </a:xfrm>
          <a:prstGeom prst="rect">
            <a:avLst/>
          </a:prstGeom>
        </p:spPr>
        <p:txBody>
          <a:bodyPr vert="horz" lIns="0" tIns="0" rIns="0" bIns="0" rtlCol="0" anchor="t" anchorCtr="0">
            <a:noAutofit/>
          </a:bodyPr>
          <a:lstStyle>
            <a:lvl1pPr defTabSz="685800">
              <a:spcBef>
                <a:spcPct val="0"/>
              </a:spcBef>
              <a:buNone/>
              <a:defRPr sz="2400" b="1">
                <a:solidFill>
                  <a:schemeClr val="accent2"/>
                </a:solidFill>
                <a:latin typeface="+mj-lt"/>
                <a:ea typeface="+mj-ea"/>
                <a:cs typeface="Calibri Light" panose="020F0302020204030204" pitchFamily="34" charset="0"/>
              </a:defRPr>
            </a:lvl1pPr>
          </a:lstStyle>
          <a:p>
            <a:r>
              <a:rPr lang="en-US"/>
              <a:t>Domain knowledge in Power Utilities</a:t>
            </a:r>
            <a:endParaRPr lang="en-IN"/>
          </a:p>
        </p:txBody>
      </p:sp>
      <p:sp>
        <p:nvSpPr>
          <p:cNvPr id="6" name="Rectangle: Rounded Corners 92">
            <a:extLst>
              <a:ext uri="{FF2B5EF4-FFF2-40B4-BE49-F238E27FC236}">
                <a16:creationId xmlns:a16="http://schemas.microsoft.com/office/drawing/2014/main" id="{15C8DFCC-D7D4-1ED7-7005-DB7DB854E8A3}"/>
              </a:ext>
            </a:extLst>
          </p:cNvPr>
          <p:cNvSpPr/>
          <p:nvPr/>
        </p:nvSpPr>
        <p:spPr bwMode="gray">
          <a:xfrm>
            <a:off x="501645" y="1554164"/>
            <a:ext cx="4034156" cy="373331"/>
          </a:xfrm>
          <a:prstGeom prst="roundRect">
            <a:avLst/>
          </a:prstGeom>
          <a:solidFill>
            <a:srgbClr val="00ABAB"/>
          </a:solidFill>
          <a:ln w="6350" algn="ctr">
            <a:solidFill>
              <a:srgbClr val="00A3E0"/>
            </a:solidFill>
            <a:miter lim="800000"/>
            <a:headEnd/>
            <a:tailEnd/>
          </a:ln>
        </p:spPr>
        <p:txBody>
          <a:bodyPr wrap="square" lIns="88900" tIns="88900" rIns="88900" bIns="88900" rtlCol="0" anchor="ctr"/>
          <a:lstStyle/>
          <a:p>
            <a:pPr algn="ctr">
              <a:lnSpc>
                <a:spcPct val="106000"/>
              </a:lnSpc>
            </a:pPr>
            <a:r>
              <a:rPr lang="en-GB" altLang="zh-CN" sz="1400" b="1">
                <a:solidFill>
                  <a:schemeClr val="bg1"/>
                </a:solidFill>
              </a:rPr>
              <a:t>Policy formulation</a:t>
            </a:r>
          </a:p>
        </p:txBody>
      </p:sp>
      <p:sp>
        <p:nvSpPr>
          <p:cNvPr id="7" name="Rectangle: Rounded Corners 92">
            <a:extLst>
              <a:ext uri="{FF2B5EF4-FFF2-40B4-BE49-F238E27FC236}">
                <a16:creationId xmlns:a16="http://schemas.microsoft.com/office/drawing/2014/main" id="{E23CD6CB-3D8A-B8B1-8713-E4A98CF0D190}"/>
              </a:ext>
            </a:extLst>
          </p:cNvPr>
          <p:cNvSpPr/>
          <p:nvPr/>
        </p:nvSpPr>
        <p:spPr bwMode="gray">
          <a:xfrm>
            <a:off x="4971413" y="1554164"/>
            <a:ext cx="6718941" cy="373331"/>
          </a:xfrm>
          <a:prstGeom prst="roundRect">
            <a:avLst/>
          </a:prstGeom>
          <a:solidFill>
            <a:srgbClr val="26890D"/>
          </a:solidFill>
          <a:ln w="6350" algn="ctr">
            <a:solidFill>
              <a:srgbClr val="00A3E0"/>
            </a:solidFill>
            <a:miter lim="800000"/>
            <a:headEnd/>
            <a:tailEnd/>
          </a:ln>
        </p:spPr>
        <p:txBody>
          <a:bodyPr wrap="square" lIns="88900" tIns="88900" rIns="88900" bIns="88900" rtlCol="0" anchor="ctr"/>
          <a:lstStyle/>
          <a:p>
            <a:pPr algn="ctr">
              <a:lnSpc>
                <a:spcPct val="106000"/>
              </a:lnSpc>
            </a:pPr>
            <a:r>
              <a:rPr lang="en-GB" altLang="zh-CN" sz="1400" b="1">
                <a:solidFill>
                  <a:schemeClr val="bg1"/>
                </a:solidFill>
              </a:rPr>
              <a:t>Implement, Advise and Operate</a:t>
            </a:r>
          </a:p>
        </p:txBody>
      </p:sp>
      <p:cxnSp>
        <p:nvCxnSpPr>
          <p:cNvPr id="8" name="Straight Connector 7">
            <a:extLst>
              <a:ext uri="{FF2B5EF4-FFF2-40B4-BE49-F238E27FC236}">
                <a16:creationId xmlns:a16="http://schemas.microsoft.com/office/drawing/2014/main" id="{3C765AA0-4980-0344-3557-12B8515C7ECB}"/>
              </a:ext>
            </a:extLst>
          </p:cNvPr>
          <p:cNvCxnSpPr>
            <a:cxnSpLocks/>
          </p:cNvCxnSpPr>
          <p:nvPr/>
        </p:nvCxnSpPr>
        <p:spPr>
          <a:xfrm>
            <a:off x="4971413" y="3394428"/>
            <a:ext cx="6718941" cy="0"/>
          </a:xfrm>
          <a:prstGeom prst="line">
            <a:avLst/>
          </a:prstGeom>
          <a:ln w="6350">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F81B550-94CE-70CE-0E44-39C44549B96F}"/>
              </a:ext>
            </a:extLst>
          </p:cNvPr>
          <p:cNvCxnSpPr>
            <a:cxnSpLocks/>
          </p:cNvCxnSpPr>
          <p:nvPr/>
        </p:nvCxnSpPr>
        <p:spPr>
          <a:xfrm>
            <a:off x="4971413" y="4608365"/>
            <a:ext cx="6718941" cy="0"/>
          </a:xfrm>
          <a:prstGeom prst="line">
            <a:avLst/>
          </a:prstGeom>
          <a:ln w="6350">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158E086-6799-1298-87B7-9E0A87766E65}"/>
              </a:ext>
            </a:extLst>
          </p:cNvPr>
          <p:cNvCxnSpPr>
            <a:cxnSpLocks/>
          </p:cNvCxnSpPr>
          <p:nvPr/>
        </p:nvCxnSpPr>
        <p:spPr>
          <a:xfrm>
            <a:off x="4971413" y="5866370"/>
            <a:ext cx="6718941" cy="0"/>
          </a:xfrm>
          <a:prstGeom prst="line">
            <a:avLst/>
          </a:prstGeom>
          <a:ln w="6350">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866454D2-48C9-6C4A-D9B7-402DB124BD85}"/>
              </a:ext>
            </a:extLst>
          </p:cNvPr>
          <p:cNvSpPr/>
          <p:nvPr/>
        </p:nvSpPr>
        <p:spPr>
          <a:xfrm>
            <a:off x="4971413" y="2009826"/>
            <a:ext cx="2111526" cy="264326"/>
          </a:xfrm>
          <a:prstGeom prst="rect">
            <a:avLst/>
          </a:prstGeom>
        </p:spPr>
        <p:txBody>
          <a:bodyPr wrap="square" lIns="0" tIns="0" rIns="0" bIns="0">
            <a:noAutofit/>
          </a:bodyPr>
          <a:lstStyle/>
          <a:p>
            <a:pPr marL="0" marR="0">
              <a:spcBef>
                <a:spcPts val="0"/>
              </a:spcBef>
              <a:spcAft>
                <a:spcPts val="0"/>
              </a:spcAft>
            </a:pPr>
            <a:r>
              <a:rPr lang="en-US" sz="1400" b="1" kern="1200">
                <a:solidFill>
                  <a:srgbClr val="00ABAB"/>
                </a:solidFill>
                <a:effectLst/>
                <a:latin typeface="+mj-lt"/>
                <a:ea typeface="Verdana" panose="020B0604030504040204" pitchFamily="34" charset="0"/>
                <a:cs typeface="Mangal" panose="02040503050203030202" pitchFamily="18" charset="0"/>
              </a:rPr>
              <a:t>Implement</a:t>
            </a:r>
          </a:p>
        </p:txBody>
      </p:sp>
      <p:sp>
        <p:nvSpPr>
          <p:cNvPr id="12" name="Rectangle 11">
            <a:extLst>
              <a:ext uri="{FF2B5EF4-FFF2-40B4-BE49-F238E27FC236}">
                <a16:creationId xmlns:a16="http://schemas.microsoft.com/office/drawing/2014/main" id="{B47FFE4F-C661-2891-1490-90D3DB50FF23}"/>
              </a:ext>
            </a:extLst>
          </p:cNvPr>
          <p:cNvSpPr/>
          <p:nvPr/>
        </p:nvSpPr>
        <p:spPr>
          <a:xfrm>
            <a:off x="4971413" y="3477112"/>
            <a:ext cx="2111526" cy="264326"/>
          </a:xfrm>
          <a:prstGeom prst="rect">
            <a:avLst/>
          </a:prstGeom>
        </p:spPr>
        <p:txBody>
          <a:bodyPr wrap="square" lIns="0" tIns="0" rIns="0" bIns="0">
            <a:noAutofit/>
          </a:bodyPr>
          <a:lstStyle/>
          <a:p>
            <a:pPr marL="0" marR="0">
              <a:spcBef>
                <a:spcPts val="0"/>
              </a:spcBef>
              <a:spcAft>
                <a:spcPts val="0"/>
              </a:spcAft>
            </a:pPr>
            <a:r>
              <a:rPr lang="en-US" sz="1400" b="1" kern="1200">
                <a:solidFill>
                  <a:srgbClr val="26890D"/>
                </a:solidFill>
                <a:effectLst/>
                <a:latin typeface="+mj-lt"/>
                <a:ea typeface="Verdana" panose="020B0604030504040204" pitchFamily="34" charset="0"/>
                <a:cs typeface="Mangal" panose="02040503050203030202" pitchFamily="18" charset="0"/>
              </a:rPr>
              <a:t>Advise</a:t>
            </a:r>
          </a:p>
        </p:txBody>
      </p:sp>
      <p:sp>
        <p:nvSpPr>
          <p:cNvPr id="13" name="Rectangle 12">
            <a:extLst>
              <a:ext uri="{FF2B5EF4-FFF2-40B4-BE49-F238E27FC236}">
                <a16:creationId xmlns:a16="http://schemas.microsoft.com/office/drawing/2014/main" id="{34D40F13-CE22-EFA3-31E6-0B77E666EB41}"/>
              </a:ext>
            </a:extLst>
          </p:cNvPr>
          <p:cNvSpPr/>
          <p:nvPr/>
        </p:nvSpPr>
        <p:spPr>
          <a:xfrm>
            <a:off x="4971413" y="4808011"/>
            <a:ext cx="2111526" cy="264326"/>
          </a:xfrm>
          <a:prstGeom prst="rect">
            <a:avLst/>
          </a:prstGeom>
        </p:spPr>
        <p:txBody>
          <a:bodyPr wrap="square" lIns="0" tIns="0" rIns="0" bIns="0">
            <a:noAutofit/>
          </a:bodyPr>
          <a:lstStyle/>
          <a:p>
            <a:pPr marL="0" marR="0">
              <a:spcBef>
                <a:spcPts val="0"/>
              </a:spcBef>
              <a:spcAft>
                <a:spcPts val="0"/>
              </a:spcAft>
            </a:pPr>
            <a:r>
              <a:rPr lang="en-US" sz="1400" b="1" kern="1200">
                <a:solidFill>
                  <a:srgbClr val="007CB0"/>
                </a:solidFill>
                <a:effectLst/>
                <a:latin typeface="+mj-lt"/>
                <a:ea typeface="Verdana" panose="020B0604030504040204" pitchFamily="34" charset="0"/>
                <a:cs typeface="Mangal" panose="02040503050203030202" pitchFamily="18" charset="0"/>
              </a:rPr>
              <a:t>Operate</a:t>
            </a:r>
          </a:p>
        </p:txBody>
      </p:sp>
      <p:pic>
        <p:nvPicPr>
          <p:cNvPr id="15" name="Picture 14" descr="Logo&#10;&#10;Description automatically generated">
            <a:extLst>
              <a:ext uri="{FF2B5EF4-FFF2-40B4-BE49-F238E27FC236}">
                <a16:creationId xmlns:a16="http://schemas.microsoft.com/office/drawing/2014/main" id="{C172C16C-CAEF-E8CE-B758-FBEDE8AF1C0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71412" y="2465475"/>
            <a:ext cx="882823" cy="469053"/>
          </a:xfrm>
          <a:prstGeom prst="rect">
            <a:avLst/>
          </a:prstGeom>
        </p:spPr>
      </p:pic>
      <p:pic>
        <p:nvPicPr>
          <p:cNvPr id="16" name="Picture 15">
            <a:extLst>
              <a:ext uri="{FF2B5EF4-FFF2-40B4-BE49-F238E27FC236}">
                <a16:creationId xmlns:a16="http://schemas.microsoft.com/office/drawing/2014/main" id="{EBC00DC9-6015-0A61-133E-1EBD48C49E2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76639" y="2465475"/>
            <a:ext cx="1080618" cy="469053"/>
          </a:xfrm>
          <a:prstGeom prst="rect">
            <a:avLst/>
          </a:prstGeom>
        </p:spPr>
      </p:pic>
      <p:pic>
        <p:nvPicPr>
          <p:cNvPr id="17" name="Picture 16">
            <a:extLst>
              <a:ext uri="{FF2B5EF4-FFF2-40B4-BE49-F238E27FC236}">
                <a16:creationId xmlns:a16="http://schemas.microsoft.com/office/drawing/2014/main" id="{4114026B-25BF-9A23-6C33-82E4DBCF117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180877" y="2480380"/>
            <a:ext cx="869120" cy="439242"/>
          </a:xfrm>
          <a:prstGeom prst="rect">
            <a:avLst/>
          </a:prstGeom>
        </p:spPr>
      </p:pic>
      <p:pic>
        <p:nvPicPr>
          <p:cNvPr id="18" name="Picture 17">
            <a:extLst>
              <a:ext uri="{FF2B5EF4-FFF2-40B4-BE49-F238E27FC236}">
                <a16:creationId xmlns:a16="http://schemas.microsoft.com/office/drawing/2014/main" id="{01FCF2F4-1AA8-93D3-8EF7-D152E690638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783899" y="2382269"/>
            <a:ext cx="622226" cy="635465"/>
          </a:xfrm>
          <a:prstGeom prst="rect">
            <a:avLst/>
          </a:prstGeom>
        </p:spPr>
      </p:pic>
      <p:pic>
        <p:nvPicPr>
          <p:cNvPr id="19" name="Picture 18">
            <a:extLst>
              <a:ext uri="{FF2B5EF4-FFF2-40B4-BE49-F238E27FC236}">
                <a16:creationId xmlns:a16="http://schemas.microsoft.com/office/drawing/2014/main" id="{FF6F5ABE-FFA6-2350-4C85-165A7B427B4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732767" y="2394647"/>
            <a:ext cx="743472" cy="610709"/>
          </a:xfrm>
          <a:prstGeom prst="rect">
            <a:avLst/>
          </a:prstGeom>
        </p:spPr>
      </p:pic>
      <p:pic>
        <p:nvPicPr>
          <p:cNvPr id="20" name="Picture 19">
            <a:extLst>
              <a:ext uri="{FF2B5EF4-FFF2-40B4-BE49-F238E27FC236}">
                <a16:creationId xmlns:a16="http://schemas.microsoft.com/office/drawing/2014/main" id="{370EABCB-1EBB-67D4-FE74-39A7F345493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802883" y="2392036"/>
            <a:ext cx="887468" cy="615930"/>
          </a:xfrm>
          <a:prstGeom prst="rect">
            <a:avLst/>
          </a:prstGeom>
        </p:spPr>
      </p:pic>
      <p:pic>
        <p:nvPicPr>
          <p:cNvPr id="21" name="Picture 20" descr="Logo, company name&#10;&#10;Description automatically generated">
            <a:extLst>
              <a:ext uri="{FF2B5EF4-FFF2-40B4-BE49-F238E27FC236}">
                <a16:creationId xmlns:a16="http://schemas.microsoft.com/office/drawing/2014/main" id="{0E34F4F1-9804-CAF7-B849-B0057C96475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810655" y="3800889"/>
            <a:ext cx="983198" cy="542424"/>
          </a:xfrm>
          <a:prstGeom prst="rect">
            <a:avLst/>
          </a:prstGeom>
        </p:spPr>
      </p:pic>
      <p:pic>
        <p:nvPicPr>
          <p:cNvPr id="22" name="Picture 21">
            <a:extLst>
              <a:ext uri="{FF2B5EF4-FFF2-40B4-BE49-F238E27FC236}">
                <a16:creationId xmlns:a16="http://schemas.microsoft.com/office/drawing/2014/main" id="{0614DA1B-07C7-036E-2365-C322AA08A12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971413" y="3745937"/>
            <a:ext cx="1048387" cy="652329"/>
          </a:xfrm>
          <a:prstGeom prst="rect">
            <a:avLst/>
          </a:prstGeom>
        </p:spPr>
      </p:pic>
      <p:pic>
        <p:nvPicPr>
          <p:cNvPr id="23" name="Picture 22" descr="Logo, company name&#10;&#10;Description automatically generated">
            <a:extLst>
              <a:ext uri="{FF2B5EF4-FFF2-40B4-BE49-F238E27FC236}">
                <a16:creationId xmlns:a16="http://schemas.microsoft.com/office/drawing/2014/main" id="{7B8C7E93-4391-3EE7-03BD-01305B73561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390283" y="3749013"/>
            <a:ext cx="1200912" cy="646176"/>
          </a:xfrm>
          <a:prstGeom prst="rect">
            <a:avLst/>
          </a:prstGeom>
        </p:spPr>
      </p:pic>
      <p:pic>
        <p:nvPicPr>
          <p:cNvPr id="24" name="Picture 23" descr="A picture containing text, clipart&#10;&#10;Description automatically generated">
            <a:extLst>
              <a:ext uri="{FF2B5EF4-FFF2-40B4-BE49-F238E27FC236}">
                <a16:creationId xmlns:a16="http://schemas.microsoft.com/office/drawing/2014/main" id="{91616D23-BA5E-00D1-8FBA-568A06294E9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849944" y="3749013"/>
            <a:ext cx="1320879" cy="646176"/>
          </a:xfrm>
          <a:prstGeom prst="rect">
            <a:avLst/>
          </a:prstGeom>
        </p:spPr>
      </p:pic>
      <p:pic>
        <p:nvPicPr>
          <p:cNvPr id="25" name="Picture 24" descr="Logo&#10;&#10;Description automatically generated">
            <a:extLst>
              <a:ext uri="{FF2B5EF4-FFF2-40B4-BE49-F238E27FC236}">
                <a16:creationId xmlns:a16="http://schemas.microsoft.com/office/drawing/2014/main" id="{38008234-A6C2-F239-AF81-9C40F1B9BC3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239260" y="3767301"/>
            <a:ext cx="1391224" cy="609600"/>
          </a:xfrm>
          <a:prstGeom prst="rect">
            <a:avLst/>
          </a:prstGeom>
        </p:spPr>
      </p:pic>
      <p:pic>
        <p:nvPicPr>
          <p:cNvPr id="26" name="Picture 8" descr="Shell Logo PNG Vector, Icon (4096 x 4096) Free download">
            <a:extLst>
              <a:ext uri="{FF2B5EF4-FFF2-40B4-BE49-F238E27FC236}">
                <a16:creationId xmlns:a16="http://schemas.microsoft.com/office/drawing/2014/main" id="{415C2CAA-B5D2-BD18-C9B4-2FEF3F56184E}"/>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6319769" y="5083965"/>
            <a:ext cx="713155" cy="71315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Aavantika Gas Limited">
            <a:extLst>
              <a:ext uri="{FF2B5EF4-FFF2-40B4-BE49-F238E27FC236}">
                <a16:creationId xmlns:a16="http://schemas.microsoft.com/office/drawing/2014/main" id="{670AFB7B-B7CD-4572-9CB9-1006ED3B28BA}"/>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4971412" y="5166977"/>
            <a:ext cx="750251" cy="54713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A group of birds flying in the sky&#10;&#10;Description automatically generated">
            <a:extLst>
              <a:ext uri="{FF2B5EF4-FFF2-40B4-BE49-F238E27FC236}">
                <a16:creationId xmlns:a16="http://schemas.microsoft.com/office/drawing/2014/main" id="{781C459D-6F4F-6A2C-F9A6-94CC4A0E3CC1}"/>
              </a:ext>
            </a:extLst>
          </p:cNvPr>
          <p:cNvPicPr>
            <a:picLocks noChangeAspect="1"/>
          </p:cNvPicPr>
          <p:nvPr/>
        </p:nvPicPr>
        <p:blipFill rotWithShape="1">
          <a:blip r:embed="rId15" cstate="print">
            <a:extLst>
              <a:ext uri="{BEBA8EAE-BF5A-486C-A8C5-ECC9F3942E4B}">
                <a14:imgProps xmlns:a14="http://schemas.microsoft.com/office/drawing/2010/main">
                  <a14:imgLayer r:embed="rId16">
                    <a14:imgEffect>
                      <a14:brightnessContrast bright="-50000"/>
                    </a14:imgEffect>
                  </a14:imgLayer>
                </a14:imgProps>
              </a:ext>
              <a:ext uri="{28A0092B-C50C-407E-A947-70E740481C1C}">
                <a14:useLocalDpi xmlns:a14="http://schemas.microsoft.com/office/drawing/2010/main"/>
              </a:ext>
            </a:extLst>
          </a:blip>
          <a:srcRect/>
          <a:stretch/>
        </p:blipFill>
        <p:spPr>
          <a:xfrm>
            <a:off x="671012" y="3193286"/>
            <a:ext cx="2080408" cy="2101213"/>
          </a:xfrm>
          <a:custGeom>
            <a:avLst/>
            <a:gdLst>
              <a:gd name="connsiteX0" fmla="*/ 1093265 w 2186530"/>
              <a:gd name="connsiteY0" fmla="*/ 0 h 2186531"/>
              <a:gd name="connsiteX1" fmla="*/ 2186530 w 2186530"/>
              <a:gd name="connsiteY1" fmla="*/ 1093265 h 2186531"/>
              <a:gd name="connsiteX2" fmla="*/ 1093265 w 2186530"/>
              <a:gd name="connsiteY2" fmla="*/ 2186531 h 2186531"/>
              <a:gd name="connsiteX3" fmla="*/ 0 w 2186530"/>
              <a:gd name="connsiteY3" fmla="*/ 1093265 h 2186531"/>
              <a:gd name="connsiteX4" fmla="*/ 1093265 w 2186530"/>
              <a:gd name="connsiteY4" fmla="*/ 0 h 2186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6530" h="2186531">
                <a:moveTo>
                  <a:pt x="1093265" y="0"/>
                </a:moveTo>
                <a:cubicBezTo>
                  <a:pt x="1697059" y="0"/>
                  <a:pt x="2186530" y="489471"/>
                  <a:pt x="2186530" y="1093265"/>
                </a:cubicBezTo>
                <a:cubicBezTo>
                  <a:pt x="2186530" y="1697059"/>
                  <a:pt x="1697059" y="2186531"/>
                  <a:pt x="1093265" y="2186531"/>
                </a:cubicBezTo>
                <a:cubicBezTo>
                  <a:pt x="489471" y="2186531"/>
                  <a:pt x="0" y="1697059"/>
                  <a:pt x="0" y="1093265"/>
                </a:cubicBezTo>
                <a:cubicBezTo>
                  <a:pt x="0" y="489471"/>
                  <a:pt x="489471" y="0"/>
                  <a:pt x="1093265" y="0"/>
                </a:cubicBezTo>
                <a:close/>
              </a:path>
            </a:pathLst>
          </a:custGeom>
        </p:spPr>
      </p:pic>
      <p:sp>
        <p:nvSpPr>
          <p:cNvPr id="34" name="Freeform: Shape 33">
            <a:extLst>
              <a:ext uri="{FF2B5EF4-FFF2-40B4-BE49-F238E27FC236}">
                <a16:creationId xmlns:a16="http://schemas.microsoft.com/office/drawing/2014/main" id="{818E1C6E-00C7-B145-AABB-B32AE95823BD}"/>
              </a:ext>
            </a:extLst>
          </p:cNvPr>
          <p:cNvSpPr/>
          <p:nvPr/>
        </p:nvSpPr>
        <p:spPr>
          <a:xfrm>
            <a:off x="599547" y="2637530"/>
            <a:ext cx="3345389" cy="1588974"/>
          </a:xfrm>
          <a:custGeom>
            <a:avLst/>
            <a:gdLst>
              <a:gd name="connsiteX0" fmla="*/ 2635334 w 3516038"/>
              <a:gd name="connsiteY0" fmla="*/ 0 h 1653493"/>
              <a:gd name="connsiteX1" fmla="*/ 2635334 w 3516038"/>
              <a:gd name="connsiteY1" fmla="*/ 1545070 h 1653493"/>
              <a:gd name="connsiteX2" fmla="*/ 2330157 w 3516038"/>
              <a:gd name="connsiteY2" fmla="*/ 1545070 h 1653493"/>
              <a:gd name="connsiteX3" fmla="*/ 1168334 w 3516038"/>
              <a:gd name="connsiteY3" fmla="*/ 502976 h 1653493"/>
              <a:gd name="connsiteX4" fmla="*/ 0 w 3516038"/>
              <a:gd name="connsiteY4" fmla="*/ 1653494 h 1653493"/>
              <a:gd name="connsiteX5" fmla="*/ 36141 w 3516038"/>
              <a:gd name="connsiteY5" fmla="*/ 1653494 h 1653493"/>
              <a:gd name="connsiteX6" fmla="*/ 1168334 w 3516038"/>
              <a:gd name="connsiteY6" fmla="*/ 539118 h 1653493"/>
              <a:gd name="connsiteX7" fmla="*/ 2293748 w 3516038"/>
              <a:gd name="connsiteY7" fmla="*/ 1545070 h 1653493"/>
              <a:gd name="connsiteX8" fmla="*/ 2297177 w 3516038"/>
              <a:gd name="connsiteY8" fmla="*/ 1581212 h 1653493"/>
              <a:gd name="connsiteX9" fmla="*/ 2671476 w 3516038"/>
              <a:gd name="connsiteY9" fmla="*/ 1581212 h 1653493"/>
              <a:gd name="connsiteX10" fmla="*/ 2671476 w 3516038"/>
              <a:gd name="connsiteY10" fmla="*/ 36141 h 1653493"/>
              <a:gd name="connsiteX11" fmla="*/ 3516039 w 3516038"/>
              <a:gd name="connsiteY11" fmla="*/ 36141 h 1653493"/>
              <a:gd name="connsiteX12" fmla="*/ 3516039 w 3516038"/>
              <a:gd name="connsiteY12" fmla="*/ 0 h 1653493"/>
              <a:gd name="connsiteX13" fmla="*/ 2635334 w 3516038"/>
              <a:gd name="connsiteY13" fmla="*/ 0 h 1653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16038" h="1653493">
                <a:moveTo>
                  <a:pt x="2635334" y="0"/>
                </a:moveTo>
                <a:lnTo>
                  <a:pt x="2635334" y="1545070"/>
                </a:lnTo>
                <a:lnTo>
                  <a:pt x="2330157" y="1545070"/>
                </a:lnTo>
                <a:cubicBezTo>
                  <a:pt x="2266903" y="959952"/>
                  <a:pt x="1769981" y="502976"/>
                  <a:pt x="1168334" y="502976"/>
                </a:cubicBezTo>
                <a:cubicBezTo>
                  <a:pt x="530089" y="502976"/>
                  <a:pt x="9672" y="1017419"/>
                  <a:pt x="0" y="1653494"/>
                </a:cubicBezTo>
                <a:lnTo>
                  <a:pt x="36141" y="1653494"/>
                </a:lnTo>
                <a:cubicBezTo>
                  <a:pt x="45813" y="1037379"/>
                  <a:pt x="549968" y="539118"/>
                  <a:pt x="1168334" y="539118"/>
                </a:cubicBezTo>
                <a:cubicBezTo>
                  <a:pt x="1750022" y="539118"/>
                  <a:pt x="2230681" y="979912"/>
                  <a:pt x="2293748" y="1545070"/>
                </a:cubicBezTo>
                <a:cubicBezTo>
                  <a:pt x="2295114" y="1557100"/>
                  <a:pt x="2296266" y="1569102"/>
                  <a:pt x="2297177" y="1581212"/>
                </a:cubicBezTo>
                <a:lnTo>
                  <a:pt x="2671476" y="1581212"/>
                </a:lnTo>
                <a:lnTo>
                  <a:pt x="2671476" y="36141"/>
                </a:lnTo>
                <a:lnTo>
                  <a:pt x="3516039" y="36141"/>
                </a:lnTo>
                <a:lnTo>
                  <a:pt x="3516039" y="0"/>
                </a:lnTo>
                <a:lnTo>
                  <a:pt x="2635334" y="0"/>
                </a:lnTo>
                <a:close/>
              </a:path>
            </a:pathLst>
          </a:custGeom>
          <a:solidFill>
            <a:srgbClr val="00ABAB"/>
          </a:solidFill>
          <a:ln w="2675" cap="flat">
            <a:noFill/>
            <a:prstDash val="solid"/>
            <a:miter/>
          </a:ln>
        </p:spPr>
        <p:txBody>
          <a:bodyPr rtlCol="0" anchor="ctr"/>
          <a:lstStyle/>
          <a:p>
            <a:endParaRPr lang="en-IN"/>
          </a:p>
        </p:txBody>
      </p:sp>
      <p:sp>
        <p:nvSpPr>
          <p:cNvPr id="35" name="Freeform: Shape 34">
            <a:extLst>
              <a:ext uri="{FF2B5EF4-FFF2-40B4-BE49-F238E27FC236}">
                <a16:creationId xmlns:a16="http://schemas.microsoft.com/office/drawing/2014/main" id="{324F1062-F5C2-3E95-4D5B-1ACD5273ECD1}"/>
              </a:ext>
            </a:extLst>
          </p:cNvPr>
          <p:cNvSpPr/>
          <p:nvPr/>
        </p:nvSpPr>
        <p:spPr>
          <a:xfrm>
            <a:off x="2787475" y="3696889"/>
            <a:ext cx="1157461" cy="529615"/>
          </a:xfrm>
          <a:custGeom>
            <a:avLst/>
            <a:gdLst>
              <a:gd name="connsiteX0" fmla="*/ 1216504 w 1216503"/>
              <a:gd name="connsiteY0" fmla="*/ 0 h 551120"/>
              <a:gd name="connsiteX1" fmla="*/ 1216504 w 1216503"/>
              <a:gd name="connsiteY1" fmla="*/ 36141 h 551120"/>
              <a:gd name="connsiteX2" fmla="*/ 446045 w 1216503"/>
              <a:gd name="connsiteY2" fmla="*/ 36141 h 551120"/>
              <a:gd name="connsiteX3" fmla="*/ 446045 w 1216503"/>
              <a:gd name="connsiteY3" fmla="*/ 551120 h 551120"/>
              <a:gd name="connsiteX4" fmla="*/ 1072 w 1216503"/>
              <a:gd name="connsiteY4" fmla="*/ 551120 h 551120"/>
              <a:gd name="connsiteX5" fmla="*/ 0 w 1216503"/>
              <a:gd name="connsiteY5" fmla="*/ 514979 h 551120"/>
              <a:gd name="connsiteX6" fmla="*/ 409904 w 1216503"/>
              <a:gd name="connsiteY6" fmla="*/ 514979 h 551120"/>
              <a:gd name="connsiteX7" fmla="*/ 409904 w 1216503"/>
              <a:gd name="connsiteY7" fmla="*/ 0 h 551120"/>
              <a:gd name="connsiteX8" fmla="*/ 1216504 w 1216503"/>
              <a:gd name="connsiteY8" fmla="*/ 0 h 5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6503" h="551120">
                <a:moveTo>
                  <a:pt x="1216504" y="0"/>
                </a:moveTo>
                <a:lnTo>
                  <a:pt x="1216504" y="36141"/>
                </a:lnTo>
                <a:lnTo>
                  <a:pt x="446045" y="36141"/>
                </a:lnTo>
                <a:lnTo>
                  <a:pt x="446045" y="551120"/>
                </a:lnTo>
                <a:lnTo>
                  <a:pt x="1072" y="551120"/>
                </a:lnTo>
                <a:lnTo>
                  <a:pt x="0" y="514979"/>
                </a:lnTo>
                <a:lnTo>
                  <a:pt x="409904" y="514979"/>
                </a:lnTo>
                <a:lnTo>
                  <a:pt x="409904" y="0"/>
                </a:lnTo>
                <a:lnTo>
                  <a:pt x="1216504" y="0"/>
                </a:lnTo>
                <a:close/>
              </a:path>
            </a:pathLst>
          </a:custGeom>
          <a:solidFill>
            <a:srgbClr val="26890D"/>
          </a:solidFill>
          <a:ln w="2675" cap="flat">
            <a:no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FA15B85A-87C7-4C7A-3368-CD16C4B49E80}"/>
              </a:ext>
            </a:extLst>
          </p:cNvPr>
          <p:cNvSpPr/>
          <p:nvPr/>
        </p:nvSpPr>
        <p:spPr>
          <a:xfrm>
            <a:off x="599547" y="4261262"/>
            <a:ext cx="3345337" cy="1609349"/>
          </a:xfrm>
          <a:custGeom>
            <a:avLst/>
            <a:gdLst>
              <a:gd name="connsiteX0" fmla="*/ 2671476 w 3516038"/>
              <a:gd name="connsiteY0" fmla="*/ 1617353 h 1653520"/>
              <a:gd name="connsiteX1" fmla="*/ 2671476 w 3516038"/>
              <a:gd name="connsiteY1" fmla="*/ 72282 h 1653520"/>
              <a:gd name="connsiteX2" fmla="*/ 2297177 w 3516038"/>
              <a:gd name="connsiteY2" fmla="*/ 72282 h 1653520"/>
              <a:gd name="connsiteX3" fmla="*/ 2293748 w 3516038"/>
              <a:gd name="connsiteY3" fmla="*/ 108424 h 1653520"/>
              <a:gd name="connsiteX4" fmla="*/ 1168334 w 3516038"/>
              <a:gd name="connsiteY4" fmla="*/ 1114376 h 1653520"/>
              <a:gd name="connsiteX5" fmla="*/ 36141 w 3516038"/>
              <a:gd name="connsiteY5" fmla="*/ 0 h 1653520"/>
              <a:gd name="connsiteX6" fmla="*/ 0 w 3516038"/>
              <a:gd name="connsiteY6" fmla="*/ 0 h 1653520"/>
              <a:gd name="connsiteX7" fmla="*/ 1168334 w 3516038"/>
              <a:gd name="connsiteY7" fmla="*/ 1150544 h 1653520"/>
              <a:gd name="connsiteX8" fmla="*/ 2330157 w 3516038"/>
              <a:gd name="connsiteY8" fmla="*/ 108450 h 1653520"/>
              <a:gd name="connsiteX9" fmla="*/ 2635334 w 3516038"/>
              <a:gd name="connsiteY9" fmla="*/ 108450 h 1653520"/>
              <a:gd name="connsiteX10" fmla="*/ 2635334 w 3516038"/>
              <a:gd name="connsiteY10" fmla="*/ 1653521 h 1653520"/>
              <a:gd name="connsiteX11" fmla="*/ 3516039 w 3516038"/>
              <a:gd name="connsiteY11" fmla="*/ 1653521 h 1653520"/>
              <a:gd name="connsiteX12" fmla="*/ 3516039 w 3516038"/>
              <a:gd name="connsiteY12" fmla="*/ 1617379 h 1653520"/>
              <a:gd name="connsiteX13" fmla="*/ 2671476 w 3516038"/>
              <a:gd name="connsiteY13" fmla="*/ 1617379 h 165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16038" h="1653520">
                <a:moveTo>
                  <a:pt x="2671476" y="1617353"/>
                </a:moveTo>
                <a:lnTo>
                  <a:pt x="2671476" y="72282"/>
                </a:lnTo>
                <a:lnTo>
                  <a:pt x="2297177" y="72282"/>
                </a:lnTo>
                <a:cubicBezTo>
                  <a:pt x="2296266" y="84392"/>
                  <a:pt x="2295087" y="96421"/>
                  <a:pt x="2293748" y="108424"/>
                </a:cubicBezTo>
                <a:cubicBezTo>
                  <a:pt x="2230681" y="673582"/>
                  <a:pt x="1750022" y="1114376"/>
                  <a:pt x="1168334" y="1114376"/>
                </a:cubicBezTo>
                <a:cubicBezTo>
                  <a:pt x="549968" y="1114376"/>
                  <a:pt x="45813" y="616088"/>
                  <a:pt x="36141" y="0"/>
                </a:cubicBezTo>
                <a:lnTo>
                  <a:pt x="0" y="0"/>
                </a:lnTo>
                <a:cubicBezTo>
                  <a:pt x="9672" y="636075"/>
                  <a:pt x="530089" y="1150544"/>
                  <a:pt x="1168334" y="1150544"/>
                </a:cubicBezTo>
                <a:cubicBezTo>
                  <a:pt x="1769981" y="1150544"/>
                  <a:pt x="2266903" y="693568"/>
                  <a:pt x="2330157" y="108450"/>
                </a:cubicBezTo>
                <a:lnTo>
                  <a:pt x="2635334" y="108450"/>
                </a:lnTo>
                <a:lnTo>
                  <a:pt x="2635334" y="1653521"/>
                </a:lnTo>
                <a:lnTo>
                  <a:pt x="3516039" y="1653521"/>
                </a:lnTo>
                <a:lnTo>
                  <a:pt x="3516039" y="1617379"/>
                </a:lnTo>
                <a:lnTo>
                  <a:pt x="2671476" y="1617379"/>
                </a:lnTo>
                <a:close/>
              </a:path>
            </a:pathLst>
          </a:custGeom>
          <a:solidFill>
            <a:srgbClr val="86BC25"/>
          </a:solidFill>
          <a:ln w="2675" cap="flat">
            <a:no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3BDC4B1B-830D-EB65-B32C-8397A8ECC6E8}"/>
              </a:ext>
            </a:extLst>
          </p:cNvPr>
          <p:cNvSpPr/>
          <p:nvPr/>
        </p:nvSpPr>
        <p:spPr>
          <a:xfrm>
            <a:off x="3516028" y="3415662"/>
            <a:ext cx="921875" cy="931068"/>
          </a:xfrm>
          <a:custGeom>
            <a:avLst/>
            <a:gdLst>
              <a:gd name="connsiteX0" fmla="*/ 968874 w 968900"/>
              <a:gd name="connsiteY0" fmla="*/ 484437 h 968873"/>
              <a:gd name="connsiteX1" fmla="*/ 484437 w 968900"/>
              <a:gd name="connsiteY1" fmla="*/ 968874 h 968873"/>
              <a:gd name="connsiteX2" fmla="*/ 0 w 968900"/>
              <a:gd name="connsiteY2" fmla="*/ 484437 h 968873"/>
              <a:gd name="connsiteX3" fmla="*/ 484464 w 968900"/>
              <a:gd name="connsiteY3" fmla="*/ 0 h 968873"/>
              <a:gd name="connsiteX4" fmla="*/ 968901 w 968900"/>
              <a:gd name="connsiteY4" fmla="*/ 484437 h 96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900" h="968873">
                <a:moveTo>
                  <a:pt x="968874" y="484437"/>
                </a:moveTo>
                <a:cubicBezTo>
                  <a:pt x="968874" y="752000"/>
                  <a:pt x="751973" y="968874"/>
                  <a:pt x="484437" y="968874"/>
                </a:cubicBezTo>
                <a:cubicBezTo>
                  <a:pt x="216874" y="968874"/>
                  <a:pt x="0" y="751973"/>
                  <a:pt x="0" y="484437"/>
                </a:cubicBezTo>
                <a:cubicBezTo>
                  <a:pt x="0" y="216901"/>
                  <a:pt x="216901" y="0"/>
                  <a:pt x="484464" y="0"/>
                </a:cubicBezTo>
                <a:cubicBezTo>
                  <a:pt x="752000" y="0"/>
                  <a:pt x="968901" y="216901"/>
                  <a:pt x="968901" y="484437"/>
                </a:cubicBezTo>
                <a:close/>
              </a:path>
            </a:pathLst>
          </a:custGeom>
          <a:solidFill>
            <a:srgbClr val="26890D"/>
          </a:solidFill>
          <a:ln w="2675" cap="flat">
            <a:noFill/>
            <a:prstDash val="solid"/>
            <a:miter/>
          </a:ln>
        </p:spPr>
        <p:txBody>
          <a:bodyPr rtlCol="0" anchor="ctr"/>
          <a:lstStyle/>
          <a:p>
            <a:endParaRPr lang="en-IN"/>
          </a:p>
        </p:txBody>
      </p:sp>
      <p:sp>
        <p:nvSpPr>
          <p:cNvPr id="40" name="Freeform: Shape 39">
            <a:extLst>
              <a:ext uri="{FF2B5EF4-FFF2-40B4-BE49-F238E27FC236}">
                <a16:creationId xmlns:a16="http://schemas.microsoft.com/office/drawing/2014/main" id="{BABE228C-71B6-8DE1-1944-E6B09E345756}"/>
              </a:ext>
            </a:extLst>
          </p:cNvPr>
          <p:cNvSpPr/>
          <p:nvPr/>
        </p:nvSpPr>
        <p:spPr>
          <a:xfrm>
            <a:off x="3516028" y="2189709"/>
            <a:ext cx="921875" cy="931068"/>
          </a:xfrm>
          <a:custGeom>
            <a:avLst/>
            <a:gdLst>
              <a:gd name="connsiteX0" fmla="*/ 968874 w 968900"/>
              <a:gd name="connsiteY0" fmla="*/ 484437 h 968873"/>
              <a:gd name="connsiteX1" fmla="*/ 484437 w 968900"/>
              <a:gd name="connsiteY1" fmla="*/ 968874 h 968873"/>
              <a:gd name="connsiteX2" fmla="*/ 0 w 968900"/>
              <a:gd name="connsiteY2" fmla="*/ 484437 h 968873"/>
              <a:gd name="connsiteX3" fmla="*/ 484464 w 968900"/>
              <a:gd name="connsiteY3" fmla="*/ 0 h 968873"/>
              <a:gd name="connsiteX4" fmla="*/ 968901 w 968900"/>
              <a:gd name="connsiteY4" fmla="*/ 484437 h 96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900" h="968873">
                <a:moveTo>
                  <a:pt x="968874" y="484437"/>
                </a:moveTo>
                <a:cubicBezTo>
                  <a:pt x="968874" y="752000"/>
                  <a:pt x="751973" y="968874"/>
                  <a:pt x="484437" y="968874"/>
                </a:cubicBezTo>
                <a:cubicBezTo>
                  <a:pt x="216874" y="968874"/>
                  <a:pt x="0" y="751973"/>
                  <a:pt x="0" y="484437"/>
                </a:cubicBezTo>
                <a:cubicBezTo>
                  <a:pt x="0" y="216901"/>
                  <a:pt x="216901" y="0"/>
                  <a:pt x="484464" y="0"/>
                </a:cubicBezTo>
                <a:cubicBezTo>
                  <a:pt x="752000" y="0"/>
                  <a:pt x="968901" y="216901"/>
                  <a:pt x="968901" y="484437"/>
                </a:cubicBezTo>
                <a:close/>
              </a:path>
            </a:pathLst>
          </a:custGeom>
          <a:solidFill>
            <a:srgbClr val="00ABAB"/>
          </a:solidFill>
          <a:ln w="2675" cap="flat">
            <a:noFill/>
            <a:prstDash val="solid"/>
            <a:miter/>
          </a:ln>
        </p:spPr>
        <p:txBody>
          <a:bodyPr rtlCol="0" anchor="ctr"/>
          <a:lstStyle/>
          <a:p>
            <a:endParaRPr lang="en-IN"/>
          </a:p>
        </p:txBody>
      </p:sp>
      <p:sp>
        <p:nvSpPr>
          <p:cNvPr id="41" name="Rectangle 40">
            <a:extLst>
              <a:ext uri="{FF2B5EF4-FFF2-40B4-BE49-F238E27FC236}">
                <a16:creationId xmlns:a16="http://schemas.microsoft.com/office/drawing/2014/main" id="{1E9343FC-D024-A8D6-F20D-5F0A4B1C1F9E}"/>
              </a:ext>
            </a:extLst>
          </p:cNvPr>
          <p:cNvSpPr/>
          <p:nvPr/>
        </p:nvSpPr>
        <p:spPr>
          <a:xfrm>
            <a:off x="1056048" y="3849778"/>
            <a:ext cx="1310337" cy="788230"/>
          </a:xfrm>
          <a:prstGeom prst="rect">
            <a:avLst/>
          </a:prstGeom>
        </p:spPr>
        <p:txBody>
          <a:bodyPr wrap="square" anchor="ctr">
            <a:noAutofit/>
          </a:bodyPr>
          <a:lstStyle/>
          <a:p>
            <a:pPr marL="0" marR="0" algn="ctr">
              <a:spcBef>
                <a:spcPts val="0"/>
              </a:spcBef>
              <a:spcAft>
                <a:spcPts val="0"/>
              </a:spcAft>
            </a:pPr>
            <a:r>
              <a:rPr lang="en-US" sz="1400" b="1" kern="1200">
                <a:solidFill>
                  <a:schemeClr val="bg1"/>
                </a:solidFill>
                <a:effectLst/>
                <a:latin typeface="+mj-lt"/>
                <a:ea typeface="Verdana" panose="020B0604030504040204" pitchFamily="34" charset="0"/>
                <a:cs typeface="Mangal" panose="02040503050203030202" pitchFamily="18" charset="0"/>
              </a:rPr>
              <a:t>We bring mix of technology and deep sectoral experience</a:t>
            </a:r>
            <a:endParaRPr lang="en-US" sz="1400">
              <a:solidFill>
                <a:schemeClr val="bg1"/>
              </a:solidFill>
              <a:effectLst/>
              <a:latin typeface="+mj-lt"/>
              <a:ea typeface="Batang" panose="02030600000101010101" pitchFamily="18" charset="-127"/>
            </a:endParaRPr>
          </a:p>
        </p:txBody>
      </p:sp>
      <p:grpSp>
        <p:nvGrpSpPr>
          <p:cNvPr id="42" name="Graphic 4">
            <a:extLst>
              <a:ext uri="{FF2B5EF4-FFF2-40B4-BE49-F238E27FC236}">
                <a16:creationId xmlns:a16="http://schemas.microsoft.com/office/drawing/2014/main" id="{F3ACBC88-7C9D-777D-3F2F-A4E677EED897}"/>
              </a:ext>
            </a:extLst>
          </p:cNvPr>
          <p:cNvGrpSpPr>
            <a:grpSpLocks noChangeAspect="1"/>
          </p:cNvGrpSpPr>
          <p:nvPr/>
        </p:nvGrpSpPr>
        <p:grpSpPr>
          <a:xfrm>
            <a:off x="3671615" y="2346582"/>
            <a:ext cx="610700" cy="617320"/>
            <a:chOff x="905454" y="1885990"/>
            <a:chExt cx="362309" cy="362610"/>
          </a:xfrm>
          <a:solidFill>
            <a:schemeClr val="bg1"/>
          </a:solidFill>
        </p:grpSpPr>
        <p:sp>
          <p:nvSpPr>
            <p:cNvPr id="43" name="Graphic 4">
              <a:extLst>
                <a:ext uri="{FF2B5EF4-FFF2-40B4-BE49-F238E27FC236}">
                  <a16:creationId xmlns:a16="http://schemas.microsoft.com/office/drawing/2014/main" id="{22BA6684-C58E-87EE-F410-3795C8D0CF79}"/>
                </a:ext>
              </a:extLst>
            </p:cNvPr>
            <p:cNvSpPr/>
            <p:nvPr/>
          </p:nvSpPr>
          <p:spPr>
            <a:xfrm>
              <a:off x="986606" y="2030268"/>
              <a:ext cx="198727" cy="107889"/>
            </a:xfrm>
            <a:custGeom>
              <a:avLst/>
              <a:gdLst>
                <a:gd name="connsiteX0" fmla="*/ 177001 w 198727"/>
                <a:gd name="connsiteY0" fmla="*/ 15960 h 107889"/>
                <a:gd name="connsiteX1" fmla="*/ 177001 w 198727"/>
                <a:gd name="connsiteY1" fmla="*/ 0 h 107889"/>
                <a:gd name="connsiteX2" fmla="*/ 23004 w 198727"/>
                <a:gd name="connsiteY2" fmla="*/ 0 h 107889"/>
                <a:gd name="connsiteX3" fmla="*/ 23004 w 198727"/>
                <a:gd name="connsiteY3" fmla="*/ 15960 h 107889"/>
                <a:gd name="connsiteX4" fmla="*/ 16614 w 198727"/>
                <a:gd name="connsiteY4" fmla="*/ 22344 h 107889"/>
                <a:gd name="connsiteX5" fmla="*/ 0 w 198727"/>
                <a:gd name="connsiteY5" fmla="*/ 22344 h 107889"/>
                <a:gd name="connsiteX6" fmla="*/ 0 w 198727"/>
                <a:gd name="connsiteY6" fmla="*/ 107889 h 107889"/>
                <a:gd name="connsiteX7" fmla="*/ 17253 w 198727"/>
                <a:gd name="connsiteY7" fmla="*/ 107889 h 107889"/>
                <a:gd name="connsiteX8" fmla="*/ 17253 w 198727"/>
                <a:gd name="connsiteY8" fmla="*/ 84269 h 107889"/>
                <a:gd name="connsiteX9" fmla="*/ 23643 w 198727"/>
                <a:gd name="connsiteY9" fmla="*/ 77885 h 107889"/>
                <a:gd name="connsiteX10" fmla="*/ 30033 w 198727"/>
                <a:gd name="connsiteY10" fmla="*/ 84269 h 107889"/>
                <a:gd name="connsiteX11" fmla="*/ 30033 w 198727"/>
                <a:gd name="connsiteY11" fmla="*/ 107889 h 107889"/>
                <a:gd name="connsiteX12" fmla="*/ 198727 w 198727"/>
                <a:gd name="connsiteY12" fmla="*/ 107889 h 107889"/>
                <a:gd name="connsiteX13" fmla="*/ 198727 w 198727"/>
                <a:gd name="connsiteY13" fmla="*/ 22344 h 107889"/>
                <a:gd name="connsiteX14" fmla="*/ 182113 w 198727"/>
                <a:gd name="connsiteY14" fmla="*/ 22344 h 107889"/>
                <a:gd name="connsiteX15" fmla="*/ 177001 w 198727"/>
                <a:gd name="connsiteY15" fmla="*/ 15960 h 107889"/>
                <a:gd name="connsiteX16" fmla="*/ 28755 w 198727"/>
                <a:gd name="connsiteY16" fmla="*/ 58094 h 107889"/>
                <a:gd name="connsiteX17" fmla="*/ 24282 w 198727"/>
                <a:gd name="connsiteY17" fmla="*/ 60009 h 107889"/>
                <a:gd name="connsiteX18" fmla="*/ 19809 w 198727"/>
                <a:gd name="connsiteY18" fmla="*/ 58094 h 107889"/>
                <a:gd name="connsiteX19" fmla="*/ 17892 w 198727"/>
                <a:gd name="connsiteY19" fmla="*/ 53625 h 107889"/>
                <a:gd name="connsiteX20" fmla="*/ 18531 w 198727"/>
                <a:gd name="connsiteY20" fmla="*/ 51072 h 107889"/>
                <a:gd name="connsiteX21" fmla="*/ 21726 w 198727"/>
                <a:gd name="connsiteY21" fmla="*/ 47880 h 107889"/>
                <a:gd name="connsiteX22" fmla="*/ 26838 w 198727"/>
                <a:gd name="connsiteY22" fmla="*/ 47880 h 107889"/>
                <a:gd name="connsiteX23" fmla="*/ 28755 w 198727"/>
                <a:gd name="connsiteY23" fmla="*/ 49157 h 107889"/>
                <a:gd name="connsiteX24" fmla="*/ 30672 w 198727"/>
                <a:gd name="connsiteY24" fmla="*/ 53625 h 107889"/>
                <a:gd name="connsiteX25" fmla="*/ 28755 w 198727"/>
                <a:gd name="connsiteY25" fmla="*/ 58094 h 107889"/>
                <a:gd name="connsiteX26" fmla="*/ 58788 w 198727"/>
                <a:gd name="connsiteY26" fmla="*/ 88737 h 107889"/>
                <a:gd name="connsiteX27" fmla="*/ 54314 w 198727"/>
                <a:gd name="connsiteY27" fmla="*/ 90653 h 107889"/>
                <a:gd name="connsiteX28" fmla="*/ 49842 w 198727"/>
                <a:gd name="connsiteY28" fmla="*/ 88737 h 107889"/>
                <a:gd name="connsiteX29" fmla="*/ 47925 w 198727"/>
                <a:gd name="connsiteY29" fmla="*/ 84269 h 107889"/>
                <a:gd name="connsiteX30" fmla="*/ 48564 w 198727"/>
                <a:gd name="connsiteY30" fmla="*/ 81715 h 107889"/>
                <a:gd name="connsiteX31" fmla="*/ 49842 w 198727"/>
                <a:gd name="connsiteY31" fmla="*/ 79800 h 107889"/>
                <a:gd name="connsiteX32" fmla="*/ 50481 w 198727"/>
                <a:gd name="connsiteY32" fmla="*/ 79161 h 107889"/>
                <a:gd name="connsiteX33" fmla="*/ 51759 w 198727"/>
                <a:gd name="connsiteY33" fmla="*/ 78523 h 107889"/>
                <a:gd name="connsiteX34" fmla="*/ 53036 w 198727"/>
                <a:gd name="connsiteY34" fmla="*/ 77885 h 107889"/>
                <a:gd name="connsiteX35" fmla="*/ 56871 w 198727"/>
                <a:gd name="connsiteY35" fmla="*/ 78523 h 107889"/>
                <a:gd name="connsiteX36" fmla="*/ 58788 w 198727"/>
                <a:gd name="connsiteY36" fmla="*/ 79800 h 107889"/>
                <a:gd name="connsiteX37" fmla="*/ 60704 w 198727"/>
                <a:gd name="connsiteY37" fmla="*/ 84269 h 107889"/>
                <a:gd name="connsiteX38" fmla="*/ 58788 w 198727"/>
                <a:gd name="connsiteY38" fmla="*/ 88737 h 107889"/>
                <a:gd name="connsiteX39" fmla="*/ 58788 w 198727"/>
                <a:gd name="connsiteY39" fmla="*/ 58094 h 107889"/>
                <a:gd name="connsiteX40" fmla="*/ 54314 w 198727"/>
                <a:gd name="connsiteY40" fmla="*/ 60009 h 107889"/>
                <a:gd name="connsiteX41" fmla="*/ 47925 w 198727"/>
                <a:gd name="connsiteY41" fmla="*/ 53625 h 107889"/>
                <a:gd name="connsiteX42" fmla="*/ 48564 w 198727"/>
                <a:gd name="connsiteY42" fmla="*/ 51072 h 107889"/>
                <a:gd name="connsiteX43" fmla="*/ 49842 w 198727"/>
                <a:gd name="connsiteY43" fmla="*/ 49157 h 107889"/>
                <a:gd name="connsiteX44" fmla="*/ 50481 w 198727"/>
                <a:gd name="connsiteY44" fmla="*/ 48518 h 107889"/>
                <a:gd name="connsiteX45" fmla="*/ 51759 w 198727"/>
                <a:gd name="connsiteY45" fmla="*/ 47880 h 107889"/>
                <a:gd name="connsiteX46" fmla="*/ 53036 w 198727"/>
                <a:gd name="connsiteY46" fmla="*/ 47880 h 107889"/>
                <a:gd name="connsiteX47" fmla="*/ 56871 w 198727"/>
                <a:gd name="connsiteY47" fmla="*/ 47880 h 107889"/>
                <a:gd name="connsiteX48" fmla="*/ 58788 w 198727"/>
                <a:gd name="connsiteY48" fmla="*/ 49157 h 107889"/>
                <a:gd name="connsiteX49" fmla="*/ 60065 w 198727"/>
                <a:gd name="connsiteY49" fmla="*/ 51072 h 107889"/>
                <a:gd name="connsiteX50" fmla="*/ 60704 w 198727"/>
                <a:gd name="connsiteY50" fmla="*/ 53625 h 107889"/>
                <a:gd name="connsiteX51" fmla="*/ 58788 w 198727"/>
                <a:gd name="connsiteY51" fmla="*/ 58094 h 107889"/>
                <a:gd name="connsiteX52" fmla="*/ 58788 w 198727"/>
                <a:gd name="connsiteY52" fmla="*/ 28089 h 107889"/>
                <a:gd name="connsiteX53" fmla="*/ 54314 w 198727"/>
                <a:gd name="connsiteY53" fmla="*/ 30005 h 107889"/>
                <a:gd name="connsiteX54" fmla="*/ 47925 w 198727"/>
                <a:gd name="connsiteY54" fmla="*/ 23621 h 107889"/>
                <a:gd name="connsiteX55" fmla="*/ 48564 w 198727"/>
                <a:gd name="connsiteY55" fmla="*/ 21067 h 107889"/>
                <a:gd name="connsiteX56" fmla="*/ 49842 w 198727"/>
                <a:gd name="connsiteY56" fmla="*/ 19152 h 107889"/>
                <a:gd name="connsiteX57" fmla="*/ 50481 w 198727"/>
                <a:gd name="connsiteY57" fmla="*/ 18514 h 107889"/>
                <a:gd name="connsiteX58" fmla="*/ 51759 w 198727"/>
                <a:gd name="connsiteY58" fmla="*/ 17875 h 107889"/>
                <a:gd name="connsiteX59" fmla="*/ 53036 w 198727"/>
                <a:gd name="connsiteY59" fmla="*/ 17237 h 107889"/>
                <a:gd name="connsiteX60" fmla="*/ 58788 w 198727"/>
                <a:gd name="connsiteY60" fmla="*/ 19152 h 107889"/>
                <a:gd name="connsiteX61" fmla="*/ 60065 w 198727"/>
                <a:gd name="connsiteY61" fmla="*/ 21067 h 107889"/>
                <a:gd name="connsiteX62" fmla="*/ 58788 w 198727"/>
                <a:gd name="connsiteY62" fmla="*/ 28089 h 107889"/>
                <a:gd name="connsiteX63" fmla="*/ 58788 w 198727"/>
                <a:gd name="connsiteY63" fmla="*/ 28089 h 107889"/>
                <a:gd name="connsiteX64" fmla="*/ 89459 w 198727"/>
                <a:gd name="connsiteY64" fmla="*/ 88737 h 107889"/>
                <a:gd name="connsiteX65" fmla="*/ 87542 w 198727"/>
                <a:gd name="connsiteY65" fmla="*/ 90014 h 107889"/>
                <a:gd name="connsiteX66" fmla="*/ 84986 w 198727"/>
                <a:gd name="connsiteY66" fmla="*/ 90653 h 107889"/>
                <a:gd name="connsiteX67" fmla="*/ 78596 w 198727"/>
                <a:gd name="connsiteY67" fmla="*/ 84269 h 107889"/>
                <a:gd name="connsiteX68" fmla="*/ 80513 w 198727"/>
                <a:gd name="connsiteY68" fmla="*/ 79800 h 107889"/>
                <a:gd name="connsiteX69" fmla="*/ 82430 w 198727"/>
                <a:gd name="connsiteY69" fmla="*/ 78523 h 107889"/>
                <a:gd name="connsiteX70" fmla="*/ 87542 w 198727"/>
                <a:gd name="connsiteY70" fmla="*/ 78523 h 107889"/>
                <a:gd name="connsiteX71" fmla="*/ 88820 w 198727"/>
                <a:gd name="connsiteY71" fmla="*/ 79161 h 107889"/>
                <a:gd name="connsiteX72" fmla="*/ 89459 w 198727"/>
                <a:gd name="connsiteY72" fmla="*/ 79800 h 107889"/>
                <a:gd name="connsiteX73" fmla="*/ 91376 w 198727"/>
                <a:gd name="connsiteY73" fmla="*/ 84269 h 107889"/>
                <a:gd name="connsiteX74" fmla="*/ 89459 w 198727"/>
                <a:gd name="connsiteY74" fmla="*/ 88737 h 107889"/>
                <a:gd name="connsiteX75" fmla="*/ 89459 w 198727"/>
                <a:gd name="connsiteY75" fmla="*/ 88737 h 107889"/>
                <a:gd name="connsiteX76" fmla="*/ 89459 w 198727"/>
                <a:gd name="connsiteY76" fmla="*/ 58094 h 107889"/>
                <a:gd name="connsiteX77" fmla="*/ 87542 w 198727"/>
                <a:gd name="connsiteY77" fmla="*/ 59371 h 107889"/>
                <a:gd name="connsiteX78" fmla="*/ 84986 w 198727"/>
                <a:gd name="connsiteY78" fmla="*/ 60009 h 107889"/>
                <a:gd name="connsiteX79" fmla="*/ 82430 w 198727"/>
                <a:gd name="connsiteY79" fmla="*/ 59371 h 107889"/>
                <a:gd name="connsiteX80" fmla="*/ 80513 w 198727"/>
                <a:gd name="connsiteY80" fmla="*/ 58094 h 107889"/>
                <a:gd name="connsiteX81" fmla="*/ 78596 w 198727"/>
                <a:gd name="connsiteY81" fmla="*/ 53625 h 107889"/>
                <a:gd name="connsiteX82" fmla="*/ 79235 w 198727"/>
                <a:gd name="connsiteY82" fmla="*/ 51072 h 107889"/>
                <a:gd name="connsiteX83" fmla="*/ 80513 w 198727"/>
                <a:gd name="connsiteY83" fmla="*/ 49157 h 107889"/>
                <a:gd name="connsiteX84" fmla="*/ 81152 w 198727"/>
                <a:gd name="connsiteY84" fmla="*/ 48518 h 107889"/>
                <a:gd name="connsiteX85" fmla="*/ 82430 w 198727"/>
                <a:gd name="connsiteY85" fmla="*/ 47880 h 107889"/>
                <a:gd name="connsiteX86" fmla="*/ 83708 w 198727"/>
                <a:gd name="connsiteY86" fmla="*/ 47880 h 107889"/>
                <a:gd name="connsiteX87" fmla="*/ 86264 w 198727"/>
                <a:gd name="connsiteY87" fmla="*/ 47880 h 107889"/>
                <a:gd name="connsiteX88" fmla="*/ 87542 w 198727"/>
                <a:gd name="connsiteY88" fmla="*/ 47880 h 107889"/>
                <a:gd name="connsiteX89" fmla="*/ 88820 w 198727"/>
                <a:gd name="connsiteY89" fmla="*/ 48518 h 107889"/>
                <a:gd name="connsiteX90" fmla="*/ 89459 w 198727"/>
                <a:gd name="connsiteY90" fmla="*/ 49157 h 107889"/>
                <a:gd name="connsiteX91" fmla="*/ 90737 w 198727"/>
                <a:gd name="connsiteY91" fmla="*/ 51072 h 107889"/>
                <a:gd name="connsiteX92" fmla="*/ 91376 w 198727"/>
                <a:gd name="connsiteY92" fmla="*/ 53625 h 107889"/>
                <a:gd name="connsiteX93" fmla="*/ 89459 w 198727"/>
                <a:gd name="connsiteY93" fmla="*/ 58094 h 107889"/>
                <a:gd name="connsiteX94" fmla="*/ 89459 w 198727"/>
                <a:gd name="connsiteY94" fmla="*/ 58094 h 107889"/>
                <a:gd name="connsiteX95" fmla="*/ 89459 w 198727"/>
                <a:gd name="connsiteY95" fmla="*/ 28089 h 107889"/>
                <a:gd name="connsiteX96" fmla="*/ 84986 w 198727"/>
                <a:gd name="connsiteY96" fmla="*/ 30005 h 107889"/>
                <a:gd name="connsiteX97" fmla="*/ 82430 w 198727"/>
                <a:gd name="connsiteY97" fmla="*/ 29366 h 107889"/>
                <a:gd name="connsiteX98" fmla="*/ 80513 w 198727"/>
                <a:gd name="connsiteY98" fmla="*/ 28089 h 107889"/>
                <a:gd name="connsiteX99" fmla="*/ 80513 w 198727"/>
                <a:gd name="connsiteY99" fmla="*/ 19152 h 107889"/>
                <a:gd name="connsiteX100" fmla="*/ 80513 w 198727"/>
                <a:gd name="connsiteY100" fmla="*/ 19152 h 107889"/>
                <a:gd name="connsiteX101" fmla="*/ 82430 w 198727"/>
                <a:gd name="connsiteY101" fmla="*/ 17875 h 107889"/>
                <a:gd name="connsiteX102" fmla="*/ 87542 w 198727"/>
                <a:gd name="connsiteY102" fmla="*/ 17875 h 107889"/>
                <a:gd name="connsiteX103" fmla="*/ 89459 w 198727"/>
                <a:gd name="connsiteY103" fmla="*/ 19152 h 107889"/>
                <a:gd name="connsiteX104" fmla="*/ 90737 w 198727"/>
                <a:gd name="connsiteY104" fmla="*/ 21067 h 107889"/>
                <a:gd name="connsiteX105" fmla="*/ 89459 w 198727"/>
                <a:gd name="connsiteY105" fmla="*/ 28089 h 107889"/>
                <a:gd name="connsiteX106" fmla="*/ 171250 w 198727"/>
                <a:gd name="connsiteY106" fmla="*/ 49157 h 107889"/>
                <a:gd name="connsiteX107" fmla="*/ 173167 w 198727"/>
                <a:gd name="connsiteY107" fmla="*/ 47880 h 107889"/>
                <a:gd name="connsiteX108" fmla="*/ 180196 w 198727"/>
                <a:gd name="connsiteY108" fmla="*/ 49157 h 107889"/>
                <a:gd name="connsiteX109" fmla="*/ 181474 w 198727"/>
                <a:gd name="connsiteY109" fmla="*/ 51072 h 107889"/>
                <a:gd name="connsiteX110" fmla="*/ 182113 w 198727"/>
                <a:gd name="connsiteY110" fmla="*/ 53625 h 107889"/>
                <a:gd name="connsiteX111" fmla="*/ 180196 w 198727"/>
                <a:gd name="connsiteY111" fmla="*/ 58094 h 107889"/>
                <a:gd name="connsiteX112" fmla="*/ 178279 w 198727"/>
                <a:gd name="connsiteY112" fmla="*/ 59371 h 107889"/>
                <a:gd name="connsiteX113" fmla="*/ 175723 w 198727"/>
                <a:gd name="connsiteY113" fmla="*/ 60009 h 107889"/>
                <a:gd name="connsiteX114" fmla="*/ 171250 w 198727"/>
                <a:gd name="connsiteY114" fmla="*/ 58094 h 107889"/>
                <a:gd name="connsiteX115" fmla="*/ 169333 w 198727"/>
                <a:gd name="connsiteY115" fmla="*/ 53625 h 107889"/>
                <a:gd name="connsiteX116" fmla="*/ 171250 w 198727"/>
                <a:gd name="connsiteY116" fmla="*/ 49157 h 107889"/>
                <a:gd name="connsiteX117" fmla="*/ 171250 w 198727"/>
                <a:gd name="connsiteY117" fmla="*/ 49157 h 107889"/>
                <a:gd name="connsiteX118" fmla="*/ 119492 w 198727"/>
                <a:gd name="connsiteY118" fmla="*/ 88737 h 107889"/>
                <a:gd name="connsiteX119" fmla="*/ 112463 w 198727"/>
                <a:gd name="connsiteY119" fmla="*/ 90014 h 107889"/>
                <a:gd name="connsiteX120" fmla="*/ 110546 w 198727"/>
                <a:gd name="connsiteY120" fmla="*/ 88737 h 107889"/>
                <a:gd name="connsiteX121" fmla="*/ 108629 w 198727"/>
                <a:gd name="connsiteY121" fmla="*/ 84269 h 107889"/>
                <a:gd name="connsiteX122" fmla="*/ 109268 w 198727"/>
                <a:gd name="connsiteY122" fmla="*/ 81715 h 107889"/>
                <a:gd name="connsiteX123" fmla="*/ 110546 w 198727"/>
                <a:gd name="connsiteY123" fmla="*/ 79800 h 107889"/>
                <a:gd name="connsiteX124" fmla="*/ 119492 w 198727"/>
                <a:gd name="connsiteY124" fmla="*/ 79800 h 107889"/>
                <a:gd name="connsiteX125" fmla="*/ 120770 w 198727"/>
                <a:gd name="connsiteY125" fmla="*/ 81715 h 107889"/>
                <a:gd name="connsiteX126" fmla="*/ 121409 w 198727"/>
                <a:gd name="connsiteY126" fmla="*/ 84269 h 107889"/>
                <a:gd name="connsiteX127" fmla="*/ 119492 w 198727"/>
                <a:gd name="connsiteY127" fmla="*/ 88737 h 107889"/>
                <a:gd name="connsiteX128" fmla="*/ 119492 w 198727"/>
                <a:gd name="connsiteY128" fmla="*/ 88737 h 107889"/>
                <a:gd name="connsiteX129" fmla="*/ 108629 w 198727"/>
                <a:gd name="connsiteY129" fmla="*/ 53625 h 107889"/>
                <a:gd name="connsiteX130" fmla="*/ 109268 w 198727"/>
                <a:gd name="connsiteY130" fmla="*/ 51072 h 107889"/>
                <a:gd name="connsiteX131" fmla="*/ 112463 w 198727"/>
                <a:gd name="connsiteY131" fmla="*/ 47880 h 107889"/>
                <a:gd name="connsiteX132" fmla="*/ 116297 w 198727"/>
                <a:gd name="connsiteY132" fmla="*/ 47880 h 107889"/>
                <a:gd name="connsiteX133" fmla="*/ 117575 w 198727"/>
                <a:gd name="connsiteY133" fmla="*/ 47880 h 107889"/>
                <a:gd name="connsiteX134" fmla="*/ 118853 w 198727"/>
                <a:gd name="connsiteY134" fmla="*/ 48518 h 107889"/>
                <a:gd name="connsiteX135" fmla="*/ 119492 w 198727"/>
                <a:gd name="connsiteY135" fmla="*/ 49157 h 107889"/>
                <a:gd name="connsiteX136" fmla="*/ 120770 w 198727"/>
                <a:gd name="connsiteY136" fmla="*/ 51072 h 107889"/>
                <a:gd name="connsiteX137" fmla="*/ 121409 w 198727"/>
                <a:gd name="connsiteY137" fmla="*/ 53625 h 107889"/>
                <a:gd name="connsiteX138" fmla="*/ 119492 w 198727"/>
                <a:gd name="connsiteY138" fmla="*/ 58094 h 107889"/>
                <a:gd name="connsiteX139" fmla="*/ 110546 w 198727"/>
                <a:gd name="connsiteY139" fmla="*/ 58094 h 107889"/>
                <a:gd name="connsiteX140" fmla="*/ 108629 w 198727"/>
                <a:gd name="connsiteY140" fmla="*/ 53625 h 107889"/>
                <a:gd name="connsiteX141" fmla="*/ 108629 w 198727"/>
                <a:gd name="connsiteY141" fmla="*/ 53625 h 107889"/>
                <a:gd name="connsiteX142" fmla="*/ 120770 w 198727"/>
                <a:gd name="connsiteY142" fmla="*/ 26174 h 107889"/>
                <a:gd name="connsiteX143" fmla="*/ 119492 w 198727"/>
                <a:gd name="connsiteY143" fmla="*/ 28089 h 107889"/>
                <a:gd name="connsiteX144" fmla="*/ 117575 w 198727"/>
                <a:gd name="connsiteY144" fmla="*/ 29366 h 107889"/>
                <a:gd name="connsiteX145" fmla="*/ 115019 w 198727"/>
                <a:gd name="connsiteY145" fmla="*/ 30005 h 107889"/>
                <a:gd name="connsiteX146" fmla="*/ 110546 w 198727"/>
                <a:gd name="connsiteY146" fmla="*/ 28089 h 107889"/>
                <a:gd name="connsiteX147" fmla="*/ 109268 w 198727"/>
                <a:gd name="connsiteY147" fmla="*/ 26174 h 107889"/>
                <a:gd name="connsiteX148" fmla="*/ 108629 w 198727"/>
                <a:gd name="connsiteY148" fmla="*/ 23621 h 107889"/>
                <a:gd name="connsiteX149" fmla="*/ 110546 w 198727"/>
                <a:gd name="connsiteY149" fmla="*/ 19152 h 107889"/>
                <a:gd name="connsiteX150" fmla="*/ 112463 w 198727"/>
                <a:gd name="connsiteY150" fmla="*/ 17875 h 107889"/>
                <a:gd name="connsiteX151" fmla="*/ 117575 w 198727"/>
                <a:gd name="connsiteY151" fmla="*/ 17875 h 107889"/>
                <a:gd name="connsiteX152" fmla="*/ 119492 w 198727"/>
                <a:gd name="connsiteY152" fmla="*/ 19152 h 107889"/>
                <a:gd name="connsiteX153" fmla="*/ 121409 w 198727"/>
                <a:gd name="connsiteY153" fmla="*/ 23621 h 107889"/>
                <a:gd name="connsiteX154" fmla="*/ 120770 w 198727"/>
                <a:gd name="connsiteY154" fmla="*/ 26174 h 107889"/>
                <a:gd name="connsiteX155" fmla="*/ 120770 w 198727"/>
                <a:gd name="connsiteY155" fmla="*/ 26174 h 107889"/>
                <a:gd name="connsiteX156" fmla="*/ 150164 w 198727"/>
                <a:gd name="connsiteY156" fmla="*/ 88737 h 107889"/>
                <a:gd name="connsiteX157" fmla="*/ 141218 w 198727"/>
                <a:gd name="connsiteY157" fmla="*/ 88737 h 107889"/>
                <a:gd name="connsiteX158" fmla="*/ 139301 w 198727"/>
                <a:gd name="connsiteY158" fmla="*/ 84269 h 107889"/>
                <a:gd name="connsiteX159" fmla="*/ 145691 w 198727"/>
                <a:gd name="connsiteY159" fmla="*/ 77885 h 107889"/>
                <a:gd name="connsiteX160" fmla="*/ 152081 w 198727"/>
                <a:gd name="connsiteY160" fmla="*/ 84269 h 107889"/>
                <a:gd name="connsiteX161" fmla="*/ 150164 w 198727"/>
                <a:gd name="connsiteY161" fmla="*/ 88737 h 107889"/>
                <a:gd name="connsiteX162" fmla="*/ 150164 w 198727"/>
                <a:gd name="connsiteY162" fmla="*/ 88737 h 107889"/>
                <a:gd name="connsiteX163" fmla="*/ 150164 w 198727"/>
                <a:gd name="connsiteY163" fmla="*/ 58094 h 107889"/>
                <a:gd name="connsiteX164" fmla="*/ 141218 w 198727"/>
                <a:gd name="connsiteY164" fmla="*/ 58094 h 107889"/>
                <a:gd name="connsiteX165" fmla="*/ 139301 w 198727"/>
                <a:gd name="connsiteY165" fmla="*/ 53625 h 107889"/>
                <a:gd name="connsiteX166" fmla="*/ 139940 w 198727"/>
                <a:gd name="connsiteY166" fmla="*/ 51072 h 107889"/>
                <a:gd name="connsiteX167" fmla="*/ 141218 w 198727"/>
                <a:gd name="connsiteY167" fmla="*/ 49157 h 107889"/>
                <a:gd name="connsiteX168" fmla="*/ 143135 w 198727"/>
                <a:gd name="connsiteY168" fmla="*/ 47880 h 107889"/>
                <a:gd name="connsiteX169" fmla="*/ 148247 w 198727"/>
                <a:gd name="connsiteY169" fmla="*/ 47880 h 107889"/>
                <a:gd name="connsiteX170" fmla="*/ 150164 w 198727"/>
                <a:gd name="connsiteY170" fmla="*/ 49157 h 107889"/>
                <a:gd name="connsiteX171" fmla="*/ 152081 w 198727"/>
                <a:gd name="connsiteY171" fmla="*/ 53625 h 107889"/>
                <a:gd name="connsiteX172" fmla="*/ 150164 w 198727"/>
                <a:gd name="connsiteY172" fmla="*/ 58094 h 107889"/>
                <a:gd name="connsiteX173" fmla="*/ 150164 w 198727"/>
                <a:gd name="connsiteY173" fmla="*/ 58094 h 107889"/>
                <a:gd name="connsiteX174" fmla="*/ 150164 w 198727"/>
                <a:gd name="connsiteY174" fmla="*/ 28089 h 107889"/>
                <a:gd name="connsiteX175" fmla="*/ 145691 w 198727"/>
                <a:gd name="connsiteY175" fmla="*/ 30005 h 107889"/>
                <a:gd name="connsiteX176" fmla="*/ 141218 w 198727"/>
                <a:gd name="connsiteY176" fmla="*/ 28089 h 107889"/>
                <a:gd name="connsiteX177" fmla="*/ 141218 w 198727"/>
                <a:gd name="connsiteY177" fmla="*/ 19152 h 107889"/>
                <a:gd name="connsiteX178" fmla="*/ 141218 w 198727"/>
                <a:gd name="connsiteY178" fmla="*/ 19152 h 107889"/>
                <a:gd name="connsiteX179" fmla="*/ 143135 w 198727"/>
                <a:gd name="connsiteY179" fmla="*/ 17875 h 107889"/>
                <a:gd name="connsiteX180" fmla="*/ 150164 w 198727"/>
                <a:gd name="connsiteY180" fmla="*/ 19152 h 107889"/>
                <a:gd name="connsiteX181" fmla="*/ 151442 w 198727"/>
                <a:gd name="connsiteY181" fmla="*/ 21067 h 107889"/>
                <a:gd name="connsiteX182" fmla="*/ 150164 w 198727"/>
                <a:gd name="connsiteY182" fmla="*/ 28089 h 107889"/>
                <a:gd name="connsiteX183" fmla="*/ 150164 w 198727"/>
                <a:gd name="connsiteY183" fmla="*/ 28089 h 107889"/>
                <a:gd name="connsiteX184" fmla="*/ 180196 w 198727"/>
                <a:gd name="connsiteY184" fmla="*/ 88737 h 107889"/>
                <a:gd name="connsiteX185" fmla="*/ 171250 w 198727"/>
                <a:gd name="connsiteY185" fmla="*/ 88737 h 107889"/>
                <a:gd name="connsiteX186" fmla="*/ 169333 w 198727"/>
                <a:gd name="connsiteY186" fmla="*/ 84269 h 107889"/>
                <a:gd name="connsiteX187" fmla="*/ 169972 w 198727"/>
                <a:gd name="connsiteY187" fmla="*/ 81715 h 107889"/>
                <a:gd name="connsiteX188" fmla="*/ 171250 w 198727"/>
                <a:gd name="connsiteY188" fmla="*/ 79800 h 107889"/>
                <a:gd name="connsiteX189" fmla="*/ 171889 w 198727"/>
                <a:gd name="connsiteY189" fmla="*/ 79161 h 107889"/>
                <a:gd name="connsiteX190" fmla="*/ 173167 w 198727"/>
                <a:gd name="connsiteY190" fmla="*/ 78523 h 107889"/>
                <a:gd name="connsiteX191" fmla="*/ 174445 w 198727"/>
                <a:gd name="connsiteY191" fmla="*/ 77885 h 107889"/>
                <a:gd name="connsiteX192" fmla="*/ 178279 w 198727"/>
                <a:gd name="connsiteY192" fmla="*/ 78523 h 107889"/>
                <a:gd name="connsiteX193" fmla="*/ 180196 w 198727"/>
                <a:gd name="connsiteY193" fmla="*/ 79800 h 107889"/>
                <a:gd name="connsiteX194" fmla="*/ 181474 w 198727"/>
                <a:gd name="connsiteY194" fmla="*/ 81715 h 107889"/>
                <a:gd name="connsiteX195" fmla="*/ 182113 w 198727"/>
                <a:gd name="connsiteY195" fmla="*/ 84269 h 107889"/>
                <a:gd name="connsiteX196" fmla="*/ 180196 w 198727"/>
                <a:gd name="connsiteY196" fmla="*/ 88737 h 107889"/>
                <a:gd name="connsiteX197" fmla="*/ 180196 w 198727"/>
                <a:gd name="connsiteY197" fmla="*/ 88737 h 107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98727" h="107889">
                  <a:moveTo>
                    <a:pt x="177001" y="15960"/>
                  </a:moveTo>
                  <a:lnTo>
                    <a:pt x="177001" y="0"/>
                  </a:lnTo>
                  <a:lnTo>
                    <a:pt x="23004" y="0"/>
                  </a:lnTo>
                  <a:lnTo>
                    <a:pt x="23004" y="15960"/>
                  </a:lnTo>
                  <a:cubicBezTo>
                    <a:pt x="23004" y="19790"/>
                    <a:pt x="20448" y="22344"/>
                    <a:pt x="16614" y="22344"/>
                  </a:cubicBezTo>
                  <a:lnTo>
                    <a:pt x="0" y="22344"/>
                  </a:lnTo>
                  <a:lnTo>
                    <a:pt x="0" y="107889"/>
                  </a:lnTo>
                  <a:lnTo>
                    <a:pt x="17253" y="107889"/>
                  </a:lnTo>
                  <a:lnTo>
                    <a:pt x="17253" y="84269"/>
                  </a:lnTo>
                  <a:cubicBezTo>
                    <a:pt x="17253" y="80438"/>
                    <a:pt x="19809" y="77885"/>
                    <a:pt x="23643" y="77885"/>
                  </a:cubicBezTo>
                  <a:cubicBezTo>
                    <a:pt x="27477" y="77885"/>
                    <a:pt x="30033" y="80438"/>
                    <a:pt x="30033" y="84269"/>
                  </a:cubicBezTo>
                  <a:lnTo>
                    <a:pt x="30033" y="107889"/>
                  </a:lnTo>
                  <a:lnTo>
                    <a:pt x="198727" y="107889"/>
                  </a:lnTo>
                  <a:lnTo>
                    <a:pt x="198727" y="22344"/>
                  </a:lnTo>
                  <a:lnTo>
                    <a:pt x="182113" y="22344"/>
                  </a:lnTo>
                  <a:cubicBezTo>
                    <a:pt x="179557" y="22344"/>
                    <a:pt x="177001" y="19790"/>
                    <a:pt x="177001" y="15960"/>
                  </a:cubicBezTo>
                  <a:close/>
                  <a:moveTo>
                    <a:pt x="28755" y="58094"/>
                  </a:moveTo>
                  <a:cubicBezTo>
                    <a:pt x="27477" y="59371"/>
                    <a:pt x="26199" y="60009"/>
                    <a:pt x="24282" y="60009"/>
                  </a:cubicBezTo>
                  <a:cubicBezTo>
                    <a:pt x="22365" y="60009"/>
                    <a:pt x="21087" y="59371"/>
                    <a:pt x="19809" y="58094"/>
                  </a:cubicBezTo>
                  <a:cubicBezTo>
                    <a:pt x="18531" y="56817"/>
                    <a:pt x="17892" y="55541"/>
                    <a:pt x="17892" y="53625"/>
                  </a:cubicBezTo>
                  <a:cubicBezTo>
                    <a:pt x="17892" y="52987"/>
                    <a:pt x="17892" y="51710"/>
                    <a:pt x="18531" y="51072"/>
                  </a:cubicBezTo>
                  <a:cubicBezTo>
                    <a:pt x="19170" y="49795"/>
                    <a:pt x="20448" y="48518"/>
                    <a:pt x="21726" y="47880"/>
                  </a:cubicBezTo>
                  <a:cubicBezTo>
                    <a:pt x="23004" y="47241"/>
                    <a:pt x="24921" y="47241"/>
                    <a:pt x="26838" y="47880"/>
                  </a:cubicBezTo>
                  <a:cubicBezTo>
                    <a:pt x="27477" y="47880"/>
                    <a:pt x="28116" y="48518"/>
                    <a:pt x="28755" y="49157"/>
                  </a:cubicBezTo>
                  <a:cubicBezTo>
                    <a:pt x="30033" y="50433"/>
                    <a:pt x="30672" y="51710"/>
                    <a:pt x="30672" y="53625"/>
                  </a:cubicBezTo>
                  <a:cubicBezTo>
                    <a:pt x="30672" y="55541"/>
                    <a:pt x="30033" y="57456"/>
                    <a:pt x="28755" y="58094"/>
                  </a:cubicBezTo>
                  <a:close/>
                  <a:moveTo>
                    <a:pt x="58788" y="88737"/>
                  </a:moveTo>
                  <a:cubicBezTo>
                    <a:pt x="57509" y="90014"/>
                    <a:pt x="56231" y="90653"/>
                    <a:pt x="54314" y="90653"/>
                  </a:cubicBezTo>
                  <a:cubicBezTo>
                    <a:pt x="52398" y="90653"/>
                    <a:pt x="51119" y="90014"/>
                    <a:pt x="49842" y="88737"/>
                  </a:cubicBezTo>
                  <a:cubicBezTo>
                    <a:pt x="48564" y="87461"/>
                    <a:pt x="47925" y="86184"/>
                    <a:pt x="47925" y="84269"/>
                  </a:cubicBezTo>
                  <a:cubicBezTo>
                    <a:pt x="47925" y="83630"/>
                    <a:pt x="47925" y="82353"/>
                    <a:pt x="48564" y="81715"/>
                  </a:cubicBezTo>
                  <a:cubicBezTo>
                    <a:pt x="48564" y="81077"/>
                    <a:pt x="49203" y="80438"/>
                    <a:pt x="49842" y="79800"/>
                  </a:cubicBezTo>
                  <a:cubicBezTo>
                    <a:pt x="49842" y="79161"/>
                    <a:pt x="50481" y="79161"/>
                    <a:pt x="50481" y="79161"/>
                  </a:cubicBezTo>
                  <a:cubicBezTo>
                    <a:pt x="51119" y="79161"/>
                    <a:pt x="51119" y="78523"/>
                    <a:pt x="51759" y="78523"/>
                  </a:cubicBezTo>
                  <a:cubicBezTo>
                    <a:pt x="52398" y="78523"/>
                    <a:pt x="52398" y="78523"/>
                    <a:pt x="53036" y="77885"/>
                  </a:cubicBezTo>
                  <a:cubicBezTo>
                    <a:pt x="54314" y="77885"/>
                    <a:pt x="55593" y="77885"/>
                    <a:pt x="56871" y="78523"/>
                  </a:cubicBezTo>
                  <a:cubicBezTo>
                    <a:pt x="57509" y="79161"/>
                    <a:pt x="58148" y="79161"/>
                    <a:pt x="58788" y="79800"/>
                  </a:cubicBezTo>
                  <a:cubicBezTo>
                    <a:pt x="60065" y="81077"/>
                    <a:pt x="60704" y="82353"/>
                    <a:pt x="60704" y="84269"/>
                  </a:cubicBezTo>
                  <a:cubicBezTo>
                    <a:pt x="60704" y="85545"/>
                    <a:pt x="60065" y="87461"/>
                    <a:pt x="58788" y="88737"/>
                  </a:cubicBezTo>
                  <a:close/>
                  <a:moveTo>
                    <a:pt x="58788" y="58094"/>
                  </a:moveTo>
                  <a:cubicBezTo>
                    <a:pt x="57509" y="59371"/>
                    <a:pt x="56231" y="60009"/>
                    <a:pt x="54314" y="60009"/>
                  </a:cubicBezTo>
                  <a:cubicBezTo>
                    <a:pt x="50481" y="60009"/>
                    <a:pt x="47925" y="57456"/>
                    <a:pt x="47925" y="53625"/>
                  </a:cubicBezTo>
                  <a:cubicBezTo>
                    <a:pt x="47925" y="52987"/>
                    <a:pt x="47925" y="51710"/>
                    <a:pt x="48564" y="51072"/>
                  </a:cubicBezTo>
                  <a:cubicBezTo>
                    <a:pt x="48564" y="50433"/>
                    <a:pt x="49203" y="49795"/>
                    <a:pt x="49842" y="49157"/>
                  </a:cubicBezTo>
                  <a:cubicBezTo>
                    <a:pt x="49842" y="48518"/>
                    <a:pt x="50481" y="48518"/>
                    <a:pt x="50481" y="48518"/>
                  </a:cubicBezTo>
                  <a:lnTo>
                    <a:pt x="51759" y="47880"/>
                  </a:lnTo>
                  <a:cubicBezTo>
                    <a:pt x="52398" y="47880"/>
                    <a:pt x="52398" y="47880"/>
                    <a:pt x="53036" y="47880"/>
                  </a:cubicBezTo>
                  <a:cubicBezTo>
                    <a:pt x="54314" y="47880"/>
                    <a:pt x="55593" y="47880"/>
                    <a:pt x="56871" y="47880"/>
                  </a:cubicBezTo>
                  <a:cubicBezTo>
                    <a:pt x="57509" y="47880"/>
                    <a:pt x="58148" y="48518"/>
                    <a:pt x="58788" y="49157"/>
                  </a:cubicBezTo>
                  <a:cubicBezTo>
                    <a:pt x="59426" y="49795"/>
                    <a:pt x="60065" y="50433"/>
                    <a:pt x="60065" y="51072"/>
                  </a:cubicBezTo>
                  <a:cubicBezTo>
                    <a:pt x="60065" y="51710"/>
                    <a:pt x="60704" y="52349"/>
                    <a:pt x="60704" y="53625"/>
                  </a:cubicBezTo>
                  <a:cubicBezTo>
                    <a:pt x="60704" y="55541"/>
                    <a:pt x="60065" y="57456"/>
                    <a:pt x="58788" y="58094"/>
                  </a:cubicBezTo>
                  <a:close/>
                  <a:moveTo>
                    <a:pt x="58788" y="28089"/>
                  </a:moveTo>
                  <a:cubicBezTo>
                    <a:pt x="57509" y="29366"/>
                    <a:pt x="56231" y="30005"/>
                    <a:pt x="54314" y="30005"/>
                  </a:cubicBezTo>
                  <a:cubicBezTo>
                    <a:pt x="50481" y="30005"/>
                    <a:pt x="47925" y="26813"/>
                    <a:pt x="47925" y="23621"/>
                  </a:cubicBezTo>
                  <a:cubicBezTo>
                    <a:pt x="47925" y="22982"/>
                    <a:pt x="47925" y="21706"/>
                    <a:pt x="48564" y="21067"/>
                  </a:cubicBezTo>
                  <a:cubicBezTo>
                    <a:pt x="49203" y="20429"/>
                    <a:pt x="49203" y="19790"/>
                    <a:pt x="49842" y="19152"/>
                  </a:cubicBezTo>
                  <a:cubicBezTo>
                    <a:pt x="49842" y="19152"/>
                    <a:pt x="50481" y="18514"/>
                    <a:pt x="50481" y="18514"/>
                  </a:cubicBezTo>
                  <a:cubicBezTo>
                    <a:pt x="51119" y="18514"/>
                    <a:pt x="51119" y="17875"/>
                    <a:pt x="51759" y="17875"/>
                  </a:cubicBezTo>
                  <a:cubicBezTo>
                    <a:pt x="52398" y="17875"/>
                    <a:pt x="52398" y="17875"/>
                    <a:pt x="53036" y="17237"/>
                  </a:cubicBezTo>
                  <a:cubicBezTo>
                    <a:pt x="54954" y="16598"/>
                    <a:pt x="57509" y="17237"/>
                    <a:pt x="58788" y="19152"/>
                  </a:cubicBezTo>
                  <a:cubicBezTo>
                    <a:pt x="59426" y="19790"/>
                    <a:pt x="60065" y="20429"/>
                    <a:pt x="60065" y="21067"/>
                  </a:cubicBezTo>
                  <a:cubicBezTo>
                    <a:pt x="61343" y="23621"/>
                    <a:pt x="60704" y="26174"/>
                    <a:pt x="58788" y="28089"/>
                  </a:cubicBezTo>
                  <a:lnTo>
                    <a:pt x="58788" y="28089"/>
                  </a:lnTo>
                  <a:close/>
                  <a:moveTo>
                    <a:pt x="89459" y="88737"/>
                  </a:moveTo>
                  <a:cubicBezTo>
                    <a:pt x="88820" y="89376"/>
                    <a:pt x="88181" y="90014"/>
                    <a:pt x="87542" y="90014"/>
                  </a:cubicBezTo>
                  <a:cubicBezTo>
                    <a:pt x="86903" y="90014"/>
                    <a:pt x="85625" y="90653"/>
                    <a:pt x="84986" y="90653"/>
                  </a:cubicBezTo>
                  <a:cubicBezTo>
                    <a:pt x="81152" y="90653"/>
                    <a:pt x="78596" y="88099"/>
                    <a:pt x="78596" y="84269"/>
                  </a:cubicBezTo>
                  <a:cubicBezTo>
                    <a:pt x="78596" y="82353"/>
                    <a:pt x="79235" y="81077"/>
                    <a:pt x="80513" y="79800"/>
                  </a:cubicBezTo>
                  <a:cubicBezTo>
                    <a:pt x="81152" y="79161"/>
                    <a:pt x="81791" y="78523"/>
                    <a:pt x="82430" y="78523"/>
                  </a:cubicBezTo>
                  <a:cubicBezTo>
                    <a:pt x="83708" y="77885"/>
                    <a:pt x="85625" y="77885"/>
                    <a:pt x="87542" y="78523"/>
                  </a:cubicBezTo>
                  <a:cubicBezTo>
                    <a:pt x="88181" y="78523"/>
                    <a:pt x="88181" y="79161"/>
                    <a:pt x="88820" y="79161"/>
                  </a:cubicBezTo>
                  <a:lnTo>
                    <a:pt x="89459" y="79800"/>
                  </a:lnTo>
                  <a:cubicBezTo>
                    <a:pt x="90737" y="81077"/>
                    <a:pt x="91376" y="82353"/>
                    <a:pt x="91376" y="84269"/>
                  </a:cubicBezTo>
                  <a:cubicBezTo>
                    <a:pt x="91376" y="85545"/>
                    <a:pt x="90737" y="87461"/>
                    <a:pt x="89459" y="88737"/>
                  </a:cubicBezTo>
                  <a:lnTo>
                    <a:pt x="89459" y="88737"/>
                  </a:lnTo>
                  <a:close/>
                  <a:moveTo>
                    <a:pt x="89459" y="58094"/>
                  </a:moveTo>
                  <a:cubicBezTo>
                    <a:pt x="88820" y="58733"/>
                    <a:pt x="88181" y="59371"/>
                    <a:pt x="87542" y="59371"/>
                  </a:cubicBezTo>
                  <a:cubicBezTo>
                    <a:pt x="86903" y="60009"/>
                    <a:pt x="85625" y="60009"/>
                    <a:pt x="84986" y="60009"/>
                  </a:cubicBezTo>
                  <a:cubicBezTo>
                    <a:pt x="84347" y="60009"/>
                    <a:pt x="83069" y="60009"/>
                    <a:pt x="82430" y="59371"/>
                  </a:cubicBezTo>
                  <a:cubicBezTo>
                    <a:pt x="81791" y="58733"/>
                    <a:pt x="81152" y="58733"/>
                    <a:pt x="80513" y="58094"/>
                  </a:cubicBezTo>
                  <a:cubicBezTo>
                    <a:pt x="79235" y="56817"/>
                    <a:pt x="78596" y="55541"/>
                    <a:pt x="78596" y="53625"/>
                  </a:cubicBezTo>
                  <a:cubicBezTo>
                    <a:pt x="78596" y="52987"/>
                    <a:pt x="78596" y="51710"/>
                    <a:pt x="79235" y="51072"/>
                  </a:cubicBezTo>
                  <a:cubicBezTo>
                    <a:pt x="79235" y="50433"/>
                    <a:pt x="79874" y="49795"/>
                    <a:pt x="80513" y="49157"/>
                  </a:cubicBezTo>
                  <a:cubicBezTo>
                    <a:pt x="80513" y="48518"/>
                    <a:pt x="81152" y="48518"/>
                    <a:pt x="81152" y="48518"/>
                  </a:cubicBezTo>
                  <a:lnTo>
                    <a:pt x="82430" y="47880"/>
                  </a:lnTo>
                  <a:cubicBezTo>
                    <a:pt x="83069" y="47880"/>
                    <a:pt x="83069" y="47880"/>
                    <a:pt x="83708" y="47880"/>
                  </a:cubicBezTo>
                  <a:cubicBezTo>
                    <a:pt x="84347" y="47880"/>
                    <a:pt x="85625" y="47880"/>
                    <a:pt x="86264" y="47880"/>
                  </a:cubicBezTo>
                  <a:cubicBezTo>
                    <a:pt x="86903" y="47880"/>
                    <a:pt x="86903" y="47880"/>
                    <a:pt x="87542" y="47880"/>
                  </a:cubicBezTo>
                  <a:lnTo>
                    <a:pt x="88820" y="48518"/>
                  </a:lnTo>
                  <a:lnTo>
                    <a:pt x="89459" y="49157"/>
                  </a:lnTo>
                  <a:cubicBezTo>
                    <a:pt x="90098" y="49795"/>
                    <a:pt x="90737" y="50433"/>
                    <a:pt x="90737" y="51072"/>
                  </a:cubicBezTo>
                  <a:cubicBezTo>
                    <a:pt x="90737" y="51710"/>
                    <a:pt x="91376" y="52349"/>
                    <a:pt x="91376" y="53625"/>
                  </a:cubicBezTo>
                  <a:cubicBezTo>
                    <a:pt x="91376" y="55541"/>
                    <a:pt x="90737" y="57456"/>
                    <a:pt x="89459" y="58094"/>
                  </a:cubicBezTo>
                  <a:lnTo>
                    <a:pt x="89459" y="58094"/>
                  </a:lnTo>
                  <a:close/>
                  <a:moveTo>
                    <a:pt x="89459" y="28089"/>
                  </a:moveTo>
                  <a:cubicBezTo>
                    <a:pt x="88181" y="29366"/>
                    <a:pt x="86903" y="30005"/>
                    <a:pt x="84986" y="30005"/>
                  </a:cubicBezTo>
                  <a:cubicBezTo>
                    <a:pt x="84347" y="30005"/>
                    <a:pt x="83069" y="30005"/>
                    <a:pt x="82430" y="29366"/>
                  </a:cubicBezTo>
                  <a:cubicBezTo>
                    <a:pt x="81791" y="29366"/>
                    <a:pt x="81152" y="28728"/>
                    <a:pt x="80513" y="28089"/>
                  </a:cubicBezTo>
                  <a:cubicBezTo>
                    <a:pt x="77957" y="25536"/>
                    <a:pt x="77957" y="21706"/>
                    <a:pt x="80513" y="19152"/>
                  </a:cubicBezTo>
                  <a:cubicBezTo>
                    <a:pt x="80513" y="19152"/>
                    <a:pt x="80513" y="19152"/>
                    <a:pt x="80513" y="19152"/>
                  </a:cubicBezTo>
                  <a:cubicBezTo>
                    <a:pt x="81152" y="18514"/>
                    <a:pt x="81791" y="17875"/>
                    <a:pt x="82430" y="17875"/>
                  </a:cubicBezTo>
                  <a:cubicBezTo>
                    <a:pt x="83708" y="17237"/>
                    <a:pt x="85625" y="17237"/>
                    <a:pt x="87542" y="17875"/>
                  </a:cubicBezTo>
                  <a:cubicBezTo>
                    <a:pt x="88181" y="17875"/>
                    <a:pt x="88820" y="18514"/>
                    <a:pt x="89459" y="19152"/>
                  </a:cubicBezTo>
                  <a:cubicBezTo>
                    <a:pt x="90098" y="19790"/>
                    <a:pt x="90737" y="20429"/>
                    <a:pt x="90737" y="21067"/>
                  </a:cubicBezTo>
                  <a:cubicBezTo>
                    <a:pt x="92015" y="23621"/>
                    <a:pt x="91376" y="26174"/>
                    <a:pt x="89459" y="28089"/>
                  </a:cubicBezTo>
                  <a:close/>
                  <a:moveTo>
                    <a:pt x="171250" y="49157"/>
                  </a:moveTo>
                  <a:cubicBezTo>
                    <a:pt x="171889" y="48518"/>
                    <a:pt x="172528" y="47880"/>
                    <a:pt x="173167" y="47880"/>
                  </a:cubicBezTo>
                  <a:cubicBezTo>
                    <a:pt x="175723" y="46603"/>
                    <a:pt x="178279" y="47241"/>
                    <a:pt x="180196" y="49157"/>
                  </a:cubicBezTo>
                  <a:cubicBezTo>
                    <a:pt x="180835" y="49795"/>
                    <a:pt x="181474" y="50433"/>
                    <a:pt x="181474" y="51072"/>
                  </a:cubicBezTo>
                  <a:cubicBezTo>
                    <a:pt x="181474" y="51710"/>
                    <a:pt x="182113" y="52349"/>
                    <a:pt x="182113" y="53625"/>
                  </a:cubicBezTo>
                  <a:cubicBezTo>
                    <a:pt x="182113" y="55541"/>
                    <a:pt x="181474" y="56817"/>
                    <a:pt x="180196" y="58094"/>
                  </a:cubicBezTo>
                  <a:cubicBezTo>
                    <a:pt x="179557" y="58733"/>
                    <a:pt x="178918" y="59371"/>
                    <a:pt x="178279" y="59371"/>
                  </a:cubicBezTo>
                  <a:cubicBezTo>
                    <a:pt x="177640" y="60009"/>
                    <a:pt x="177001" y="60009"/>
                    <a:pt x="175723" y="60009"/>
                  </a:cubicBezTo>
                  <a:cubicBezTo>
                    <a:pt x="173806" y="60009"/>
                    <a:pt x="172528" y="59371"/>
                    <a:pt x="171250" y="58094"/>
                  </a:cubicBezTo>
                  <a:cubicBezTo>
                    <a:pt x="169972" y="56817"/>
                    <a:pt x="169333" y="55541"/>
                    <a:pt x="169333" y="53625"/>
                  </a:cubicBezTo>
                  <a:cubicBezTo>
                    <a:pt x="169333" y="52349"/>
                    <a:pt x="169972" y="50433"/>
                    <a:pt x="171250" y="49157"/>
                  </a:cubicBezTo>
                  <a:lnTo>
                    <a:pt x="171250" y="49157"/>
                  </a:lnTo>
                  <a:close/>
                  <a:moveTo>
                    <a:pt x="119492" y="88737"/>
                  </a:moveTo>
                  <a:cubicBezTo>
                    <a:pt x="117575" y="90653"/>
                    <a:pt x="115019" y="91291"/>
                    <a:pt x="112463" y="90014"/>
                  </a:cubicBezTo>
                  <a:cubicBezTo>
                    <a:pt x="111824" y="89376"/>
                    <a:pt x="111185" y="89376"/>
                    <a:pt x="110546" y="88737"/>
                  </a:cubicBezTo>
                  <a:cubicBezTo>
                    <a:pt x="109268" y="87461"/>
                    <a:pt x="108629" y="86184"/>
                    <a:pt x="108629" y="84269"/>
                  </a:cubicBezTo>
                  <a:cubicBezTo>
                    <a:pt x="108629" y="83630"/>
                    <a:pt x="108629" y="82353"/>
                    <a:pt x="109268" y="81715"/>
                  </a:cubicBezTo>
                  <a:cubicBezTo>
                    <a:pt x="109268" y="81077"/>
                    <a:pt x="109907" y="80438"/>
                    <a:pt x="110546" y="79800"/>
                  </a:cubicBezTo>
                  <a:cubicBezTo>
                    <a:pt x="113102" y="77246"/>
                    <a:pt x="116936" y="77246"/>
                    <a:pt x="119492" y="79800"/>
                  </a:cubicBezTo>
                  <a:cubicBezTo>
                    <a:pt x="120131" y="80438"/>
                    <a:pt x="120770" y="81077"/>
                    <a:pt x="120770" y="81715"/>
                  </a:cubicBezTo>
                  <a:cubicBezTo>
                    <a:pt x="121409" y="82353"/>
                    <a:pt x="121409" y="82992"/>
                    <a:pt x="121409" y="84269"/>
                  </a:cubicBezTo>
                  <a:cubicBezTo>
                    <a:pt x="121409" y="85545"/>
                    <a:pt x="120770" y="87461"/>
                    <a:pt x="119492" y="88737"/>
                  </a:cubicBezTo>
                  <a:lnTo>
                    <a:pt x="119492" y="88737"/>
                  </a:lnTo>
                  <a:close/>
                  <a:moveTo>
                    <a:pt x="108629" y="53625"/>
                  </a:moveTo>
                  <a:cubicBezTo>
                    <a:pt x="108629" y="52987"/>
                    <a:pt x="108629" y="51710"/>
                    <a:pt x="109268" y="51072"/>
                  </a:cubicBezTo>
                  <a:cubicBezTo>
                    <a:pt x="109907" y="49795"/>
                    <a:pt x="111185" y="48518"/>
                    <a:pt x="112463" y="47880"/>
                  </a:cubicBezTo>
                  <a:cubicBezTo>
                    <a:pt x="113741" y="47241"/>
                    <a:pt x="115019" y="47241"/>
                    <a:pt x="116297" y="47880"/>
                  </a:cubicBezTo>
                  <a:cubicBezTo>
                    <a:pt x="116936" y="47880"/>
                    <a:pt x="116936" y="47880"/>
                    <a:pt x="117575" y="47880"/>
                  </a:cubicBezTo>
                  <a:lnTo>
                    <a:pt x="118853" y="48518"/>
                  </a:lnTo>
                  <a:cubicBezTo>
                    <a:pt x="119492" y="48518"/>
                    <a:pt x="119492" y="49157"/>
                    <a:pt x="119492" y="49157"/>
                  </a:cubicBezTo>
                  <a:cubicBezTo>
                    <a:pt x="120131" y="49795"/>
                    <a:pt x="120770" y="50433"/>
                    <a:pt x="120770" y="51072"/>
                  </a:cubicBezTo>
                  <a:cubicBezTo>
                    <a:pt x="120770" y="51710"/>
                    <a:pt x="121409" y="52349"/>
                    <a:pt x="121409" y="53625"/>
                  </a:cubicBezTo>
                  <a:cubicBezTo>
                    <a:pt x="121409" y="55541"/>
                    <a:pt x="120770" y="56817"/>
                    <a:pt x="119492" y="58094"/>
                  </a:cubicBezTo>
                  <a:cubicBezTo>
                    <a:pt x="116936" y="60648"/>
                    <a:pt x="113102" y="60648"/>
                    <a:pt x="110546" y="58094"/>
                  </a:cubicBezTo>
                  <a:cubicBezTo>
                    <a:pt x="109268" y="57456"/>
                    <a:pt x="108629" y="55541"/>
                    <a:pt x="108629" y="53625"/>
                  </a:cubicBezTo>
                  <a:lnTo>
                    <a:pt x="108629" y="53625"/>
                  </a:lnTo>
                  <a:close/>
                  <a:moveTo>
                    <a:pt x="120770" y="26174"/>
                  </a:moveTo>
                  <a:cubicBezTo>
                    <a:pt x="120131" y="26813"/>
                    <a:pt x="120131" y="27451"/>
                    <a:pt x="119492" y="28089"/>
                  </a:cubicBezTo>
                  <a:cubicBezTo>
                    <a:pt x="118853" y="28728"/>
                    <a:pt x="118214" y="29366"/>
                    <a:pt x="117575" y="29366"/>
                  </a:cubicBezTo>
                  <a:cubicBezTo>
                    <a:pt x="116936" y="30005"/>
                    <a:pt x="116297" y="30005"/>
                    <a:pt x="115019" y="30005"/>
                  </a:cubicBezTo>
                  <a:cubicBezTo>
                    <a:pt x="113102" y="30005"/>
                    <a:pt x="111824" y="29366"/>
                    <a:pt x="110546" y="28089"/>
                  </a:cubicBezTo>
                  <a:cubicBezTo>
                    <a:pt x="109907" y="27451"/>
                    <a:pt x="109268" y="26813"/>
                    <a:pt x="109268" y="26174"/>
                  </a:cubicBezTo>
                  <a:cubicBezTo>
                    <a:pt x="108629" y="25536"/>
                    <a:pt x="108629" y="24897"/>
                    <a:pt x="108629" y="23621"/>
                  </a:cubicBezTo>
                  <a:cubicBezTo>
                    <a:pt x="108629" y="21706"/>
                    <a:pt x="109268" y="20429"/>
                    <a:pt x="110546" y="19152"/>
                  </a:cubicBezTo>
                  <a:cubicBezTo>
                    <a:pt x="111185" y="18514"/>
                    <a:pt x="111824" y="17875"/>
                    <a:pt x="112463" y="17875"/>
                  </a:cubicBezTo>
                  <a:cubicBezTo>
                    <a:pt x="113741" y="17237"/>
                    <a:pt x="115658" y="17237"/>
                    <a:pt x="117575" y="17875"/>
                  </a:cubicBezTo>
                  <a:cubicBezTo>
                    <a:pt x="118214" y="17875"/>
                    <a:pt x="118853" y="18514"/>
                    <a:pt x="119492" y="19152"/>
                  </a:cubicBezTo>
                  <a:cubicBezTo>
                    <a:pt x="120770" y="20429"/>
                    <a:pt x="121409" y="21706"/>
                    <a:pt x="121409" y="23621"/>
                  </a:cubicBezTo>
                  <a:cubicBezTo>
                    <a:pt x="121409" y="24259"/>
                    <a:pt x="121409" y="24897"/>
                    <a:pt x="120770" y="26174"/>
                  </a:cubicBezTo>
                  <a:lnTo>
                    <a:pt x="120770" y="26174"/>
                  </a:lnTo>
                  <a:close/>
                  <a:moveTo>
                    <a:pt x="150164" y="88737"/>
                  </a:moveTo>
                  <a:cubicBezTo>
                    <a:pt x="147608" y="91291"/>
                    <a:pt x="143774" y="91291"/>
                    <a:pt x="141218" y="88737"/>
                  </a:cubicBezTo>
                  <a:cubicBezTo>
                    <a:pt x="139940" y="87461"/>
                    <a:pt x="139301" y="86184"/>
                    <a:pt x="139301" y="84269"/>
                  </a:cubicBezTo>
                  <a:cubicBezTo>
                    <a:pt x="139301" y="80438"/>
                    <a:pt x="141857" y="77885"/>
                    <a:pt x="145691" y="77885"/>
                  </a:cubicBezTo>
                  <a:cubicBezTo>
                    <a:pt x="149525" y="77885"/>
                    <a:pt x="152081" y="80438"/>
                    <a:pt x="152081" y="84269"/>
                  </a:cubicBezTo>
                  <a:cubicBezTo>
                    <a:pt x="152081" y="85545"/>
                    <a:pt x="151442" y="87461"/>
                    <a:pt x="150164" y="88737"/>
                  </a:cubicBezTo>
                  <a:lnTo>
                    <a:pt x="150164" y="88737"/>
                  </a:lnTo>
                  <a:close/>
                  <a:moveTo>
                    <a:pt x="150164" y="58094"/>
                  </a:moveTo>
                  <a:cubicBezTo>
                    <a:pt x="147608" y="60648"/>
                    <a:pt x="143774" y="60648"/>
                    <a:pt x="141218" y="58094"/>
                  </a:cubicBezTo>
                  <a:cubicBezTo>
                    <a:pt x="139940" y="56817"/>
                    <a:pt x="139301" y="55541"/>
                    <a:pt x="139301" y="53625"/>
                  </a:cubicBezTo>
                  <a:cubicBezTo>
                    <a:pt x="139301" y="52987"/>
                    <a:pt x="139301" y="51710"/>
                    <a:pt x="139940" y="51072"/>
                  </a:cubicBezTo>
                  <a:cubicBezTo>
                    <a:pt x="140579" y="50433"/>
                    <a:pt x="140579" y="49795"/>
                    <a:pt x="141218" y="49157"/>
                  </a:cubicBezTo>
                  <a:cubicBezTo>
                    <a:pt x="141857" y="48518"/>
                    <a:pt x="142496" y="47880"/>
                    <a:pt x="143135" y="47880"/>
                  </a:cubicBezTo>
                  <a:cubicBezTo>
                    <a:pt x="144413" y="47241"/>
                    <a:pt x="146330" y="47241"/>
                    <a:pt x="148247" y="47880"/>
                  </a:cubicBezTo>
                  <a:cubicBezTo>
                    <a:pt x="148886" y="47880"/>
                    <a:pt x="149525" y="48518"/>
                    <a:pt x="150164" y="49157"/>
                  </a:cubicBezTo>
                  <a:cubicBezTo>
                    <a:pt x="151442" y="50433"/>
                    <a:pt x="152081" y="51710"/>
                    <a:pt x="152081" y="53625"/>
                  </a:cubicBezTo>
                  <a:cubicBezTo>
                    <a:pt x="152081" y="55541"/>
                    <a:pt x="151442" y="57456"/>
                    <a:pt x="150164" y="58094"/>
                  </a:cubicBezTo>
                  <a:lnTo>
                    <a:pt x="150164" y="58094"/>
                  </a:lnTo>
                  <a:close/>
                  <a:moveTo>
                    <a:pt x="150164" y="28089"/>
                  </a:moveTo>
                  <a:cubicBezTo>
                    <a:pt x="148886" y="29366"/>
                    <a:pt x="147608" y="30005"/>
                    <a:pt x="145691" y="30005"/>
                  </a:cubicBezTo>
                  <a:cubicBezTo>
                    <a:pt x="143774" y="30005"/>
                    <a:pt x="142496" y="29366"/>
                    <a:pt x="141218" y="28089"/>
                  </a:cubicBezTo>
                  <a:cubicBezTo>
                    <a:pt x="138662" y="25536"/>
                    <a:pt x="138662" y="21706"/>
                    <a:pt x="141218" y="19152"/>
                  </a:cubicBezTo>
                  <a:cubicBezTo>
                    <a:pt x="141218" y="19152"/>
                    <a:pt x="141218" y="19152"/>
                    <a:pt x="141218" y="19152"/>
                  </a:cubicBezTo>
                  <a:cubicBezTo>
                    <a:pt x="141857" y="18514"/>
                    <a:pt x="142496" y="17875"/>
                    <a:pt x="143135" y="17875"/>
                  </a:cubicBezTo>
                  <a:cubicBezTo>
                    <a:pt x="145691" y="16598"/>
                    <a:pt x="148247" y="17237"/>
                    <a:pt x="150164" y="19152"/>
                  </a:cubicBezTo>
                  <a:cubicBezTo>
                    <a:pt x="150803" y="19790"/>
                    <a:pt x="151442" y="20429"/>
                    <a:pt x="151442" y="21067"/>
                  </a:cubicBezTo>
                  <a:cubicBezTo>
                    <a:pt x="152081" y="23621"/>
                    <a:pt x="151442" y="26174"/>
                    <a:pt x="150164" y="28089"/>
                  </a:cubicBezTo>
                  <a:lnTo>
                    <a:pt x="150164" y="28089"/>
                  </a:lnTo>
                  <a:close/>
                  <a:moveTo>
                    <a:pt x="180196" y="88737"/>
                  </a:moveTo>
                  <a:cubicBezTo>
                    <a:pt x="177640" y="91291"/>
                    <a:pt x="173806" y="91291"/>
                    <a:pt x="171250" y="88737"/>
                  </a:cubicBezTo>
                  <a:cubicBezTo>
                    <a:pt x="169972" y="87461"/>
                    <a:pt x="169333" y="86184"/>
                    <a:pt x="169333" y="84269"/>
                  </a:cubicBezTo>
                  <a:cubicBezTo>
                    <a:pt x="169333" y="83630"/>
                    <a:pt x="169333" y="82353"/>
                    <a:pt x="169972" y="81715"/>
                  </a:cubicBezTo>
                  <a:cubicBezTo>
                    <a:pt x="170611" y="81077"/>
                    <a:pt x="170611" y="80438"/>
                    <a:pt x="171250" y="79800"/>
                  </a:cubicBezTo>
                  <a:cubicBezTo>
                    <a:pt x="171250" y="79800"/>
                    <a:pt x="171889" y="79161"/>
                    <a:pt x="171889" y="79161"/>
                  </a:cubicBezTo>
                  <a:cubicBezTo>
                    <a:pt x="172528" y="79161"/>
                    <a:pt x="172528" y="78523"/>
                    <a:pt x="173167" y="78523"/>
                  </a:cubicBezTo>
                  <a:cubicBezTo>
                    <a:pt x="173806" y="78523"/>
                    <a:pt x="173806" y="78523"/>
                    <a:pt x="174445" y="77885"/>
                  </a:cubicBezTo>
                  <a:cubicBezTo>
                    <a:pt x="175723" y="77885"/>
                    <a:pt x="177001" y="77885"/>
                    <a:pt x="178279" y="78523"/>
                  </a:cubicBezTo>
                  <a:cubicBezTo>
                    <a:pt x="178918" y="79161"/>
                    <a:pt x="179557" y="79161"/>
                    <a:pt x="180196" y="79800"/>
                  </a:cubicBezTo>
                  <a:cubicBezTo>
                    <a:pt x="180835" y="80438"/>
                    <a:pt x="181474" y="81077"/>
                    <a:pt x="181474" y="81715"/>
                  </a:cubicBezTo>
                  <a:cubicBezTo>
                    <a:pt x="182113" y="82353"/>
                    <a:pt x="182113" y="82992"/>
                    <a:pt x="182113" y="84269"/>
                  </a:cubicBezTo>
                  <a:cubicBezTo>
                    <a:pt x="182113" y="85545"/>
                    <a:pt x="181474" y="87461"/>
                    <a:pt x="180196" y="88737"/>
                  </a:cubicBezTo>
                  <a:lnTo>
                    <a:pt x="180196" y="88737"/>
                  </a:lnTo>
                  <a:close/>
                </a:path>
              </a:pathLst>
            </a:custGeom>
            <a:grpFill/>
            <a:ln w="6390" cap="flat">
              <a:noFill/>
              <a:prstDash val="solid"/>
              <a:miter/>
            </a:ln>
          </p:spPr>
          <p:txBody>
            <a:bodyPr rtlCol="0" anchor="ctr"/>
            <a:lstStyle/>
            <a:p>
              <a:endParaRPr lang="en-US"/>
            </a:p>
          </p:txBody>
        </p:sp>
        <p:sp>
          <p:nvSpPr>
            <p:cNvPr id="44" name="Graphic 4">
              <a:extLst>
                <a:ext uri="{FF2B5EF4-FFF2-40B4-BE49-F238E27FC236}">
                  <a16:creationId xmlns:a16="http://schemas.microsoft.com/office/drawing/2014/main" id="{1D64C2EB-8D86-AE62-E2CD-AA482C41F882}"/>
                </a:ext>
              </a:extLst>
            </p:cNvPr>
            <p:cNvSpPr/>
            <p:nvPr/>
          </p:nvSpPr>
          <p:spPr>
            <a:xfrm>
              <a:off x="1092679" y="1969621"/>
              <a:ext cx="32588" cy="17236"/>
            </a:xfrm>
            <a:custGeom>
              <a:avLst/>
              <a:gdLst>
                <a:gd name="connsiteX0" fmla="*/ 0 w 32588"/>
                <a:gd name="connsiteY0" fmla="*/ 0 h 17236"/>
                <a:gd name="connsiteX1" fmla="*/ 32589 w 32588"/>
                <a:gd name="connsiteY1" fmla="*/ 0 h 17236"/>
                <a:gd name="connsiteX2" fmla="*/ 32589 w 32588"/>
                <a:gd name="connsiteY2" fmla="*/ 17237 h 17236"/>
                <a:gd name="connsiteX3" fmla="*/ 0 w 32588"/>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2588" h="17236">
                  <a:moveTo>
                    <a:pt x="0" y="0"/>
                  </a:moveTo>
                  <a:lnTo>
                    <a:pt x="32589" y="0"/>
                  </a:lnTo>
                  <a:lnTo>
                    <a:pt x="32589" y="17237"/>
                  </a:lnTo>
                  <a:lnTo>
                    <a:pt x="0" y="17237"/>
                  </a:lnTo>
                  <a:close/>
                </a:path>
              </a:pathLst>
            </a:custGeom>
            <a:grpFill/>
            <a:ln w="6390" cap="flat">
              <a:noFill/>
              <a:prstDash val="solid"/>
              <a:miter/>
            </a:ln>
          </p:spPr>
          <p:txBody>
            <a:bodyPr rtlCol="0" anchor="ctr"/>
            <a:lstStyle/>
            <a:p>
              <a:endParaRPr lang="en-US"/>
            </a:p>
          </p:txBody>
        </p:sp>
        <p:sp>
          <p:nvSpPr>
            <p:cNvPr id="45" name="Graphic 4">
              <a:extLst>
                <a:ext uri="{FF2B5EF4-FFF2-40B4-BE49-F238E27FC236}">
                  <a16:creationId xmlns:a16="http://schemas.microsoft.com/office/drawing/2014/main" id="{0598C9A4-ACFA-74D1-495E-38629C4336D4}"/>
                </a:ext>
              </a:extLst>
            </p:cNvPr>
            <p:cNvSpPr/>
            <p:nvPr/>
          </p:nvSpPr>
          <p:spPr>
            <a:xfrm>
              <a:off x="905454" y="1885990"/>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293298 w 362309"/>
                <a:gd name="connsiteY6" fmla="*/ 258551 h 362610"/>
                <a:gd name="connsiteX7" fmla="*/ 286908 w 362309"/>
                <a:gd name="connsiteY7" fmla="*/ 264935 h 362610"/>
                <a:gd name="connsiteX8" fmla="*/ 75401 w 362309"/>
                <a:gd name="connsiteY8" fmla="*/ 264935 h 362610"/>
                <a:gd name="connsiteX9" fmla="*/ 69011 w 362309"/>
                <a:gd name="connsiteY9" fmla="*/ 258551 h 362610"/>
                <a:gd name="connsiteX10" fmla="*/ 69011 w 362309"/>
                <a:gd name="connsiteY10" fmla="*/ 160238 h 362610"/>
                <a:gd name="connsiteX11" fmla="*/ 75401 w 362309"/>
                <a:gd name="connsiteY11" fmla="*/ 153854 h 362610"/>
                <a:gd name="connsiteX12" fmla="*/ 92015 w 362309"/>
                <a:gd name="connsiteY12" fmla="*/ 153854 h 362610"/>
                <a:gd name="connsiteX13" fmla="*/ 92015 w 362309"/>
                <a:gd name="connsiteY13" fmla="*/ 137894 h 362610"/>
                <a:gd name="connsiteX14" fmla="*/ 98405 w 362309"/>
                <a:gd name="connsiteY14" fmla="*/ 131510 h 362610"/>
                <a:gd name="connsiteX15" fmla="*/ 175084 w 362309"/>
                <a:gd name="connsiteY15" fmla="*/ 131510 h 362610"/>
                <a:gd name="connsiteX16" fmla="*/ 175084 w 362309"/>
                <a:gd name="connsiteY16" fmla="*/ 77246 h 362610"/>
                <a:gd name="connsiteX17" fmla="*/ 181474 w 362309"/>
                <a:gd name="connsiteY17" fmla="*/ 70862 h 362610"/>
                <a:gd name="connsiteX18" fmla="*/ 226843 w 362309"/>
                <a:gd name="connsiteY18" fmla="*/ 70862 h 362610"/>
                <a:gd name="connsiteX19" fmla="*/ 233233 w 362309"/>
                <a:gd name="connsiteY19" fmla="*/ 77246 h 362610"/>
                <a:gd name="connsiteX20" fmla="*/ 233233 w 362309"/>
                <a:gd name="connsiteY20" fmla="*/ 107251 h 362610"/>
                <a:gd name="connsiteX21" fmla="*/ 226843 w 362309"/>
                <a:gd name="connsiteY21" fmla="*/ 113635 h 362610"/>
                <a:gd name="connsiteX22" fmla="*/ 187225 w 362309"/>
                <a:gd name="connsiteY22" fmla="*/ 113635 h 362610"/>
                <a:gd name="connsiteX23" fmla="*/ 187225 w 362309"/>
                <a:gd name="connsiteY23" fmla="*/ 131510 h 362610"/>
                <a:gd name="connsiteX24" fmla="*/ 263904 w 362309"/>
                <a:gd name="connsiteY24" fmla="*/ 131510 h 362610"/>
                <a:gd name="connsiteX25" fmla="*/ 270294 w 362309"/>
                <a:gd name="connsiteY25" fmla="*/ 137894 h 362610"/>
                <a:gd name="connsiteX26" fmla="*/ 270294 w 362309"/>
                <a:gd name="connsiteY26" fmla="*/ 153854 h 362610"/>
                <a:gd name="connsiteX27" fmla="*/ 286908 w 362309"/>
                <a:gd name="connsiteY27" fmla="*/ 153854 h 362610"/>
                <a:gd name="connsiteX28" fmla="*/ 293298 w 362309"/>
                <a:gd name="connsiteY28" fmla="*/ 160238 h 362610"/>
                <a:gd name="connsiteX29" fmla="*/ 293298 w 362309"/>
                <a:gd name="connsiteY29" fmla="*/ 258551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2309" y="80438"/>
                    <a:pt x="281157" y="0"/>
                    <a:pt x="180835" y="0"/>
                  </a:cubicBezTo>
                  <a:cubicBezTo>
                    <a:pt x="180835" y="0"/>
                    <a:pt x="180835" y="0"/>
                    <a:pt x="180835" y="0"/>
                  </a:cubicBezTo>
                  <a:close/>
                  <a:moveTo>
                    <a:pt x="293298" y="258551"/>
                  </a:moveTo>
                  <a:cubicBezTo>
                    <a:pt x="293298" y="262382"/>
                    <a:pt x="290742" y="264935"/>
                    <a:pt x="286908" y="264935"/>
                  </a:cubicBezTo>
                  <a:lnTo>
                    <a:pt x="75401" y="264935"/>
                  </a:lnTo>
                  <a:cubicBezTo>
                    <a:pt x="71567" y="264935"/>
                    <a:pt x="69011" y="262382"/>
                    <a:pt x="69011" y="258551"/>
                  </a:cubicBezTo>
                  <a:lnTo>
                    <a:pt x="69011" y="160238"/>
                  </a:lnTo>
                  <a:cubicBezTo>
                    <a:pt x="69011" y="156408"/>
                    <a:pt x="71567" y="153854"/>
                    <a:pt x="75401" y="153854"/>
                  </a:cubicBezTo>
                  <a:lnTo>
                    <a:pt x="92015" y="153854"/>
                  </a:lnTo>
                  <a:lnTo>
                    <a:pt x="92015" y="137894"/>
                  </a:lnTo>
                  <a:cubicBezTo>
                    <a:pt x="92015" y="134064"/>
                    <a:pt x="94571" y="131510"/>
                    <a:pt x="98405" y="131510"/>
                  </a:cubicBezTo>
                  <a:lnTo>
                    <a:pt x="175084" y="131510"/>
                  </a:lnTo>
                  <a:lnTo>
                    <a:pt x="175084" y="77246"/>
                  </a:lnTo>
                  <a:cubicBezTo>
                    <a:pt x="175084" y="73416"/>
                    <a:pt x="177640" y="70862"/>
                    <a:pt x="181474" y="70862"/>
                  </a:cubicBezTo>
                  <a:lnTo>
                    <a:pt x="226843" y="70862"/>
                  </a:lnTo>
                  <a:cubicBezTo>
                    <a:pt x="230677" y="70862"/>
                    <a:pt x="233233" y="73416"/>
                    <a:pt x="233233" y="77246"/>
                  </a:cubicBezTo>
                  <a:lnTo>
                    <a:pt x="233233" y="107251"/>
                  </a:lnTo>
                  <a:cubicBezTo>
                    <a:pt x="233233" y="111081"/>
                    <a:pt x="230677" y="113635"/>
                    <a:pt x="226843" y="113635"/>
                  </a:cubicBezTo>
                  <a:lnTo>
                    <a:pt x="187225" y="113635"/>
                  </a:lnTo>
                  <a:lnTo>
                    <a:pt x="187225" y="131510"/>
                  </a:lnTo>
                  <a:lnTo>
                    <a:pt x="263904" y="131510"/>
                  </a:lnTo>
                  <a:cubicBezTo>
                    <a:pt x="267738" y="131510"/>
                    <a:pt x="270294" y="134064"/>
                    <a:pt x="270294" y="137894"/>
                  </a:cubicBezTo>
                  <a:lnTo>
                    <a:pt x="270294" y="153854"/>
                  </a:lnTo>
                  <a:lnTo>
                    <a:pt x="286908" y="153854"/>
                  </a:lnTo>
                  <a:cubicBezTo>
                    <a:pt x="290742" y="153854"/>
                    <a:pt x="293298" y="156408"/>
                    <a:pt x="293298" y="160238"/>
                  </a:cubicBezTo>
                  <a:lnTo>
                    <a:pt x="293298" y="258551"/>
                  </a:lnTo>
                  <a:close/>
                </a:path>
              </a:pathLst>
            </a:custGeom>
            <a:grpFill/>
            <a:ln w="6390" cap="flat">
              <a:noFill/>
              <a:prstDash val="solid"/>
              <a:miter/>
            </a:ln>
          </p:spPr>
          <p:txBody>
            <a:bodyPr rtlCol="0" anchor="ctr"/>
            <a:lstStyle/>
            <a:p>
              <a:endParaRPr lang="en-US"/>
            </a:p>
          </p:txBody>
        </p:sp>
      </p:grpSp>
      <p:grpSp>
        <p:nvGrpSpPr>
          <p:cNvPr id="46" name="Graphic 4">
            <a:extLst>
              <a:ext uri="{FF2B5EF4-FFF2-40B4-BE49-F238E27FC236}">
                <a16:creationId xmlns:a16="http://schemas.microsoft.com/office/drawing/2014/main" id="{E2703296-608C-8593-7E0F-6B5E9232A3E9}"/>
              </a:ext>
            </a:extLst>
          </p:cNvPr>
          <p:cNvGrpSpPr/>
          <p:nvPr/>
        </p:nvGrpSpPr>
        <p:grpSpPr>
          <a:xfrm>
            <a:off x="3671615" y="3572536"/>
            <a:ext cx="610700" cy="617320"/>
            <a:chOff x="10324860" y="2855717"/>
            <a:chExt cx="361674" cy="361333"/>
          </a:xfrm>
          <a:solidFill>
            <a:schemeClr val="bg1"/>
          </a:solidFill>
        </p:grpSpPr>
        <p:sp>
          <p:nvSpPr>
            <p:cNvPr id="47" name="Graphic 4">
              <a:extLst>
                <a:ext uri="{FF2B5EF4-FFF2-40B4-BE49-F238E27FC236}">
                  <a16:creationId xmlns:a16="http://schemas.microsoft.com/office/drawing/2014/main" id="{D344CC32-8B3A-0FDB-678C-60316B652065}"/>
                </a:ext>
              </a:extLst>
            </p:cNvPr>
            <p:cNvSpPr/>
            <p:nvPr/>
          </p:nvSpPr>
          <p:spPr>
            <a:xfrm>
              <a:off x="10407290" y="3008933"/>
              <a:ext cx="23643" cy="23620"/>
            </a:xfrm>
            <a:custGeom>
              <a:avLst/>
              <a:gdLst>
                <a:gd name="connsiteX0" fmla="*/ 23643 w 23643"/>
                <a:gd name="connsiteY0" fmla="*/ 0 h 23620"/>
                <a:gd name="connsiteX1" fmla="*/ 0 w 23643"/>
                <a:gd name="connsiteY1" fmla="*/ 0 h 23620"/>
                <a:gd name="connsiteX2" fmla="*/ 0 w 23643"/>
                <a:gd name="connsiteY2" fmla="*/ 23621 h 23620"/>
                <a:gd name="connsiteX3" fmla="*/ 23643 w 23643"/>
                <a:gd name="connsiteY3" fmla="*/ 0 h 23620"/>
              </a:gdLst>
              <a:ahLst/>
              <a:cxnLst>
                <a:cxn ang="0">
                  <a:pos x="connsiteX0" y="connsiteY0"/>
                </a:cxn>
                <a:cxn ang="0">
                  <a:pos x="connsiteX1" y="connsiteY1"/>
                </a:cxn>
                <a:cxn ang="0">
                  <a:pos x="connsiteX2" y="connsiteY2"/>
                </a:cxn>
                <a:cxn ang="0">
                  <a:pos x="connsiteX3" y="connsiteY3"/>
                </a:cxn>
              </a:cxnLst>
              <a:rect l="l" t="t" r="r" b="b"/>
              <a:pathLst>
                <a:path w="23643" h="23620">
                  <a:moveTo>
                    <a:pt x="23643" y="0"/>
                  </a:moveTo>
                  <a:lnTo>
                    <a:pt x="0" y="0"/>
                  </a:lnTo>
                  <a:lnTo>
                    <a:pt x="0" y="23621"/>
                  </a:lnTo>
                  <a:cubicBezTo>
                    <a:pt x="11502" y="21067"/>
                    <a:pt x="21087" y="12130"/>
                    <a:pt x="23643" y="0"/>
                  </a:cubicBezTo>
                  <a:close/>
                </a:path>
              </a:pathLst>
            </a:custGeom>
            <a:grpFill/>
            <a:ln w="6390" cap="flat">
              <a:noFill/>
              <a:prstDash val="solid"/>
              <a:miter/>
            </a:ln>
          </p:spPr>
          <p:txBody>
            <a:bodyPr rtlCol="0" anchor="ctr"/>
            <a:lstStyle/>
            <a:p>
              <a:endParaRPr lang="en-US"/>
            </a:p>
          </p:txBody>
        </p:sp>
        <p:sp>
          <p:nvSpPr>
            <p:cNvPr id="48" name="Graphic 4">
              <a:extLst>
                <a:ext uri="{FF2B5EF4-FFF2-40B4-BE49-F238E27FC236}">
                  <a16:creationId xmlns:a16="http://schemas.microsoft.com/office/drawing/2014/main" id="{B8E3740F-087E-5847-DFE3-0C6BBB79075D}"/>
                </a:ext>
              </a:extLst>
            </p:cNvPr>
            <p:cNvSpPr/>
            <p:nvPr/>
          </p:nvSpPr>
          <p:spPr>
            <a:xfrm>
              <a:off x="10550425" y="3009571"/>
              <a:ext cx="23003" cy="22982"/>
            </a:xfrm>
            <a:custGeom>
              <a:avLst/>
              <a:gdLst>
                <a:gd name="connsiteX0" fmla="*/ 23004 w 23003"/>
                <a:gd name="connsiteY0" fmla="*/ 22982 h 22982"/>
                <a:gd name="connsiteX1" fmla="*/ 23004 w 23003"/>
                <a:gd name="connsiteY1" fmla="*/ 0 h 22982"/>
                <a:gd name="connsiteX2" fmla="*/ 0 w 23003"/>
                <a:gd name="connsiteY2" fmla="*/ 0 h 22982"/>
                <a:gd name="connsiteX3" fmla="*/ 23004 w 23003"/>
                <a:gd name="connsiteY3" fmla="*/ 22982 h 22982"/>
              </a:gdLst>
              <a:ahLst/>
              <a:cxnLst>
                <a:cxn ang="0">
                  <a:pos x="connsiteX0" y="connsiteY0"/>
                </a:cxn>
                <a:cxn ang="0">
                  <a:pos x="connsiteX1" y="connsiteY1"/>
                </a:cxn>
                <a:cxn ang="0">
                  <a:pos x="connsiteX2" y="connsiteY2"/>
                </a:cxn>
                <a:cxn ang="0">
                  <a:pos x="connsiteX3" y="connsiteY3"/>
                </a:cxn>
              </a:cxnLst>
              <a:rect l="l" t="t" r="r" b="b"/>
              <a:pathLst>
                <a:path w="23003" h="22982">
                  <a:moveTo>
                    <a:pt x="23004" y="22982"/>
                  </a:moveTo>
                  <a:lnTo>
                    <a:pt x="23004" y="0"/>
                  </a:lnTo>
                  <a:lnTo>
                    <a:pt x="0" y="0"/>
                  </a:lnTo>
                  <a:cubicBezTo>
                    <a:pt x="2556" y="11491"/>
                    <a:pt x="11502" y="20429"/>
                    <a:pt x="23004" y="22982"/>
                  </a:cubicBezTo>
                  <a:close/>
                </a:path>
              </a:pathLst>
            </a:custGeom>
            <a:grpFill/>
            <a:ln w="6390" cap="flat">
              <a:noFill/>
              <a:prstDash val="solid"/>
              <a:miter/>
            </a:ln>
          </p:spPr>
          <p:txBody>
            <a:bodyPr rtlCol="0" anchor="ctr"/>
            <a:lstStyle/>
            <a:p>
              <a:endParaRPr lang="en-US"/>
            </a:p>
          </p:txBody>
        </p:sp>
        <p:sp>
          <p:nvSpPr>
            <p:cNvPr id="49" name="Graphic 4">
              <a:extLst>
                <a:ext uri="{FF2B5EF4-FFF2-40B4-BE49-F238E27FC236}">
                  <a16:creationId xmlns:a16="http://schemas.microsoft.com/office/drawing/2014/main" id="{9B7F3806-3A8A-A891-9B1F-A51D3377A7B5}"/>
                </a:ext>
              </a:extLst>
            </p:cNvPr>
            <p:cNvSpPr/>
            <p:nvPr/>
          </p:nvSpPr>
          <p:spPr>
            <a:xfrm>
              <a:off x="10406651" y="3008933"/>
              <a:ext cx="166777" cy="86183"/>
            </a:xfrm>
            <a:custGeom>
              <a:avLst/>
              <a:gdLst>
                <a:gd name="connsiteX0" fmla="*/ 0 w 166777"/>
                <a:gd name="connsiteY0" fmla="*/ 36389 h 86183"/>
                <a:gd name="connsiteX1" fmla="*/ 0 w 166777"/>
                <a:gd name="connsiteY1" fmla="*/ 49795 h 86183"/>
                <a:gd name="connsiteX2" fmla="*/ 36423 w 166777"/>
                <a:gd name="connsiteY2" fmla="*/ 86184 h 86183"/>
                <a:gd name="connsiteX3" fmla="*/ 129716 w 166777"/>
                <a:gd name="connsiteY3" fmla="*/ 86184 h 86183"/>
                <a:gd name="connsiteX4" fmla="*/ 166777 w 166777"/>
                <a:gd name="connsiteY4" fmla="*/ 49795 h 86183"/>
                <a:gd name="connsiteX5" fmla="*/ 166777 w 166777"/>
                <a:gd name="connsiteY5" fmla="*/ 36389 h 86183"/>
                <a:gd name="connsiteX6" fmla="*/ 130355 w 166777"/>
                <a:gd name="connsiteY6" fmla="*/ 0 h 86183"/>
                <a:gd name="connsiteX7" fmla="*/ 36423 w 166777"/>
                <a:gd name="connsiteY7" fmla="*/ 0 h 86183"/>
                <a:gd name="connsiteX8" fmla="*/ 0 w 166777"/>
                <a:gd name="connsiteY8" fmla="*/ 36389 h 8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777" h="86183">
                  <a:moveTo>
                    <a:pt x="0" y="36389"/>
                  </a:moveTo>
                  <a:lnTo>
                    <a:pt x="0" y="49795"/>
                  </a:lnTo>
                  <a:cubicBezTo>
                    <a:pt x="18531" y="52349"/>
                    <a:pt x="33228" y="67032"/>
                    <a:pt x="36423" y="86184"/>
                  </a:cubicBezTo>
                  <a:lnTo>
                    <a:pt x="129716" y="86184"/>
                  </a:lnTo>
                  <a:cubicBezTo>
                    <a:pt x="132272" y="67032"/>
                    <a:pt x="147607" y="52349"/>
                    <a:pt x="166777" y="49795"/>
                  </a:cubicBezTo>
                  <a:lnTo>
                    <a:pt x="166777" y="36389"/>
                  </a:lnTo>
                  <a:cubicBezTo>
                    <a:pt x="148247" y="33835"/>
                    <a:pt x="133550" y="19152"/>
                    <a:pt x="130355" y="0"/>
                  </a:cubicBezTo>
                  <a:lnTo>
                    <a:pt x="36423" y="0"/>
                  </a:lnTo>
                  <a:cubicBezTo>
                    <a:pt x="34506" y="19152"/>
                    <a:pt x="19170" y="33835"/>
                    <a:pt x="0" y="36389"/>
                  </a:cubicBez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F44AAA38-ED0A-CE0A-C77E-336295174A73}"/>
                </a:ext>
              </a:extLst>
            </p:cNvPr>
            <p:cNvSpPr/>
            <p:nvPr/>
          </p:nvSpPr>
          <p:spPr>
            <a:xfrm>
              <a:off x="10406651" y="3072134"/>
              <a:ext cx="23003" cy="22982"/>
            </a:xfrm>
            <a:custGeom>
              <a:avLst/>
              <a:gdLst>
                <a:gd name="connsiteX0" fmla="*/ 0 w 23003"/>
                <a:gd name="connsiteY0" fmla="*/ 0 h 22982"/>
                <a:gd name="connsiteX1" fmla="*/ 0 w 23003"/>
                <a:gd name="connsiteY1" fmla="*/ 22982 h 22982"/>
                <a:gd name="connsiteX2" fmla="*/ 23004 w 23003"/>
                <a:gd name="connsiteY2" fmla="*/ 22982 h 22982"/>
                <a:gd name="connsiteX3" fmla="*/ 0 w 23003"/>
                <a:gd name="connsiteY3" fmla="*/ 0 h 22982"/>
              </a:gdLst>
              <a:ahLst/>
              <a:cxnLst>
                <a:cxn ang="0">
                  <a:pos x="connsiteX0" y="connsiteY0"/>
                </a:cxn>
                <a:cxn ang="0">
                  <a:pos x="connsiteX1" y="connsiteY1"/>
                </a:cxn>
                <a:cxn ang="0">
                  <a:pos x="connsiteX2" y="connsiteY2"/>
                </a:cxn>
                <a:cxn ang="0">
                  <a:pos x="connsiteX3" y="connsiteY3"/>
                </a:cxn>
              </a:cxnLst>
              <a:rect l="l" t="t" r="r" b="b"/>
              <a:pathLst>
                <a:path w="23003" h="22982">
                  <a:moveTo>
                    <a:pt x="0" y="0"/>
                  </a:moveTo>
                  <a:lnTo>
                    <a:pt x="0" y="22982"/>
                  </a:lnTo>
                  <a:lnTo>
                    <a:pt x="23004" y="22982"/>
                  </a:lnTo>
                  <a:cubicBezTo>
                    <a:pt x="21087" y="11491"/>
                    <a:pt x="12141" y="1915"/>
                    <a:pt x="0" y="0"/>
                  </a:cubicBez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9DA892D8-4E98-251D-2F59-ACF68C399D01}"/>
                </a:ext>
              </a:extLst>
            </p:cNvPr>
            <p:cNvSpPr/>
            <p:nvPr/>
          </p:nvSpPr>
          <p:spPr>
            <a:xfrm>
              <a:off x="10549786" y="3071496"/>
              <a:ext cx="23642" cy="23620"/>
            </a:xfrm>
            <a:custGeom>
              <a:avLst/>
              <a:gdLst>
                <a:gd name="connsiteX0" fmla="*/ 0 w 23642"/>
                <a:gd name="connsiteY0" fmla="*/ 23621 h 23620"/>
                <a:gd name="connsiteX1" fmla="*/ 23642 w 23642"/>
                <a:gd name="connsiteY1" fmla="*/ 23621 h 23620"/>
                <a:gd name="connsiteX2" fmla="*/ 23642 w 23642"/>
                <a:gd name="connsiteY2" fmla="*/ 0 h 23620"/>
                <a:gd name="connsiteX3" fmla="*/ 0 w 23642"/>
                <a:gd name="connsiteY3" fmla="*/ 23621 h 23620"/>
              </a:gdLst>
              <a:ahLst/>
              <a:cxnLst>
                <a:cxn ang="0">
                  <a:pos x="connsiteX0" y="connsiteY0"/>
                </a:cxn>
                <a:cxn ang="0">
                  <a:pos x="connsiteX1" y="connsiteY1"/>
                </a:cxn>
                <a:cxn ang="0">
                  <a:pos x="connsiteX2" y="connsiteY2"/>
                </a:cxn>
                <a:cxn ang="0">
                  <a:pos x="connsiteX3" y="connsiteY3"/>
                </a:cxn>
              </a:cxnLst>
              <a:rect l="l" t="t" r="r" b="b"/>
              <a:pathLst>
                <a:path w="23642" h="23620">
                  <a:moveTo>
                    <a:pt x="0" y="23621"/>
                  </a:moveTo>
                  <a:lnTo>
                    <a:pt x="23642" y="23621"/>
                  </a:lnTo>
                  <a:lnTo>
                    <a:pt x="23642" y="0"/>
                  </a:lnTo>
                  <a:cubicBezTo>
                    <a:pt x="12141" y="2554"/>
                    <a:pt x="2556" y="11491"/>
                    <a:pt x="0" y="23621"/>
                  </a:cubicBez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2F453BB3-06E0-CC08-3244-BBEDA97D1F4B}"/>
                </a:ext>
              </a:extLst>
            </p:cNvPr>
            <p:cNvSpPr/>
            <p:nvPr/>
          </p:nvSpPr>
          <p:spPr>
            <a:xfrm>
              <a:off x="10438601" y="2977013"/>
              <a:ext cx="166777" cy="86183"/>
            </a:xfrm>
            <a:custGeom>
              <a:avLst/>
              <a:gdLst>
                <a:gd name="connsiteX0" fmla="*/ 0 w 166777"/>
                <a:gd name="connsiteY0" fmla="*/ 19152 h 86183"/>
                <a:gd name="connsiteX1" fmla="*/ 141857 w 166777"/>
                <a:gd name="connsiteY1" fmla="*/ 19152 h 86183"/>
                <a:gd name="connsiteX2" fmla="*/ 148247 w 166777"/>
                <a:gd name="connsiteY2" fmla="*/ 25536 h 86183"/>
                <a:gd name="connsiteX3" fmla="*/ 148247 w 166777"/>
                <a:gd name="connsiteY3" fmla="*/ 86184 h 86183"/>
                <a:gd name="connsiteX4" fmla="*/ 166777 w 166777"/>
                <a:gd name="connsiteY4" fmla="*/ 86184 h 86183"/>
                <a:gd name="connsiteX5" fmla="*/ 166777 w 166777"/>
                <a:gd name="connsiteY5" fmla="*/ 0 h 86183"/>
                <a:gd name="connsiteX6" fmla="*/ 0 w 166777"/>
                <a:gd name="connsiteY6" fmla="*/ 0 h 86183"/>
                <a:gd name="connsiteX7" fmla="*/ 0 w 166777"/>
                <a:gd name="connsiteY7" fmla="*/ 19152 h 8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777" h="86183">
                  <a:moveTo>
                    <a:pt x="0" y="19152"/>
                  </a:moveTo>
                  <a:lnTo>
                    <a:pt x="141857" y="19152"/>
                  </a:lnTo>
                  <a:cubicBezTo>
                    <a:pt x="145691" y="19152"/>
                    <a:pt x="148247" y="21706"/>
                    <a:pt x="148247" y="25536"/>
                  </a:cubicBezTo>
                  <a:lnTo>
                    <a:pt x="148247" y="86184"/>
                  </a:lnTo>
                  <a:lnTo>
                    <a:pt x="166777" y="86184"/>
                  </a:lnTo>
                  <a:lnTo>
                    <a:pt x="166777" y="0"/>
                  </a:lnTo>
                  <a:lnTo>
                    <a:pt x="0" y="0"/>
                  </a:lnTo>
                  <a:lnTo>
                    <a:pt x="0" y="19152"/>
                  </a:lnTo>
                  <a:close/>
                </a:path>
              </a:pathLst>
            </a:custGeom>
            <a:grpFill/>
            <a:ln w="6390"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B285B17B-26E9-56CE-27CD-F0A5BAD22CE6}"/>
                </a:ext>
              </a:extLst>
            </p:cNvPr>
            <p:cNvSpPr/>
            <p:nvPr/>
          </p:nvSpPr>
          <p:spPr>
            <a:xfrm>
              <a:off x="10324860" y="2855717"/>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293298 w 361674"/>
                <a:gd name="connsiteY5" fmla="*/ 214502 h 361333"/>
                <a:gd name="connsiteX6" fmla="*/ 286908 w 361674"/>
                <a:gd name="connsiteY6" fmla="*/ 220886 h 361333"/>
                <a:gd name="connsiteX7" fmla="*/ 261987 w 361674"/>
                <a:gd name="connsiteY7" fmla="*/ 220886 h 361333"/>
                <a:gd name="connsiteX8" fmla="*/ 261987 w 361674"/>
                <a:gd name="connsiteY8" fmla="*/ 245783 h 361333"/>
                <a:gd name="connsiteX9" fmla="*/ 255597 w 361674"/>
                <a:gd name="connsiteY9" fmla="*/ 252167 h 361333"/>
                <a:gd name="connsiteX10" fmla="*/ 76040 w 361674"/>
                <a:gd name="connsiteY10" fmla="*/ 252167 h 361333"/>
                <a:gd name="connsiteX11" fmla="*/ 69650 w 361674"/>
                <a:gd name="connsiteY11" fmla="*/ 245783 h 361333"/>
                <a:gd name="connsiteX12" fmla="*/ 69650 w 361674"/>
                <a:gd name="connsiteY12" fmla="*/ 146832 h 361333"/>
                <a:gd name="connsiteX13" fmla="*/ 76040 w 361674"/>
                <a:gd name="connsiteY13" fmla="*/ 140448 h 361333"/>
                <a:gd name="connsiteX14" fmla="*/ 100961 w 361674"/>
                <a:gd name="connsiteY14" fmla="*/ 140448 h 361333"/>
                <a:gd name="connsiteX15" fmla="*/ 100961 w 361674"/>
                <a:gd name="connsiteY15" fmla="*/ 115550 h 361333"/>
                <a:gd name="connsiteX16" fmla="*/ 107350 w 361674"/>
                <a:gd name="connsiteY16" fmla="*/ 109166 h 361333"/>
                <a:gd name="connsiteX17" fmla="*/ 286908 w 361674"/>
                <a:gd name="connsiteY17" fmla="*/ 109166 h 361333"/>
                <a:gd name="connsiteX18" fmla="*/ 293298 w 361674"/>
                <a:gd name="connsiteY18" fmla="*/ 115550 h 361333"/>
                <a:gd name="connsiteX19" fmla="*/ 293298 w 361674"/>
                <a:gd name="connsiteY19" fmla="*/ 21450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1674" h="361333">
                  <a:moveTo>
                    <a:pt x="180835" y="0"/>
                  </a:moveTo>
                  <a:cubicBezTo>
                    <a:pt x="80513" y="0"/>
                    <a:pt x="0" y="81076"/>
                    <a:pt x="0" y="180667"/>
                  </a:cubicBezTo>
                  <a:cubicBezTo>
                    <a:pt x="0" y="280895"/>
                    <a:pt x="81152" y="361333"/>
                    <a:pt x="180835" y="361333"/>
                  </a:cubicBezTo>
                  <a:cubicBezTo>
                    <a:pt x="280518" y="361333"/>
                    <a:pt x="361670" y="280257"/>
                    <a:pt x="361670" y="180667"/>
                  </a:cubicBezTo>
                  <a:cubicBezTo>
                    <a:pt x="362309" y="80438"/>
                    <a:pt x="281157" y="0"/>
                    <a:pt x="180835" y="0"/>
                  </a:cubicBezTo>
                  <a:close/>
                  <a:moveTo>
                    <a:pt x="293298" y="214502"/>
                  </a:moveTo>
                  <a:cubicBezTo>
                    <a:pt x="293298" y="218332"/>
                    <a:pt x="290742" y="220886"/>
                    <a:pt x="286908" y="220886"/>
                  </a:cubicBezTo>
                  <a:lnTo>
                    <a:pt x="261987" y="220886"/>
                  </a:lnTo>
                  <a:lnTo>
                    <a:pt x="261987" y="245783"/>
                  </a:lnTo>
                  <a:cubicBezTo>
                    <a:pt x="261987" y="249614"/>
                    <a:pt x="259431" y="252167"/>
                    <a:pt x="255597" y="252167"/>
                  </a:cubicBezTo>
                  <a:lnTo>
                    <a:pt x="76040" y="252167"/>
                  </a:lnTo>
                  <a:cubicBezTo>
                    <a:pt x="72206" y="252167"/>
                    <a:pt x="69650" y="249614"/>
                    <a:pt x="69650" y="245783"/>
                  </a:cubicBezTo>
                  <a:lnTo>
                    <a:pt x="69650" y="146832"/>
                  </a:lnTo>
                  <a:cubicBezTo>
                    <a:pt x="69650" y="143001"/>
                    <a:pt x="72206" y="140448"/>
                    <a:pt x="76040" y="140448"/>
                  </a:cubicBezTo>
                  <a:lnTo>
                    <a:pt x="100961" y="140448"/>
                  </a:lnTo>
                  <a:lnTo>
                    <a:pt x="100961" y="115550"/>
                  </a:lnTo>
                  <a:cubicBezTo>
                    <a:pt x="100961" y="111720"/>
                    <a:pt x="103517" y="109166"/>
                    <a:pt x="107350" y="109166"/>
                  </a:cubicBezTo>
                  <a:lnTo>
                    <a:pt x="286908" y="109166"/>
                  </a:lnTo>
                  <a:cubicBezTo>
                    <a:pt x="290742" y="109166"/>
                    <a:pt x="293298" y="111720"/>
                    <a:pt x="293298" y="115550"/>
                  </a:cubicBezTo>
                  <a:lnTo>
                    <a:pt x="293298" y="214502"/>
                  </a:lnTo>
                  <a:close/>
                </a:path>
              </a:pathLst>
            </a:custGeom>
            <a:grpFill/>
            <a:ln w="6390" cap="flat">
              <a:noFill/>
              <a:prstDash val="solid"/>
              <a:miter/>
            </a:ln>
          </p:spPr>
          <p:txBody>
            <a:bodyPr rtlCol="0" anchor="ctr"/>
            <a:lstStyle/>
            <a:p>
              <a:endParaRPr lang="en-US"/>
            </a:p>
          </p:txBody>
        </p:sp>
      </p:grpSp>
      <p:grpSp>
        <p:nvGrpSpPr>
          <p:cNvPr id="58" name="Graphic 4">
            <a:extLst>
              <a:ext uri="{FF2B5EF4-FFF2-40B4-BE49-F238E27FC236}">
                <a16:creationId xmlns:a16="http://schemas.microsoft.com/office/drawing/2014/main" id="{B5536348-ABA0-7A77-58DC-8AE017A42CCE}"/>
              </a:ext>
            </a:extLst>
          </p:cNvPr>
          <p:cNvGrpSpPr/>
          <p:nvPr/>
        </p:nvGrpSpPr>
        <p:grpSpPr>
          <a:xfrm>
            <a:off x="3682632" y="5947328"/>
            <a:ext cx="610700" cy="617320"/>
            <a:chOff x="6147119" y="1893013"/>
            <a:chExt cx="361670" cy="361333"/>
          </a:xfrm>
          <a:solidFill>
            <a:schemeClr val="bg1"/>
          </a:solidFill>
        </p:grpSpPr>
        <p:sp>
          <p:nvSpPr>
            <p:cNvPr id="59" name="Graphic 4">
              <a:extLst>
                <a:ext uri="{FF2B5EF4-FFF2-40B4-BE49-F238E27FC236}">
                  <a16:creationId xmlns:a16="http://schemas.microsoft.com/office/drawing/2014/main" id="{03A58248-B0D3-0091-D948-8BFDDB5DB3E2}"/>
                </a:ext>
              </a:extLst>
            </p:cNvPr>
            <p:cNvSpPr/>
            <p:nvPr/>
          </p:nvSpPr>
          <p:spPr>
            <a:xfrm>
              <a:off x="6147119" y="1893013"/>
              <a:ext cx="361670" cy="361333"/>
            </a:xfrm>
            <a:custGeom>
              <a:avLst/>
              <a:gdLst>
                <a:gd name="connsiteX0" fmla="*/ 283713 w 361670"/>
                <a:gd name="connsiteY0" fmla="*/ 167899 h 361333"/>
                <a:gd name="connsiteX1" fmla="*/ 279240 w 361670"/>
                <a:gd name="connsiteY1" fmla="*/ 169814 h 361333"/>
                <a:gd name="connsiteX2" fmla="*/ 274767 w 361670"/>
                <a:gd name="connsiteY2" fmla="*/ 167899 h 361333"/>
                <a:gd name="connsiteX3" fmla="*/ 267739 w 361670"/>
                <a:gd name="connsiteY3" fmla="*/ 160876 h 361333"/>
                <a:gd name="connsiteX4" fmla="*/ 249208 w 361670"/>
                <a:gd name="connsiteY4" fmla="*/ 179390 h 361333"/>
                <a:gd name="connsiteX5" fmla="*/ 249208 w 361670"/>
                <a:gd name="connsiteY5" fmla="*/ 179390 h 361333"/>
                <a:gd name="connsiteX6" fmla="*/ 155915 w 361670"/>
                <a:gd name="connsiteY6" fmla="*/ 272596 h 361333"/>
                <a:gd name="connsiteX7" fmla="*/ 122048 w 361670"/>
                <a:gd name="connsiteY7" fmla="*/ 286641 h 361333"/>
                <a:gd name="connsiteX8" fmla="*/ 88181 w 361670"/>
                <a:gd name="connsiteY8" fmla="*/ 272596 h 361333"/>
                <a:gd name="connsiteX9" fmla="*/ 88181 w 361670"/>
                <a:gd name="connsiteY9" fmla="*/ 205564 h 361333"/>
                <a:gd name="connsiteX10" fmla="*/ 200005 w 361670"/>
                <a:gd name="connsiteY10" fmla="*/ 93845 h 361333"/>
                <a:gd name="connsiteX11" fmla="*/ 192976 w 361670"/>
                <a:gd name="connsiteY11" fmla="*/ 86822 h 361333"/>
                <a:gd name="connsiteX12" fmla="*/ 192976 w 361670"/>
                <a:gd name="connsiteY12" fmla="*/ 77885 h 361333"/>
                <a:gd name="connsiteX13" fmla="*/ 201922 w 361670"/>
                <a:gd name="connsiteY13" fmla="*/ 77885 h 361333"/>
                <a:gd name="connsiteX14" fmla="*/ 213424 w 361670"/>
                <a:gd name="connsiteY14" fmla="*/ 89376 h 361333"/>
                <a:gd name="connsiteX15" fmla="*/ 213424 w 361670"/>
                <a:gd name="connsiteY15" fmla="*/ 89376 h 361333"/>
                <a:gd name="connsiteX16" fmla="*/ 213424 w 361670"/>
                <a:gd name="connsiteY16" fmla="*/ 89376 h 361333"/>
                <a:gd name="connsiteX17" fmla="*/ 283074 w 361670"/>
                <a:gd name="connsiteY17" fmla="*/ 158961 h 361333"/>
                <a:gd name="connsiteX18" fmla="*/ 283713 w 361670"/>
                <a:gd name="connsiteY18" fmla="*/ 167899 h 361333"/>
                <a:gd name="connsiteX19" fmla="*/ 180835 w 361670"/>
                <a:gd name="connsiteY19" fmla="*/ 0 h 361333"/>
                <a:gd name="connsiteX20" fmla="*/ 0 w 361670"/>
                <a:gd name="connsiteY20" fmla="*/ 180667 h 361333"/>
                <a:gd name="connsiteX21" fmla="*/ 180835 w 361670"/>
                <a:gd name="connsiteY21" fmla="*/ 361333 h 361333"/>
                <a:gd name="connsiteX22" fmla="*/ 361670 w 361670"/>
                <a:gd name="connsiteY22" fmla="*/ 180667 h 361333"/>
                <a:gd name="connsiteX23" fmla="*/ 180835 w 361670"/>
                <a:gd name="connsiteY23"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1670" h="361333">
                  <a:moveTo>
                    <a:pt x="283713" y="167899"/>
                  </a:moveTo>
                  <a:cubicBezTo>
                    <a:pt x="282435" y="169176"/>
                    <a:pt x="280518" y="169814"/>
                    <a:pt x="279240" y="169814"/>
                  </a:cubicBezTo>
                  <a:cubicBezTo>
                    <a:pt x="277323" y="169814"/>
                    <a:pt x="276045" y="169176"/>
                    <a:pt x="274767" y="167899"/>
                  </a:cubicBezTo>
                  <a:lnTo>
                    <a:pt x="267739" y="160876"/>
                  </a:lnTo>
                  <a:lnTo>
                    <a:pt x="249208" y="179390"/>
                  </a:lnTo>
                  <a:lnTo>
                    <a:pt x="249208" y="179390"/>
                  </a:lnTo>
                  <a:lnTo>
                    <a:pt x="155915" y="272596"/>
                  </a:lnTo>
                  <a:cubicBezTo>
                    <a:pt x="146969" y="281534"/>
                    <a:pt x="134828" y="286641"/>
                    <a:pt x="122048" y="286641"/>
                  </a:cubicBezTo>
                  <a:cubicBezTo>
                    <a:pt x="109268" y="286641"/>
                    <a:pt x="97766" y="282172"/>
                    <a:pt x="88181" y="272596"/>
                  </a:cubicBezTo>
                  <a:cubicBezTo>
                    <a:pt x="69650" y="254083"/>
                    <a:pt x="69650" y="224078"/>
                    <a:pt x="88181" y="205564"/>
                  </a:cubicBezTo>
                  <a:lnTo>
                    <a:pt x="200005" y="93845"/>
                  </a:lnTo>
                  <a:lnTo>
                    <a:pt x="192976" y="86822"/>
                  </a:lnTo>
                  <a:cubicBezTo>
                    <a:pt x="190420" y="84269"/>
                    <a:pt x="190420" y="80438"/>
                    <a:pt x="192976" y="77885"/>
                  </a:cubicBezTo>
                  <a:cubicBezTo>
                    <a:pt x="195532" y="75331"/>
                    <a:pt x="199366" y="75331"/>
                    <a:pt x="201922" y="77885"/>
                  </a:cubicBezTo>
                  <a:lnTo>
                    <a:pt x="213424" y="89376"/>
                  </a:lnTo>
                  <a:cubicBezTo>
                    <a:pt x="213424" y="89376"/>
                    <a:pt x="213424" y="89376"/>
                    <a:pt x="213424" y="89376"/>
                  </a:cubicBezTo>
                  <a:cubicBezTo>
                    <a:pt x="213424" y="89376"/>
                    <a:pt x="213424" y="89376"/>
                    <a:pt x="213424" y="89376"/>
                  </a:cubicBezTo>
                  <a:lnTo>
                    <a:pt x="283074" y="158961"/>
                  </a:lnTo>
                  <a:cubicBezTo>
                    <a:pt x="286269" y="161515"/>
                    <a:pt x="286269" y="165345"/>
                    <a:pt x="283713" y="167899"/>
                  </a:cubicBezTo>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path>
              </a:pathLst>
            </a:custGeom>
            <a:grpFill/>
            <a:ln w="6390"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E9886BE0-571D-BADF-7A14-1AF80F8A0C38}"/>
                </a:ext>
              </a:extLst>
            </p:cNvPr>
            <p:cNvSpPr/>
            <p:nvPr/>
          </p:nvSpPr>
          <p:spPr>
            <a:xfrm>
              <a:off x="6290893" y="1995795"/>
              <a:ext cx="115018" cy="65754"/>
            </a:xfrm>
            <a:custGeom>
              <a:avLst/>
              <a:gdLst>
                <a:gd name="connsiteX0" fmla="*/ 0 w 115018"/>
                <a:gd name="connsiteY0" fmla="*/ 65755 h 65754"/>
                <a:gd name="connsiteX1" fmla="*/ 98405 w 115018"/>
                <a:gd name="connsiteY1" fmla="*/ 65755 h 65754"/>
                <a:gd name="connsiteX2" fmla="*/ 115019 w 115018"/>
                <a:gd name="connsiteY2" fmla="*/ 49157 h 65754"/>
                <a:gd name="connsiteX3" fmla="*/ 65816 w 115018"/>
                <a:gd name="connsiteY3" fmla="*/ 0 h 65754"/>
              </a:gdLst>
              <a:ahLst/>
              <a:cxnLst>
                <a:cxn ang="0">
                  <a:pos x="connsiteX0" y="connsiteY0"/>
                </a:cxn>
                <a:cxn ang="0">
                  <a:pos x="connsiteX1" y="connsiteY1"/>
                </a:cxn>
                <a:cxn ang="0">
                  <a:pos x="connsiteX2" y="connsiteY2"/>
                </a:cxn>
                <a:cxn ang="0">
                  <a:pos x="connsiteX3" y="connsiteY3"/>
                </a:cxn>
              </a:cxnLst>
              <a:rect l="l" t="t" r="r" b="b"/>
              <a:pathLst>
                <a:path w="115018" h="65754">
                  <a:moveTo>
                    <a:pt x="0" y="65755"/>
                  </a:moveTo>
                  <a:lnTo>
                    <a:pt x="98405" y="65755"/>
                  </a:lnTo>
                  <a:lnTo>
                    <a:pt x="115019" y="49157"/>
                  </a:lnTo>
                  <a:lnTo>
                    <a:pt x="65816" y="0"/>
                  </a:lnTo>
                  <a:close/>
                </a:path>
              </a:pathLst>
            </a:custGeom>
            <a:grpFill/>
            <a:ln w="6390" cap="flat">
              <a:noFill/>
              <a:prstDash val="solid"/>
              <a:miter/>
            </a:ln>
          </p:spPr>
          <p:txBody>
            <a:bodyPr rtlCol="0" anchor="ctr"/>
            <a:lstStyle/>
            <a:p>
              <a:endParaRPr lang="en-US"/>
            </a:p>
          </p:txBody>
        </p:sp>
        <p:sp>
          <p:nvSpPr>
            <p:cNvPr id="61" name="Graphic 4">
              <a:extLst>
                <a:ext uri="{FF2B5EF4-FFF2-40B4-BE49-F238E27FC236}">
                  <a16:creationId xmlns:a16="http://schemas.microsoft.com/office/drawing/2014/main" id="{EB6DB962-B6E4-3337-7944-26377885567F}"/>
                </a:ext>
              </a:extLst>
            </p:cNvPr>
            <p:cNvSpPr/>
            <p:nvPr/>
          </p:nvSpPr>
          <p:spPr>
            <a:xfrm>
              <a:off x="6234821" y="2074318"/>
              <a:ext cx="141696" cy="92408"/>
            </a:xfrm>
            <a:custGeom>
              <a:avLst/>
              <a:gdLst>
                <a:gd name="connsiteX0" fmla="*/ 43292 w 141696"/>
                <a:gd name="connsiteY0" fmla="*/ 0 h 92408"/>
                <a:gd name="connsiteX1" fmla="*/ 10064 w 141696"/>
                <a:gd name="connsiteY1" fmla="*/ 33197 h 92408"/>
                <a:gd name="connsiteX2" fmla="*/ 10064 w 141696"/>
                <a:gd name="connsiteY2" fmla="*/ 82354 h 92408"/>
                <a:gd name="connsiteX3" fmla="*/ 59267 w 141696"/>
                <a:gd name="connsiteY3" fmla="*/ 82354 h 92408"/>
                <a:gd name="connsiteX4" fmla="*/ 141697 w 141696"/>
                <a:gd name="connsiteY4" fmla="*/ 0 h 92408"/>
                <a:gd name="connsiteX5" fmla="*/ 43292 w 141696"/>
                <a:gd name="connsiteY5" fmla="*/ 0 h 9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696" h="92408">
                  <a:moveTo>
                    <a:pt x="43292" y="0"/>
                  </a:moveTo>
                  <a:lnTo>
                    <a:pt x="10064" y="33197"/>
                  </a:lnTo>
                  <a:cubicBezTo>
                    <a:pt x="-3355" y="46603"/>
                    <a:pt x="-3355" y="68947"/>
                    <a:pt x="10064" y="82354"/>
                  </a:cubicBezTo>
                  <a:cubicBezTo>
                    <a:pt x="23483" y="95760"/>
                    <a:pt x="45848" y="95760"/>
                    <a:pt x="59267" y="82354"/>
                  </a:cubicBezTo>
                  <a:lnTo>
                    <a:pt x="141697" y="0"/>
                  </a:lnTo>
                  <a:lnTo>
                    <a:pt x="43292" y="0"/>
                  </a:lnTo>
                  <a:close/>
                </a:path>
              </a:pathLst>
            </a:custGeom>
            <a:grpFill/>
            <a:ln w="6390" cap="flat">
              <a:noFill/>
              <a:prstDash val="solid"/>
              <a:miter/>
            </a:ln>
          </p:spPr>
          <p:txBody>
            <a:bodyPr rtlCol="0" anchor="ctr"/>
            <a:lstStyle/>
            <a:p>
              <a:endParaRPr lang="en-US"/>
            </a:p>
          </p:txBody>
        </p:sp>
      </p:grpSp>
      <p:grpSp>
        <p:nvGrpSpPr>
          <p:cNvPr id="71" name="Group 70">
            <a:extLst>
              <a:ext uri="{FF2B5EF4-FFF2-40B4-BE49-F238E27FC236}">
                <a16:creationId xmlns:a16="http://schemas.microsoft.com/office/drawing/2014/main" id="{ED3AF37D-792D-F403-9A50-7B9E88E6FF9E}"/>
              </a:ext>
            </a:extLst>
          </p:cNvPr>
          <p:cNvGrpSpPr/>
          <p:nvPr/>
        </p:nvGrpSpPr>
        <p:grpSpPr>
          <a:xfrm>
            <a:off x="3516028" y="5008248"/>
            <a:ext cx="921875" cy="931068"/>
            <a:chOff x="3516028" y="5008248"/>
            <a:chExt cx="921875" cy="931068"/>
          </a:xfrm>
        </p:grpSpPr>
        <p:sp>
          <p:nvSpPr>
            <p:cNvPr id="37" name="Freeform: Shape 36">
              <a:extLst>
                <a:ext uri="{FF2B5EF4-FFF2-40B4-BE49-F238E27FC236}">
                  <a16:creationId xmlns:a16="http://schemas.microsoft.com/office/drawing/2014/main" id="{8823A7C2-26E3-2BC5-B0D3-FE4446C02451}"/>
                </a:ext>
              </a:extLst>
            </p:cNvPr>
            <p:cNvSpPr/>
            <p:nvPr/>
          </p:nvSpPr>
          <p:spPr>
            <a:xfrm>
              <a:off x="3516028" y="5008248"/>
              <a:ext cx="921875" cy="931068"/>
            </a:xfrm>
            <a:custGeom>
              <a:avLst/>
              <a:gdLst>
                <a:gd name="connsiteX0" fmla="*/ 968874 w 968900"/>
                <a:gd name="connsiteY0" fmla="*/ 484437 h 968873"/>
                <a:gd name="connsiteX1" fmla="*/ 484437 w 968900"/>
                <a:gd name="connsiteY1" fmla="*/ 968874 h 968873"/>
                <a:gd name="connsiteX2" fmla="*/ 0 w 968900"/>
                <a:gd name="connsiteY2" fmla="*/ 484437 h 968873"/>
                <a:gd name="connsiteX3" fmla="*/ 484464 w 968900"/>
                <a:gd name="connsiteY3" fmla="*/ 0 h 968873"/>
                <a:gd name="connsiteX4" fmla="*/ 968901 w 968900"/>
                <a:gd name="connsiteY4" fmla="*/ 484437 h 96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900" h="968873">
                  <a:moveTo>
                    <a:pt x="968874" y="484437"/>
                  </a:moveTo>
                  <a:cubicBezTo>
                    <a:pt x="968874" y="752000"/>
                    <a:pt x="751973" y="968874"/>
                    <a:pt x="484437" y="968874"/>
                  </a:cubicBezTo>
                  <a:cubicBezTo>
                    <a:pt x="216874" y="968874"/>
                    <a:pt x="0" y="751973"/>
                    <a:pt x="0" y="484437"/>
                  </a:cubicBezTo>
                  <a:cubicBezTo>
                    <a:pt x="0" y="216901"/>
                    <a:pt x="216901" y="0"/>
                    <a:pt x="484464" y="0"/>
                  </a:cubicBezTo>
                  <a:cubicBezTo>
                    <a:pt x="752000" y="0"/>
                    <a:pt x="968901" y="216901"/>
                    <a:pt x="968901" y="484437"/>
                  </a:cubicBezTo>
                  <a:close/>
                </a:path>
              </a:pathLst>
            </a:custGeom>
            <a:solidFill>
              <a:srgbClr val="86BC25"/>
            </a:solidFill>
            <a:ln w="2675" cap="flat">
              <a:noFill/>
              <a:prstDash val="solid"/>
              <a:miter/>
            </a:ln>
          </p:spPr>
          <p:txBody>
            <a:bodyPr rtlCol="0" anchor="ctr"/>
            <a:lstStyle/>
            <a:p>
              <a:endParaRPr lang="en-IN"/>
            </a:p>
          </p:txBody>
        </p:sp>
        <p:sp>
          <p:nvSpPr>
            <p:cNvPr id="70" name="Oval 69">
              <a:extLst>
                <a:ext uri="{FF2B5EF4-FFF2-40B4-BE49-F238E27FC236}">
                  <a16:creationId xmlns:a16="http://schemas.microsoft.com/office/drawing/2014/main" id="{2464E41D-0E1B-BF1C-D41B-24860C99A24C}"/>
                </a:ext>
              </a:extLst>
            </p:cNvPr>
            <p:cNvSpPr/>
            <p:nvPr/>
          </p:nvSpPr>
          <p:spPr bwMode="gray">
            <a:xfrm>
              <a:off x="3671615" y="5166977"/>
              <a:ext cx="610700" cy="626564"/>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67" name="Group 781">
              <a:extLst>
                <a:ext uri="{FF2B5EF4-FFF2-40B4-BE49-F238E27FC236}">
                  <a16:creationId xmlns:a16="http://schemas.microsoft.com/office/drawing/2014/main" id="{E07E24D6-1D62-C93A-B706-6B39BB59CD82}"/>
                </a:ext>
              </a:extLst>
            </p:cNvPr>
            <p:cNvGrpSpPr>
              <a:grpSpLocks noChangeAspect="1"/>
            </p:cNvGrpSpPr>
            <p:nvPr/>
          </p:nvGrpSpPr>
          <p:grpSpPr bwMode="auto">
            <a:xfrm>
              <a:off x="3664539" y="5157601"/>
              <a:ext cx="645316" cy="645316"/>
              <a:chOff x="7332" y="2771"/>
              <a:chExt cx="340" cy="340"/>
            </a:xfrm>
            <a:solidFill>
              <a:schemeClr val="accent2"/>
            </a:solidFill>
          </p:grpSpPr>
          <p:sp>
            <p:nvSpPr>
              <p:cNvPr id="68" name="Freeform 782">
                <a:extLst>
                  <a:ext uri="{FF2B5EF4-FFF2-40B4-BE49-F238E27FC236}">
                    <a16:creationId xmlns:a16="http://schemas.microsoft.com/office/drawing/2014/main" id="{2667D28F-0029-42ED-84CE-51E7364503B7}"/>
                  </a:ext>
                </a:extLst>
              </p:cNvPr>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783">
                <a:extLst>
                  <a:ext uri="{FF2B5EF4-FFF2-40B4-BE49-F238E27FC236}">
                    <a16:creationId xmlns:a16="http://schemas.microsoft.com/office/drawing/2014/main" id="{0EC63600-FF43-65DE-1BF8-CBF7B14D7C0A}"/>
                  </a:ext>
                </a:extLst>
              </p:cNvPr>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834087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5D44BC87-4D7A-EDDC-DD0D-5A0C5D7CA811}"/>
              </a:ext>
            </a:extLst>
          </p:cNvPr>
          <p:cNvSpPr>
            <a:spLocks noGrp="1"/>
          </p:cNvSpPr>
          <p:nvPr>
            <p:ph type="body" sz="quarter" idx="13"/>
          </p:nvPr>
        </p:nvSpPr>
        <p:spPr>
          <a:xfrm>
            <a:off x="501649" y="651600"/>
            <a:ext cx="11188698" cy="719989"/>
          </a:xfrm>
        </p:spPr>
        <p:txBody>
          <a:bodyPr/>
          <a:lstStyle/>
          <a:p>
            <a:r>
              <a:rPr lang="en-US"/>
              <a:t>We have delivered 100+ large IT implementation engagements in India region. We have delivered multiple SAP transformation engagements in energy sector </a:t>
            </a:r>
          </a:p>
        </p:txBody>
      </p:sp>
      <p:sp>
        <p:nvSpPr>
          <p:cNvPr id="5" name="Title 2">
            <a:extLst>
              <a:ext uri="{FF2B5EF4-FFF2-40B4-BE49-F238E27FC236}">
                <a16:creationId xmlns:a16="http://schemas.microsoft.com/office/drawing/2014/main" id="{929093A1-71FF-F1B3-9C4C-3C0710F8431B}"/>
              </a:ext>
            </a:extLst>
          </p:cNvPr>
          <p:cNvSpPr>
            <a:spLocks noGrp="1"/>
          </p:cNvSpPr>
          <p:nvPr>
            <p:ph type="title"/>
          </p:nvPr>
        </p:nvSpPr>
        <p:spPr>
          <a:xfrm>
            <a:off x="501650" y="317500"/>
            <a:ext cx="8503920" cy="334099"/>
          </a:xfrm>
        </p:spPr>
        <p:txBody>
          <a:bodyPr vert="horz" lIns="0" tIns="0" rIns="0" bIns="0" rtlCol="0" anchor="t" anchorCtr="0">
            <a:noAutofit/>
          </a:bodyPr>
          <a:lstStyle/>
          <a:p>
            <a:pPr defTabSz="685800"/>
            <a:r>
              <a:rPr lang="en-IN" sz="2400" b="1">
                <a:solidFill>
                  <a:schemeClr val="accent2"/>
                </a:solidFill>
              </a:rPr>
              <a:t>Select large IT implementations engagements</a:t>
            </a:r>
          </a:p>
        </p:txBody>
      </p:sp>
      <p:sp>
        <p:nvSpPr>
          <p:cNvPr id="6" name="Rectangle 9">
            <a:extLst>
              <a:ext uri="{FF2B5EF4-FFF2-40B4-BE49-F238E27FC236}">
                <a16:creationId xmlns:a16="http://schemas.microsoft.com/office/drawing/2014/main" id="{770226CC-6357-D10C-BBF8-FDBEE20787AD}"/>
              </a:ext>
            </a:extLst>
          </p:cNvPr>
          <p:cNvSpPr>
            <a:spLocks noChangeArrowheads="1"/>
          </p:cNvSpPr>
          <p:nvPr/>
        </p:nvSpPr>
        <p:spPr bwMode="auto">
          <a:xfrm>
            <a:off x="501652" y="1554163"/>
            <a:ext cx="1169731" cy="1570671"/>
          </a:xfrm>
          <a:prstGeom prst="rect">
            <a:avLst/>
          </a:prstGeom>
          <a:solidFill>
            <a:srgbClr val="00ABAB"/>
          </a:solidFill>
          <a:ln w="12700">
            <a:noFill/>
            <a:miter lim="800000"/>
            <a:headEnd/>
            <a:tailEnd/>
          </a:ln>
        </p:spPr>
        <p:txBody>
          <a:bodyPr lIns="91209" tIns="45605" rIns="91209" bIns="45605" anchor="ctr"/>
          <a:lstStyle/>
          <a:p>
            <a:pPr algn="ctr"/>
            <a:endParaRPr lang="fr-FR" sz="1200">
              <a:latin typeface="+mj-lt"/>
              <a:ea typeface="华文细黑" panose="02010600040101010101" pitchFamily="2" charset="-122"/>
            </a:endParaRPr>
          </a:p>
          <a:p>
            <a:pPr algn="ctr"/>
            <a:endParaRPr lang="fr-FR" sz="1200">
              <a:latin typeface="+mj-lt"/>
              <a:ea typeface="华文细黑" panose="02010600040101010101" pitchFamily="2" charset="-122"/>
            </a:endParaRPr>
          </a:p>
          <a:p>
            <a:pPr algn="ctr"/>
            <a:endParaRPr lang="fr-FR" sz="1200">
              <a:latin typeface="+mj-lt"/>
              <a:ea typeface="华文细黑" panose="02010600040101010101" pitchFamily="2" charset="-122"/>
            </a:endParaRPr>
          </a:p>
          <a:p>
            <a:pPr algn="ctr"/>
            <a:r>
              <a:rPr lang="fr-FR" sz="1200" b="1" err="1">
                <a:solidFill>
                  <a:schemeClr val="bg1"/>
                </a:solidFill>
                <a:latin typeface="+mj-lt"/>
                <a:ea typeface="华文细黑" panose="02010600040101010101" pitchFamily="2" charset="-122"/>
              </a:rPr>
              <a:t>Generation</a:t>
            </a:r>
            <a:endParaRPr lang="fr-FR" sz="1200" b="1">
              <a:solidFill>
                <a:schemeClr val="bg1"/>
              </a:solidFill>
              <a:latin typeface="+mj-lt"/>
              <a:ea typeface="华文细黑" panose="02010600040101010101" pitchFamily="2" charset="-122"/>
            </a:endParaRPr>
          </a:p>
        </p:txBody>
      </p:sp>
      <p:sp>
        <p:nvSpPr>
          <p:cNvPr id="7" name="TextBox 6">
            <a:extLst>
              <a:ext uri="{FF2B5EF4-FFF2-40B4-BE49-F238E27FC236}">
                <a16:creationId xmlns:a16="http://schemas.microsoft.com/office/drawing/2014/main" id="{5D61D0F0-9FDD-8E00-0064-A3C551338E75}"/>
              </a:ext>
            </a:extLst>
          </p:cNvPr>
          <p:cNvSpPr txBox="1"/>
          <p:nvPr/>
        </p:nvSpPr>
        <p:spPr>
          <a:xfrm>
            <a:off x="1753450" y="1554163"/>
            <a:ext cx="1590586" cy="1570671"/>
          </a:xfrm>
          <a:prstGeom prst="rect">
            <a:avLst/>
          </a:prstGeom>
          <a:noFill/>
          <a:ln w="12700">
            <a:solidFill>
              <a:srgbClr val="00ABAB"/>
            </a:solidFill>
          </a:ln>
        </p:spPr>
        <p:txBody>
          <a:bodyPr wrap="square" lIns="28401" tIns="0" rIns="28401" bIns="28401" rtlCol="0">
            <a:noAutofit/>
          </a:bodyPr>
          <a:lstStyle/>
          <a:p>
            <a:pPr algn="ctr" defTabSz="785437">
              <a:spcBef>
                <a:spcPts val="514"/>
              </a:spcBef>
              <a:buSzPct val="100000"/>
            </a:pPr>
            <a:endParaRPr lang="en-US" altLang="zh-CN" sz="923">
              <a:cs typeface="Arial" panose="020B0604020202020204" pitchFamily="34" charset="0"/>
            </a:endParaRPr>
          </a:p>
        </p:txBody>
      </p:sp>
      <p:sp>
        <p:nvSpPr>
          <p:cNvPr id="8" name="Rectangle 9">
            <a:extLst>
              <a:ext uri="{FF2B5EF4-FFF2-40B4-BE49-F238E27FC236}">
                <a16:creationId xmlns:a16="http://schemas.microsoft.com/office/drawing/2014/main" id="{2BE0C40D-C740-D07D-6917-AF8A2773CA2D}"/>
              </a:ext>
            </a:extLst>
          </p:cNvPr>
          <p:cNvSpPr>
            <a:spLocks noChangeArrowheads="1"/>
          </p:cNvSpPr>
          <p:nvPr/>
        </p:nvSpPr>
        <p:spPr bwMode="auto">
          <a:xfrm>
            <a:off x="5088602" y="1554163"/>
            <a:ext cx="1590586" cy="1570671"/>
          </a:xfrm>
          <a:prstGeom prst="rect">
            <a:avLst/>
          </a:prstGeom>
          <a:noFill/>
          <a:ln w="12700">
            <a:solidFill>
              <a:srgbClr val="00ABAB"/>
            </a:solidFill>
            <a:miter lim="800000"/>
            <a:headEnd/>
            <a:tailEnd/>
          </a:ln>
        </p:spPr>
        <p:txBody>
          <a:bodyPr lIns="91209" tIns="45605" rIns="91209" bIns="45605" anchor="ctr"/>
          <a:lstStyle/>
          <a:p>
            <a:pPr algn="ctr"/>
            <a:endParaRPr lang="fr-FR" sz="923">
              <a:latin typeface="华文细黑" panose="02010600040101010101" pitchFamily="2" charset="-122"/>
              <a:ea typeface="华文细黑" panose="02010600040101010101" pitchFamily="2" charset="-122"/>
            </a:endParaRPr>
          </a:p>
        </p:txBody>
      </p:sp>
      <p:sp>
        <p:nvSpPr>
          <p:cNvPr id="9" name="Rectangle 9">
            <a:extLst>
              <a:ext uri="{FF2B5EF4-FFF2-40B4-BE49-F238E27FC236}">
                <a16:creationId xmlns:a16="http://schemas.microsoft.com/office/drawing/2014/main" id="{7086668E-F1FC-38BE-FEE8-39360CE3240E}"/>
              </a:ext>
            </a:extLst>
          </p:cNvPr>
          <p:cNvSpPr>
            <a:spLocks noChangeArrowheads="1"/>
          </p:cNvSpPr>
          <p:nvPr/>
        </p:nvSpPr>
        <p:spPr bwMode="auto">
          <a:xfrm>
            <a:off x="3421026" y="1554163"/>
            <a:ext cx="1590586" cy="1570671"/>
          </a:xfrm>
          <a:prstGeom prst="rect">
            <a:avLst/>
          </a:prstGeom>
          <a:noFill/>
          <a:ln w="12700">
            <a:solidFill>
              <a:srgbClr val="00ABAB"/>
            </a:solidFill>
            <a:miter lim="800000"/>
            <a:headEnd/>
            <a:tailEnd/>
          </a:ln>
        </p:spPr>
        <p:txBody>
          <a:bodyPr lIns="91209" tIns="45605" rIns="91209" bIns="45605" anchor="ctr"/>
          <a:lstStyle/>
          <a:p>
            <a:pPr algn="ctr"/>
            <a:endParaRPr lang="fr-FR" sz="923">
              <a:latin typeface="华文细黑" panose="02010600040101010101" pitchFamily="2" charset="-122"/>
              <a:ea typeface="华文细黑" panose="02010600040101010101" pitchFamily="2" charset="-122"/>
            </a:endParaRPr>
          </a:p>
        </p:txBody>
      </p:sp>
      <p:sp>
        <p:nvSpPr>
          <p:cNvPr id="10" name="Rectangle 9">
            <a:extLst>
              <a:ext uri="{FF2B5EF4-FFF2-40B4-BE49-F238E27FC236}">
                <a16:creationId xmlns:a16="http://schemas.microsoft.com/office/drawing/2014/main" id="{7B691A1B-F7AE-4BB2-A3FF-72C567D288DE}"/>
              </a:ext>
            </a:extLst>
          </p:cNvPr>
          <p:cNvSpPr>
            <a:spLocks noChangeArrowheads="1"/>
          </p:cNvSpPr>
          <p:nvPr/>
        </p:nvSpPr>
        <p:spPr bwMode="auto">
          <a:xfrm>
            <a:off x="6756178" y="1554163"/>
            <a:ext cx="1590586" cy="1570671"/>
          </a:xfrm>
          <a:prstGeom prst="rect">
            <a:avLst/>
          </a:prstGeom>
          <a:noFill/>
          <a:ln w="12700">
            <a:solidFill>
              <a:srgbClr val="00ABAB"/>
            </a:solidFill>
            <a:miter lim="800000"/>
            <a:headEnd/>
            <a:tailEnd/>
          </a:ln>
        </p:spPr>
        <p:txBody>
          <a:bodyPr lIns="91209" tIns="45605" rIns="91209" bIns="45605" anchor="ctr"/>
          <a:lstStyle/>
          <a:p>
            <a:pPr algn="ctr"/>
            <a:endParaRPr lang="fr-FR" sz="923">
              <a:latin typeface="华文细黑" panose="02010600040101010101" pitchFamily="2" charset="-122"/>
              <a:ea typeface="华文细黑" panose="02010600040101010101" pitchFamily="2" charset="-122"/>
            </a:endParaRPr>
          </a:p>
        </p:txBody>
      </p:sp>
      <p:sp>
        <p:nvSpPr>
          <p:cNvPr id="11" name="Text Box 6">
            <a:extLst>
              <a:ext uri="{FF2B5EF4-FFF2-40B4-BE49-F238E27FC236}">
                <a16:creationId xmlns:a16="http://schemas.microsoft.com/office/drawing/2014/main" id="{801EC4E1-CD4E-E3DF-750F-D279D777C8B1}"/>
              </a:ext>
            </a:extLst>
          </p:cNvPr>
          <p:cNvSpPr txBox="1">
            <a:spLocks noChangeArrowheads="1"/>
          </p:cNvSpPr>
          <p:nvPr/>
        </p:nvSpPr>
        <p:spPr bwMode="auto">
          <a:xfrm>
            <a:off x="5181535" y="1786458"/>
            <a:ext cx="1445987" cy="306282"/>
          </a:xfrm>
          <a:prstGeom prst="rect">
            <a:avLst/>
          </a:prstGeom>
          <a:noFill/>
          <a:ln w="9525">
            <a:noFill/>
            <a:miter lim="800000"/>
            <a:headEnd/>
            <a:tailEnd/>
          </a:ln>
        </p:spPr>
        <p:txBody>
          <a:bodyPr lIns="45720" tIns="0" rIns="45720" bIns="0"/>
          <a:lstStyle/>
          <a:p>
            <a:pPr algn="ctr" eaLnBrk="0" hangingPunct="0"/>
            <a:r>
              <a:rPr lang="en-US" sz="800"/>
              <a:t>Implementation of SAP ECC solution to support enhanced customer service capabilities.</a:t>
            </a:r>
            <a:endParaRPr lang="en-GB" sz="800"/>
          </a:p>
        </p:txBody>
      </p:sp>
      <p:sp>
        <p:nvSpPr>
          <p:cNvPr id="12" name="TextBox 11">
            <a:extLst>
              <a:ext uri="{FF2B5EF4-FFF2-40B4-BE49-F238E27FC236}">
                <a16:creationId xmlns:a16="http://schemas.microsoft.com/office/drawing/2014/main" id="{46F4704A-721D-AD52-3A10-88571EBE9ED2}"/>
              </a:ext>
            </a:extLst>
          </p:cNvPr>
          <p:cNvSpPr txBox="1"/>
          <p:nvPr/>
        </p:nvSpPr>
        <p:spPr>
          <a:xfrm>
            <a:off x="5302129" y="2598670"/>
            <a:ext cx="1163533" cy="332397"/>
          </a:xfrm>
          <a:prstGeom prst="rect">
            <a:avLst/>
          </a:prstGeom>
          <a:noFill/>
        </p:spPr>
        <p:txBody>
          <a:bodyPr wrap="square" lIns="0" tIns="0" rIns="0" bIns="0" rtlCol="0">
            <a:spAutoFit/>
          </a:bodyPr>
          <a:lstStyle/>
          <a:p>
            <a:pPr algn="ctr">
              <a:spcBef>
                <a:spcPts val="600"/>
              </a:spcBef>
              <a:buSzPct val="100000"/>
            </a:pPr>
            <a:r>
              <a:rPr lang="en-US" sz="1050" b="1">
                <a:solidFill>
                  <a:srgbClr val="313131"/>
                </a:solidFill>
              </a:rPr>
              <a:t>Large Energy Company in US</a:t>
            </a:r>
          </a:p>
        </p:txBody>
      </p:sp>
      <p:sp>
        <p:nvSpPr>
          <p:cNvPr id="14" name="Rectangle 13">
            <a:extLst>
              <a:ext uri="{FF2B5EF4-FFF2-40B4-BE49-F238E27FC236}">
                <a16:creationId xmlns:a16="http://schemas.microsoft.com/office/drawing/2014/main" id="{BDAEAAFB-F932-20A5-08F3-2B43C6460638}"/>
              </a:ext>
            </a:extLst>
          </p:cNvPr>
          <p:cNvSpPr/>
          <p:nvPr/>
        </p:nvSpPr>
        <p:spPr>
          <a:xfrm>
            <a:off x="6787210" y="1786458"/>
            <a:ext cx="1528523" cy="348225"/>
          </a:xfrm>
          <a:prstGeom prst="rect">
            <a:avLst/>
          </a:prstGeom>
          <a:noFill/>
        </p:spPr>
        <p:txBody>
          <a:bodyPr wrap="square" lIns="45720" rIns="45720">
            <a:spAutoFit/>
          </a:bodyPr>
          <a:lstStyle/>
          <a:p>
            <a:pPr algn="ctr"/>
            <a:r>
              <a:rPr lang="en-ZA" sz="800">
                <a:solidFill>
                  <a:schemeClr val="tx1"/>
                </a:solidFill>
              </a:rPr>
              <a:t>Project monitoring for National Feeder Monitoring System</a:t>
            </a:r>
          </a:p>
        </p:txBody>
      </p:sp>
      <p:sp>
        <p:nvSpPr>
          <p:cNvPr id="19" name="Rectangle 9">
            <a:extLst>
              <a:ext uri="{FF2B5EF4-FFF2-40B4-BE49-F238E27FC236}">
                <a16:creationId xmlns:a16="http://schemas.microsoft.com/office/drawing/2014/main" id="{5E7B2F0A-32D0-DA80-307B-30256C572F47}"/>
              </a:ext>
            </a:extLst>
          </p:cNvPr>
          <p:cNvSpPr>
            <a:spLocks noChangeArrowheads="1"/>
          </p:cNvSpPr>
          <p:nvPr/>
        </p:nvSpPr>
        <p:spPr bwMode="auto">
          <a:xfrm>
            <a:off x="8423754" y="1554163"/>
            <a:ext cx="1590586" cy="1570671"/>
          </a:xfrm>
          <a:prstGeom prst="rect">
            <a:avLst/>
          </a:prstGeom>
          <a:noFill/>
          <a:ln w="12700">
            <a:solidFill>
              <a:srgbClr val="00ABAB"/>
            </a:solidFill>
            <a:miter lim="800000"/>
            <a:headEnd/>
            <a:tailEnd/>
          </a:ln>
        </p:spPr>
        <p:txBody>
          <a:bodyPr lIns="91209" tIns="45605" rIns="91209" bIns="45605" anchor="ctr"/>
          <a:lstStyle/>
          <a:p>
            <a:pPr algn="ctr"/>
            <a:endParaRPr lang="fr-FR" sz="923">
              <a:latin typeface="华文细黑" panose="02010600040101010101" pitchFamily="2" charset="-122"/>
              <a:ea typeface="华文细黑" panose="02010600040101010101" pitchFamily="2" charset="-122"/>
            </a:endParaRPr>
          </a:p>
        </p:txBody>
      </p:sp>
      <p:sp>
        <p:nvSpPr>
          <p:cNvPr id="20" name="Rectangle 19">
            <a:extLst>
              <a:ext uri="{FF2B5EF4-FFF2-40B4-BE49-F238E27FC236}">
                <a16:creationId xmlns:a16="http://schemas.microsoft.com/office/drawing/2014/main" id="{E4D3210D-D2BB-DD51-81D4-5748175A65C8}"/>
              </a:ext>
            </a:extLst>
          </p:cNvPr>
          <p:cNvSpPr/>
          <p:nvPr/>
        </p:nvSpPr>
        <p:spPr>
          <a:xfrm>
            <a:off x="8423754" y="1786458"/>
            <a:ext cx="1590586" cy="474853"/>
          </a:xfrm>
          <a:prstGeom prst="rect">
            <a:avLst/>
          </a:prstGeom>
          <a:noFill/>
        </p:spPr>
        <p:txBody>
          <a:bodyPr wrap="square" lIns="45720" rIns="45720">
            <a:spAutoFit/>
          </a:bodyPr>
          <a:lstStyle/>
          <a:p>
            <a:pPr algn="ctr" eaLnBrk="0" hangingPunct="0"/>
            <a:r>
              <a:rPr lang="en-US" sz="800"/>
              <a:t>Greenfield S/4 HANA implementation with all core modules</a:t>
            </a:r>
            <a:endParaRPr lang="en-GB" sz="800"/>
          </a:p>
        </p:txBody>
      </p:sp>
      <p:sp>
        <p:nvSpPr>
          <p:cNvPr id="22" name="Rectangle 9">
            <a:extLst>
              <a:ext uri="{FF2B5EF4-FFF2-40B4-BE49-F238E27FC236}">
                <a16:creationId xmlns:a16="http://schemas.microsoft.com/office/drawing/2014/main" id="{EE9A67BB-AA26-6661-B875-B80EF34CA378}"/>
              </a:ext>
            </a:extLst>
          </p:cNvPr>
          <p:cNvSpPr>
            <a:spLocks noChangeArrowheads="1"/>
          </p:cNvSpPr>
          <p:nvPr/>
        </p:nvSpPr>
        <p:spPr bwMode="auto">
          <a:xfrm>
            <a:off x="10091328" y="1554163"/>
            <a:ext cx="1599019" cy="1570671"/>
          </a:xfrm>
          <a:prstGeom prst="rect">
            <a:avLst/>
          </a:prstGeom>
          <a:noFill/>
          <a:ln w="12700">
            <a:solidFill>
              <a:srgbClr val="00ABAB"/>
            </a:solidFill>
            <a:miter lim="800000"/>
            <a:headEnd/>
            <a:tailEnd/>
          </a:ln>
        </p:spPr>
        <p:txBody>
          <a:bodyPr lIns="91209" tIns="45605" rIns="91209" bIns="45605" anchor="ctr"/>
          <a:lstStyle/>
          <a:p>
            <a:pPr algn="ctr"/>
            <a:endParaRPr lang="fr-FR" sz="923">
              <a:latin typeface="华文细黑" panose="02010600040101010101" pitchFamily="2" charset="-122"/>
              <a:ea typeface="华文细黑" panose="02010600040101010101" pitchFamily="2" charset="-122"/>
            </a:endParaRPr>
          </a:p>
        </p:txBody>
      </p:sp>
      <p:sp>
        <p:nvSpPr>
          <p:cNvPr id="23" name="Rectangle 22">
            <a:extLst>
              <a:ext uri="{FF2B5EF4-FFF2-40B4-BE49-F238E27FC236}">
                <a16:creationId xmlns:a16="http://schemas.microsoft.com/office/drawing/2014/main" id="{E69EDCBB-EFDB-B601-F510-C2446CBB3407}"/>
              </a:ext>
            </a:extLst>
          </p:cNvPr>
          <p:cNvSpPr/>
          <p:nvPr/>
        </p:nvSpPr>
        <p:spPr>
          <a:xfrm>
            <a:off x="1774083" y="1786458"/>
            <a:ext cx="1590586" cy="601480"/>
          </a:xfrm>
          <a:prstGeom prst="rect">
            <a:avLst/>
          </a:prstGeom>
          <a:noFill/>
        </p:spPr>
        <p:txBody>
          <a:bodyPr wrap="square" lIns="45720" rIns="45720">
            <a:spAutoFit/>
          </a:bodyPr>
          <a:lstStyle/>
          <a:p>
            <a:pPr algn="ctr" eaLnBrk="0" hangingPunct="0"/>
            <a:r>
              <a:rPr lang="en-US" sz="800"/>
              <a:t>Greenfield S/4 HANA implementation with all core modules and Non-SAP solutions like  HMS, SLDC, ITSM</a:t>
            </a:r>
            <a:endParaRPr lang="en-GB" sz="800"/>
          </a:p>
        </p:txBody>
      </p:sp>
      <p:pic>
        <p:nvPicPr>
          <p:cNvPr id="25" name="Picture 24">
            <a:extLst>
              <a:ext uri="{FF2B5EF4-FFF2-40B4-BE49-F238E27FC236}">
                <a16:creationId xmlns:a16="http://schemas.microsoft.com/office/drawing/2014/main" id="{7CD05814-1BB9-0501-1119-7C782BAE2A2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277533" y="2504562"/>
            <a:ext cx="519195" cy="533657"/>
          </a:xfrm>
          <a:prstGeom prst="rect">
            <a:avLst/>
          </a:prstGeom>
        </p:spPr>
      </p:pic>
      <p:pic>
        <p:nvPicPr>
          <p:cNvPr id="26" name="Picture 6">
            <a:extLst>
              <a:ext uri="{FF2B5EF4-FFF2-40B4-BE49-F238E27FC236}">
                <a16:creationId xmlns:a16="http://schemas.microsoft.com/office/drawing/2014/main" id="{EF490B82-6883-7D7F-7AAF-E4D429F2822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757498" y="2414265"/>
            <a:ext cx="923099" cy="549244"/>
          </a:xfrm>
          <a:prstGeom prst="rect">
            <a:avLst/>
          </a:prstGeom>
          <a:noFill/>
          <a:extLst>
            <a:ext uri="{909E8E84-426E-40DD-AFC4-6F175D3DCCD1}">
              <a14:hiddenFill xmlns:a14="http://schemas.microsoft.com/office/drawing/2010/main">
                <a:solidFill>
                  <a:srgbClr val="FFFFFF"/>
                </a:solidFill>
              </a14:hiddenFill>
            </a:ext>
          </a:extLst>
        </p:spPr>
      </p:pic>
      <p:sp>
        <p:nvSpPr>
          <p:cNvPr id="27" name="Text Box 6">
            <a:extLst>
              <a:ext uri="{FF2B5EF4-FFF2-40B4-BE49-F238E27FC236}">
                <a16:creationId xmlns:a16="http://schemas.microsoft.com/office/drawing/2014/main" id="{76412958-034A-576D-F840-2B4F3889E622}"/>
              </a:ext>
            </a:extLst>
          </p:cNvPr>
          <p:cNvSpPr txBox="1">
            <a:spLocks noChangeArrowheads="1"/>
          </p:cNvSpPr>
          <p:nvPr/>
        </p:nvSpPr>
        <p:spPr bwMode="auto">
          <a:xfrm>
            <a:off x="3487750" y="1786458"/>
            <a:ext cx="1498405" cy="601480"/>
          </a:xfrm>
          <a:prstGeom prst="rect">
            <a:avLst/>
          </a:prstGeom>
          <a:noFill/>
        </p:spPr>
        <p:txBody>
          <a:bodyPr wrap="square" lIns="45720" rIns="45720">
            <a:spAutoFit/>
          </a:bodyPr>
          <a:lstStyle>
            <a:defPPr>
              <a:defRPr lang="en-US"/>
            </a:defPPr>
            <a:lvl1pPr algn="ctr">
              <a:defRPr sz="800"/>
            </a:lvl1pPr>
          </a:lstStyle>
          <a:p>
            <a:r>
              <a:rPr lang="en-US"/>
              <a:t>Implementation of SAP S/4 HANA along with 3 years AMS; Modules included FICO, MM, PP, S&amp;D and HCM</a:t>
            </a:r>
            <a:endParaRPr lang="en-GB"/>
          </a:p>
        </p:txBody>
      </p:sp>
      <p:pic>
        <p:nvPicPr>
          <p:cNvPr id="28" name="Picture 7" descr="GRIDCO">
            <a:extLst>
              <a:ext uri="{FF2B5EF4-FFF2-40B4-BE49-F238E27FC236}">
                <a16:creationId xmlns:a16="http://schemas.microsoft.com/office/drawing/2014/main" id="{B6E0ED82-942B-1EED-454A-A16737EF64C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917123" y="2500309"/>
            <a:ext cx="598393" cy="601346"/>
          </a:xfrm>
          <a:prstGeom prst="rect">
            <a:avLst/>
          </a:prstGeom>
          <a:noFill/>
          <a:extLst>
            <a:ext uri="{909E8E84-426E-40DD-AFC4-6F175D3DCCD1}">
              <a14:hiddenFill xmlns:a14="http://schemas.microsoft.com/office/drawing/2010/main">
                <a:solidFill>
                  <a:srgbClr val="FFFFFF"/>
                </a:solidFill>
              </a14:hiddenFill>
            </a:ext>
          </a:extLst>
        </p:spPr>
      </p:pic>
      <p:sp>
        <p:nvSpPr>
          <p:cNvPr id="29" name="Text Box 6">
            <a:extLst>
              <a:ext uri="{FF2B5EF4-FFF2-40B4-BE49-F238E27FC236}">
                <a16:creationId xmlns:a16="http://schemas.microsoft.com/office/drawing/2014/main" id="{617BE808-D52D-CED8-3AF1-C36CBC121B51}"/>
              </a:ext>
            </a:extLst>
          </p:cNvPr>
          <p:cNvSpPr txBox="1">
            <a:spLocks noChangeArrowheads="1"/>
          </p:cNvSpPr>
          <p:nvPr/>
        </p:nvSpPr>
        <p:spPr bwMode="auto">
          <a:xfrm>
            <a:off x="10163629" y="1786458"/>
            <a:ext cx="1445987" cy="344434"/>
          </a:xfrm>
          <a:prstGeom prst="rect">
            <a:avLst/>
          </a:prstGeom>
          <a:noFill/>
          <a:ln w="9525">
            <a:noFill/>
            <a:miter lim="800000"/>
            <a:headEnd/>
            <a:tailEnd/>
          </a:ln>
        </p:spPr>
        <p:txBody>
          <a:bodyPr lIns="45720" tIns="0" rIns="45720" bIns="0"/>
          <a:lstStyle/>
          <a:p>
            <a:pPr algn="ctr" eaLnBrk="0" hangingPunct="0"/>
            <a:r>
              <a:rPr lang="en-US" sz="800"/>
              <a:t>National Feeder Monitoring System</a:t>
            </a:r>
          </a:p>
        </p:txBody>
      </p:sp>
      <p:grpSp>
        <p:nvGrpSpPr>
          <p:cNvPr id="31" name="Graphic 4">
            <a:extLst>
              <a:ext uri="{FF2B5EF4-FFF2-40B4-BE49-F238E27FC236}">
                <a16:creationId xmlns:a16="http://schemas.microsoft.com/office/drawing/2014/main" id="{003B0227-1436-93B7-482F-86EA7CB5DCA5}"/>
              </a:ext>
            </a:extLst>
          </p:cNvPr>
          <p:cNvGrpSpPr>
            <a:grpSpLocks noChangeAspect="1"/>
          </p:cNvGrpSpPr>
          <p:nvPr/>
        </p:nvGrpSpPr>
        <p:grpSpPr>
          <a:xfrm>
            <a:off x="794766" y="1756540"/>
            <a:ext cx="583502" cy="582958"/>
            <a:chOff x="905454" y="1402723"/>
            <a:chExt cx="362309" cy="361971"/>
          </a:xfrm>
          <a:solidFill>
            <a:schemeClr val="bg1"/>
          </a:solidFill>
        </p:grpSpPr>
        <p:sp>
          <p:nvSpPr>
            <p:cNvPr id="32" name="Graphic 4">
              <a:extLst>
                <a:ext uri="{FF2B5EF4-FFF2-40B4-BE49-F238E27FC236}">
                  <a16:creationId xmlns:a16="http://schemas.microsoft.com/office/drawing/2014/main" id="{D24606D1-0621-3630-E30D-4E509D7A19B1}"/>
                </a:ext>
              </a:extLst>
            </p:cNvPr>
            <p:cNvSpPr/>
            <p:nvPr/>
          </p:nvSpPr>
          <p:spPr>
            <a:xfrm>
              <a:off x="1011527" y="1558652"/>
              <a:ext cx="109267" cy="126243"/>
            </a:xfrm>
            <a:custGeom>
              <a:avLst/>
              <a:gdLst>
                <a:gd name="connsiteX0" fmla="*/ 93932 w 109267"/>
                <a:gd name="connsiteY0" fmla="*/ 47720 h 126243"/>
                <a:gd name="connsiteX1" fmla="*/ 93932 w 109267"/>
                <a:gd name="connsiteY1" fmla="*/ 6224 h 126243"/>
                <a:gd name="connsiteX2" fmla="*/ 14058 w 109267"/>
                <a:gd name="connsiteY2" fmla="*/ 6224 h 126243"/>
                <a:gd name="connsiteX3" fmla="*/ 14058 w 109267"/>
                <a:gd name="connsiteY3" fmla="*/ 47720 h 126243"/>
                <a:gd name="connsiteX4" fmla="*/ 14058 w 109267"/>
                <a:gd name="connsiteY4" fmla="*/ 48997 h 126243"/>
                <a:gd name="connsiteX5" fmla="*/ 0 w 109267"/>
                <a:gd name="connsiteY5" fmla="*/ 126243 h 126243"/>
                <a:gd name="connsiteX6" fmla="*/ 109268 w 109267"/>
                <a:gd name="connsiteY6" fmla="*/ 126243 h 126243"/>
                <a:gd name="connsiteX7" fmla="*/ 93932 w 109267"/>
                <a:gd name="connsiteY7" fmla="*/ 48997 h 126243"/>
                <a:gd name="connsiteX8" fmla="*/ 93932 w 109267"/>
                <a:gd name="connsiteY8" fmla="*/ 47720 h 1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267" h="126243">
                  <a:moveTo>
                    <a:pt x="93932" y="47720"/>
                  </a:moveTo>
                  <a:lnTo>
                    <a:pt x="93932" y="6224"/>
                  </a:lnTo>
                  <a:cubicBezTo>
                    <a:pt x="67733" y="-2075"/>
                    <a:pt x="40257" y="-2075"/>
                    <a:pt x="14058" y="6224"/>
                  </a:cubicBezTo>
                  <a:lnTo>
                    <a:pt x="14058" y="47720"/>
                  </a:lnTo>
                  <a:cubicBezTo>
                    <a:pt x="14058" y="48359"/>
                    <a:pt x="14058" y="48359"/>
                    <a:pt x="14058" y="48997"/>
                  </a:cubicBezTo>
                  <a:lnTo>
                    <a:pt x="0" y="126243"/>
                  </a:lnTo>
                  <a:lnTo>
                    <a:pt x="109268" y="126243"/>
                  </a:lnTo>
                  <a:lnTo>
                    <a:pt x="93932" y="48997"/>
                  </a:lnTo>
                  <a:cubicBezTo>
                    <a:pt x="93932" y="48359"/>
                    <a:pt x="93932" y="48359"/>
                    <a:pt x="93932" y="47720"/>
                  </a:cubicBezTo>
                  <a:close/>
                </a:path>
              </a:pathLst>
            </a:custGeom>
            <a:grpFill/>
            <a:ln w="6390"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ADE41439-847B-C279-9A8B-01E0B837AFFA}"/>
                </a:ext>
              </a:extLst>
            </p:cNvPr>
            <p:cNvSpPr/>
            <p:nvPr/>
          </p:nvSpPr>
          <p:spPr>
            <a:xfrm>
              <a:off x="905454" y="1402723"/>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362309 w 362309"/>
                <a:gd name="connsiteY4" fmla="*/ 181305 h 361971"/>
                <a:gd name="connsiteX5" fmla="*/ 180835 w 362309"/>
                <a:gd name="connsiteY5" fmla="*/ 0 h 361971"/>
                <a:gd name="connsiteX6" fmla="*/ 227482 w 362309"/>
                <a:gd name="connsiteY6" fmla="*/ 292386 h 361971"/>
                <a:gd name="connsiteX7" fmla="*/ 222370 w 362309"/>
                <a:gd name="connsiteY7" fmla="*/ 294940 h 361971"/>
                <a:gd name="connsiteX8" fmla="*/ 97766 w 362309"/>
                <a:gd name="connsiteY8" fmla="*/ 294940 h 361971"/>
                <a:gd name="connsiteX9" fmla="*/ 91376 w 362309"/>
                <a:gd name="connsiteY9" fmla="*/ 288556 h 361971"/>
                <a:gd name="connsiteX10" fmla="*/ 91376 w 362309"/>
                <a:gd name="connsiteY10" fmla="*/ 287279 h 361971"/>
                <a:gd name="connsiteX11" fmla="*/ 106712 w 362309"/>
                <a:gd name="connsiteY11" fmla="*/ 203011 h 361971"/>
                <a:gd name="connsiteX12" fmla="*/ 106712 w 362309"/>
                <a:gd name="connsiteY12" fmla="*/ 157046 h 361971"/>
                <a:gd name="connsiteX13" fmla="*/ 111185 w 362309"/>
                <a:gd name="connsiteY13" fmla="*/ 150662 h 361971"/>
                <a:gd name="connsiteX14" fmla="*/ 207673 w 362309"/>
                <a:gd name="connsiteY14" fmla="*/ 150662 h 361971"/>
                <a:gd name="connsiteX15" fmla="*/ 212146 w 362309"/>
                <a:gd name="connsiteY15" fmla="*/ 157046 h 361971"/>
                <a:gd name="connsiteX16" fmla="*/ 212146 w 362309"/>
                <a:gd name="connsiteY16" fmla="*/ 202372 h 361971"/>
                <a:gd name="connsiteX17" fmla="*/ 228760 w 362309"/>
                <a:gd name="connsiteY17" fmla="*/ 286641 h 361971"/>
                <a:gd name="connsiteX18" fmla="*/ 227482 w 362309"/>
                <a:gd name="connsiteY18" fmla="*/ 292386 h 361971"/>
                <a:gd name="connsiteX19" fmla="*/ 227482 w 362309"/>
                <a:gd name="connsiteY19" fmla="*/ 292386 h 361971"/>
                <a:gd name="connsiteX20" fmla="*/ 244735 w 362309"/>
                <a:gd name="connsiteY20" fmla="*/ 148747 h 361971"/>
                <a:gd name="connsiteX21" fmla="*/ 237067 w 362309"/>
                <a:gd name="connsiteY21" fmla="*/ 148747 h 361971"/>
                <a:gd name="connsiteX22" fmla="*/ 230677 w 362309"/>
                <a:gd name="connsiteY22" fmla="*/ 142363 h 361971"/>
                <a:gd name="connsiteX23" fmla="*/ 237067 w 362309"/>
                <a:gd name="connsiteY23" fmla="*/ 135979 h 361971"/>
                <a:gd name="connsiteX24" fmla="*/ 244735 w 362309"/>
                <a:gd name="connsiteY24" fmla="*/ 135979 h 361971"/>
                <a:gd name="connsiteX25" fmla="*/ 257514 w 362309"/>
                <a:gd name="connsiteY25" fmla="*/ 123211 h 361971"/>
                <a:gd name="connsiteX26" fmla="*/ 244735 w 362309"/>
                <a:gd name="connsiteY26" fmla="*/ 110443 h 361971"/>
                <a:gd name="connsiteX27" fmla="*/ 238345 w 362309"/>
                <a:gd name="connsiteY27" fmla="*/ 104059 h 361971"/>
                <a:gd name="connsiteX28" fmla="*/ 214063 w 362309"/>
                <a:gd name="connsiteY28" fmla="*/ 79161 h 361971"/>
                <a:gd name="connsiteX29" fmla="*/ 189781 w 362309"/>
                <a:gd name="connsiteY29" fmla="*/ 98952 h 361971"/>
                <a:gd name="connsiteX30" fmla="*/ 182113 w 362309"/>
                <a:gd name="connsiteY30" fmla="*/ 104059 h 361971"/>
                <a:gd name="connsiteX31" fmla="*/ 180835 w 362309"/>
                <a:gd name="connsiteY31" fmla="*/ 104059 h 361971"/>
                <a:gd name="connsiteX32" fmla="*/ 159110 w 362309"/>
                <a:gd name="connsiteY32" fmla="*/ 113635 h 361971"/>
                <a:gd name="connsiteX33" fmla="*/ 157831 w 362309"/>
                <a:gd name="connsiteY33" fmla="*/ 119380 h 361971"/>
                <a:gd name="connsiteX34" fmla="*/ 151441 w 362309"/>
                <a:gd name="connsiteY34" fmla="*/ 125764 h 361971"/>
                <a:gd name="connsiteX35" fmla="*/ 145052 w 362309"/>
                <a:gd name="connsiteY35" fmla="*/ 119380 h 361971"/>
                <a:gd name="connsiteX36" fmla="*/ 174445 w 362309"/>
                <a:gd name="connsiteY36" fmla="*/ 90014 h 361971"/>
                <a:gd name="connsiteX37" fmla="*/ 178279 w 362309"/>
                <a:gd name="connsiteY37" fmla="*/ 90653 h 361971"/>
                <a:gd name="connsiteX38" fmla="*/ 226843 w 362309"/>
                <a:gd name="connsiteY38" fmla="*/ 69585 h 361971"/>
                <a:gd name="connsiteX39" fmla="*/ 249847 w 362309"/>
                <a:gd name="connsiteY39" fmla="*/ 98313 h 361971"/>
                <a:gd name="connsiteX40" fmla="*/ 270294 w 362309"/>
                <a:gd name="connsiteY40" fmla="*/ 127680 h 361971"/>
                <a:gd name="connsiteX41" fmla="*/ 244735 w 362309"/>
                <a:gd name="connsiteY41" fmla="*/ 148747 h 361971"/>
                <a:gd name="connsiteX42" fmla="*/ 244735 w 362309"/>
                <a:gd name="connsiteY42" fmla="*/ 14874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181305"/>
                    <a:pt x="362309" y="181305"/>
                    <a:pt x="362309" y="181305"/>
                  </a:cubicBezTo>
                  <a:cubicBezTo>
                    <a:pt x="361670" y="80438"/>
                    <a:pt x="281157" y="0"/>
                    <a:pt x="180835" y="0"/>
                  </a:cubicBezTo>
                  <a:close/>
                  <a:moveTo>
                    <a:pt x="227482" y="292386"/>
                  </a:moveTo>
                  <a:cubicBezTo>
                    <a:pt x="226204" y="293663"/>
                    <a:pt x="224287" y="294940"/>
                    <a:pt x="222370" y="294940"/>
                  </a:cubicBezTo>
                  <a:lnTo>
                    <a:pt x="97766" y="294940"/>
                  </a:lnTo>
                  <a:cubicBezTo>
                    <a:pt x="93932" y="294940"/>
                    <a:pt x="91376" y="292386"/>
                    <a:pt x="91376" y="288556"/>
                  </a:cubicBezTo>
                  <a:cubicBezTo>
                    <a:pt x="91376" y="287918"/>
                    <a:pt x="91376" y="287918"/>
                    <a:pt x="91376" y="287279"/>
                  </a:cubicBezTo>
                  <a:lnTo>
                    <a:pt x="106712" y="203011"/>
                  </a:lnTo>
                  <a:lnTo>
                    <a:pt x="106712" y="157046"/>
                  </a:lnTo>
                  <a:cubicBezTo>
                    <a:pt x="106712" y="153854"/>
                    <a:pt x="108629" y="151300"/>
                    <a:pt x="111185" y="150662"/>
                  </a:cubicBezTo>
                  <a:cubicBezTo>
                    <a:pt x="142496" y="139809"/>
                    <a:pt x="176362" y="139809"/>
                    <a:pt x="207673" y="150662"/>
                  </a:cubicBezTo>
                  <a:cubicBezTo>
                    <a:pt x="210229" y="151300"/>
                    <a:pt x="212146" y="153854"/>
                    <a:pt x="212146" y="157046"/>
                  </a:cubicBezTo>
                  <a:lnTo>
                    <a:pt x="212146" y="202372"/>
                  </a:lnTo>
                  <a:lnTo>
                    <a:pt x="228760" y="286641"/>
                  </a:lnTo>
                  <a:cubicBezTo>
                    <a:pt x="229399" y="289194"/>
                    <a:pt x="228760" y="291110"/>
                    <a:pt x="227482" y="292386"/>
                  </a:cubicBezTo>
                  <a:lnTo>
                    <a:pt x="227482" y="292386"/>
                  </a:lnTo>
                  <a:close/>
                  <a:moveTo>
                    <a:pt x="244735" y="148747"/>
                  </a:moveTo>
                  <a:lnTo>
                    <a:pt x="237067" y="148747"/>
                  </a:lnTo>
                  <a:cubicBezTo>
                    <a:pt x="233233" y="148747"/>
                    <a:pt x="230677" y="146193"/>
                    <a:pt x="230677" y="142363"/>
                  </a:cubicBezTo>
                  <a:cubicBezTo>
                    <a:pt x="230677" y="138532"/>
                    <a:pt x="233233" y="135979"/>
                    <a:pt x="237067" y="135979"/>
                  </a:cubicBezTo>
                  <a:lnTo>
                    <a:pt x="244735" y="135979"/>
                  </a:lnTo>
                  <a:cubicBezTo>
                    <a:pt x="251764" y="135979"/>
                    <a:pt x="257514" y="130233"/>
                    <a:pt x="257514" y="123211"/>
                  </a:cubicBezTo>
                  <a:cubicBezTo>
                    <a:pt x="257514" y="116188"/>
                    <a:pt x="251764" y="110443"/>
                    <a:pt x="244735" y="110443"/>
                  </a:cubicBezTo>
                  <a:cubicBezTo>
                    <a:pt x="240901" y="110443"/>
                    <a:pt x="238345" y="107889"/>
                    <a:pt x="238345" y="104059"/>
                  </a:cubicBezTo>
                  <a:cubicBezTo>
                    <a:pt x="238345" y="90653"/>
                    <a:pt x="227482" y="79800"/>
                    <a:pt x="214063" y="79161"/>
                  </a:cubicBezTo>
                  <a:cubicBezTo>
                    <a:pt x="202561" y="79161"/>
                    <a:pt x="192337" y="87461"/>
                    <a:pt x="189781" y="98952"/>
                  </a:cubicBezTo>
                  <a:cubicBezTo>
                    <a:pt x="189142" y="102144"/>
                    <a:pt x="185947" y="104697"/>
                    <a:pt x="182113" y="104059"/>
                  </a:cubicBezTo>
                  <a:cubicBezTo>
                    <a:pt x="181474" y="104059"/>
                    <a:pt x="181474" y="104059"/>
                    <a:pt x="180835" y="104059"/>
                  </a:cubicBezTo>
                  <a:cubicBezTo>
                    <a:pt x="172528" y="100867"/>
                    <a:pt x="162304" y="104697"/>
                    <a:pt x="159110" y="113635"/>
                  </a:cubicBezTo>
                  <a:cubicBezTo>
                    <a:pt x="158470" y="115550"/>
                    <a:pt x="157831" y="117465"/>
                    <a:pt x="157831" y="119380"/>
                  </a:cubicBezTo>
                  <a:cubicBezTo>
                    <a:pt x="157831" y="123211"/>
                    <a:pt x="155275" y="125764"/>
                    <a:pt x="151441" y="125764"/>
                  </a:cubicBezTo>
                  <a:cubicBezTo>
                    <a:pt x="147608" y="125764"/>
                    <a:pt x="145052" y="123211"/>
                    <a:pt x="145052" y="119380"/>
                  </a:cubicBezTo>
                  <a:cubicBezTo>
                    <a:pt x="145052" y="102782"/>
                    <a:pt x="158470" y="90014"/>
                    <a:pt x="174445" y="90014"/>
                  </a:cubicBezTo>
                  <a:cubicBezTo>
                    <a:pt x="175723" y="90014"/>
                    <a:pt x="177001" y="90014"/>
                    <a:pt x="178279" y="90653"/>
                  </a:cubicBezTo>
                  <a:cubicBezTo>
                    <a:pt x="185947" y="71501"/>
                    <a:pt x="207673" y="61925"/>
                    <a:pt x="226843" y="69585"/>
                  </a:cubicBezTo>
                  <a:cubicBezTo>
                    <a:pt x="238984" y="74693"/>
                    <a:pt x="247930" y="85545"/>
                    <a:pt x="249847" y="98313"/>
                  </a:cubicBezTo>
                  <a:cubicBezTo>
                    <a:pt x="263904" y="100867"/>
                    <a:pt x="272850" y="114273"/>
                    <a:pt x="270294" y="127680"/>
                  </a:cubicBezTo>
                  <a:cubicBezTo>
                    <a:pt x="269016" y="140448"/>
                    <a:pt x="257514" y="149385"/>
                    <a:pt x="244735" y="148747"/>
                  </a:cubicBezTo>
                  <a:lnTo>
                    <a:pt x="244735" y="148747"/>
                  </a:lnTo>
                  <a:close/>
                </a:path>
              </a:pathLst>
            </a:custGeom>
            <a:grpFill/>
            <a:ln w="6390" cap="flat">
              <a:noFill/>
              <a:prstDash val="solid"/>
              <a:miter/>
            </a:ln>
          </p:spPr>
          <p:txBody>
            <a:bodyPr rtlCol="0" anchor="ctr"/>
            <a:lstStyle/>
            <a:p>
              <a:endParaRPr lang="en-US"/>
            </a:p>
          </p:txBody>
        </p:sp>
      </p:grpSp>
      <p:grpSp>
        <p:nvGrpSpPr>
          <p:cNvPr id="34" name="Group 33">
            <a:extLst>
              <a:ext uri="{FF2B5EF4-FFF2-40B4-BE49-F238E27FC236}">
                <a16:creationId xmlns:a16="http://schemas.microsoft.com/office/drawing/2014/main" id="{F462F71E-27B3-E0AC-B201-2AD9EE11FA3E}"/>
              </a:ext>
            </a:extLst>
          </p:cNvPr>
          <p:cNvGrpSpPr/>
          <p:nvPr/>
        </p:nvGrpSpPr>
        <p:grpSpPr>
          <a:xfrm>
            <a:off x="501652" y="3171598"/>
            <a:ext cx="11188695" cy="1570671"/>
            <a:chOff x="501652" y="3192146"/>
            <a:chExt cx="11188695" cy="1570671"/>
          </a:xfrm>
        </p:grpSpPr>
        <p:sp>
          <p:nvSpPr>
            <p:cNvPr id="35" name="TextBox 34">
              <a:extLst>
                <a:ext uri="{FF2B5EF4-FFF2-40B4-BE49-F238E27FC236}">
                  <a16:creationId xmlns:a16="http://schemas.microsoft.com/office/drawing/2014/main" id="{20E51398-AAC9-90A5-8507-66732B31DAF6}"/>
                </a:ext>
              </a:extLst>
            </p:cNvPr>
            <p:cNvSpPr txBox="1"/>
            <p:nvPr/>
          </p:nvSpPr>
          <p:spPr>
            <a:xfrm>
              <a:off x="10091328" y="3192146"/>
              <a:ext cx="1599019" cy="1570671"/>
            </a:xfrm>
            <a:prstGeom prst="rect">
              <a:avLst/>
            </a:prstGeom>
            <a:noFill/>
            <a:ln w="12700">
              <a:solidFill>
                <a:srgbClr val="26890D"/>
              </a:solidFill>
            </a:ln>
          </p:spPr>
          <p:txBody>
            <a:bodyPr wrap="square" lIns="0" tIns="0" rIns="0" bIns="0" rtlCol="0">
              <a:noAutofit/>
            </a:bodyPr>
            <a:lstStyle/>
            <a:p>
              <a:pPr algn="ctr" defTabSz="785437">
                <a:spcBef>
                  <a:spcPts val="514"/>
                </a:spcBef>
                <a:buSzPct val="100000"/>
              </a:pPr>
              <a:endParaRPr lang="en-GB" sz="923">
                <a:cs typeface="Arial" panose="020B0604020202020204" pitchFamily="34" charset="0"/>
              </a:endParaRPr>
            </a:p>
          </p:txBody>
        </p:sp>
        <p:sp>
          <p:nvSpPr>
            <p:cNvPr id="36" name="TextBox 35">
              <a:extLst>
                <a:ext uri="{FF2B5EF4-FFF2-40B4-BE49-F238E27FC236}">
                  <a16:creationId xmlns:a16="http://schemas.microsoft.com/office/drawing/2014/main" id="{FD33DE4F-25A2-51EB-FD99-7394EA78CE20}"/>
                </a:ext>
              </a:extLst>
            </p:cNvPr>
            <p:cNvSpPr txBox="1"/>
            <p:nvPr/>
          </p:nvSpPr>
          <p:spPr>
            <a:xfrm>
              <a:off x="501652" y="3192146"/>
              <a:ext cx="1169731" cy="1570671"/>
            </a:xfrm>
            <a:prstGeom prst="rect">
              <a:avLst/>
            </a:prstGeom>
            <a:solidFill>
              <a:srgbClr val="26890D"/>
            </a:solidFill>
            <a:ln w="12700">
              <a:noFill/>
              <a:miter lim="800000"/>
              <a:headEnd/>
              <a:tailEnd/>
            </a:ln>
          </p:spPr>
          <p:txBody>
            <a:bodyPr lIns="91209" tIns="45605" rIns="91209" bIns="45605" anchor="ctr"/>
            <a:lstStyle>
              <a:defPPr>
                <a:defRPr lang="en-US"/>
              </a:defPPr>
              <a:lvl1pPr algn="ctr">
                <a:defRPr sz="1400">
                  <a:latin typeface="+mj-lt"/>
                  <a:ea typeface="华文细黑" panose="02010600040101010101" pitchFamily="2" charset="-122"/>
                </a:defRPr>
              </a:lvl1pPr>
            </a:lstStyle>
            <a:p>
              <a:endParaRPr lang="en-GB" sz="1200"/>
            </a:p>
            <a:p>
              <a:endParaRPr lang="en-GB" sz="1200"/>
            </a:p>
            <a:p>
              <a:endParaRPr lang="en-GB" sz="1200"/>
            </a:p>
            <a:p>
              <a:r>
                <a:rPr lang="en-GB" sz="1200" b="1">
                  <a:solidFill>
                    <a:schemeClr val="bg1"/>
                  </a:solidFill>
                </a:rPr>
                <a:t>Transmission </a:t>
              </a:r>
              <a:br>
                <a:rPr lang="en-GB" sz="1200" b="1">
                  <a:solidFill>
                    <a:schemeClr val="bg1"/>
                  </a:solidFill>
                </a:rPr>
              </a:br>
              <a:r>
                <a:rPr lang="en-GB" sz="1200" b="1">
                  <a:solidFill>
                    <a:schemeClr val="bg1"/>
                  </a:solidFill>
                </a:rPr>
                <a:t>&amp; Distribution</a:t>
              </a:r>
            </a:p>
          </p:txBody>
        </p:sp>
        <p:sp>
          <p:nvSpPr>
            <p:cNvPr id="37" name="TextBox 36">
              <a:extLst>
                <a:ext uri="{FF2B5EF4-FFF2-40B4-BE49-F238E27FC236}">
                  <a16:creationId xmlns:a16="http://schemas.microsoft.com/office/drawing/2014/main" id="{87441107-002A-E5C7-062C-72C4EC619539}"/>
                </a:ext>
              </a:extLst>
            </p:cNvPr>
            <p:cNvSpPr txBox="1"/>
            <p:nvPr/>
          </p:nvSpPr>
          <p:spPr>
            <a:xfrm>
              <a:off x="1753450" y="3192146"/>
              <a:ext cx="1590586" cy="1570671"/>
            </a:xfrm>
            <a:prstGeom prst="rect">
              <a:avLst/>
            </a:prstGeom>
            <a:noFill/>
            <a:ln w="12700">
              <a:solidFill>
                <a:srgbClr val="26890D"/>
              </a:solidFill>
            </a:ln>
          </p:spPr>
          <p:txBody>
            <a:bodyPr wrap="square" lIns="0" tIns="0" rIns="0" bIns="0" rtlCol="0">
              <a:noAutofit/>
            </a:bodyPr>
            <a:lstStyle/>
            <a:p>
              <a:pPr marL="61854" algn="ctr" defTabSz="785437">
                <a:spcBef>
                  <a:spcPts val="1032"/>
                </a:spcBef>
                <a:buSzPct val="100000"/>
              </a:pPr>
              <a:endParaRPr lang="en-US" altLang="zh-CN" sz="923">
                <a:cs typeface="Arial" panose="020B0604020202020204" pitchFamily="34" charset="0"/>
              </a:endParaRPr>
            </a:p>
          </p:txBody>
        </p:sp>
        <p:sp>
          <p:nvSpPr>
            <p:cNvPr id="38" name="Text Box 6">
              <a:extLst>
                <a:ext uri="{FF2B5EF4-FFF2-40B4-BE49-F238E27FC236}">
                  <a16:creationId xmlns:a16="http://schemas.microsoft.com/office/drawing/2014/main" id="{55E3A067-63F5-2428-E561-B259097DF018}"/>
                </a:ext>
              </a:extLst>
            </p:cNvPr>
            <p:cNvSpPr txBox="1">
              <a:spLocks noChangeArrowheads="1"/>
            </p:cNvSpPr>
            <p:nvPr/>
          </p:nvSpPr>
          <p:spPr bwMode="auto">
            <a:xfrm>
              <a:off x="1753450" y="3420316"/>
              <a:ext cx="1590586" cy="474853"/>
            </a:xfrm>
            <a:prstGeom prst="rect">
              <a:avLst/>
            </a:prstGeom>
            <a:noFill/>
          </p:spPr>
          <p:txBody>
            <a:bodyPr wrap="square" lIns="45720" rIns="45720">
              <a:spAutoFit/>
            </a:bodyPr>
            <a:lstStyle>
              <a:defPPr>
                <a:defRPr lang="en-US"/>
              </a:defPPr>
              <a:lvl1pPr algn="ctr">
                <a:defRPr sz="800"/>
              </a:lvl1pPr>
            </a:lstStyle>
            <a:p>
              <a:r>
                <a:rPr lang="en-US"/>
                <a:t>Implementation of flexible, scalable and high-performance SAP CR&amp;B platform based on HANA</a:t>
              </a:r>
              <a:endParaRPr lang="en-GB"/>
            </a:p>
          </p:txBody>
        </p:sp>
        <p:pic>
          <p:nvPicPr>
            <p:cNvPr id="39" name="Picture 38">
              <a:extLst>
                <a:ext uri="{FF2B5EF4-FFF2-40B4-BE49-F238E27FC236}">
                  <a16:creationId xmlns:a16="http://schemas.microsoft.com/office/drawing/2014/main" id="{5DF39CC5-2035-3117-2C65-99AD7BD7F59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73765" y="4158616"/>
              <a:ext cx="1149956" cy="509727"/>
            </a:xfrm>
            <a:prstGeom prst="rect">
              <a:avLst/>
            </a:prstGeom>
            <a:solidFill>
              <a:schemeClr val="accent3">
                <a:lumMod val="20000"/>
                <a:lumOff val="80000"/>
              </a:schemeClr>
            </a:solidFill>
          </p:spPr>
        </p:pic>
        <p:sp>
          <p:nvSpPr>
            <p:cNvPr id="40" name="TextBox 39">
              <a:extLst>
                <a:ext uri="{FF2B5EF4-FFF2-40B4-BE49-F238E27FC236}">
                  <a16:creationId xmlns:a16="http://schemas.microsoft.com/office/drawing/2014/main" id="{D3F3F38B-D813-90CD-3017-A01AF1272AC4}"/>
                </a:ext>
              </a:extLst>
            </p:cNvPr>
            <p:cNvSpPr txBox="1"/>
            <p:nvPr/>
          </p:nvSpPr>
          <p:spPr>
            <a:xfrm>
              <a:off x="3421026" y="3192146"/>
              <a:ext cx="1590586" cy="1570671"/>
            </a:xfrm>
            <a:prstGeom prst="rect">
              <a:avLst/>
            </a:prstGeom>
            <a:noFill/>
            <a:ln w="12700">
              <a:solidFill>
                <a:srgbClr val="26890D"/>
              </a:solidFill>
            </a:ln>
          </p:spPr>
          <p:txBody>
            <a:bodyPr wrap="square" lIns="0" tIns="0" rIns="0" bIns="0" rtlCol="0">
              <a:noAutofit/>
            </a:bodyPr>
            <a:lstStyle/>
            <a:p>
              <a:pPr defTabSz="785437">
                <a:spcBef>
                  <a:spcPts val="514"/>
                </a:spcBef>
                <a:buSzPct val="100000"/>
              </a:pPr>
              <a:endParaRPr lang="en-GB" sz="923">
                <a:cs typeface="Arial" panose="020B0604020202020204" pitchFamily="34" charset="0"/>
              </a:endParaRPr>
            </a:p>
          </p:txBody>
        </p:sp>
        <p:sp>
          <p:nvSpPr>
            <p:cNvPr id="41" name="Text Box 6">
              <a:extLst>
                <a:ext uri="{FF2B5EF4-FFF2-40B4-BE49-F238E27FC236}">
                  <a16:creationId xmlns:a16="http://schemas.microsoft.com/office/drawing/2014/main" id="{BC8DE849-CB99-AF18-B60D-C3C2E9D3893A}"/>
                </a:ext>
              </a:extLst>
            </p:cNvPr>
            <p:cNvSpPr txBox="1">
              <a:spLocks noChangeArrowheads="1"/>
            </p:cNvSpPr>
            <p:nvPr/>
          </p:nvSpPr>
          <p:spPr bwMode="auto">
            <a:xfrm>
              <a:off x="3467117" y="3420316"/>
              <a:ext cx="1498405" cy="707886"/>
            </a:xfrm>
            <a:prstGeom prst="rect">
              <a:avLst/>
            </a:prstGeom>
            <a:noFill/>
          </p:spPr>
          <p:txBody>
            <a:bodyPr wrap="square" lIns="45720" rIns="45720">
              <a:spAutoFit/>
            </a:bodyPr>
            <a:lstStyle>
              <a:defPPr>
                <a:defRPr lang="en-US"/>
              </a:defPPr>
              <a:lvl1pPr algn="ctr">
                <a:defRPr sz="800"/>
              </a:lvl1pPr>
            </a:lstStyle>
            <a:p>
              <a:pPr algn="just"/>
              <a:r>
                <a:rPr lang="en-US" sz="800">
                  <a:ea typeface="Verdana" panose="020B0604030504040204" pitchFamily="34" charset="0"/>
                </a:rPr>
                <a:t>SAPECC to S/4HANA RISE covering multiple decentralized systems system harmonization of all core modules and. Greenfield solution for SAP TRM and Cash </a:t>
              </a:r>
              <a:r>
                <a:rPr lang="en-US" sz="800" err="1">
                  <a:ea typeface="Verdana" panose="020B0604030504040204" pitchFamily="34" charset="0"/>
                </a:rPr>
                <a:t>Mgmt</a:t>
              </a:r>
              <a:endParaRPr lang="en-US" sz="800">
                <a:ea typeface="Verdana" panose="020B0604030504040204" pitchFamily="34" charset="0"/>
              </a:endParaRPr>
            </a:p>
          </p:txBody>
        </p:sp>
        <p:sp>
          <p:nvSpPr>
            <p:cNvPr id="42" name="TextBox 41">
              <a:extLst>
                <a:ext uri="{FF2B5EF4-FFF2-40B4-BE49-F238E27FC236}">
                  <a16:creationId xmlns:a16="http://schemas.microsoft.com/office/drawing/2014/main" id="{9DC76C0B-C2B3-A6C3-98D4-190505EF6189}"/>
                </a:ext>
              </a:extLst>
            </p:cNvPr>
            <p:cNvSpPr txBox="1"/>
            <p:nvPr/>
          </p:nvSpPr>
          <p:spPr>
            <a:xfrm>
              <a:off x="5088602" y="3192146"/>
              <a:ext cx="1590586" cy="1570671"/>
            </a:xfrm>
            <a:prstGeom prst="rect">
              <a:avLst/>
            </a:prstGeom>
            <a:noFill/>
            <a:ln w="12700">
              <a:solidFill>
                <a:srgbClr val="26890D"/>
              </a:solidFill>
            </a:ln>
          </p:spPr>
          <p:txBody>
            <a:bodyPr wrap="square" lIns="0" tIns="0" rIns="0" bIns="0" rtlCol="0">
              <a:noAutofit/>
            </a:bodyPr>
            <a:lstStyle/>
            <a:p>
              <a:pPr algn="ctr" defTabSz="785437">
                <a:spcBef>
                  <a:spcPts val="514"/>
                </a:spcBef>
                <a:buSzPct val="100000"/>
              </a:pPr>
              <a:endParaRPr lang="en-GB" sz="923">
                <a:cs typeface="Arial" panose="020B0604020202020204" pitchFamily="34" charset="0"/>
              </a:endParaRPr>
            </a:p>
          </p:txBody>
        </p:sp>
        <p:sp>
          <p:nvSpPr>
            <p:cNvPr id="43" name="Rectangle 42">
              <a:extLst>
                <a:ext uri="{FF2B5EF4-FFF2-40B4-BE49-F238E27FC236}">
                  <a16:creationId xmlns:a16="http://schemas.microsoft.com/office/drawing/2014/main" id="{5F0DE5F7-1641-964B-EACB-4B782B3BB60C}"/>
                </a:ext>
              </a:extLst>
            </p:cNvPr>
            <p:cNvSpPr/>
            <p:nvPr/>
          </p:nvSpPr>
          <p:spPr>
            <a:xfrm>
              <a:off x="5088602" y="3420316"/>
              <a:ext cx="1590586" cy="830997"/>
            </a:xfrm>
            <a:prstGeom prst="rect">
              <a:avLst/>
            </a:prstGeom>
            <a:noFill/>
          </p:spPr>
          <p:txBody>
            <a:bodyPr wrap="square" lIns="45720" rIns="45720">
              <a:spAutoFit/>
            </a:bodyPr>
            <a:lstStyle/>
            <a:p>
              <a:r>
                <a:rPr lang="en-US" sz="800">
                  <a:solidFill>
                    <a:prstClr val="black"/>
                  </a:solidFill>
                </a:rPr>
                <a:t>ECC to S4 HANA Conversion and business process improvements; Modules included FICO, MM, SD, PS, PM, HCM SAP BW to BW/4 Conversion and Migration from BO to SAC</a:t>
              </a:r>
            </a:p>
          </p:txBody>
        </p:sp>
        <p:sp>
          <p:nvSpPr>
            <p:cNvPr id="44" name="TextBox 43">
              <a:extLst>
                <a:ext uri="{FF2B5EF4-FFF2-40B4-BE49-F238E27FC236}">
                  <a16:creationId xmlns:a16="http://schemas.microsoft.com/office/drawing/2014/main" id="{C7E95691-FEC4-D1B7-3BC3-6693B00BDA18}"/>
                </a:ext>
              </a:extLst>
            </p:cNvPr>
            <p:cNvSpPr txBox="1"/>
            <p:nvPr/>
          </p:nvSpPr>
          <p:spPr>
            <a:xfrm>
              <a:off x="6756178" y="3192146"/>
              <a:ext cx="1590586" cy="1570671"/>
            </a:xfrm>
            <a:prstGeom prst="rect">
              <a:avLst/>
            </a:prstGeom>
            <a:noFill/>
            <a:ln w="12700">
              <a:solidFill>
                <a:srgbClr val="26890D"/>
              </a:solidFill>
            </a:ln>
          </p:spPr>
          <p:txBody>
            <a:bodyPr wrap="square" lIns="0" tIns="0" rIns="0" bIns="0" rtlCol="0">
              <a:noAutofit/>
            </a:bodyPr>
            <a:lstStyle/>
            <a:p>
              <a:pPr algn="ctr" defTabSz="785437">
                <a:spcBef>
                  <a:spcPts val="514"/>
                </a:spcBef>
                <a:buSzPct val="100000"/>
              </a:pPr>
              <a:endParaRPr lang="en-GB" sz="923">
                <a:cs typeface="Arial" panose="020B0604020202020204" pitchFamily="34" charset="0"/>
              </a:endParaRPr>
            </a:p>
          </p:txBody>
        </p:sp>
        <p:sp>
          <p:nvSpPr>
            <p:cNvPr id="46" name="Rectangle 45">
              <a:extLst>
                <a:ext uri="{FF2B5EF4-FFF2-40B4-BE49-F238E27FC236}">
                  <a16:creationId xmlns:a16="http://schemas.microsoft.com/office/drawing/2014/main" id="{CAFFF39B-128E-BACC-8A69-6C422371A352}"/>
                </a:ext>
              </a:extLst>
            </p:cNvPr>
            <p:cNvSpPr/>
            <p:nvPr/>
          </p:nvSpPr>
          <p:spPr>
            <a:xfrm>
              <a:off x="6787210" y="3496516"/>
              <a:ext cx="1528523" cy="338554"/>
            </a:xfrm>
            <a:prstGeom prst="rect">
              <a:avLst/>
            </a:prstGeom>
            <a:noFill/>
          </p:spPr>
          <p:txBody>
            <a:bodyPr wrap="square" lIns="45720" rIns="45720">
              <a:spAutoFit/>
            </a:bodyPr>
            <a:lstStyle/>
            <a:p>
              <a:pPr algn="ctr"/>
              <a:r>
                <a:rPr lang="en-US" sz="800"/>
                <a:t>Formation of corporate strategy and Portal Development for BHEL</a:t>
              </a:r>
            </a:p>
          </p:txBody>
        </p:sp>
        <p:sp>
          <p:nvSpPr>
            <p:cNvPr id="47" name="TextBox 46">
              <a:extLst>
                <a:ext uri="{FF2B5EF4-FFF2-40B4-BE49-F238E27FC236}">
                  <a16:creationId xmlns:a16="http://schemas.microsoft.com/office/drawing/2014/main" id="{8F21840C-93E1-42DF-AF27-D400989AEA8B}"/>
                </a:ext>
              </a:extLst>
            </p:cNvPr>
            <p:cNvSpPr txBox="1"/>
            <p:nvPr/>
          </p:nvSpPr>
          <p:spPr>
            <a:xfrm>
              <a:off x="10163629" y="3472051"/>
              <a:ext cx="1445987" cy="584775"/>
            </a:xfrm>
            <a:prstGeom prst="rect">
              <a:avLst/>
            </a:prstGeom>
            <a:noFill/>
          </p:spPr>
          <p:txBody>
            <a:bodyPr wrap="square" lIns="45720" rIns="45720">
              <a:spAutoFit/>
            </a:bodyPr>
            <a:lstStyle>
              <a:defPPr>
                <a:defRPr lang="en-US"/>
              </a:defPPr>
              <a:lvl1pPr algn="ctr">
                <a:defRPr sz="800"/>
              </a:lvl1pPr>
            </a:lstStyle>
            <a:p>
              <a:r>
                <a:rPr lang="en-US" sz="800" err="1">
                  <a:solidFill>
                    <a:prstClr val="black"/>
                  </a:solidFill>
                </a:rPr>
                <a:t>Himurja</a:t>
              </a:r>
              <a:r>
                <a:rPr lang="en-US" sz="800">
                  <a:solidFill>
                    <a:prstClr val="black"/>
                  </a:solidFill>
                </a:rPr>
                <a:t> Roof Top Solar Application (Single Window Clearance System)</a:t>
              </a:r>
            </a:p>
            <a:p>
              <a:endParaRPr lang="en-US"/>
            </a:p>
          </p:txBody>
        </p:sp>
        <p:sp>
          <p:nvSpPr>
            <p:cNvPr id="49" name="TextBox 48">
              <a:extLst>
                <a:ext uri="{FF2B5EF4-FFF2-40B4-BE49-F238E27FC236}">
                  <a16:creationId xmlns:a16="http://schemas.microsoft.com/office/drawing/2014/main" id="{F0FBB9AF-6429-BED3-11C5-F8301E79E4CD}"/>
                </a:ext>
              </a:extLst>
            </p:cNvPr>
            <p:cNvSpPr txBox="1"/>
            <p:nvPr/>
          </p:nvSpPr>
          <p:spPr>
            <a:xfrm>
              <a:off x="8423754" y="3192146"/>
              <a:ext cx="1590586" cy="1570671"/>
            </a:xfrm>
            <a:prstGeom prst="rect">
              <a:avLst/>
            </a:prstGeom>
            <a:noFill/>
            <a:ln w="12700">
              <a:solidFill>
                <a:srgbClr val="26890D"/>
              </a:solidFill>
            </a:ln>
          </p:spPr>
          <p:txBody>
            <a:bodyPr wrap="square" lIns="0" tIns="0" rIns="28401" bIns="0" rtlCol="0">
              <a:noAutofit/>
            </a:bodyPr>
            <a:lstStyle/>
            <a:p>
              <a:pPr algn="ctr" defTabSz="785437">
                <a:spcBef>
                  <a:spcPts val="514"/>
                </a:spcBef>
                <a:buSzPct val="100000"/>
              </a:pPr>
              <a:endParaRPr lang="en-US" altLang="zh-CN" sz="923">
                <a:cs typeface="Arial" panose="020B0604020202020204" pitchFamily="34" charset="0"/>
              </a:endParaRPr>
            </a:p>
          </p:txBody>
        </p:sp>
        <p:pic>
          <p:nvPicPr>
            <p:cNvPr id="56" name="Picture 55">
              <a:extLst>
                <a:ext uri="{FF2B5EF4-FFF2-40B4-BE49-F238E27FC236}">
                  <a16:creationId xmlns:a16="http://schemas.microsoft.com/office/drawing/2014/main" id="{BF335FA5-D05A-2010-7A2E-C743B2BED32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681538" y="4157058"/>
              <a:ext cx="1069562" cy="483797"/>
            </a:xfrm>
            <a:prstGeom prst="rect">
              <a:avLst/>
            </a:prstGeom>
            <a:ln>
              <a:solidFill>
                <a:schemeClr val="tx1"/>
              </a:solidFill>
            </a:ln>
          </p:spPr>
        </p:pic>
        <p:grpSp>
          <p:nvGrpSpPr>
            <p:cNvPr id="58" name="Group 57">
              <a:extLst>
                <a:ext uri="{FF2B5EF4-FFF2-40B4-BE49-F238E27FC236}">
                  <a16:creationId xmlns:a16="http://schemas.microsoft.com/office/drawing/2014/main" id="{8C7BA446-0A85-2867-16F0-FC6ED4DDCF83}"/>
                </a:ext>
              </a:extLst>
            </p:cNvPr>
            <p:cNvGrpSpPr/>
            <p:nvPr/>
          </p:nvGrpSpPr>
          <p:grpSpPr>
            <a:xfrm>
              <a:off x="794766" y="3366263"/>
              <a:ext cx="583502" cy="582958"/>
              <a:chOff x="905454" y="918179"/>
              <a:chExt cx="362309" cy="361971"/>
            </a:xfrm>
            <a:solidFill>
              <a:schemeClr val="bg1"/>
            </a:solidFill>
          </p:grpSpPr>
          <p:sp>
            <p:nvSpPr>
              <p:cNvPr id="59" name="Graphic 4">
                <a:extLst>
                  <a:ext uri="{FF2B5EF4-FFF2-40B4-BE49-F238E27FC236}">
                    <a16:creationId xmlns:a16="http://schemas.microsoft.com/office/drawing/2014/main" id="{D20C3192-3C88-86CE-83AF-E812397ADBF4}"/>
                  </a:ext>
                </a:extLst>
              </p:cNvPr>
              <p:cNvSpPr/>
              <p:nvPr/>
            </p:nvSpPr>
            <p:spPr>
              <a:xfrm>
                <a:off x="1072231" y="1066287"/>
                <a:ext cx="5750" cy="9575"/>
              </a:xfrm>
              <a:custGeom>
                <a:avLst/>
                <a:gdLst>
                  <a:gd name="connsiteX0" fmla="*/ 0 w 5750"/>
                  <a:gd name="connsiteY0" fmla="*/ 9576 h 9575"/>
                  <a:gd name="connsiteX1" fmla="*/ 5751 w 5750"/>
                  <a:gd name="connsiteY1" fmla="*/ 3830 h 9575"/>
                  <a:gd name="connsiteX2" fmla="*/ 1917 w 5750"/>
                  <a:gd name="connsiteY2" fmla="*/ 0 h 9575"/>
                </a:gdLst>
                <a:ahLst/>
                <a:cxnLst>
                  <a:cxn ang="0">
                    <a:pos x="connsiteX0" y="connsiteY0"/>
                  </a:cxn>
                  <a:cxn ang="0">
                    <a:pos x="connsiteX1" y="connsiteY1"/>
                  </a:cxn>
                  <a:cxn ang="0">
                    <a:pos x="connsiteX2" y="connsiteY2"/>
                  </a:cxn>
                </a:cxnLst>
                <a:rect l="l" t="t" r="r" b="b"/>
                <a:pathLst>
                  <a:path w="5750" h="9575">
                    <a:moveTo>
                      <a:pt x="0" y="9576"/>
                    </a:moveTo>
                    <a:lnTo>
                      <a:pt x="5751" y="3830"/>
                    </a:lnTo>
                    <a:lnTo>
                      <a:pt x="1917" y="0"/>
                    </a:lnTo>
                    <a:close/>
                  </a:path>
                </a:pathLst>
              </a:custGeom>
              <a:grpFill/>
              <a:ln w="6390"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BDF5D5BF-8EB8-F17A-091F-9A524CD4E13A}"/>
                  </a:ext>
                </a:extLst>
              </p:cNvPr>
              <p:cNvSpPr/>
              <p:nvPr/>
            </p:nvSpPr>
            <p:spPr>
              <a:xfrm>
                <a:off x="1096513" y="1118636"/>
                <a:ext cx="20447" cy="33196"/>
              </a:xfrm>
              <a:custGeom>
                <a:avLst/>
                <a:gdLst>
                  <a:gd name="connsiteX0" fmla="*/ 12780 w 20447"/>
                  <a:gd name="connsiteY0" fmla="*/ 0 h 33196"/>
                  <a:gd name="connsiteX1" fmla="*/ 0 w 20447"/>
                  <a:gd name="connsiteY1" fmla="*/ 13406 h 33196"/>
                  <a:gd name="connsiteX2" fmla="*/ 20448 w 20447"/>
                  <a:gd name="connsiteY2" fmla="*/ 33197 h 33196"/>
                </a:gdLst>
                <a:ahLst/>
                <a:cxnLst>
                  <a:cxn ang="0">
                    <a:pos x="connsiteX0" y="connsiteY0"/>
                  </a:cxn>
                  <a:cxn ang="0">
                    <a:pos x="connsiteX1" y="connsiteY1"/>
                  </a:cxn>
                  <a:cxn ang="0">
                    <a:pos x="connsiteX2" y="connsiteY2"/>
                  </a:cxn>
                </a:cxnLst>
                <a:rect l="l" t="t" r="r" b="b"/>
                <a:pathLst>
                  <a:path w="20447" h="33196">
                    <a:moveTo>
                      <a:pt x="12780" y="0"/>
                    </a:moveTo>
                    <a:lnTo>
                      <a:pt x="0" y="13406"/>
                    </a:lnTo>
                    <a:lnTo>
                      <a:pt x="20448" y="33197"/>
                    </a:lnTo>
                    <a:close/>
                  </a:path>
                </a:pathLst>
              </a:custGeom>
              <a:grpFill/>
              <a:ln w="6390" cap="flat">
                <a:noFill/>
                <a:prstDash val="solid"/>
                <a:miter/>
              </a:ln>
            </p:spPr>
            <p:txBody>
              <a:bodyPr rtlCol="0" anchor="ctr"/>
              <a:lstStyle/>
              <a:p>
                <a:endParaRPr lang="en-US"/>
              </a:p>
            </p:txBody>
          </p:sp>
          <p:sp>
            <p:nvSpPr>
              <p:cNvPr id="61" name="Graphic 4">
                <a:extLst>
                  <a:ext uri="{FF2B5EF4-FFF2-40B4-BE49-F238E27FC236}">
                    <a16:creationId xmlns:a16="http://schemas.microsoft.com/office/drawing/2014/main" id="{8BA43F37-D1AD-CFED-A508-D2759803E9F0}"/>
                  </a:ext>
                </a:extLst>
              </p:cNvPr>
              <p:cNvSpPr/>
              <p:nvPr/>
            </p:nvSpPr>
            <p:spPr>
              <a:xfrm>
                <a:off x="1068397" y="1103314"/>
                <a:ext cx="37700" cy="19151"/>
              </a:xfrm>
              <a:custGeom>
                <a:avLst/>
                <a:gdLst>
                  <a:gd name="connsiteX0" fmla="*/ 0 w 37700"/>
                  <a:gd name="connsiteY0" fmla="*/ 0 h 19151"/>
                  <a:gd name="connsiteX1" fmla="*/ 19170 w 37700"/>
                  <a:gd name="connsiteY1" fmla="*/ 19152 h 19151"/>
                  <a:gd name="connsiteX2" fmla="*/ 37701 w 37700"/>
                  <a:gd name="connsiteY2" fmla="*/ 0 h 19151"/>
                </a:gdLst>
                <a:ahLst/>
                <a:cxnLst>
                  <a:cxn ang="0">
                    <a:pos x="connsiteX0" y="connsiteY0"/>
                  </a:cxn>
                  <a:cxn ang="0">
                    <a:pos x="connsiteX1" y="connsiteY1"/>
                  </a:cxn>
                  <a:cxn ang="0">
                    <a:pos x="connsiteX2" y="connsiteY2"/>
                  </a:cxn>
                </a:cxnLst>
                <a:rect l="l" t="t" r="r" b="b"/>
                <a:pathLst>
                  <a:path w="37700" h="19151">
                    <a:moveTo>
                      <a:pt x="0" y="0"/>
                    </a:moveTo>
                    <a:lnTo>
                      <a:pt x="19170" y="19152"/>
                    </a:lnTo>
                    <a:lnTo>
                      <a:pt x="37701" y="0"/>
                    </a:lnTo>
                    <a:close/>
                  </a:path>
                </a:pathLst>
              </a:custGeom>
              <a:grpFill/>
              <a:ln w="6390" cap="flat">
                <a:noFill/>
                <a:prstDash val="solid"/>
                <a:miter/>
              </a:ln>
            </p:spPr>
            <p:txBody>
              <a:bodyPr rtlCol="0" anchor="ctr"/>
              <a:lstStyle/>
              <a:p>
                <a:endParaRPr lang="en-US"/>
              </a:p>
            </p:txBody>
          </p:sp>
          <p:sp>
            <p:nvSpPr>
              <p:cNvPr id="62" name="Graphic 4">
                <a:extLst>
                  <a:ext uri="{FF2B5EF4-FFF2-40B4-BE49-F238E27FC236}">
                    <a16:creationId xmlns:a16="http://schemas.microsoft.com/office/drawing/2014/main" id="{E1FA75D4-C042-4548-0BCE-ABE90D0C7EEC}"/>
                  </a:ext>
                </a:extLst>
              </p:cNvPr>
              <p:cNvSpPr/>
              <p:nvPr/>
            </p:nvSpPr>
            <p:spPr>
              <a:xfrm>
                <a:off x="1056256" y="1117359"/>
                <a:ext cx="22364" cy="37027"/>
              </a:xfrm>
              <a:custGeom>
                <a:avLst/>
                <a:gdLst>
                  <a:gd name="connsiteX0" fmla="*/ 7668 w 22364"/>
                  <a:gd name="connsiteY0" fmla="*/ 0 h 37027"/>
                  <a:gd name="connsiteX1" fmla="*/ 0 w 22364"/>
                  <a:gd name="connsiteY1" fmla="*/ 37027 h 37027"/>
                  <a:gd name="connsiteX2" fmla="*/ 22365 w 22364"/>
                  <a:gd name="connsiteY2" fmla="*/ 14683 h 37027"/>
                </a:gdLst>
                <a:ahLst/>
                <a:cxnLst>
                  <a:cxn ang="0">
                    <a:pos x="connsiteX0" y="connsiteY0"/>
                  </a:cxn>
                  <a:cxn ang="0">
                    <a:pos x="connsiteX1" y="connsiteY1"/>
                  </a:cxn>
                  <a:cxn ang="0">
                    <a:pos x="connsiteX2" y="connsiteY2"/>
                  </a:cxn>
                </a:cxnLst>
                <a:rect l="l" t="t" r="r" b="b"/>
                <a:pathLst>
                  <a:path w="22364" h="37027">
                    <a:moveTo>
                      <a:pt x="7668" y="0"/>
                    </a:moveTo>
                    <a:lnTo>
                      <a:pt x="0" y="37027"/>
                    </a:lnTo>
                    <a:lnTo>
                      <a:pt x="22365" y="14683"/>
                    </a:lnTo>
                    <a:close/>
                  </a:path>
                </a:pathLst>
              </a:custGeom>
              <a:grpFill/>
              <a:ln w="6390" cap="flat">
                <a:noFill/>
                <a:prstDash val="solid"/>
                <a:miter/>
              </a:ln>
            </p:spPr>
            <p:txBody>
              <a:bodyPr rtlCol="0" anchor="ctr"/>
              <a:lstStyle/>
              <a:p>
                <a:endParaRPr lang="en-US"/>
              </a:p>
            </p:txBody>
          </p:sp>
          <p:sp>
            <p:nvSpPr>
              <p:cNvPr id="63" name="Graphic 4">
                <a:extLst>
                  <a:ext uri="{FF2B5EF4-FFF2-40B4-BE49-F238E27FC236}">
                    <a16:creationId xmlns:a16="http://schemas.microsoft.com/office/drawing/2014/main" id="{7A2B5819-C0A7-517C-1587-F34F141A430E}"/>
                  </a:ext>
                </a:extLst>
              </p:cNvPr>
              <p:cNvSpPr/>
              <p:nvPr/>
            </p:nvSpPr>
            <p:spPr>
              <a:xfrm>
                <a:off x="1112488" y="1068841"/>
                <a:ext cx="45368" cy="21705"/>
              </a:xfrm>
              <a:custGeom>
                <a:avLst/>
                <a:gdLst>
                  <a:gd name="connsiteX0" fmla="*/ 45368 w 45368"/>
                  <a:gd name="connsiteY0" fmla="*/ 21706 h 21705"/>
                  <a:gd name="connsiteX1" fmla="*/ 0 w 45368"/>
                  <a:gd name="connsiteY1" fmla="*/ 0 h 21705"/>
                  <a:gd name="connsiteX2" fmla="*/ 4473 w 45368"/>
                  <a:gd name="connsiteY2" fmla="*/ 21706 h 21705"/>
                </a:gdLst>
                <a:ahLst/>
                <a:cxnLst>
                  <a:cxn ang="0">
                    <a:pos x="connsiteX0" y="connsiteY0"/>
                  </a:cxn>
                  <a:cxn ang="0">
                    <a:pos x="connsiteX1" y="connsiteY1"/>
                  </a:cxn>
                  <a:cxn ang="0">
                    <a:pos x="connsiteX2" y="connsiteY2"/>
                  </a:cxn>
                </a:cxnLst>
                <a:rect l="l" t="t" r="r" b="b"/>
                <a:pathLst>
                  <a:path w="45368" h="21705">
                    <a:moveTo>
                      <a:pt x="45368" y="21706"/>
                    </a:moveTo>
                    <a:lnTo>
                      <a:pt x="0" y="0"/>
                    </a:lnTo>
                    <a:lnTo>
                      <a:pt x="4473" y="21706"/>
                    </a:lnTo>
                    <a:close/>
                  </a:path>
                </a:pathLst>
              </a:custGeom>
              <a:grpFill/>
              <a:ln w="6390" cap="flat">
                <a:noFill/>
                <a:prstDash val="solid"/>
                <a:miter/>
              </a:ln>
            </p:spPr>
            <p:txBody>
              <a:bodyPr rtlCol="0" anchor="ctr"/>
              <a:lstStyle/>
              <a:p>
                <a:endParaRPr lang="en-US"/>
              </a:p>
            </p:txBody>
          </p:sp>
          <p:sp>
            <p:nvSpPr>
              <p:cNvPr id="64" name="Graphic 4">
                <a:extLst>
                  <a:ext uri="{FF2B5EF4-FFF2-40B4-BE49-F238E27FC236}">
                    <a16:creationId xmlns:a16="http://schemas.microsoft.com/office/drawing/2014/main" id="{E6429945-0ECB-406A-8009-935BF9C60D77}"/>
                  </a:ext>
                </a:extLst>
              </p:cNvPr>
              <p:cNvSpPr/>
              <p:nvPr/>
            </p:nvSpPr>
            <p:spPr>
              <a:xfrm>
                <a:off x="1096513" y="1066926"/>
                <a:ext cx="3833" cy="7022"/>
              </a:xfrm>
              <a:custGeom>
                <a:avLst/>
                <a:gdLst>
                  <a:gd name="connsiteX0" fmla="*/ 0 w 3833"/>
                  <a:gd name="connsiteY0" fmla="*/ 3192 h 7022"/>
                  <a:gd name="connsiteX1" fmla="*/ 3834 w 3833"/>
                  <a:gd name="connsiteY1" fmla="*/ 7022 h 7022"/>
                  <a:gd name="connsiteX2" fmla="*/ 2556 w 3833"/>
                  <a:gd name="connsiteY2" fmla="*/ 0 h 7022"/>
                </a:gdLst>
                <a:ahLst/>
                <a:cxnLst>
                  <a:cxn ang="0">
                    <a:pos x="connsiteX0" y="connsiteY0"/>
                  </a:cxn>
                  <a:cxn ang="0">
                    <a:pos x="connsiteX1" y="connsiteY1"/>
                  </a:cxn>
                  <a:cxn ang="0">
                    <a:pos x="connsiteX2" y="connsiteY2"/>
                  </a:cxn>
                </a:cxnLst>
                <a:rect l="l" t="t" r="r" b="b"/>
                <a:pathLst>
                  <a:path w="3833" h="7022">
                    <a:moveTo>
                      <a:pt x="0" y="3192"/>
                    </a:moveTo>
                    <a:lnTo>
                      <a:pt x="3834" y="7022"/>
                    </a:lnTo>
                    <a:lnTo>
                      <a:pt x="2556" y="0"/>
                    </a:lnTo>
                    <a:close/>
                  </a:path>
                </a:pathLst>
              </a:custGeom>
              <a:grpFill/>
              <a:ln w="6390" cap="flat">
                <a:noFill/>
                <a:prstDash val="solid"/>
                <a:miter/>
              </a:ln>
            </p:spPr>
            <p:txBody>
              <a:bodyPr rtlCol="0" anchor="ctr"/>
              <a:lstStyle/>
              <a:p>
                <a:endParaRPr lang="en-US"/>
              </a:p>
            </p:txBody>
          </p:sp>
          <p:sp>
            <p:nvSpPr>
              <p:cNvPr id="65" name="Graphic 4">
                <a:extLst>
                  <a:ext uri="{FF2B5EF4-FFF2-40B4-BE49-F238E27FC236}">
                    <a16:creationId xmlns:a16="http://schemas.microsoft.com/office/drawing/2014/main" id="{CD22CE2E-B477-D593-35FB-F3FF7EBB09DC}"/>
                  </a:ext>
                </a:extLst>
              </p:cNvPr>
              <p:cNvSpPr/>
              <p:nvPr/>
            </p:nvSpPr>
            <p:spPr>
              <a:xfrm>
                <a:off x="1075426" y="1079055"/>
                <a:ext cx="23642" cy="11491"/>
              </a:xfrm>
              <a:custGeom>
                <a:avLst/>
                <a:gdLst>
                  <a:gd name="connsiteX0" fmla="*/ 23643 w 23642"/>
                  <a:gd name="connsiteY0" fmla="*/ 11491 h 11491"/>
                  <a:gd name="connsiteX1" fmla="*/ 11502 w 23642"/>
                  <a:gd name="connsiteY1" fmla="*/ 0 h 11491"/>
                  <a:gd name="connsiteX2" fmla="*/ 0 w 23642"/>
                  <a:gd name="connsiteY2" fmla="*/ 11491 h 11491"/>
                </a:gdLst>
                <a:ahLst/>
                <a:cxnLst>
                  <a:cxn ang="0">
                    <a:pos x="connsiteX0" y="connsiteY0"/>
                  </a:cxn>
                  <a:cxn ang="0">
                    <a:pos x="connsiteX1" y="connsiteY1"/>
                  </a:cxn>
                  <a:cxn ang="0">
                    <a:pos x="connsiteX2" y="connsiteY2"/>
                  </a:cxn>
                </a:cxnLst>
                <a:rect l="l" t="t" r="r" b="b"/>
                <a:pathLst>
                  <a:path w="23642" h="11491">
                    <a:moveTo>
                      <a:pt x="23643" y="11491"/>
                    </a:moveTo>
                    <a:lnTo>
                      <a:pt x="11502" y="0"/>
                    </a:lnTo>
                    <a:lnTo>
                      <a:pt x="0" y="11491"/>
                    </a:lnTo>
                    <a:close/>
                  </a:path>
                </a:pathLst>
              </a:custGeom>
              <a:grpFill/>
              <a:ln w="6390" cap="flat">
                <a:noFill/>
                <a:prstDash val="solid"/>
                <a:miter/>
              </a:ln>
            </p:spPr>
            <p:txBody>
              <a:bodyPr rtlCol="0" anchor="ctr"/>
              <a:lstStyle/>
              <a:p>
                <a:endParaRPr lang="en-US"/>
              </a:p>
            </p:txBody>
          </p:sp>
          <p:sp>
            <p:nvSpPr>
              <p:cNvPr id="66" name="Graphic 4">
                <a:extLst>
                  <a:ext uri="{FF2B5EF4-FFF2-40B4-BE49-F238E27FC236}">
                    <a16:creationId xmlns:a16="http://schemas.microsoft.com/office/drawing/2014/main" id="{D44868F2-6473-46C7-E8B1-11617B820E34}"/>
                  </a:ext>
                </a:extLst>
              </p:cNvPr>
              <p:cNvSpPr/>
              <p:nvPr/>
            </p:nvSpPr>
            <p:spPr>
              <a:xfrm>
                <a:off x="1077343" y="1046497"/>
                <a:ext cx="18530" cy="14044"/>
              </a:xfrm>
              <a:custGeom>
                <a:avLst/>
                <a:gdLst>
                  <a:gd name="connsiteX0" fmla="*/ 9585 w 18530"/>
                  <a:gd name="connsiteY0" fmla="*/ 14045 h 14044"/>
                  <a:gd name="connsiteX1" fmla="*/ 18531 w 18530"/>
                  <a:gd name="connsiteY1" fmla="*/ 5746 h 14044"/>
                  <a:gd name="connsiteX2" fmla="*/ 17253 w 18530"/>
                  <a:gd name="connsiteY2" fmla="*/ 0 h 14044"/>
                  <a:gd name="connsiteX3" fmla="*/ 1278 w 18530"/>
                  <a:gd name="connsiteY3" fmla="*/ 0 h 14044"/>
                  <a:gd name="connsiteX4" fmla="*/ 0 w 18530"/>
                  <a:gd name="connsiteY4" fmla="*/ 4469 h 14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30" h="14044">
                    <a:moveTo>
                      <a:pt x="9585" y="14045"/>
                    </a:moveTo>
                    <a:lnTo>
                      <a:pt x="18531" y="5746"/>
                    </a:lnTo>
                    <a:lnTo>
                      <a:pt x="17253" y="0"/>
                    </a:lnTo>
                    <a:lnTo>
                      <a:pt x="1278" y="0"/>
                    </a:lnTo>
                    <a:lnTo>
                      <a:pt x="0" y="4469"/>
                    </a:lnTo>
                    <a:close/>
                  </a:path>
                </a:pathLst>
              </a:custGeom>
              <a:grpFill/>
              <a:ln w="6390" cap="flat">
                <a:noFill/>
                <a:prstDash val="solid"/>
                <a:miter/>
              </a:ln>
            </p:spPr>
            <p:txBody>
              <a:bodyPr rtlCol="0" anchor="ctr"/>
              <a:lstStyle/>
              <a:p>
                <a:endParaRPr lang="en-US"/>
              </a:p>
            </p:txBody>
          </p:sp>
          <p:sp>
            <p:nvSpPr>
              <p:cNvPr id="67" name="Graphic 4">
                <a:extLst>
                  <a:ext uri="{FF2B5EF4-FFF2-40B4-BE49-F238E27FC236}">
                    <a16:creationId xmlns:a16="http://schemas.microsoft.com/office/drawing/2014/main" id="{6A046B02-B7DC-3B65-C7F4-E69E77EC113B}"/>
                  </a:ext>
                </a:extLst>
              </p:cNvPr>
              <p:cNvSpPr/>
              <p:nvPr/>
            </p:nvSpPr>
            <p:spPr>
              <a:xfrm>
                <a:off x="1046671" y="1140980"/>
                <a:ext cx="79874" cy="59370"/>
              </a:xfrm>
              <a:custGeom>
                <a:avLst/>
                <a:gdLst>
                  <a:gd name="connsiteX0" fmla="*/ 40896 w 79874"/>
                  <a:gd name="connsiteY0" fmla="*/ 0 h 59370"/>
                  <a:gd name="connsiteX1" fmla="*/ 4473 w 79874"/>
                  <a:gd name="connsiteY1" fmla="*/ 36389 h 59370"/>
                  <a:gd name="connsiteX2" fmla="*/ 0 w 79874"/>
                  <a:gd name="connsiteY2" fmla="*/ 59371 h 59370"/>
                  <a:gd name="connsiteX3" fmla="*/ 12141 w 79874"/>
                  <a:gd name="connsiteY3" fmla="*/ 59371 h 59370"/>
                  <a:gd name="connsiteX4" fmla="*/ 67733 w 79874"/>
                  <a:gd name="connsiteY4" fmla="*/ 59371 h 59370"/>
                  <a:gd name="connsiteX5" fmla="*/ 79874 w 79874"/>
                  <a:gd name="connsiteY5" fmla="*/ 59371 h 59370"/>
                  <a:gd name="connsiteX6" fmla="*/ 74762 w 79874"/>
                  <a:gd name="connsiteY6" fmla="*/ 33835 h 5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874" h="59370">
                    <a:moveTo>
                      <a:pt x="40896" y="0"/>
                    </a:moveTo>
                    <a:lnTo>
                      <a:pt x="4473" y="36389"/>
                    </a:lnTo>
                    <a:lnTo>
                      <a:pt x="0" y="59371"/>
                    </a:lnTo>
                    <a:lnTo>
                      <a:pt x="12141" y="59371"/>
                    </a:lnTo>
                    <a:lnTo>
                      <a:pt x="67733" y="59371"/>
                    </a:lnTo>
                    <a:lnTo>
                      <a:pt x="79874" y="59371"/>
                    </a:lnTo>
                    <a:lnTo>
                      <a:pt x="74762" y="33835"/>
                    </a:lnTo>
                    <a:close/>
                  </a:path>
                </a:pathLst>
              </a:custGeom>
              <a:grpFill/>
              <a:ln w="6390" cap="flat">
                <a:noFill/>
                <a:prstDash val="solid"/>
                <a:miter/>
              </a:ln>
            </p:spPr>
            <p:txBody>
              <a:bodyPr rtlCol="0" anchor="ctr"/>
              <a:lstStyle/>
              <a:p>
                <a:endParaRPr lang="en-US"/>
              </a:p>
            </p:txBody>
          </p:sp>
          <p:sp>
            <p:nvSpPr>
              <p:cNvPr id="68" name="Graphic 4">
                <a:extLst>
                  <a:ext uri="{FF2B5EF4-FFF2-40B4-BE49-F238E27FC236}">
                    <a16:creationId xmlns:a16="http://schemas.microsoft.com/office/drawing/2014/main" id="{67A52B40-91BD-660A-5BD1-BB0B6CB01308}"/>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286269 w 362309"/>
                  <a:gd name="connsiteY6" fmla="*/ 194711 h 361971"/>
                  <a:gd name="connsiteX7" fmla="*/ 279879 w 362309"/>
                  <a:gd name="connsiteY7" fmla="*/ 201095 h 361971"/>
                  <a:gd name="connsiteX8" fmla="*/ 273489 w 362309"/>
                  <a:gd name="connsiteY8" fmla="*/ 194711 h 361971"/>
                  <a:gd name="connsiteX9" fmla="*/ 273489 w 362309"/>
                  <a:gd name="connsiteY9" fmla="*/ 185774 h 361971"/>
                  <a:gd name="connsiteX10" fmla="*/ 248569 w 362309"/>
                  <a:gd name="connsiteY10" fmla="*/ 185774 h 361971"/>
                  <a:gd name="connsiteX11" fmla="*/ 248569 w 362309"/>
                  <a:gd name="connsiteY11" fmla="*/ 194711 h 361971"/>
                  <a:gd name="connsiteX12" fmla="*/ 242179 w 362309"/>
                  <a:gd name="connsiteY12" fmla="*/ 201095 h 361971"/>
                  <a:gd name="connsiteX13" fmla="*/ 235789 w 362309"/>
                  <a:gd name="connsiteY13" fmla="*/ 194711 h 361971"/>
                  <a:gd name="connsiteX14" fmla="*/ 235789 w 362309"/>
                  <a:gd name="connsiteY14" fmla="*/ 185774 h 361971"/>
                  <a:gd name="connsiteX15" fmla="*/ 214063 w 362309"/>
                  <a:gd name="connsiteY15" fmla="*/ 185774 h 361971"/>
                  <a:gd name="connsiteX16" fmla="*/ 214063 w 362309"/>
                  <a:gd name="connsiteY16" fmla="*/ 187689 h 361971"/>
                  <a:gd name="connsiteX17" fmla="*/ 233872 w 362309"/>
                  <a:gd name="connsiteY17" fmla="*/ 282172 h 361971"/>
                  <a:gd name="connsiteX18" fmla="*/ 249208 w 362309"/>
                  <a:gd name="connsiteY18" fmla="*/ 282172 h 361971"/>
                  <a:gd name="connsiteX19" fmla="*/ 255597 w 362309"/>
                  <a:gd name="connsiteY19" fmla="*/ 288556 h 361971"/>
                  <a:gd name="connsiteX20" fmla="*/ 249208 w 362309"/>
                  <a:gd name="connsiteY20" fmla="*/ 294940 h 361971"/>
                  <a:gd name="connsiteX21" fmla="*/ 112463 w 362309"/>
                  <a:gd name="connsiteY21" fmla="*/ 294940 h 361971"/>
                  <a:gd name="connsiteX22" fmla="*/ 106073 w 362309"/>
                  <a:gd name="connsiteY22" fmla="*/ 288556 h 361971"/>
                  <a:gd name="connsiteX23" fmla="*/ 112463 w 362309"/>
                  <a:gd name="connsiteY23" fmla="*/ 282172 h 361971"/>
                  <a:gd name="connsiteX24" fmla="*/ 127799 w 362309"/>
                  <a:gd name="connsiteY24" fmla="*/ 282172 h 361971"/>
                  <a:gd name="connsiteX25" fmla="*/ 148247 w 362309"/>
                  <a:gd name="connsiteY25" fmla="*/ 185135 h 361971"/>
                  <a:gd name="connsiteX26" fmla="*/ 127799 w 362309"/>
                  <a:gd name="connsiteY26" fmla="*/ 185135 h 361971"/>
                  <a:gd name="connsiteX27" fmla="*/ 127799 w 362309"/>
                  <a:gd name="connsiteY27" fmla="*/ 194073 h 361971"/>
                  <a:gd name="connsiteX28" fmla="*/ 121409 w 362309"/>
                  <a:gd name="connsiteY28" fmla="*/ 200457 h 361971"/>
                  <a:gd name="connsiteX29" fmla="*/ 115019 w 362309"/>
                  <a:gd name="connsiteY29" fmla="*/ 194073 h 361971"/>
                  <a:gd name="connsiteX30" fmla="*/ 115019 w 362309"/>
                  <a:gd name="connsiteY30" fmla="*/ 185135 h 361971"/>
                  <a:gd name="connsiteX31" fmla="*/ 88820 w 362309"/>
                  <a:gd name="connsiteY31" fmla="*/ 185135 h 361971"/>
                  <a:gd name="connsiteX32" fmla="*/ 88820 w 362309"/>
                  <a:gd name="connsiteY32" fmla="*/ 194073 h 361971"/>
                  <a:gd name="connsiteX33" fmla="*/ 82430 w 362309"/>
                  <a:gd name="connsiteY33" fmla="*/ 200457 h 361971"/>
                  <a:gd name="connsiteX34" fmla="*/ 76040 w 362309"/>
                  <a:gd name="connsiteY34" fmla="*/ 194073 h 361971"/>
                  <a:gd name="connsiteX35" fmla="*/ 76040 w 362309"/>
                  <a:gd name="connsiteY35" fmla="*/ 178752 h 361971"/>
                  <a:gd name="connsiteX36" fmla="*/ 76040 w 362309"/>
                  <a:gd name="connsiteY36" fmla="*/ 178752 h 361971"/>
                  <a:gd name="connsiteX37" fmla="*/ 76040 w 362309"/>
                  <a:gd name="connsiteY37" fmla="*/ 178113 h 361971"/>
                  <a:gd name="connsiteX38" fmla="*/ 76040 w 362309"/>
                  <a:gd name="connsiteY38" fmla="*/ 177475 h 361971"/>
                  <a:gd name="connsiteX39" fmla="*/ 76040 w 362309"/>
                  <a:gd name="connsiteY39" fmla="*/ 175560 h 361971"/>
                  <a:gd name="connsiteX40" fmla="*/ 76679 w 362309"/>
                  <a:gd name="connsiteY40" fmla="*/ 174921 h 361971"/>
                  <a:gd name="connsiteX41" fmla="*/ 77318 w 362309"/>
                  <a:gd name="connsiteY41" fmla="*/ 173644 h 361971"/>
                  <a:gd name="connsiteX42" fmla="*/ 77957 w 362309"/>
                  <a:gd name="connsiteY42" fmla="*/ 173006 h 361971"/>
                  <a:gd name="connsiteX43" fmla="*/ 78596 w 362309"/>
                  <a:gd name="connsiteY43" fmla="*/ 172368 h 361971"/>
                  <a:gd name="connsiteX44" fmla="*/ 157831 w 362309"/>
                  <a:gd name="connsiteY44" fmla="*/ 133425 h 361971"/>
                  <a:gd name="connsiteX45" fmla="*/ 159110 w 362309"/>
                  <a:gd name="connsiteY45" fmla="*/ 127041 h 361971"/>
                  <a:gd name="connsiteX46" fmla="*/ 113102 w 362309"/>
                  <a:gd name="connsiteY46" fmla="*/ 127041 h 361971"/>
                  <a:gd name="connsiteX47" fmla="*/ 113102 w 362309"/>
                  <a:gd name="connsiteY47" fmla="*/ 132148 h 361971"/>
                  <a:gd name="connsiteX48" fmla="*/ 106712 w 362309"/>
                  <a:gd name="connsiteY48" fmla="*/ 138532 h 361971"/>
                  <a:gd name="connsiteX49" fmla="*/ 100322 w 362309"/>
                  <a:gd name="connsiteY49" fmla="*/ 132148 h 361971"/>
                  <a:gd name="connsiteX50" fmla="*/ 100322 w 362309"/>
                  <a:gd name="connsiteY50" fmla="*/ 120657 h 361971"/>
                  <a:gd name="connsiteX51" fmla="*/ 100322 w 362309"/>
                  <a:gd name="connsiteY51" fmla="*/ 120019 h 361971"/>
                  <a:gd name="connsiteX52" fmla="*/ 100961 w 362309"/>
                  <a:gd name="connsiteY52" fmla="*/ 118742 h 361971"/>
                  <a:gd name="connsiteX53" fmla="*/ 101600 w 362309"/>
                  <a:gd name="connsiteY53" fmla="*/ 118104 h 361971"/>
                  <a:gd name="connsiteX54" fmla="*/ 102239 w 362309"/>
                  <a:gd name="connsiteY54" fmla="*/ 116827 h 361971"/>
                  <a:gd name="connsiteX55" fmla="*/ 103517 w 362309"/>
                  <a:gd name="connsiteY55" fmla="*/ 116188 h 361971"/>
                  <a:gd name="connsiteX56" fmla="*/ 104156 w 362309"/>
                  <a:gd name="connsiteY56" fmla="*/ 115550 h 361971"/>
                  <a:gd name="connsiteX57" fmla="*/ 168694 w 362309"/>
                  <a:gd name="connsiteY57" fmla="*/ 84269 h 361971"/>
                  <a:gd name="connsiteX58" fmla="*/ 174445 w 362309"/>
                  <a:gd name="connsiteY58" fmla="*/ 57456 h 361971"/>
                  <a:gd name="connsiteX59" fmla="*/ 179557 w 362309"/>
                  <a:gd name="connsiteY59" fmla="*/ 51710 h 361971"/>
                  <a:gd name="connsiteX60" fmla="*/ 184030 w 362309"/>
                  <a:gd name="connsiteY60" fmla="*/ 52349 h 361971"/>
                  <a:gd name="connsiteX61" fmla="*/ 187864 w 362309"/>
                  <a:gd name="connsiteY61" fmla="*/ 58094 h 361971"/>
                  <a:gd name="connsiteX62" fmla="*/ 193615 w 362309"/>
                  <a:gd name="connsiteY62" fmla="*/ 84269 h 361971"/>
                  <a:gd name="connsiteX63" fmla="*/ 257514 w 362309"/>
                  <a:gd name="connsiteY63" fmla="*/ 115550 h 361971"/>
                  <a:gd name="connsiteX64" fmla="*/ 257514 w 362309"/>
                  <a:gd name="connsiteY64" fmla="*/ 115550 h 361971"/>
                  <a:gd name="connsiteX65" fmla="*/ 258154 w 362309"/>
                  <a:gd name="connsiteY65" fmla="*/ 115550 h 361971"/>
                  <a:gd name="connsiteX66" fmla="*/ 258792 w 362309"/>
                  <a:gd name="connsiteY66" fmla="*/ 116188 h 361971"/>
                  <a:gd name="connsiteX67" fmla="*/ 260070 w 362309"/>
                  <a:gd name="connsiteY67" fmla="*/ 117465 h 361971"/>
                  <a:gd name="connsiteX68" fmla="*/ 260709 w 362309"/>
                  <a:gd name="connsiteY68" fmla="*/ 118104 h 361971"/>
                  <a:gd name="connsiteX69" fmla="*/ 261348 w 362309"/>
                  <a:gd name="connsiteY69" fmla="*/ 119380 h 361971"/>
                  <a:gd name="connsiteX70" fmla="*/ 261348 w 362309"/>
                  <a:gd name="connsiteY70" fmla="*/ 120657 h 361971"/>
                  <a:gd name="connsiteX71" fmla="*/ 261348 w 362309"/>
                  <a:gd name="connsiteY71" fmla="*/ 121934 h 361971"/>
                  <a:gd name="connsiteX72" fmla="*/ 261348 w 362309"/>
                  <a:gd name="connsiteY72" fmla="*/ 133425 h 361971"/>
                  <a:gd name="connsiteX73" fmla="*/ 254959 w 362309"/>
                  <a:gd name="connsiteY73" fmla="*/ 139809 h 361971"/>
                  <a:gd name="connsiteX74" fmla="*/ 248569 w 362309"/>
                  <a:gd name="connsiteY74" fmla="*/ 133425 h 361971"/>
                  <a:gd name="connsiteX75" fmla="*/ 248569 w 362309"/>
                  <a:gd name="connsiteY75" fmla="*/ 128318 h 361971"/>
                  <a:gd name="connsiteX76" fmla="*/ 202561 w 362309"/>
                  <a:gd name="connsiteY76" fmla="*/ 128318 h 361971"/>
                  <a:gd name="connsiteX77" fmla="*/ 203839 w 362309"/>
                  <a:gd name="connsiteY77" fmla="*/ 134702 h 361971"/>
                  <a:gd name="connsiteX78" fmla="*/ 283074 w 362309"/>
                  <a:gd name="connsiteY78" fmla="*/ 173644 h 361971"/>
                  <a:gd name="connsiteX79" fmla="*/ 283713 w 362309"/>
                  <a:gd name="connsiteY79" fmla="*/ 174283 h 361971"/>
                  <a:gd name="connsiteX80" fmla="*/ 284991 w 362309"/>
                  <a:gd name="connsiteY80" fmla="*/ 174921 h 361971"/>
                  <a:gd name="connsiteX81" fmla="*/ 285630 w 362309"/>
                  <a:gd name="connsiteY81" fmla="*/ 175560 h 361971"/>
                  <a:gd name="connsiteX82" fmla="*/ 286269 w 362309"/>
                  <a:gd name="connsiteY82" fmla="*/ 176836 h 361971"/>
                  <a:gd name="connsiteX83" fmla="*/ 286908 w 362309"/>
                  <a:gd name="connsiteY83" fmla="*/ 179390 h 361971"/>
                  <a:gd name="connsiteX84" fmla="*/ 286269 w 362309"/>
                  <a:gd name="connsiteY84" fmla="*/ 19471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286269" y="194711"/>
                    </a:moveTo>
                    <a:cubicBezTo>
                      <a:pt x="286269" y="198542"/>
                      <a:pt x="283713" y="201095"/>
                      <a:pt x="279879" y="201095"/>
                    </a:cubicBezTo>
                    <a:cubicBezTo>
                      <a:pt x="276045" y="201095"/>
                      <a:pt x="273489" y="198542"/>
                      <a:pt x="273489" y="194711"/>
                    </a:cubicBezTo>
                    <a:lnTo>
                      <a:pt x="273489" y="185774"/>
                    </a:lnTo>
                    <a:lnTo>
                      <a:pt x="248569" y="185774"/>
                    </a:lnTo>
                    <a:lnTo>
                      <a:pt x="248569" y="194711"/>
                    </a:lnTo>
                    <a:cubicBezTo>
                      <a:pt x="248569" y="198542"/>
                      <a:pt x="246013" y="201095"/>
                      <a:pt x="242179" y="201095"/>
                    </a:cubicBezTo>
                    <a:cubicBezTo>
                      <a:pt x="238345" y="201095"/>
                      <a:pt x="235789" y="198542"/>
                      <a:pt x="235789" y="194711"/>
                    </a:cubicBezTo>
                    <a:lnTo>
                      <a:pt x="235789" y="185774"/>
                    </a:lnTo>
                    <a:lnTo>
                      <a:pt x="214063" y="185774"/>
                    </a:lnTo>
                    <a:cubicBezTo>
                      <a:pt x="214063" y="186412"/>
                      <a:pt x="214063" y="187051"/>
                      <a:pt x="214063" y="187689"/>
                    </a:cubicBezTo>
                    <a:lnTo>
                      <a:pt x="233872" y="282172"/>
                    </a:lnTo>
                    <a:lnTo>
                      <a:pt x="249208" y="282172"/>
                    </a:lnTo>
                    <a:cubicBezTo>
                      <a:pt x="253042" y="282172"/>
                      <a:pt x="255597" y="284726"/>
                      <a:pt x="255597" y="288556"/>
                    </a:cubicBezTo>
                    <a:cubicBezTo>
                      <a:pt x="255597" y="292386"/>
                      <a:pt x="253042" y="294940"/>
                      <a:pt x="249208" y="294940"/>
                    </a:cubicBezTo>
                    <a:lnTo>
                      <a:pt x="112463" y="294940"/>
                    </a:lnTo>
                    <a:cubicBezTo>
                      <a:pt x="108629" y="294940"/>
                      <a:pt x="106073" y="292386"/>
                      <a:pt x="106073" y="288556"/>
                    </a:cubicBezTo>
                    <a:cubicBezTo>
                      <a:pt x="106073" y="284726"/>
                      <a:pt x="108629" y="282172"/>
                      <a:pt x="112463" y="282172"/>
                    </a:cubicBezTo>
                    <a:lnTo>
                      <a:pt x="127799" y="282172"/>
                    </a:lnTo>
                    <a:lnTo>
                      <a:pt x="148247" y="185135"/>
                    </a:lnTo>
                    <a:lnTo>
                      <a:pt x="127799" y="185135"/>
                    </a:lnTo>
                    <a:lnTo>
                      <a:pt x="127799" y="194073"/>
                    </a:lnTo>
                    <a:cubicBezTo>
                      <a:pt x="127799" y="197903"/>
                      <a:pt x="125243" y="200457"/>
                      <a:pt x="121409" y="200457"/>
                    </a:cubicBezTo>
                    <a:cubicBezTo>
                      <a:pt x="117575" y="200457"/>
                      <a:pt x="115019" y="197903"/>
                      <a:pt x="115019" y="194073"/>
                    </a:cubicBezTo>
                    <a:lnTo>
                      <a:pt x="115019" y="185135"/>
                    </a:lnTo>
                    <a:lnTo>
                      <a:pt x="88820" y="185135"/>
                    </a:lnTo>
                    <a:lnTo>
                      <a:pt x="88820" y="194073"/>
                    </a:lnTo>
                    <a:cubicBezTo>
                      <a:pt x="88820" y="197903"/>
                      <a:pt x="86264" y="200457"/>
                      <a:pt x="82430" y="200457"/>
                    </a:cubicBezTo>
                    <a:cubicBezTo>
                      <a:pt x="78596" y="200457"/>
                      <a:pt x="76040" y="197903"/>
                      <a:pt x="76040" y="194073"/>
                    </a:cubicBezTo>
                    <a:lnTo>
                      <a:pt x="76040" y="178752"/>
                    </a:lnTo>
                    <a:lnTo>
                      <a:pt x="76040" y="178752"/>
                    </a:lnTo>
                    <a:lnTo>
                      <a:pt x="76040" y="178113"/>
                    </a:lnTo>
                    <a:cubicBezTo>
                      <a:pt x="76040" y="178113"/>
                      <a:pt x="76040" y="177475"/>
                      <a:pt x="76040" y="177475"/>
                    </a:cubicBezTo>
                    <a:cubicBezTo>
                      <a:pt x="76040" y="176836"/>
                      <a:pt x="76040" y="176198"/>
                      <a:pt x="76040" y="175560"/>
                    </a:cubicBezTo>
                    <a:cubicBezTo>
                      <a:pt x="76040" y="175560"/>
                      <a:pt x="76040" y="174921"/>
                      <a:pt x="76679" y="174921"/>
                    </a:cubicBezTo>
                    <a:cubicBezTo>
                      <a:pt x="76679" y="174283"/>
                      <a:pt x="77318" y="174283"/>
                      <a:pt x="77318" y="173644"/>
                    </a:cubicBezTo>
                    <a:lnTo>
                      <a:pt x="77957" y="173006"/>
                    </a:lnTo>
                    <a:cubicBezTo>
                      <a:pt x="77957" y="173006"/>
                      <a:pt x="78596" y="172368"/>
                      <a:pt x="78596" y="172368"/>
                    </a:cubicBezTo>
                    <a:lnTo>
                      <a:pt x="157831" y="133425"/>
                    </a:lnTo>
                    <a:lnTo>
                      <a:pt x="159110" y="127041"/>
                    </a:lnTo>
                    <a:lnTo>
                      <a:pt x="113102" y="127041"/>
                    </a:lnTo>
                    <a:lnTo>
                      <a:pt x="113102" y="132148"/>
                    </a:lnTo>
                    <a:cubicBezTo>
                      <a:pt x="113102" y="135979"/>
                      <a:pt x="110546" y="138532"/>
                      <a:pt x="106712" y="138532"/>
                    </a:cubicBezTo>
                    <a:cubicBezTo>
                      <a:pt x="102878" y="138532"/>
                      <a:pt x="100322" y="135979"/>
                      <a:pt x="100322" y="132148"/>
                    </a:cubicBezTo>
                    <a:lnTo>
                      <a:pt x="100322" y="120657"/>
                    </a:lnTo>
                    <a:cubicBezTo>
                      <a:pt x="100322" y="120657"/>
                      <a:pt x="100322" y="120019"/>
                      <a:pt x="100322" y="120019"/>
                    </a:cubicBezTo>
                    <a:cubicBezTo>
                      <a:pt x="100322" y="119380"/>
                      <a:pt x="100322" y="118742"/>
                      <a:pt x="100961" y="118742"/>
                    </a:cubicBezTo>
                    <a:cubicBezTo>
                      <a:pt x="100961" y="118104"/>
                      <a:pt x="100961" y="118104"/>
                      <a:pt x="101600" y="118104"/>
                    </a:cubicBezTo>
                    <a:cubicBezTo>
                      <a:pt x="101600" y="117465"/>
                      <a:pt x="102239" y="117465"/>
                      <a:pt x="102239" y="116827"/>
                    </a:cubicBezTo>
                    <a:cubicBezTo>
                      <a:pt x="102878" y="116188"/>
                      <a:pt x="102878" y="116188"/>
                      <a:pt x="103517" y="116188"/>
                    </a:cubicBezTo>
                    <a:lnTo>
                      <a:pt x="104156" y="115550"/>
                    </a:lnTo>
                    <a:lnTo>
                      <a:pt x="168694" y="84269"/>
                    </a:lnTo>
                    <a:lnTo>
                      <a:pt x="174445" y="57456"/>
                    </a:lnTo>
                    <a:cubicBezTo>
                      <a:pt x="174445" y="54902"/>
                      <a:pt x="176362" y="52349"/>
                      <a:pt x="179557" y="51710"/>
                    </a:cubicBezTo>
                    <a:cubicBezTo>
                      <a:pt x="180835" y="51072"/>
                      <a:pt x="182752" y="51710"/>
                      <a:pt x="184030" y="52349"/>
                    </a:cubicBezTo>
                    <a:cubicBezTo>
                      <a:pt x="185947" y="53626"/>
                      <a:pt x="187864" y="55541"/>
                      <a:pt x="187864" y="58094"/>
                    </a:cubicBezTo>
                    <a:lnTo>
                      <a:pt x="193615" y="84269"/>
                    </a:lnTo>
                    <a:lnTo>
                      <a:pt x="257514" y="115550"/>
                    </a:lnTo>
                    <a:lnTo>
                      <a:pt x="257514" y="115550"/>
                    </a:lnTo>
                    <a:lnTo>
                      <a:pt x="258154" y="115550"/>
                    </a:lnTo>
                    <a:cubicBezTo>
                      <a:pt x="258154" y="115550"/>
                      <a:pt x="258154" y="115550"/>
                      <a:pt x="258792" y="116188"/>
                    </a:cubicBezTo>
                    <a:cubicBezTo>
                      <a:pt x="259431" y="116188"/>
                      <a:pt x="259431" y="116827"/>
                      <a:pt x="260070" y="117465"/>
                    </a:cubicBezTo>
                    <a:cubicBezTo>
                      <a:pt x="260070" y="117465"/>
                      <a:pt x="260709" y="118104"/>
                      <a:pt x="260709" y="118104"/>
                    </a:cubicBezTo>
                    <a:cubicBezTo>
                      <a:pt x="260709" y="118742"/>
                      <a:pt x="261348" y="118742"/>
                      <a:pt x="261348" y="119380"/>
                    </a:cubicBezTo>
                    <a:cubicBezTo>
                      <a:pt x="261348" y="120019"/>
                      <a:pt x="261348" y="120019"/>
                      <a:pt x="261348" y="120657"/>
                    </a:cubicBezTo>
                    <a:cubicBezTo>
                      <a:pt x="261348" y="121296"/>
                      <a:pt x="261348" y="121296"/>
                      <a:pt x="261348" y="121934"/>
                    </a:cubicBezTo>
                    <a:lnTo>
                      <a:pt x="261348" y="133425"/>
                    </a:lnTo>
                    <a:cubicBezTo>
                      <a:pt x="261348" y="137256"/>
                      <a:pt x="258792" y="139809"/>
                      <a:pt x="254959" y="139809"/>
                    </a:cubicBezTo>
                    <a:cubicBezTo>
                      <a:pt x="251125" y="139809"/>
                      <a:pt x="248569" y="137256"/>
                      <a:pt x="248569" y="133425"/>
                    </a:cubicBezTo>
                    <a:lnTo>
                      <a:pt x="248569" y="128318"/>
                    </a:lnTo>
                    <a:lnTo>
                      <a:pt x="202561" y="128318"/>
                    </a:lnTo>
                    <a:lnTo>
                      <a:pt x="203839" y="134702"/>
                    </a:lnTo>
                    <a:lnTo>
                      <a:pt x="283074" y="173644"/>
                    </a:lnTo>
                    <a:cubicBezTo>
                      <a:pt x="283074" y="173644"/>
                      <a:pt x="283713" y="174283"/>
                      <a:pt x="283713" y="174283"/>
                    </a:cubicBezTo>
                    <a:cubicBezTo>
                      <a:pt x="284352" y="174283"/>
                      <a:pt x="284352" y="174921"/>
                      <a:pt x="284991" y="174921"/>
                    </a:cubicBezTo>
                    <a:cubicBezTo>
                      <a:pt x="284991" y="174921"/>
                      <a:pt x="285630" y="175560"/>
                      <a:pt x="285630" y="175560"/>
                    </a:cubicBezTo>
                    <a:cubicBezTo>
                      <a:pt x="285630" y="176198"/>
                      <a:pt x="286269" y="176198"/>
                      <a:pt x="286269" y="176836"/>
                    </a:cubicBezTo>
                    <a:cubicBezTo>
                      <a:pt x="286269" y="177475"/>
                      <a:pt x="286269" y="178113"/>
                      <a:pt x="286908" y="179390"/>
                    </a:cubicBezTo>
                    <a:lnTo>
                      <a:pt x="286269" y="194711"/>
                    </a:lnTo>
                    <a:close/>
                  </a:path>
                </a:pathLst>
              </a:custGeom>
              <a:grpFill/>
              <a:ln w="6390" cap="flat">
                <a:noFill/>
                <a:prstDash val="solid"/>
                <a:miter/>
              </a:ln>
            </p:spPr>
            <p:txBody>
              <a:bodyPr rtlCol="0" anchor="ctr"/>
              <a:lstStyle/>
              <a:p>
                <a:endParaRPr lang="en-US"/>
              </a:p>
            </p:txBody>
          </p:sp>
          <p:sp>
            <p:nvSpPr>
              <p:cNvPr id="69" name="Graphic 4">
                <a:extLst>
                  <a:ext uri="{FF2B5EF4-FFF2-40B4-BE49-F238E27FC236}">
                    <a16:creationId xmlns:a16="http://schemas.microsoft.com/office/drawing/2014/main" id="{82D49496-FCBA-77D4-87D7-7F76E706EF38}"/>
                  </a:ext>
                </a:extLst>
              </p:cNvPr>
              <p:cNvSpPr/>
              <p:nvPr/>
            </p:nvSpPr>
            <p:spPr>
              <a:xfrm>
                <a:off x="1101625" y="1019046"/>
                <a:ext cx="30671" cy="14683"/>
              </a:xfrm>
              <a:custGeom>
                <a:avLst/>
                <a:gdLst>
                  <a:gd name="connsiteX0" fmla="*/ 30672 w 30671"/>
                  <a:gd name="connsiteY0" fmla="*/ 14683 h 14683"/>
                  <a:gd name="connsiteX1" fmla="*/ 0 w 30671"/>
                  <a:gd name="connsiteY1" fmla="*/ 0 h 14683"/>
                  <a:gd name="connsiteX2" fmla="*/ 3195 w 30671"/>
                  <a:gd name="connsiteY2" fmla="*/ 14683 h 14683"/>
                </a:gdLst>
                <a:ahLst/>
                <a:cxnLst>
                  <a:cxn ang="0">
                    <a:pos x="connsiteX0" y="connsiteY0"/>
                  </a:cxn>
                  <a:cxn ang="0">
                    <a:pos x="connsiteX1" y="connsiteY1"/>
                  </a:cxn>
                  <a:cxn ang="0">
                    <a:pos x="connsiteX2" y="connsiteY2"/>
                  </a:cxn>
                </a:cxnLst>
                <a:rect l="l" t="t" r="r" b="b"/>
                <a:pathLst>
                  <a:path w="30671" h="14683">
                    <a:moveTo>
                      <a:pt x="30672" y="14683"/>
                    </a:moveTo>
                    <a:lnTo>
                      <a:pt x="0" y="0"/>
                    </a:lnTo>
                    <a:lnTo>
                      <a:pt x="3195" y="14683"/>
                    </a:lnTo>
                    <a:close/>
                  </a:path>
                </a:pathLst>
              </a:custGeom>
              <a:grpFill/>
              <a:ln w="6390" cap="flat">
                <a:noFill/>
                <a:prstDash val="solid"/>
                <a:miter/>
              </a:ln>
            </p:spPr>
            <p:txBody>
              <a:bodyPr rtlCol="0" anchor="ctr"/>
              <a:lstStyle/>
              <a:p>
                <a:endParaRPr lang="en-US"/>
              </a:p>
            </p:txBody>
          </p:sp>
          <p:sp>
            <p:nvSpPr>
              <p:cNvPr id="70" name="Graphic 4">
                <a:extLst>
                  <a:ext uri="{FF2B5EF4-FFF2-40B4-BE49-F238E27FC236}">
                    <a16:creationId xmlns:a16="http://schemas.microsoft.com/office/drawing/2014/main" id="{A6B220B9-89B9-6699-523C-4FEE27DCC6AD}"/>
                  </a:ext>
                </a:extLst>
              </p:cNvPr>
              <p:cNvSpPr/>
              <p:nvPr/>
            </p:nvSpPr>
            <p:spPr>
              <a:xfrm>
                <a:off x="1015360" y="1068841"/>
                <a:ext cx="45368" cy="21705"/>
              </a:xfrm>
              <a:custGeom>
                <a:avLst/>
                <a:gdLst>
                  <a:gd name="connsiteX0" fmla="*/ 0 w 45368"/>
                  <a:gd name="connsiteY0" fmla="*/ 21706 h 21705"/>
                  <a:gd name="connsiteX1" fmla="*/ 40896 w 45368"/>
                  <a:gd name="connsiteY1" fmla="*/ 21706 h 21705"/>
                  <a:gd name="connsiteX2" fmla="*/ 45369 w 45368"/>
                  <a:gd name="connsiteY2" fmla="*/ 0 h 21705"/>
                </a:gdLst>
                <a:ahLst/>
                <a:cxnLst>
                  <a:cxn ang="0">
                    <a:pos x="connsiteX0" y="connsiteY0"/>
                  </a:cxn>
                  <a:cxn ang="0">
                    <a:pos x="connsiteX1" y="connsiteY1"/>
                  </a:cxn>
                  <a:cxn ang="0">
                    <a:pos x="connsiteX2" y="connsiteY2"/>
                  </a:cxn>
                </a:cxnLst>
                <a:rect l="l" t="t" r="r" b="b"/>
                <a:pathLst>
                  <a:path w="45368" h="21705">
                    <a:moveTo>
                      <a:pt x="0" y="21706"/>
                    </a:moveTo>
                    <a:lnTo>
                      <a:pt x="40896" y="21706"/>
                    </a:lnTo>
                    <a:lnTo>
                      <a:pt x="45369" y="0"/>
                    </a:lnTo>
                    <a:close/>
                  </a:path>
                </a:pathLst>
              </a:custGeom>
              <a:grpFill/>
              <a:ln w="6390" cap="flat">
                <a:noFill/>
                <a:prstDash val="solid"/>
                <a:miter/>
              </a:ln>
            </p:spPr>
            <p:txBody>
              <a:bodyPr rtlCol="0" anchor="ctr"/>
              <a:lstStyle/>
              <a:p>
                <a:endParaRPr lang="en-US"/>
              </a:p>
            </p:txBody>
          </p:sp>
          <p:sp>
            <p:nvSpPr>
              <p:cNvPr id="71" name="Graphic 4">
                <a:extLst>
                  <a:ext uri="{FF2B5EF4-FFF2-40B4-BE49-F238E27FC236}">
                    <a16:creationId xmlns:a16="http://schemas.microsoft.com/office/drawing/2014/main" id="{DF974A0B-519B-4C51-5643-E5E9242DC16E}"/>
                  </a:ext>
                </a:extLst>
              </p:cNvPr>
              <p:cNvSpPr/>
              <p:nvPr/>
            </p:nvSpPr>
            <p:spPr>
              <a:xfrm>
                <a:off x="1040920" y="1019046"/>
                <a:ext cx="30671" cy="14683"/>
              </a:xfrm>
              <a:custGeom>
                <a:avLst/>
                <a:gdLst>
                  <a:gd name="connsiteX0" fmla="*/ 0 w 30671"/>
                  <a:gd name="connsiteY0" fmla="*/ 14683 h 14683"/>
                  <a:gd name="connsiteX1" fmla="*/ 27477 w 30671"/>
                  <a:gd name="connsiteY1" fmla="*/ 14683 h 14683"/>
                  <a:gd name="connsiteX2" fmla="*/ 30672 w 30671"/>
                  <a:gd name="connsiteY2" fmla="*/ 0 h 14683"/>
                </a:gdLst>
                <a:ahLst/>
                <a:cxnLst>
                  <a:cxn ang="0">
                    <a:pos x="connsiteX0" y="connsiteY0"/>
                  </a:cxn>
                  <a:cxn ang="0">
                    <a:pos x="connsiteX1" y="connsiteY1"/>
                  </a:cxn>
                  <a:cxn ang="0">
                    <a:pos x="connsiteX2" y="connsiteY2"/>
                  </a:cxn>
                </a:cxnLst>
                <a:rect l="l" t="t" r="r" b="b"/>
                <a:pathLst>
                  <a:path w="30671" h="14683">
                    <a:moveTo>
                      <a:pt x="0" y="14683"/>
                    </a:moveTo>
                    <a:lnTo>
                      <a:pt x="27477" y="14683"/>
                    </a:lnTo>
                    <a:lnTo>
                      <a:pt x="30672" y="0"/>
                    </a:lnTo>
                    <a:close/>
                  </a:path>
                </a:pathLst>
              </a:custGeom>
              <a:grpFill/>
              <a:ln w="6390" cap="flat">
                <a:noFill/>
                <a:prstDash val="solid"/>
                <a:miter/>
              </a:ln>
            </p:spPr>
            <p:txBody>
              <a:bodyPr rtlCol="0" anchor="ctr"/>
              <a:lstStyle/>
              <a:p>
                <a:endParaRPr lang="en-US"/>
              </a:p>
            </p:txBody>
          </p:sp>
          <p:sp>
            <p:nvSpPr>
              <p:cNvPr id="72" name="Graphic 4">
                <a:extLst>
                  <a:ext uri="{FF2B5EF4-FFF2-40B4-BE49-F238E27FC236}">
                    <a16:creationId xmlns:a16="http://schemas.microsoft.com/office/drawing/2014/main" id="{B7F27399-1DE9-51B9-682C-13526D457E55}"/>
                  </a:ext>
                </a:extLst>
              </p:cNvPr>
              <p:cNvSpPr/>
              <p:nvPr/>
            </p:nvSpPr>
            <p:spPr>
              <a:xfrm>
                <a:off x="1081177" y="1008193"/>
                <a:ext cx="10862" cy="25535"/>
              </a:xfrm>
              <a:custGeom>
                <a:avLst/>
                <a:gdLst>
                  <a:gd name="connsiteX0" fmla="*/ 10863 w 10862"/>
                  <a:gd name="connsiteY0" fmla="*/ 25536 h 25535"/>
                  <a:gd name="connsiteX1" fmla="*/ 5112 w 10862"/>
                  <a:gd name="connsiteY1" fmla="*/ 0 h 25535"/>
                  <a:gd name="connsiteX2" fmla="*/ 0 w 10862"/>
                  <a:gd name="connsiteY2" fmla="*/ 25536 h 25535"/>
                </a:gdLst>
                <a:ahLst/>
                <a:cxnLst>
                  <a:cxn ang="0">
                    <a:pos x="connsiteX0" y="connsiteY0"/>
                  </a:cxn>
                  <a:cxn ang="0">
                    <a:pos x="connsiteX1" y="connsiteY1"/>
                  </a:cxn>
                  <a:cxn ang="0">
                    <a:pos x="connsiteX2" y="connsiteY2"/>
                  </a:cxn>
                </a:cxnLst>
                <a:rect l="l" t="t" r="r" b="b"/>
                <a:pathLst>
                  <a:path w="10862" h="25535">
                    <a:moveTo>
                      <a:pt x="10863" y="25536"/>
                    </a:moveTo>
                    <a:lnTo>
                      <a:pt x="5112" y="0"/>
                    </a:lnTo>
                    <a:lnTo>
                      <a:pt x="0" y="25536"/>
                    </a:lnTo>
                    <a:close/>
                  </a:path>
                </a:pathLst>
              </a:custGeom>
              <a:grpFill/>
              <a:ln w="6390" cap="flat">
                <a:noFill/>
                <a:prstDash val="solid"/>
                <a:miter/>
              </a:ln>
            </p:spPr>
            <p:txBody>
              <a:bodyPr rtlCol="0" anchor="ctr"/>
              <a:lstStyle/>
              <a:p>
                <a:endParaRPr lang="en-US"/>
              </a:p>
            </p:txBody>
          </p:sp>
        </p:grpSp>
      </p:grpSp>
      <p:grpSp>
        <p:nvGrpSpPr>
          <p:cNvPr id="73" name="Group 72">
            <a:extLst>
              <a:ext uri="{FF2B5EF4-FFF2-40B4-BE49-F238E27FC236}">
                <a16:creationId xmlns:a16="http://schemas.microsoft.com/office/drawing/2014/main" id="{1C17B4F5-EFD4-C3C0-4D19-54A871E8A050}"/>
              </a:ext>
            </a:extLst>
          </p:cNvPr>
          <p:cNvGrpSpPr/>
          <p:nvPr/>
        </p:nvGrpSpPr>
        <p:grpSpPr>
          <a:xfrm>
            <a:off x="501651" y="4789033"/>
            <a:ext cx="11188696" cy="1570671"/>
            <a:chOff x="501651" y="4830129"/>
            <a:chExt cx="11188696" cy="1570671"/>
          </a:xfrm>
        </p:grpSpPr>
        <p:sp>
          <p:nvSpPr>
            <p:cNvPr id="74" name="TextBox 73">
              <a:extLst>
                <a:ext uri="{FF2B5EF4-FFF2-40B4-BE49-F238E27FC236}">
                  <a16:creationId xmlns:a16="http://schemas.microsoft.com/office/drawing/2014/main" id="{6C037703-2521-7999-7C57-A1E9E20FD7F8}"/>
                </a:ext>
              </a:extLst>
            </p:cNvPr>
            <p:cNvSpPr txBox="1"/>
            <p:nvPr/>
          </p:nvSpPr>
          <p:spPr>
            <a:xfrm>
              <a:off x="6756178" y="4830129"/>
              <a:ext cx="1590586" cy="1570671"/>
            </a:xfrm>
            <a:prstGeom prst="rect">
              <a:avLst/>
            </a:prstGeom>
            <a:noFill/>
            <a:ln w="12700">
              <a:solidFill>
                <a:srgbClr val="007CB0"/>
              </a:solidFill>
            </a:ln>
          </p:spPr>
          <p:txBody>
            <a:bodyPr wrap="square" lIns="91440" tIns="91440" rIns="0" bIns="91440" rtlCol="0" anchor="b">
              <a:noAutofit/>
            </a:bodyPr>
            <a:lstStyle/>
            <a:p>
              <a:pPr algn="ctr">
                <a:spcBef>
                  <a:spcPts val="600"/>
                </a:spcBef>
                <a:buSzPct val="100000"/>
              </a:pPr>
              <a:endParaRPr lang="en-US" sz="1000">
                <a:solidFill>
                  <a:srgbClr val="313131"/>
                </a:solidFill>
              </a:endParaRPr>
            </a:p>
          </p:txBody>
        </p:sp>
        <p:sp>
          <p:nvSpPr>
            <p:cNvPr id="75" name="TextBox 74">
              <a:extLst>
                <a:ext uri="{FF2B5EF4-FFF2-40B4-BE49-F238E27FC236}">
                  <a16:creationId xmlns:a16="http://schemas.microsoft.com/office/drawing/2014/main" id="{F120AA02-1617-2B20-8122-FFDCED48AA23}"/>
                </a:ext>
              </a:extLst>
            </p:cNvPr>
            <p:cNvSpPr txBox="1"/>
            <p:nvPr/>
          </p:nvSpPr>
          <p:spPr>
            <a:xfrm>
              <a:off x="501651" y="4830129"/>
              <a:ext cx="1169731" cy="1570671"/>
            </a:xfrm>
            <a:prstGeom prst="rect">
              <a:avLst/>
            </a:prstGeom>
            <a:solidFill>
              <a:srgbClr val="007CB0"/>
            </a:solidFill>
            <a:ln w="12700">
              <a:noFill/>
              <a:miter lim="800000"/>
              <a:headEnd/>
              <a:tailEnd/>
            </a:ln>
          </p:spPr>
          <p:txBody>
            <a:bodyPr lIns="18288" tIns="45605" rIns="18288" bIns="45605" anchor="ctr"/>
            <a:lstStyle>
              <a:defPPr>
                <a:defRPr lang="en-US"/>
              </a:defPPr>
              <a:lvl1pPr algn="ctr">
                <a:defRPr sz="1600">
                  <a:latin typeface="+mj-lt"/>
                  <a:ea typeface="华文细黑" panose="02010600040101010101" pitchFamily="2" charset="-122"/>
                </a:defRPr>
              </a:lvl1pPr>
            </a:lstStyle>
            <a:p>
              <a:endParaRPr lang="en-GB" sz="1200"/>
            </a:p>
            <a:p>
              <a:endParaRPr lang="en-GB" sz="1200"/>
            </a:p>
            <a:p>
              <a:endParaRPr lang="en-GB" sz="1200"/>
            </a:p>
            <a:p>
              <a:r>
                <a:rPr lang="en-GB" sz="1200" b="1">
                  <a:solidFill>
                    <a:schemeClr val="bg1"/>
                  </a:solidFill>
                </a:rPr>
                <a:t>Water &amp; Gas</a:t>
              </a:r>
            </a:p>
          </p:txBody>
        </p:sp>
        <p:sp>
          <p:nvSpPr>
            <p:cNvPr id="76" name="Rectangle 9">
              <a:extLst>
                <a:ext uri="{FF2B5EF4-FFF2-40B4-BE49-F238E27FC236}">
                  <a16:creationId xmlns:a16="http://schemas.microsoft.com/office/drawing/2014/main" id="{590827B0-41AB-73E7-08F2-65E6DCD713C9}"/>
                </a:ext>
              </a:extLst>
            </p:cNvPr>
            <p:cNvSpPr>
              <a:spLocks noChangeArrowheads="1"/>
            </p:cNvSpPr>
            <p:nvPr/>
          </p:nvSpPr>
          <p:spPr bwMode="auto">
            <a:xfrm>
              <a:off x="1753450" y="4830129"/>
              <a:ext cx="1590586" cy="1570671"/>
            </a:xfrm>
            <a:prstGeom prst="rect">
              <a:avLst/>
            </a:prstGeom>
            <a:noFill/>
            <a:ln w="12700">
              <a:solidFill>
                <a:srgbClr val="007CB0"/>
              </a:solidFill>
              <a:miter lim="800000"/>
              <a:headEnd/>
              <a:tailEnd/>
            </a:ln>
          </p:spPr>
          <p:txBody>
            <a:bodyPr lIns="91209" tIns="45605" rIns="91209" bIns="45605" anchor="ctr"/>
            <a:lstStyle/>
            <a:p>
              <a:pPr algn="ctr"/>
              <a:endParaRPr lang="fr-FR" sz="923">
                <a:latin typeface="华文细黑" panose="02010600040101010101" pitchFamily="2" charset="-122"/>
                <a:ea typeface="华文细黑" panose="02010600040101010101" pitchFamily="2" charset="-122"/>
              </a:endParaRPr>
            </a:p>
          </p:txBody>
        </p:sp>
        <p:sp>
          <p:nvSpPr>
            <p:cNvPr id="77" name="Text Box 6">
              <a:extLst>
                <a:ext uri="{FF2B5EF4-FFF2-40B4-BE49-F238E27FC236}">
                  <a16:creationId xmlns:a16="http://schemas.microsoft.com/office/drawing/2014/main" id="{F0602132-BA74-2BB9-B4E5-74E6139AF13C}"/>
                </a:ext>
              </a:extLst>
            </p:cNvPr>
            <p:cNvSpPr txBox="1">
              <a:spLocks noChangeArrowheads="1"/>
            </p:cNvSpPr>
            <p:nvPr/>
          </p:nvSpPr>
          <p:spPr bwMode="auto">
            <a:xfrm>
              <a:off x="1753450" y="5062768"/>
              <a:ext cx="1590586" cy="728108"/>
            </a:xfrm>
            <a:prstGeom prst="rect">
              <a:avLst/>
            </a:prstGeom>
            <a:noFill/>
          </p:spPr>
          <p:txBody>
            <a:bodyPr wrap="square" lIns="45720" rIns="45720">
              <a:spAutoFit/>
            </a:bodyPr>
            <a:lstStyle>
              <a:defPPr>
                <a:defRPr lang="en-US"/>
              </a:defPPr>
              <a:lvl1pPr algn="ctr">
                <a:defRPr sz="800"/>
              </a:lvl1pPr>
            </a:lstStyle>
            <a:p>
              <a:r>
                <a:rPr lang="en-US"/>
                <a:t>Improving utility customer experience by identifying and implementing improvements in Meter-to-Cash process on SAP system, SAP Support Pack Upgrade</a:t>
              </a:r>
              <a:endParaRPr lang="en-GB"/>
            </a:p>
          </p:txBody>
        </p:sp>
        <p:pic>
          <p:nvPicPr>
            <p:cNvPr id="78" name="Picture 77">
              <a:extLst>
                <a:ext uri="{FF2B5EF4-FFF2-40B4-BE49-F238E27FC236}">
                  <a16:creationId xmlns:a16="http://schemas.microsoft.com/office/drawing/2014/main" id="{B4AB4379-899F-F945-2657-17E0716EE16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840352" y="5915156"/>
              <a:ext cx="1416782" cy="298653"/>
            </a:xfrm>
            <a:prstGeom prst="rect">
              <a:avLst/>
            </a:prstGeom>
          </p:spPr>
        </p:pic>
        <p:sp>
          <p:nvSpPr>
            <p:cNvPr id="79" name="TextBox 78">
              <a:extLst>
                <a:ext uri="{FF2B5EF4-FFF2-40B4-BE49-F238E27FC236}">
                  <a16:creationId xmlns:a16="http://schemas.microsoft.com/office/drawing/2014/main" id="{6809F5A1-C62E-E7AC-6C29-08BE946A370B}"/>
                </a:ext>
              </a:extLst>
            </p:cNvPr>
            <p:cNvSpPr txBox="1"/>
            <p:nvPr/>
          </p:nvSpPr>
          <p:spPr>
            <a:xfrm>
              <a:off x="3421026" y="4830129"/>
              <a:ext cx="1590586" cy="1570671"/>
            </a:xfrm>
            <a:prstGeom prst="rect">
              <a:avLst/>
            </a:prstGeom>
            <a:noFill/>
            <a:ln w="12700">
              <a:solidFill>
                <a:srgbClr val="007CB0"/>
              </a:solidFill>
            </a:ln>
          </p:spPr>
          <p:txBody>
            <a:bodyPr wrap="square" lIns="0" tIns="0" rIns="0" bIns="0" rtlCol="0" anchor="b">
              <a:noAutofit/>
            </a:bodyPr>
            <a:lstStyle/>
            <a:p>
              <a:pPr algn="ctr" defTabSz="785437">
                <a:buSzPct val="100000"/>
              </a:pPr>
              <a:endParaRPr lang="en-GB" sz="923">
                <a:cs typeface="Arial" panose="020B0604020202020204" pitchFamily="34" charset="0"/>
              </a:endParaRPr>
            </a:p>
          </p:txBody>
        </p:sp>
        <p:sp>
          <p:nvSpPr>
            <p:cNvPr id="80" name="Text Box 6">
              <a:extLst>
                <a:ext uri="{FF2B5EF4-FFF2-40B4-BE49-F238E27FC236}">
                  <a16:creationId xmlns:a16="http://schemas.microsoft.com/office/drawing/2014/main" id="{EC8F6034-2AA4-A28F-61AA-70A439934FF3}"/>
                </a:ext>
              </a:extLst>
            </p:cNvPr>
            <p:cNvSpPr txBox="1">
              <a:spLocks noChangeArrowheads="1"/>
            </p:cNvSpPr>
            <p:nvPr/>
          </p:nvSpPr>
          <p:spPr bwMode="auto">
            <a:xfrm>
              <a:off x="3467117" y="5062768"/>
              <a:ext cx="1498405" cy="728108"/>
            </a:xfrm>
            <a:prstGeom prst="rect">
              <a:avLst/>
            </a:prstGeom>
            <a:noFill/>
          </p:spPr>
          <p:txBody>
            <a:bodyPr wrap="square" lIns="45720" rIns="45720">
              <a:spAutoFit/>
            </a:bodyPr>
            <a:lstStyle>
              <a:defPPr>
                <a:defRPr lang="en-US"/>
              </a:defPPr>
              <a:lvl1pPr algn="ctr">
                <a:defRPr sz="800"/>
              </a:lvl1pPr>
            </a:lstStyle>
            <a:p>
              <a:r>
                <a:rPr lang="en-US"/>
                <a:t>Technical upgrade of SAP billing and collections solution to drive business efficiencies and achieve higher customer satisfaction and AMS</a:t>
              </a:r>
              <a:endParaRPr lang="en-GB"/>
            </a:p>
          </p:txBody>
        </p:sp>
        <p:pic>
          <p:nvPicPr>
            <p:cNvPr id="81" name="Picture 80">
              <a:extLst>
                <a:ext uri="{FF2B5EF4-FFF2-40B4-BE49-F238E27FC236}">
                  <a16:creationId xmlns:a16="http://schemas.microsoft.com/office/drawing/2014/main" id="{30853142-1017-2A1F-CDC2-801EA12982D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787523" y="5886106"/>
              <a:ext cx="857592" cy="466264"/>
            </a:xfrm>
            <a:prstGeom prst="rect">
              <a:avLst/>
            </a:prstGeom>
          </p:spPr>
        </p:pic>
        <p:sp>
          <p:nvSpPr>
            <p:cNvPr id="82" name="Text Box 6">
              <a:extLst>
                <a:ext uri="{FF2B5EF4-FFF2-40B4-BE49-F238E27FC236}">
                  <a16:creationId xmlns:a16="http://schemas.microsoft.com/office/drawing/2014/main" id="{5D2ACF6B-7F4C-8AED-3FA5-1E56F4CDF938}"/>
                </a:ext>
              </a:extLst>
            </p:cNvPr>
            <p:cNvSpPr txBox="1">
              <a:spLocks noChangeArrowheads="1"/>
            </p:cNvSpPr>
            <p:nvPr/>
          </p:nvSpPr>
          <p:spPr bwMode="auto">
            <a:xfrm>
              <a:off x="6756178" y="5515041"/>
              <a:ext cx="1590586" cy="584189"/>
            </a:xfrm>
            <a:prstGeom prst="rect">
              <a:avLst/>
            </a:prstGeom>
            <a:noFill/>
            <a:ln w="9525">
              <a:noFill/>
              <a:miter lim="800000"/>
              <a:headEnd/>
              <a:tailEnd/>
            </a:ln>
          </p:spPr>
          <p:txBody>
            <a:bodyPr lIns="0" tIns="0" rIns="0" bIns="0"/>
            <a:lstStyle/>
            <a:p>
              <a:pPr algn="ctr" eaLnBrk="0" hangingPunct="0"/>
              <a:r>
                <a:rPr lang="en-US" sz="800"/>
                <a:t>Greenfield S/4 HANA implementation for MM, FI and PS modules; SAP Solman Installation, SAP Fiori Activation, Integration with 3</a:t>
              </a:r>
              <a:r>
                <a:rPr lang="en-US" sz="800" baseline="30000"/>
                <a:t>rd</a:t>
              </a:r>
              <a:r>
                <a:rPr lang="en-US" sz="800"/>
                <a:t> party OT Tools</a:t>
              </a:r>
              <a:endParaRPr lang="en-GB" sz="800"/>
            </a:p>
          </p:txBody>
        </p:sp>
        <p:sp>
          <p:nvSpPr>
            <p:cNvPr id="83" name="TextBox 82">
              <a:extLst>
                <a:ext uri="{FF2B5EF4-FFF2-40B4-BE49-F238E27FC236}">
                  <a16:creationId xmlns:a16="http://schemas.microsoft.com/office/drawing/2014/main" id="{E68338F6-B4FC-F77A-6156-AE1BF5F242D9}"/>
                </a:ext>
              </a:extLst>
            </p:cNvPr>
            <p:cNvSpPr txBox="1"/>
            <p:nvPr/>
          </p:nvSpPr>
          <p:spPr>
            <a:xfrm>
              <a:off x="5088602" y="4830129"/>
              <a:ext cx="1590586" cy="1570671"/>
            </a:xfrm>
            <a:prstGeom prst="rect">
              <a:avLst/>
            </a:prstGeom>
            <a:noFill/>
            <a:ln w="12700">
              <a:solidFill>
                <a:srgbClr val="007CB0"/>
              </a:solidFill>
            </a:ln>
          </p:spPr>
          <p:txBody>
            <a:bodyPr wrap="square" lIns="0" tIns="0" rIns="0" bIns="0" rtlCol="0">
              <a:noAutofit/>
            </a:bodyPr>
            <a:lstStyle/>
            <a:p>
              <a:pPr marL="61854" algn="ctr" defTabSz="785437">
                <a:spcBef>
                  <a:spcPts val="514"/>
                </a:spcBef>
                <a:buSzPct val="100000"/>
              </a:pPr>
              <a:endParaRPr lang="en-GB" sz="923">
                <a:cs typeface="Arial" panose="020B0604020202020204" pitchFamily="34" charset="0"/>
              </a:endParaRPr>
            </a:p>
          </p:txBody>
        </p:sp>
        <p:sp>
          <p:nvSpPr>
            <p:cNvPr id="90" name="TextBox 89">
              <a:extLst>
                <a:ext uri="{FF2B5EF4-FFF2-40B4-BE49-F238E27FC236}">
                  <a16:creationId xmlns:a16="http://schemas.microsoft.com/office/drawing/2014/main" id="{50FF9DDB-C5A0-9829-3B16-115E9B2A0838}"/>
                </a:ext>
              </a:extLst>
            </p:cNvPr>
            <p:cNvSpPr txBox="1"/>
            <p:nvPr/>
          </p:nvSpPr>
          <p:spPr>
            <a:xfrm>
              <a:off x="10091328" y="4830129"/>
              <a:ext cx="1599019" cy="1570671"/>
            </a:xfrm>
            <a:prstGeom prst="rect">
              <a:avLst/>
            </a:prstGeom>
            <a:noFill/>
            <a:ln w="12700">
              <a:solidFill>
                <a:srgbClr val="007CB0"/>
              </a:solidFill>
            </a:ln>
          </p:spPr>
          <p:txBody>
            <a:bodyPr wrap="square" lIns="91440" tIns="91440" rIns="0" bIns="91440" rtlCol="0" anchor="b">
              <a:noAutofit/>
            </a:bodyPr>
            <a:lstStyle/>
            <a:p>
              <a:pPr algn="ctr">
                <a:spcBef>
                  <a:spcPts val="600"/>
                </a:spcBef>
                <a:buSzPct val="100000"/>
              </a:pPr>
              <a:r>
                <a:rPr lang="en-US" sz="1000">
                  <a:solidFill>
                    <a:srgbClr val="313131"/>
                  </a:solidFill>
                </a:rPr>
                <a:t>Avantika Gas</a:t>
              </a:r>
            </a:p>
          </p:txBody>
        </p:sp>
        <p:sp>
          <p:nvSpPr>
            <p:cNvPr id="91" name="TextBox 90">
              <a:extLst>
                <a:ext uri="{FF2B5EF4-FFF2-40B4-BE49-F238E27FC236}">
                  <a16:creationId xmlns:a16="http://schemas.microsoft.com/office/drawing/2014/main" id="{6D905326-4748-5157-A317-4E9241087816}"/>
                </a:ext>
              </a:extLst>
            </p:cNvPr>
            <p:cNvSpPr txBox="1"/>
            <p:nvPr/>
          </p:nvSpPr>
          <p:spPr>
            <a:xfrm>
              <a:off x="10163629" y="5112689"/>
              <a:ext cx="1445987" cy="474853"/>
            </a:xfrm>
            <a:prstGeom prst="rect">
              <a:avLst/>
            </a:prstGeom>
            <a:noFill/>
          </p:spPr>
          <p:txBody>
            <a:bodyPr wrap="square" lIns="45720" rIns="45720">
              <a:spAutoFit/>
            </a:bodyPr>
            <a:lstStyle>
              <a:defPPr>
                <a:defRPr lang="en-US"/>
              </a:defPPr>
              <a:lvl1pPr algn="ctr">
                <a:defRPr sz="800"/>
              </a:lvl1pPr>
            </a:lstStyle>
            <a:p>
              <a:r>
                <a:rPr lang="en-US"/>
                <a:t>SAP S4 HANA implementation</a:t>
              </a:r>
            </a:p>
            <a:p>
              <a:endParaRPr lang="en-US"/>
            </a:p>
            <a:p>
              <a:endParaRPr lang="en-US"/>
            </a:p>
          </p:txBody>
        </p:sp>
        <p:pic>
          <p:nvPicPr>
            <p:cNvPr id="93" name="Picture 4" descr="Aavantika Gas Limited">
              <a:extLst>
                <a:ext uri="{FF2B5EF4-FFF2-40B4-BE49-F238E27FC236}">
                  <a16:creationId xmlns:a16="http://schemas.microsoft.com/office/drawing/2014/main" id="{DD16BC25-552F-96C3-0971-E14E42E1FAD0}"/>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0513750" y="5330171"/>
              <a:ext cx="745744" cy="771683"/>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93">
              <a:extLst>
                <a:ext uri="{FF2B5EF4-FFF2-40B4-BE49-F238E27FC236}">
                  <a16:creationId xmlns:a16="http://schemas.microsoft.com/office/drawing/2014/main" id="{CD882992-7410-6657-B1CD-7E909CD00389}"/>
                </a:ext>
              </a:extLst>
            </p:cNvPr>
            <p:cNvSpPr txBox="1"/>
            <p:nvPr/>
          </p:nvSpPr>
          <p:spPr>
            <a:xfrm>
              <a:off x="8423754" y="4830129"/>
              <a:ext cx="1590586" cy="1570671"/>
            </a:xfrm>
            <a:prstGeom prst="rect">
              <a:avLst/>
            </a:prstGeom>
            <a:noFill/>
            <a:ln w="12700">
              <a:solidFill>
                <a:srgbClr val="007CB0"/>
              </a:solidFill>
            </a:ln>
          </p:spPr>
          <p:txBody>
            <a:bodyPr wrap="square" lIns="91440" tIns="91440" rIns="0" bIns="91440" rtlCol="0" anchor="b">
              <a:noAutofit/>
            </a:bodyPr>
            <a:lstStyle/>
            <a:p>
              <a:pPr algn="ctr">
                <a:spcBef>
                  <a:spcPts val="600"/>
                </a:spcBef>
                <a:buSzPct val="100000"/>
              </a:pPr>
              <a:r>
                <a:rPr lang="en-US" sz="1000">
                  <a:solidFill>
                    <a:srgbClr val="313131"/>
                  </a:solidFill>
                </a:rPr>
                <a:t>Shell</a:t>
              </a:r>
            </a:p>
          </p:txBody>
        </p:sp>
        <p:sp>
          <p:nvSpPr>
            <p:cNvPr id="95" name="TextBox 94">
              <a:extLst>
                <a:ext uri="{FF2B5EF4-FFF2-40B4-BE49-F238E27FC236}">
                  <a16:creationId xmlns:a16="http://schemas.microsoft.com/office/drawing/2014/main" id="{DE7EB59D-C721-6E6E-19CF-48023364321C}"/>
                </a:ext>
              </a:extLst>
            </p:cNvPr>
            <p:cNvSpPr txBox="1"/>
            <p:nvPr/>
          </p:nvSpPr>
          <p:spPr>
            <a:xfrm>
              <a:off x="8423754" y="5063127"/>
              <a:ext cx="1590586" cy="348225"/>
            </a:xfrm>
            <a:prstGeom prst="rect">
              <a:avLst/>
            </a:prstGeom>
            <a:noFill/>
          </p:spPr>
          <p:txBody>
            <a:bodyPr wrap="square" lIns="45720" rIns="45720">
              <a:spAutoFit/>
            </a:bodyPr>
            <a:lstStyle>
              <a:defPPr>
                <a:defRPr lang="en-US"/>
              </a:defPPr>
              <a:lvl1pPr algn="ctr">
                <a:defRPr sz="800"/>
              </a:lvl1pPr>
            </a:lstStyle>
            <a:p>
              <a:r>
                <a:rPr lang="en-US" sz="800">
                  <a:solidFill>
                    <a:prstClr val="black"/>
                  </a:solidFill>
                </a:rPr>
                <a:t>ECC to S4 HANA Conversion and business process improvements</a:t>
              </a:r>
              <a:endParaRPr lang="en-US"/>
            </a:p>
          </p:txBody>
        </p:sp>
        <p:pic>
          <p:nvPicPr>
            <p:cNvPr id="97" name="Picture 8" descr="Shell Logo PNG Vector, Icon (4096 x 4096) Free download">
              <a:extLst>
                <a:ext uri="{FF2B5EF4-FFF2-40B4-BE49-F238E27FC236}">
                  <a16:creationId xmlns:a16="http://schemas.microsoft.com/office/drawing/2014/main" id="{EBEB85D0-FF4D-E3CA-DCD3-58DC61420944}"/>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8864612" y="5444646"/>
              <a:ext cx="708871" cy="733528"/>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a:extLst>
                <a:ext uri="{FF2B5EF4-FFF2-40B4-BE49-F238E27FC236}">
                  <a16:creationId xmlns:a16="http://schemas.microsoft.com/office/drawing/2014/main" id="{635D255D-026F-32E0-2BC2-ABBA2EFC1F8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049272" y="6105085"/>
              <a:ext cx="1004398" cy="285665"/>
            </a:xfrm>
            <a:prstGeom prst="rect">
              <a:avLst/>
            </a:prstGeom>
          </p:spPr>
        </p:pic>
        <p:sp>
          <p:nvSpPr>
            <p:cNvPr id="99" name="Text Box 6">
              <a:extLst>
                <a:ext uri="{FF2B5EF4-FFF2-40B4-BE49-F238E27FC236}">
                  <a16:creationId xmlns:a16="http://schemas.microsoft.com/office/drawing/2014/main" id="{F7437BD4-0EB8-F583-5C24-78133285E708}"/>
                </a:ext>
              </a:extLst>
            </p:cNvPr>
            <p:cNvSpPr txBox="1">
              <a:spLocks noChangeArrowheads="1"/>
            </p:cNvSpPr>
            <p:nvPr/>
          </p:nvSpPr>
          <p:spPr bwMode="auto">
            <a:xfrm>
              <a:off x="6802269" y="5016742"/>
              <a:ext cx="1498405" cy="492443"/>
            </a:xfrm>
            <a:prstGeom prst="rect">
              <a:avLst/>
            </a:prstGeom>
            <a:noFill/>
          </p:spPr>
          <p:txBody>
            <a:bodyPr wrap="square" lIns="0" tIns="0" rIns="0" bIns="0">
              <a:spAutoFit/>
            </a:bodyPr>
            <a:lstStyle>
              <a:defPPr>
                <a:defRPr lang="en-US"/>
              </a:defPPr>
              <a:lvl1pPr algn="ctr">
                <a:defRPr sz="800"/>
              </a:lvl1pPr>
            </a:lstStyle>
            <a:p>
              <a:r>
                <a:rPr lang="en-US"/>
                <a:t>Greenfields Implementation of S/4 HANA and IS utilities; Modules included FICO, MM, PS, PM, S&amp;D and CS</a:t>
              </a:r>
              <a:endParaRPr lang="en-GB"/>
            </a:p>
          </p:txBody>
        </p:sp>
        <p:grpSp>
          <p:nvGrpSpPr>
            <p:cNvPr id="100" name="Graphic 4">
              <a:extLst>
                <a:ext uri="{FF2B5EF4-FFF2-40B4-BE49-F238E27FC236}">
                  <a16:creationId xmlns:a16="http://schemas.microsoft.com/office/drawing/2014/main" id="{D7FB6397-B2C6-B537-6491-580323F59E23}"/>
                </a:ext>
              </a:extLst>
            </p:cNvPr>
            <p:cNvGrpSpPr/>
            <p:nvPr/>
          </p:nvGrpSpPr>
          <p:grpSpPr>
            <a:xfrm>
              <a:off x="794766" y="5021063"/>
              <a:ext cx="583502" cy="582958"/>
              <a:chOff x="5099169" y="4308712"/>
              <a:chExt cx="362309" cy="361971"/>
            </a:xfrm>
            <a:solidFill>
              <a:schemeClr val="bg1"/>
            </a:solidFill>
          </p:grpSpPr>
          <p:sp>
            <p:nvSpPr>
              <p:cNvPr id="101" name="Graphic 4">
                <a:extLst>
                  <a:ext uri="{FF2B5EF4-FFF2-40B4-BE49-F238E27FC236}">
                    <a16:creationId xmlns:a16="http://schemas.microsoft.com/office/drawing/2014/main" id="{1D91B707-F681-76ED-F2FB-851B7FAFB451}"/>
                  </a:ext>
                </a:extLst>
              </p:cNvPr>
              <p:cNvSpPr/>
              <p:nvPr/>
            </p:nvSpPr>
            <p:spPr>
              <a:xfrm>
                <a:off x="5213979" y="4392980"/>
                <a:ext cx="131873" cy="195988"/>
              </a:xfrm>
              <a:custGeom>
                <a:avLst/>
                <a:gdLst>
                  <a:gd name="connsiteX0" fmla="*/ 110755 w 131873"/>
                  <a:gd name="connsiteY0" fmla="*/ 77885 h 195988"/>
                  <a:gd name="connsiteX1" fmla="*/ 109477 w 131873"/>
                  <a:gd name="connsiteY1" fmla="*/ 86184 h 195988"/>
                  <a:gd name="connsiteX2" fmla="*/ 95420 w 131873"/>
                  <a:gd name="connsiteY2" fmla="*/ 97037 h 195988"/>
                  <a:gd name="connsiteX3" fmla="*/ 80084 w 131873"/>
                  <a:gd name="connsiteY3" fmla="*/ 52349 h 195988"/>
                  <a:gd name="connsiteX4" fmla="*/ 58358 w 131873"/>
                  <a:gd name="connsiteY4" fmla="*/ 0 h 195988"/>
                  <a:gd name="connsiteX5" fmla="*/ 46217 w 131873"/>
                  <a:gd name="connsiteY5" fmla="*/ 49157 h 195988"/>
                  <a:gd name="connsiteX6" fmla="*/ 23852 w 131873"/>
                  <a:gd name="connsiteY6" fmla="*/ 86184 h 195988"/>
                  <a:gd name="connsiteX7" fmla="*/ 210 w 131873"/>
                  <a:gd name="connsiteY7" fmla="*/ 150024 h 195988"/>
                  <a:gd name="connsiteX8" fmla="*/ 20657 w 131873"/>
                  <a:gd name="connsiteY8" fmla="*/ 193435 h 195988"/>
                  <a:gd name="connsiteX9" fmla="*/ 33437 w 131873"/>
                  <a:gd name="connsiteY9" fmla="*/ 131510 h 195988"/>
                  <a:gd name="connsiteX10" fmla="*/ 55802 w 131873"/>
                  <a:gd name="connsiteY10" fmla="*/ 86184 h 195988"/>
                  <a:gd name="connsiteX11" fmla="*/ 61553 w 131873"/>
                  <a:gd name="connsiteY11" fmla="*/ 82354 h 195988"/>
                  <a:gd name="connsiteX12" fmla="*/ 62831 w 131873"/>
                  <a:gd name="connsiteY12" fmla="*/ 82354 h 195988"/>
                  <a:gd name="connsiteX13" fmla="*/ 67943 w 131873"/>
                  <a:gd name="connsiteY13" fmla="*/ 88738 h 195988"/>
                  <a:gd name="connsiteX14" fmla="*/ 95420 w 131873"/>
                  <a:gd name="connsiteY14" fmla="*/ 137894 h 195988"/>
                  <a:gd name="connsiteX15" fmla="*/ 106922 w 131873"/>
                  <a:gd name="connsiteY15" fmla="*/ 195988 h 195988"/>
                  <a:gd name="connsiteX16" fmla="*/ 116506 w 131873"/>
                  <a:gd name="connsiteY16" fmla="*/ 186412 h 195988"/>
                  <a:gd name="connsiteX17" fmla="*/ 129925 w 131873"/>
                  <a:gd name="connsiteY17" fmla="*/ 125126 h 195988"/>
                  <a:gd name="connsiteX18" fmla="*/ 110755 w 131873"/>
                  <a:gd name="connsiteY18" fmla="*/ 77885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1873" h="195988">
                    <a:moveTo>
                      <a:pt x="110755" y="77885"/>
                    </a:moveTo>
                    <a:cubicBezTo>
                      <a:pt x="110117" y="80438"/>
                      <a:pt x="110117" y="83630"/>
                      <a:pt x="109477" y="86184"/>
                    </a:cubicBezTo>
                    <a:cubicBezTo>
                      <a:pt x="108200" y="93206"/>
                      <a:pt x="102449" y="97675"/>
                      <a:pt x="95420" y="97037"/>
                    </a:cubicBezTo>
                    <a:cubicBezTo>
                      <a:pt x="89030" y="95760"/>
                      <a:pt x="78167" y="89376"/>
                      <a:pt x="80084" y="52349"/>
                    </a:cubicBezTo>
                    <a:cubicBezTo>
                      <a:pt x="80723" y="32558"/>
                      <a:pt x="72416" y="13406"/>
                      <a:pt x="58358" y="0"/>
                    </a:cubicBezTo>
                    <a:cubicBezTo>
                      <a:pt x="57080" y="16598"/>
                      <a:pt x="52607" y="33197"/>
                      <a:pt x="46217" y="49157"/>
                    </a:cubicBezTo>
                    <a:cubicBezTo>
                      <a:pt x="40466" y="62563"/>
                      <a:pt x="32798" y="74693"/>
                      <a:pt x="23852" y="86184"/>
                    </a:cubicBezTo>
                    <a:cubicBezTo>
                      <a:pt x="9794" y="105336"/>
                      <a:pt x="-1707" y="121296"/>
                      <a:pt x="210" y="150024"/>
                    </a:cubicBezTo>
                    <a:cubicBezTo>
                      <a:pt x="848" y="166622"/>
                      <a:pt x="7878" y="182582"/>
                      <a:pt x="20657" y="193435"/>
                    </a:cubicBezTo>
                    <a:cubicBezTo>
                      <a:pt x="15546" y="174921"/>
                      <a:pt x="20018" y="154492"/>
                      <a:pt x="33437" y="131510"/>
                    </a:cubicBezTo>
                    <a:cubicBezTo>
                      <a:pt x="38549" y="122573"/>
                      <a:pt x="55802" y="86822"/>
                      <a:pt x="55802" y="86184"/>
                    </a:cubicBezTo>
                    <a:cubicBezTo>
                      <a:pt x="57080" y="84269"/>
                      <a:pt x="58997" y="82354"/>
                      <a:pt x="61553" y="82354"/>
                    </a:cubicBezTo>
                    <a:cubicBezTo>
                      <a:pt x="62192" y="82354"/>
                      <a:pt x="62831" y="82354"/>
                      <a:pt x="62831" y="82354"/>
                    </a:cubicBezTo>
                    <a:cubicBezTo>
                      <a:pt x="66026" y="82992"/>
                      <a:pt x="67943" y="85546"/>
                      <a:pt x="67943" y="88738"/>
                    </a:cubicBezTo>
                    <a:cubicBezTo>
                      <a:pt x="67943" y="91291"/>
                      <a:pt x="71777" y="107889"/>
                      <a:pt x="95420" y="137894"/>
                    </a:cubicBezTo>
                    <a:cubicBezTo>
                      <a:pt x="108200" y="154492"/>
                      <a:pt x="112033" y="176198"/>
                      <a:pt x="106922" y="195988"/>
                    </a:cubicBezTo>
                    <a:cubicBezTo>
                      <a:pt x="110755" y="193435"/>
                      <a:pt x="113950" y="189604"/>
                      <a:pt x="116506" y="186412"/>
                    </a:cubicBezTo>
                    <a:cubicBezTo>
                      <a:pt x="129925" y="169176"/>
                      <a:pt x="135037" y="146832"/>
                      <a:pt x="129925" y="125126"/>
                    </a:cubicBezTo>
                    <a:cubicBezTo>
                      <a:pt x="128008" y="107889"/>
                      <a:pt x="121618" y="91291"/>
                      <a:pt x="110755" y="77885"/>
                    </a:cubicBezTo>
                    <a:close/>
                  </a:path>
                </a:pathLst>
              </a:custGeom>
              <a:grpFill/>
              <a:ln w="6390" cap="flat">
                <a:noFill/>
                <a:prstDash val="solid"/>
                <a:miter/>
              </a:ln>
            </p:spPr>
            <p:txBody>
              <a:bodyPr rtlCol="0" anchor="ctr"/>
              <a:lstStyle/>
              <a:p>
                <a:endParaRPr lang="en-US"/>
              </a:p>
            </p:txBody>
          </p:sp>
          <p:sp>
            <p:nvSpPr>
              <p:cNvPr id="102" name="Graphic 4">
                <a:extLst>
                  <a:ext uri="{FF2B5EF4-FFF2-40B4-BE49-F238E27FC236}">
                    <a16:creationId xmlns:a16="http://schemas.microsoft.com/office/drawing/2014/main" id="{D407C01D-5431-D4D8-AC3D-259EE1B8667B}"/>
                  </a:ext>
                </a:extLst>
              </p:cNvPr>
              <p:cNvSpPr/>
              <p:nvPr/>
            </p:nvSpPr>
            <p:spPr>
              <a:xfrm>
                <a:off x="5099169" y="4308712"/>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242179 w 362309"/>
                  <a:gd name="connsiteY7" fmla="*/ 278342 h 361971"/>
                  <a:gd name="connsiteX8" fmla="*/ 212146 w 362309"/>
                  <a:gd name="connsiteY8" fmla="*/ 298132 h 361971"/>
                  <a:gd name="connsiteX9" fmla="*/ 206395 w 362309"/>
                  <a:gd name="connsiteY9" fmla="*/ 294940 h 361971"/>
                  <a:gd name="connsiteX10" fmla="*/ 205756 w 362309"/>
                  <a:gd name="connsiteY10" fmla="*/ 288556 h 361971"/>
                  <a:gd name="connsiteX11" fmla="*/ 200644 w 362309"/>
                  <a:gd name="connsiteY11" fmla="*/ 229185 h 361971"/>
                  <a:gd name="connsiteX12" fmla="*/ 175084 w 362309"/>
                  <a:gd name="connsiteY12" fmla="*/ 189604 h 361971"/>
                  <a:gd name="connsiteX13" fmla="*/ 159110 w 362309"/>
                  <a:gd name="connsiteY13" fmla="*/ 220247 h 361971"/>
                  <a:gd name="connsiteX14" fmla="*/ 154637 w 362309"/>
                  <a:gd name="connsiteY14" fmla="*/ 287279 h 361971"/>
                  <a:gd name="connsiteX15" fmla="*/ 152720 w 362309"/>
                  <a:gd name="connsiteY15" fmla="*/ 296217 h 361971"/>
                  <a:gd name="connsiteX16" fmla="*/ 148885 w 362309"/>
                  <a:gd name="connsiteY16" fmla="*/ 297494 h 361971"/>
                  <a:gd name="connsiteX17" fmla="*/ 147607 w 362309"/>
                  <a:gd name="connsiteY17" fmla="*/ 297494 h 361971"/>
                  <a:gd name="connsiteX18" fmla="*/ 102239 w 362309"/>
                  <a:gd name="connsiteY18" fmla="*/ 234292 h 361971"/>
                  <a:gd name="connsiteX19" fmla="*/ 128438 w 362309"/>
                  <a:gd name="connsiteY19" fmla="*/ 162153 h 361971"/>
                  <a:gd name="connsiteX20" fmla="*/ 148885 w 362309"/>
                  <a:gd name="connsiteY20" fmla="*/ 128318 h 361971"/>
                  <a:gd name="connsiteX21" fmla="*/ 160387 w 362309"/>
                  <a:gd name="connsiteY21" fmla="*/ 70862 h 361971"/>
                  <a:gd name="connsiteX22" fmla="*/ 163582 w 362309"/>
                  <a:gd name="connsiteY22" fmla="*/ 64478 h 361971"/>
                  <a:gd name="connsiteX23" fmla="*/ 170611 w 362309"/>
                  <a:gd name="connsiteY23" fmla="*/ 64478 h 361971"/>
                  <a:gd name="connsiteX24" fmla="*/ 207673 w 362309"/>
                  <a:gd name="connsiteY24" fmla="*/ 137256 h 361971"/>
                  <a:gd name="connsiteX25" fmla="*/ 211507 w 362309"/>
                  <a:gd name="connsiteY25" fmla="*/ 167899 h 361971"/>
                  <a:gd name="connsiteX26" fmla="*/ 211507 w 362309"/>
                  <a:gd name="connsiteY26" fmla="*/ 167260 h 361971"/>
                  <a:gd name="connsiteX27" fmla="*/ 212785 w 362309"/>
                  <a:gd name="connsiteY27" fmla="*/ 148747 h 361971"/>
                  <a:gd name="connsiteX28" fmla="*/ 215341 w 362309"/>
                  <a:gd name="connsiteY28" fmla="*/ 143001 h 361971"/>
                  <a:gd name="connsiteX29" fmla="*/ 221731 w 362309"/>
                  <a:gd name="connsiteY29" fmla="*/ 142363 h 361971"/>
                  <a:gd name="connsiteX30" fmla="*/ 257514 w 362309"/>
                  <a:gd name="connsiteY30" fmla="*/ 207479 h 361971"/>
                  <a:gd name="connsiteX31" fmla="*/ 242179 w 362309"/>
                  <a:gd name="connsiteY31" fmla="*/ 278342 h 361971"/>
                  <a:gd name="connsiteX32" fmla="*/ 242179 w 362309"/>
                  <a:gd name="connsiteY32"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1077"/>
                      <a:pt x="281157" y="0"/>
                      <a:pt x="181474" y="0"/>
                    </a:cubicBezTo>
                    <a:cubicBezTo>
                      <a:pt x="181474" y="0"/>
                      <a:pt x="181474" y="0"/>
                      <a:pt x="181474" y="0"/>
                    </a:cubicBezTo>
                    <a:close/>
                    <a:moveTo>
                      <a:pt x="242179" y="278342"/>
                    </a:moveTo>
                    <a:cubicBezTo>
                      <a:pt x="232594" y="289833"/>
                      <a:pt x="221092" y="297494"/>
                      <a:pt x="212146" y="298132"/>
                    </a:cubicBezTo>
                    <a:cubicBezTo>
                      <a:pt x="210229" y="298132"/>
                      <a:pt x="207673" y="296855"/>
                      <a:pt x="206395" y="294940"/>
                    </a:cubicBezTo>
                    <a:cubicBezTo>
                      <a:pt x="205117" y="293025"/>
                      <a:pt x="205117" y="290471"/>
                      <a:pt x="205756" y="288556"/>
                    </a:cubicBezTo>
                    <a:cubicBezTo>
                      <a:pt x="205756" y="288556"/>
                      <a:pt x="220453" y="255359"/>
                      <a:pt x="200644" y="229185"/>
                    </a:cubicBezTo>
                    <a:cubicBezTo>
                      <a:pt x="190420" y="217055"/>
                      <a:pt x="182113" y="203649"/>
                      <a:pt x="175084" y="189604"/>
                    </a:cubicBezTo>
                    <a:cubicBezTo>
                      <a:pt x="169333" y="201095"/>
                      <a:pt x="162305" y="215140"/>
                      <a:pt x="159110" y="220247"/>
                    </a:cubicBezTo>
                    <a:cubicBezTo>
                      <a:pt x="143774" y="247060"/>
                      <a:pt x="142496" y="269404"/>
                      <a:pt x="154637" y="287279"/>
                    </a:cubicBezTo>
                    <a:cubicBezTo>
                      <a:pt x="156553" y="290471"/>
                      <a:pt x="155915" y="294302"/>
                      <a:pt x="152720" y="296217"/>
                    </a:cubicBezTo>
                    <a:cubicBezTo>
                      <a:pt x="151442" y="296855"/>
                      <a:pt x="150164" y="297494"/>
                      <a:pt x="148885" y="297494"/>
                    </a:cubicBezTo>
                    <a:lnTo>
                      <a:pt x="147607" y="297494"/>
                    </a:lnTo>
                    <a:cubicBezTo>
                      <a:pt x="146969" y="297494"/>
                      <a:pt x="106073" y="286641"/>
                      <a:pt x="102239" y="234292"/>
                    </a:cubicBezTo>
                    <a:cubicBezTo>
                      <a:pt x="99683" y="201095"/>
                      <a:pt x="114380" y="181305"/>
                      <a:pt x="128438" y="162153"/>
                    </a:cubicBezTo>
                    <a:cubicBezTo>
                      <a:pt x="136745" y="151939"/>
                      <a:pt x="143774" y="140448"/>
                      <a:pt x="148885" y="128318"/>
                    </a:cubicBezTo>
                    <a:cubicBezTo>
                      <a:pt x="162943" y="93206"/>
                      <a:pt x="160387" y="70862"/>
                      <a:pt x="160387" y="70862"/>
                    </a:cubicBezTo>
                    <a:cubicBezTo>
                      <a:pt x="159748" y="68309"/>
                      <a:pt x="161027" y="65755"/>
                      <a:pt x="163582" y="64478"/>
                    </a:cubicBezTo>
                    <a:cubicBezTo>
                      <a:pt x="165500" y="63202"/>
                      <a:pt x="168695" y="63202"/>
                      <a:pt x="170611" y="64478"/>
                    </a:cubicBezTo>
                    <a:cubicBezTo>
                      <a:pt x="171889" y="65755"/>
                      <a:pt x="209590" y="91291"/>
                      <a:pt x="207673" y="137256"/>
                    </a:cubicBezTo>
                    <a:cubicBezTo>
                      <a:pt x="207034" y="156408"/>
                      <a:pt x="209590" y="164707"/>
                      <a:pt x="211507" y="167899"/>
                    </a:cubicBezTo>
                    <a:cubicBezTo>
                      <a:pt x="211507" y="167899"/>
                      <a:pt x="211507" y="167260"/>
                      <a:pt x="211507" y="167260"/>
                    </a:cubicBezTo>
                    <a:cubicBezTo>
                      <a:pt x="212785" y="161515"/>
                      <a:pt x="213424" y="155131"/>
                      <a:pt x="212785" y="148747"/>
                    </a:cubicBezTo>
                    <a:cubicBezTo>
                      <a:pt x="212785" y="146193"/>
                      <a:pt x="213424" y="144278"/>
                      <a:pt x="215341" y="143001"/>
                    </a:cubicBezTo>
                    <a:cubicBezTo>
                      <a:pt x="217258" y="141724"/>
                      <a:pt x="219814" y="141724"/>
                      <a:pt x="221731" y="142363"/>
                    </a:cubicBezTo>
                    <a:cubicBezTo>
                      <a:pt x="223009" y="143001"/>
                      <a:pt x="246651" y="155131"/>
                      <a:pt x="257514" y="207479"/>
                    </a:cubicBezTo>
                    <a:cubicBezTo>
                      <a:pt x="263266" y="231738"/>
                      <a:pt x="257514" y="257913"/>
                      <a:pt x="242179" y="278342"/>
                    </a:cubicBezTo>
                    <a:lnTo>
                      <a:pt x="242179" y="278342"/>
                    </a:lnTo>
                    <a:close/>
                  </a:path>
                </a:pathLst>
              </a:custGeom>
              <a:grpFill/>
              <a:ln w="6390" cap="flat">
                <a:noFill/>
                <a:prstDash val="solid"/>
                <a:miter/>
              </a:ln>
            </p:spPr>
            <p:txBody>
              <a:bodyPr rtlCol="0" anchor="ctr"/>
              <a:lstStyle/>
              <a:p>
                <a:endParaRPr lang="en-US"/>
              </a:p>
            </p:txBody>
          </p:sp>
        </p:grpSp>
      </p:grpSp>
      <p:sp>
        <p:nvSpPr>
          <p:cNvPr id="103" name="TextBox 102">
            <a:extLst>
              <a:ext uri="{FF2B5EF4-FFF2-40B4-BE49-F238E27FC236}">
                <a16:creationId xmlns:a16="http://schemas.microsoft.com/office/drawing/2014/main" id="{DBD4DDD5-03E3-1588-2F2B-E52BEC90BEE0}"/>
              </a:ext>
            </a:extLst>
          </p:cNvPr>
          <p:cNvSpPr txBox="1"/>
          <p:nvPr/>
        </p:nvSpPr>
        <p:spPr>
          <a:xfrm>
            <a:off x="8528826" y="3439712"/>
            <a:ext cx="1290363" cy="338554"/>
          </a:xfrm>
          <a:prstGeom prst="rect">
            <a:avLst/>
          </a:prstGeom>
          <a:noFill/>
        </p:spPr>
        <p:txBody>
          <a:bodyPr wrap="square">
            <a:spAutoFit/>
          </a:bodyPr>
          <a:lstStyle/>
          <a:p>
            <a:pPr algn="ctr" defTabSz="785437">
              <a:spcBef>
                <a:spcPts val="514"/>
              </a:spcBef>
              <a:buSzPct val="100000"/>
            </a:pPr>
            <a:r>
              <a:rPr lang="en-US" sz="800"/>
              <a:t>MIS Dashboard development for JBVNL</a:t>
            </a:r>
          </a:p>
        </p:txBody>
      </p:sp>
      <p:sp>
        <p:nvSpPr>
          <p:cNvPr id="104" name="Rectangle 103">
            <a:extLst>
              <a:ext uri="{FF2B5EF4-FFF2-40B4-BE49-F238E27FC236}">
                <a16:creationId xmlns:a16="http://schemas.microsoft.com/office/drawing/2014/main" id="{0FFAFE52-03AD-AD70-58AB-EAC97A4F7A26}"/>
              </a:ext>
            </a:extLst>
          </p:cNvPr>
          <p:cNvSpPr/>
          <p:nvPr/>
        </p:nvSpPr>
        <p:spPr>
          <a:xfrm>
            <a:off x="5064995" y="4476849"/>
            <a:ext cx="1575447" cy="260760"/>
          </a:xfrm>
          <a:prstGeom prst="rect">
            <a:avLst/>
          </a:prstGeom>
          <a:noFill/>
        </p:spPr>
        <p:txBody>
          <a:bodyPr wrap="square">
            <a:spAutoFit/>
          </a:bodyPr>
          <a:lstStyle/>
          <a:p>
            <a:pPr algn="ctr"/>
            <a:r>
              <a:rPr lang="en-US" sz="1050" b="1"/>
              <a:t>APCPDCL</a:t>
            </a:r>
          </a:p>
        </p:txBody>
      </p:sp>
      <p:pic>
        <p:nvPicPr>
          <p:cNvPr id="105" name="Picture 7">
            <a:extLst>
              <a:ext uri="{FF2B5EF4-FFF2-40B4-BE49-F238E27FC236}">
                <a16:creationId xmlns:a16="http://schemas.microsoft.com/office/drawing/2014/main" id="{64A5AEED-257A-EB72-7278-0BA0288CB9D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302130" y="4224780"/>
            <a:ext cx="1101178" cy="296943"/>
          </a:xfrm>
          <a:prstGeom prst="rect">
            <a:avLst/>
          </a:prstGeom>
          <a:solidFill>
            <a:srgbClr val="DDEFE8"/>
          </a:solidFill>
          <a:ln w="12700">
            <a:solidFill>
              <a:srgbClr val="00ABAB"/>
            </a:solidFill>
          </a:ln>
        </p:spPr>
      </p:pic>
      <p:sp>
        <p:nvSpPr>
          <p:cNvPr id="106" name="TextBox 105">
            <a:extLst>
              <a:ext uri="{FF2B5EF4-FFF2-40B4-BE49-F238E27FC236}">
                <a16:creationId xmlns:a16="http://schemas.microsoft.com/office/drawing/2014/main" id="{878BB2E5-6B5E-808F-14E4-707BCE698491}"/>
              </a:ext>
            </a:extLst>
          </p:cNvPr>
          <p:cNvSpPr txBox="1"/>
          <p:nvPr/>
        </p:nvSpPr>
        <p:spPr>
          <a:xfrm>
            <a:off x="2277270" y="2393324"/>
            <a:ext cx="1005128" cy="123111"/>
          </a:xfrm>
          <a:prstGeom prst="rect">
            <a:avLst/>
          </a:prstGeom>
          <a:noFill/>
        </p:spPr>
        <p:txBody>
          <a:bodyPr wrap="square" lIns="0" tIns="0" rIns="0" bIns="0" anchor="t">
            <a:spAutoFit/>
          </a:bodyPr>
          <a:lstStyle/>
          <a:p>
            <a:pPr>
              <a:defRPr/>
            </a:pPr>
            <a:r>
              <a:rPr lang="en-IN" sz="800"/>
              <a:t>1200 FUEs</a:t>
            </a:r>
          </a:p>
        </p:txBody>
      </p:sp>
      <p:sp>
        <p:nvSpPr>
          <p:cNvPr id="107" name="TextBox 106">
            <a:extLst>
              <a:ext uri="{FF2B5EF4-FFF2-40B4-BE49-F238E27FC236}">
                <a16:creationId xmlns:a16="http://schemas.microsoft.com/office/drawing/2014/main" id="{CD19DBE4-FD30-FA58-1BE5-E08C8F4AD073}"/>
              </a:ext>
            </a:extLst>
          </p:cNvPr>
          <p:cNvSpPr txBox="1"/>
          <p:nvPr/>
        </p:nvSpPr>
        <p:spPr>
          <a:xfrm>
            <a:off x="3998933" y="2375190"/>
            <a:ext cx="378309" cy="123111"/>
          </a:xfrm>
          <a:prstGeom prst="rect">
            <a:avLst/>
          </a:prstGeom>
          <a:noFill/>
        </p:spPr>
        <p:txBody>
          <a:bodyPr wrap="none" lIns="0" tIns="0" rIns="0" bIns="0" anchor="t">
            <a:spAutoFit/>
          </a:bodyPr>
          <a:lstStyle/>
          <a:p>
            <a:pPr>
              <a:defRPr/>
            </a:pPr>
            <a:r>
              <a:rPr lang="en-IN" sz="800"/>
              <a:t>136 FUEs</a:t>
            </a:r>
          </a:p>
        </p:txBody>
      </p:sp>
      <p:sp>
        <p:nvSpPr>
          <p:cNvPr id="108" name="TextBox 107">
            <a:extLst>
              <a:ext uri="{FF2B5EF4-FFF2-40B4-BE49-F238E27FC236}">
                <a16:creationId xmlns:a16="http://schemas.microsoft.com/office/drawing/2014/main" id="{B7D7538F-E4E9-6CD9-699B-627DC95DA335}"/>
              </a:ext>
            </a:extLst>
          </p:cNvPr>
          <p:cNvSpPr txBox="1"/>
          <p:nvPr/>
        </p:nvSpPr>
        <p:spPr>
          <a:xfrm>
            <a:off x="8937686" y="2275387"/>
            <a:ext cx="548226" cy="153889"/>
          </a:xfrm>
          <a:prstGeom prst="rect">
            <a:avLst/>
          </a:prstGeom>
          <a:noFill/>
        </p:spPr>
        <p:txBody>
          <a:bodyPr wrap="non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132F40"/>
                </a:solidFill>
                <a:effectLst/>
                <a:uLnTx/>
                <a:uFillTx/>
                <a:ea typeface="+mn-ea"/>
                <a:cs typeface="+mn-cs"/>
              </a:rPr>
              <a:t>1500 FUEs</a:t>
            </a:r>
          </a:p>
        </p:txBody>
      </p:sp>
      <p:pic>
        <p:nvPicPr>
          <p:cNvPr id="2" name="Picture 2">
            <a:hlinkClick r:id="" action="ppaction://noaction"/>
            <a:extLst>
              <a:ext uri="{FF2B5EF4-FFF2-40B4-BE49-F238E27FC236}">
                <a16:creationId xmlns:a16="http://schemas.microsoft.com/office/drawing/2014/main" id="{177FA592-A15D-0DDC-C560-0E2062FC81B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1581" b="26117"/>
          <a:stretch/>
        </p:blipFill>
        <p:spPr bwMode="auto">
          <a:xfrm>
            <a:off x="6799406" y="2510953"/>
            <a:ext cx="1469057" cy="386471"/>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descr="A blue and yellow logo&#10;&#10;Description automatically generated">
            <a:hlinkClick r:id="" action="ppaction://noaction"/>
            <a:extLst>
              <a:ext uri="{FF2B5EF4-FFF2-40B4-BE49-F238E27FC236}">
                <a16:creationId xmlns:a16="http://schemas.microsoft.com/office/drawing/2014/main" id="{BDCCE0AD-7AAF-5FE3-CF6B-E7B0AE4C146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550847" y="5542354"/>
            <a:ext cx="705856" cy="714582"/>
          </a:xfrm>
          <a:prstGeom prst="rect">
            <a:avLst/>
          </a:prstGeom>
        </p:spPr>
      </p:pic>
      <p:pic>
        <p:nvPicPr>
          <p:cNvPr id="112" name="Picture 4" descr="Jharkhand Bijli Vitran Nigam Limited - JBVNL | Ranchi">
            <a:hlinkClick r:id="" action="ppaction://noaction"/>
            <a:extLst>
              <a:ext uri="{FF2B5EF4-FFF2-40B4-BE49-F238E27FC236}">
                <a16:creationId xmlns:a16="http://schemas.microsoft.com/office/drawing/2014/main" id="{FF1783A1-7A48-B389-5A6F-1B3C7454702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835711" y="3968853"/>
            <a:ext cx="705857" cy="626196"/>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 descr="logo">
            <a:hlinkClick r:id="" action="ppaction://noaction"/>
            <a:extLst>
              <a:ext uri="{FF2B5EF4-FFF2-40B4-BE49-F238E27FC236}">
                <a16:creationId xmlns:a16="http://schemas.microsoft.com/office/drawing/2014/main" id="{0BB44297-0A8C-510C-7F2D-B57478D1307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163629" y="2542633"/>
            <a:ext cx="1507125" cy="388434"/>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4" descr="Home - Himurja">
            <a:hlinkClick r:id="" action="ppaction://noaction"/>
            <a:extLst>
              <a:ext uri="{FF2B5EF4-FFF2-40B4-BE49-F238E27FC236}">
                <a16:creationId xmlns:a16="http://schemas.microsoft.com/office/drawing/2014/main" id="{C75742DC-2066-0676-B09C-67C116CB536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484992" y="4033088"/>
            <a:ext cx="779820" cy="569298"/>
          </a:xfrm>
          <a:prstGeom prst="rect">
            <a:avLst/>
          </a:prstGeom>
          <a:noFill/>
          <a:extLst>
            <a:ext uri="{909E8E84-426E-40DD-AFC4-6F175D3DCCD1}">
              <a14:hiddenFill xmlns:a14="http://schemas.microsoft.com/office/drawing/2010/main">
                <a:solidFill>
                  <a:srgbClr val="FFFFFF"/>
                </a:solidFill>
              </a14:hiddenFill>
            </a:ext>
          </a:extLst>
        </p:spPr>
      </p:pic>
      <p:sp>
        <p:nvSpPr>
          <p:cNvPr id="119" name="Text Box 6">
            <a:extLst>
              <a:ext uri="{FF2B5EF4-FFF2-40B4-BE49-F238E27FC236}">
                <a16:creationId xmlns:a16="http://schemas.microsoft.com/office/drawing/2014/main" id="{46EE9BDF-54D4-ACE7-0523-201EA0E74E7B}"/>
              </a:ext>
            </a:extLst>
          </p:cNvPr>
          <p:cNvSpPr txBox="1">
            <a:spLocks noChangeArrowheads="1"/>
          </p:cNvSpPr>
          <p:nvPr/>
        </p:nvSpPr>
        <p:spPr bwMode="auto">
          <a:xfrm>
            <a:off x="5156217" y="5008972"/>
            <a:ext cx="1498405" cy="338554"/>
          </a:xfrm>
          <a:prstGeom prst="rect">
            <a:avLst/>
          </a:prstGeom>
          <a:noFill/>
        </p:spPr>
        <p:txBody>
          <a:bodyPr wrap="square" lIns="45720" rIns="45720">
            <a:spAutoFit/>
          </a:bodyPr>
          <a:lstStyle>
            <a:defPPr>
              <a:defRPr lang="en-US"/>
            </a:defPPr>
            <a:lvl1pPr algn="ctr">
              <a:defRPr sz="800"/>
            </a:lvl1pPr>
          </a:lstStyle>
          <a:p>
            <a:r>
              <a:rPr lang="en-US"/>
              <a:t>Technology Service Provider for Digital Transformation to BPCL</a:t>
            </a:r>
          </a:p>
        </p:txBody>
      </p:sp>
      <p:pic>
        <p:nvPicPr>
          <p:cNvPr id="1026" name="Picture 2" descr="Bharat Heavy Electricals Limited (BHEL) - User Experience ...">
            <a:extLst>
              <a:ext uri="{FF2B5EF4-FFF2-40B4-BE49-F238E27FC236}">
                <a16:creationId xmlns:a16="http://schemas.microsoft.com/office/drawing/2014/main" id="{E5FCBA30-C70A-6B53-7CE8-6C35E194DE5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213259" y="4091119"/>
            <a:ext cx="641350" cy="603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342457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8">
            <a:extLst>
              <a:ext uri="{FF2B5EF4-FFF2-40B4-BE49-F238E27FC236}">
                <a16:creationId xmlns:a16="http://schemas.microsoft.com/office/drawing/2014/main" id="{893F41A8-F7F4-4743-B005-AC209705ED54}"/>
              </a:ext>
            </a:extLst>
          </p:cNvPr>
          <p:cNvPicPr>
            <a:picLocks noChangeAspect="1"/>
          </p:cNvPicPr>
          <p:nvPr/>
        </p:nvPicPr>
        <p:blipFill rotWithShape="1">
          <a:blip r:embed="rId2"/>
          <a:srcRect t="2976" b="22023"/>
          <a:stretch/>
        </p:blipFill>
        <p:spPr>
          <a:xfrm>
            <a:off x="0" y="0"/>
            <a:ext cx="12192000" cy="6858000"/>
          </a:xfrm>
          <a:prstGeom prst="rect">
            <a:avLst/>
          </a:prstGeom>
        </p:spPr>
      </p:pic>
      <p:sp>
        <p:nvSpPr>
          <p:cNvPr id="5" name="Title 4">
            <a:extLst>
              <a:ext uri="{FF2B5EF4-FFF2-40B4-BE49-F238E27FC236}">
                <a16:creationId xmlns:a16="http://schemas.microsoft.com/office/drawing/2014/main" id="{18ED17F2-FB35-425F-80AF-356A818FC2D4}"/>
              </a:ext>
            </a:extLst>
          </p:cNvPr>
          <p:cNvSpPr txBox="1">
            <a:spLocks/>
          </p:cNvSpPr>
          <p:nvPr/>
        </p:nvSpPr>
        <p:spPr bwMode="gray">
          <a:xfrm>
            <a:off x="0" y="4431764"/>
            <a:ext cx="6295292" cy="1289868"/>
          </a:xfrm>
          <a:prstGeom prst="rect">
            <a:avLst/>
          </a:prstGeom>
          <a:solidFill>
            <a:schemeClr val="tx1">
              <a:alpha val="70000"/>
            </a:schemeClr>
          </a:solidFill>
        </p:spPr>
        <p:txBody>
          <a:bodyPr vert="horz" lIns="365760" tIns="0" rIns="182880" bIns="0" rtlCol="0" anchor="ctr" anchorCtr="0">
            <a:noAutofit/>
          </a:bodyPr>
          <a:lstStyle>
            <a:lvl1pPr algn="l" defTabSz="685800" rtl="0" eaLnBrk="1" latinLnBrk="0" hangingPunct="1">
              <a:lnSpc>
                <a:spcPct val="95000"/>
              </a:lnSpc>
              <a:spcBef>
                <a:spcPct val="0"/>
              </a:spcBef>
              <a:buNone/>
              <a:defRPr sz="2800" b="0" kern="120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pPr marL="0" marR="0" lvl="0" indent="0" algn="l" defTabSz="685800" rtl="0" eaLnBrk="1" fontAlgn="auto" latinLnBrk="0" hangingPunct="1">
              <a:lnSpc>
                <a:spcPct val="95000"/>
              </a:lnSpc>
              <a:spcBef>
                <a:spcPct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pitchFamily="34" charset="0"/>
                <a:ea typeface="Open Sans" panose="020B0606030504020204" pitchFamily="34" charset="0"/>
                <a:cs typeface="Calibri" panose="020F0502020204030204" pitchFamily="34" charset="0"/>
              </a:rPr>
              <a:t>Our understanding of scope</a:t>
            </a:r>
          </a:p>
        </p:txBody>
      </p:sp>
    </p:spTree>
    <p:extLst>
      <p:ext uri="{BB962C8B-B14F-4D97-AF65-F5344CB8AC3E}">
        <p14:creationId xmlns:p14="http://schemas.microsoft.com/office/powerpoint/2010/main" val="79306209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237883-2993-A419-E1BA-28A7627843D7}"/>
              </a:ext>
            </a:extLst>
          </p:cNvPr>
          <p:cNvSpPr>
            <a:spLocks noGrp="1"/>
          </p:cNvSpPr>
          <p:nvPr>
            <p:ph type="title"/>
          </p:nvPr>
        </p:nvSpPr>
        <p:spPr/>
        <p:txBody>
          <a:bodyPr vert="horz" lIns="0" tIns="0" rIns="0" bIns="0" rtlCol="0" anchor="t" anchorCtr="0">
            <a:noAutofit/>
          </a:bodyPr>
          <a:lstStyle/>
          <a:p>
            <a:pPr defTabSz="685800"/>
            <a:r>
              <a:rPr lang="en-US" sz="2400" b="1">
                <a:solidFill>
                  <a:schemeClr val="accent2"/>
                </a:solidFill>
              </a:rPr>
              <a:t>Our Understanding of Scope </a:t>
            </a:r>
          </a:p>
        </p:txBody>
      </p:sp>
      <p:grpSp>
        <p:nvGrpSpPr>
          <p:cNvPr id="4" name="Group 3">
            <a:extLst>
              <a:ext uri="{FF2B5EF4-FFF2-40B4-BE49-F238E27FC236}">
                <a16:creationId xmlns:a16="http://schemas.microsoft.com/office/drawing/2014/main" id="{78D9A33E-76C9-3983-DCC1-D4E1708805D8}"/>
              </a:ext>
            </a:extLst>
          </p:cNvPr>
          <p:cNvGrpSpPr/>
          <p:nvPr/>
        </p:nvGrpSpPr>
        <p:grpSpPr>
          <a:xfrm>
            <a:off x="1793078" y="1823518"/>
            <a:ext cx="3573178" cy="4266144"/>
            <a:chOff x="420422" y="1879634"/>
            <a:chExt cx="3573178" cy="4266144"/>
          </a:xfrm>
        </p:grpSpPr>
        <p:sp>
          <p:nvSpPr>
            <p:cNvPr id="5" name="Parallelogram 4">
              <a:extLst>
                <a:ext uri="{FF2B5EF4-FFF2-40B4-BE49-F238E27FC236}">
                  <a16:creationId xmlns:a16="http://schemas.microsoft.com/office/drawing/2014/main" id="{E8D57E72-99AA-0C85-604F-16435ACE9F86}"/>
                </a:ext>
              </a:extLst>
            </p:cNvPr>
            <p:cNvSpPr/>
            <p:nvPr/>
          </p:nvSpPr>
          <p:spPr>
            <a:xfrm rot="300000">
              <a:off x="420422" y="5316507"/>
              <a:ext cx="3573178" cy="829271"/>
            </a:xfrm>
            <a:prstGeom prst="parallelogram">
              <a:avLst>
                <a:gd name="adj" fmla="val 129308"/>
              </a:avLst>
            </a:prstGeom>
            <a:solidFill>
              <a:srgbClr val="00000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kumimoji="0" lang="en-US" sz="1200" b="0" i="0" u="none" strike="noStrike" kern="1200" cap="none" spc="0" normalizeH="0" baseline="0" noProof="0">
                  <a:ln>
                    <a:noFill/>
                  </a:ln>
                  <a:solidFill>
                    <a:srgbClr val="FFFFFF"/>
                  </a:solidFill>
                  <a:effectLst/>
                  <a:uLnTx/>
                  <a:uFillTx/>
                  <a:latin typeface="Calibri Light"/>
                  <a:ea typeface="Verdana" panose="020B0604030504040204" pitchFamily="34" charset="0"/>
                  <a:cs typeface="Verdana" panose="020B0604030504040204" pitchFamily="34" charset="0"/>
                </a:rPr>
                <a:t>Scalable</a:t>
              </a:r>
            </a:p>
          </p:txBody>
        </p:sp>
        <p:sp>
          <p:nvSpPr>
            <p:cNvPr id="6" name="Parallelogram 5">
              <a:extLst>
                <a:ext uri="{FF2B5EF4-FFF2-40B4-BE49-F238E27FC236}">
                  <a16:creationId xmlns:a16="http://schemas.microsoft.com/office/drawing/2014/main" id="{E0E500F5-CEB2-C4A5-E048-F092AA1D0D1E}"/>
                </a:ext>
              </a:extLst>
            </p:cNvPr>
            <p:cNvSpPr/>
            <p:nvPr/>
          </p:nvSpPr>
          <p:spPr>
            <a:xfrm rot="300000">
              <a:off x="420422" y="4643110"/>
              <a:ext cx="3573178" cy="829271"/>
            </a:xfrm>
            <a:prstGeom prst="parallelogram">
              <a:avLst>
                <a:gd name="adj" fmla="val 129308"/>
              </a:avLst>
            </a:prstGeom>
            <a:solidFill>
              <a:srgbClr val="40404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a:solidFill>
                    <a:srgbClr val="FFFFFF"/>
                  </a:solidFill>
                  <a:ea typeface="Verdana" panose="020B0604030504040204" pitchFamily="34" charset="0"/>
                  <a:cs typeface="Verdana" panose="020B0604030504040204" pitchFamily="34" charset="0"/>
                </a:rPr>
                <a:t>Regulatory</a:t>
              </a:r>
            </a:p>
          </p:txBody>
        </p:sp>
        <p:sp>
          <p:nvSpPr>
            <p:cNvPr id="7" name="Parallelogram 6">
              <a:extLst>
                <a:ext uri="{FF2B5EF4-FFF2-40B4-BE49-F238E27FC236}">
                  <a16:creationId xmlns:a16="http://schemas.microsoft.com/office/drawing/2014/main" id="{988355CB-B334-8444-DC6F-8CCA9D706748}"/>
                </a:ext>
              </a:extLst>
            </p:cNvPr>
            <p:cNvSpPr/>
            <p:nvPr/>
          </p:nvSpPr>
          <p:spPr>
            <a:xfrm rot="300000">
              <a:off x="420422" y="3969714"/>
              <a:ext cx="3573178" cy="829271"/>
            </a:xfrm>
            <a:prstGeom prst="parallelogram">
              <a:avLst>
                <a:gd name="adj" fmla="val 129308"/>
              </a:avLst>
            </a:prstGeom>
            <a:solidFill>
              <a:srgbClr val="7F7F7F">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a:solidFill>
                    <a:srgbClr val="FFFFFF"/>
                  </a:solidFill>
                  <a:ea typeface="Verdana" panose="020B0604030504040204" pitchFamily="34" charset="0"/>
                  <a:cs typeface="Verdana" panose="020B0604030504040204" pitchFamily="34" charset="0"/>
                </a:rPr>
                <a:t>Automation </a:t>
              </a:r>
              <a:r>
                <a:rPr lang="en-US" sz="1200" err="1">
                  <a:solidFill>
                    <a:srgbClr val="FFFFFF"/>
                  </a:solidFill>
                  <a:ea typeface="Verdana" panose="020B0604030504040204" pitchFamily="34" charset="0"/>
                  <a:cs typeface="Verdana" panose="020B0604030504040204" pitchFamily="34" charset="0"/>
                </a:rPr>
                <a:t>ce</a:t>
              </a:r>
              <a:endParaRPr lang="en-US" sz="1200">
                <a:solidFill>
                  <a:srgbClr val="FFFFFF"/>
                </a:solidFill>
                <a:ea typeface="Verdana" panose="020B0604030504040204" pitchFamily="34" charset="0"/>
                <a:cs typeface="Verdana" panose="020B0604030504040204" pitchFamily="34" charset="0"/>
              </a:endParaRPr>
            </a:p>
          </p:txBody>
        </p:sp>
        <p:sp>
          <p:nvSpPr>
            <p:cNvPr id="8" name="Parallelogram 7">
              <a:extLst>
                <a:ext uri="{FF2B5EF4-FFF2-40B4-BE49-F238E27FC236}">
                  <a16:creationId xmlns:a16="http://schemas.microsoft.com/office/drawing/2014/main" id="{C31F43BD-66C4-E59C-D44E-0F956F9B0A74}"/>
                </a:ext>
              </a:extLst>
            </p:cNvPr>
            <p:cNvSpPr/>
            <p:nvPr/>
          </p:nvSpPr>
          <p:spPr>
            <a:xfrm rot="300000">
              <a:off x="420422" y="3296318"/>
              <a:ext cx="3573178" cy="829271"/>
            </a:xfrm>
            <a:prstGeom prst="parallelogram">
              <a:avLst>
                <a:gd name="adj" fmla="val 129308"/>
              </a:avLst>
            </a:prstGeom>
            <a:solidFill>
              <a:schemeClr val="accent1">
                <a:lumMod val="40000"/>
                <a:lumOff val="6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a:solidFill>
                    <a:srgbClr val="000000"/>
                  </a:solidFill>
                  <a:ea typeface="Verdana" panose="020B0604030504040204" pitchFamily="34" charset="0"/>
                  <a:cs typeface="Verdana" panose="020B0604030504040204" pitchFamily="34" charset="0"/>
                </a:rPr>
                <a:t>User-</a:t>
              </a:r>
              <a:r>
                <a:rPr lang="en-US" sz="1200" err="1">
                  <a:solidFill>
                    <a:srgbClr val="000000"/>
                  </a:solidFill>
                  <a:ea typeface="Verdana" panose="020B0604030504040204" pitchFamily="34" charset="0"/>
                  <a:cs typeface="Verdana" panose="020B0604030504040204" pitchFamily="34" charset="0"/>
                </a:rPr>
                <a:t>Cerfaces</a:t>
              </a:r>
              <a:endParaRPr lang="en-US" sz="1200">
                <a:solidFill>
                  <a:srgbClr val="000000"/>
                </a:solidFill>
                <a:ea typeface="Verdana" panose="020B0604030504040204" pitchFamily="34" charset="0"/>
                <a:cs typeface="Verdana" panose="020B0604030504040204" pitchFamily="34" charset="0"/>
              </a:endParaRPr>
            </a:p>
          </p:txBody>
        </p:sp>
        <p:sp>
          <p:nvSpPr>
            <p:cNvPr id="9" name="Parallelogram 8">
              <a:extLst>
                <a:ext uri="{FF2B5EF4-FFF2-40B4-BE49-F238E27FC236}">
                  <a16:creationId xmlns:a16="http://schemas.microsoft.com/office/drawing/2014/main" id="{FB49E410-46B4-23B9-7828-8A5F60935D02}"/>
                </a:ext>
              </a:extLst>
            </p:cNvPr>
            <p:cNvSpPr/>
            <p:nvPr/>
          </p:nvSpPr>
          <p:spPr>
            <a:xfrm rot="300000">
              <a:off x="420422" y="2622922"/>
              <a:ext cx="3573178" cy="829271"/>
            </a:xfrm>
            <a:prstGeom prst="parallelogram">
              <a:avLst>
                <a:gd name="adj" fmla="val 129308"/>
              </a:avLst>
            </a:prstGeom>
            <a:solidFill>
              <a:schemeClr val="accent1">
                <a:lumMod val="60000"/>
                <a:lumOff val="4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a:solidFill>
                    <a:srgbClr val="000000"/>
                  </a:solidFill>
                  <a:ea typeface="Verdana" panose="020B0604030504040204" pitchFamily="34" charset="0"/>
                  <a:cs typeface="Verdana" panose="020B0604030504040204" pitchFamily="34" charset="0"/>
                </a:rPr>
                <a:t>Data</a:t>
              </a:r>
            </a:p>
          </p:txBody>
        </p:sp>
        <p:sp>
          <p:nvSpPr>
            <p:cNvPr id="10" name="Parallelogram 9">
              <a:extLst>
                <a:ext uri="{FF2B5EF4-FFF2-40B4-BE49-F238E27FC236}">
                  <a16:creationId xmlns:a16="http://schemas.microsoft.com/office/drawing/2014/main" id="{3F759C39-B1BF-EF3D-5B32-2EDCE418BEEB}"/>
                </a:ext>
              </a:extLst>
            </p:cNvPr>
            <p:cNvSpPr/>
            <p:nvPr/>
          </p:nvSpPr>
          <p:spPr>
            <a:xfrm rot="300000">
              <a:off x="420422" y="1879634"/>
              <a:ext cx="3573178" cy="829271"/>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a:solidFill>
                    <a:srgbClr val="000000"/>
                  </a:solidFill>
                  <a:ea typeface="Verdana" panose="020B0604030504040204" pitchFamily="34" charset="0"/>
                  <a:cs typeface="Verdana" panose="020B0604030504040204" pitchFamily="34" charset="0"/>
                </a:rPr>
                <a:t>User Registration</a:t>
              </a:r>
            </a:p>
          </p:txBody>
        </p:sp>
      </p:grpSp>
      <p:grpSp>
        <p:nvGrpSpPr>
          <p:cNvPr id="11" name="Group 10">
            <a:extLst>
              <a:ext uri="{FF2B5EF4-FFF2-40B4-BE49-F238E27FC236}">
                <a16:creationId xmlns:a16="http://schemas.microsoft.com/office/drawing/2014/main" id="{272653A8-71AC-A296-4118-1B1533A0D6E5}"/>
              </a:ext>
            </a:extLst>
          </p:cNvPr>
          <p:cNvGrpSpPr/>
          <p:nvPr/>
        </p:nvGrpSpPr>
        <p:grpSpPr>
          <a:xfrm>
            <a:off x="1313989" y="2035985"/>
            <a:ext cx="738664" cy="3921223"/>
            <a:chOff x="143109" y="2485321"/>
            <a:chExt cx="738664" cy="3538277"/>
          </a:xfrm>
        </p:grpSpPr>
        <p:sp>
          <p:nvSpPr>
            <p:cNvPr id="12" name="Oval 11">
              <a:extLst>
                <a:ext uri="{FF2B5EF4-FFF2-40B4-BE49-F238E27FC236}">
                  <a16:creationId xmlns:a16="http://schemas.microsoft.com/office/drawing/2014/main" id="{D1A54C71-0A94-2665-596F-D65729754D65}"/>
                </a:ext>
              </a:extLst>
            </p:cNvPr>
            <p:cNvSpPr/>
            <p:nvPr/>
          </p:nvSpPr>
          <p:spPr>
            <a:xfrm>
              <a:off x="163376" y="2485321"/>
              <a:ext cx="517129" cy="3538277"/>
            </a:xfrm>
            <a:prstGeom prst="ellipse">
              <a:avLst/>
            </a:prstGeom>
            <a:noFill/>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Light"/>
                <a:ea typeface="Verdana" panose="020B0604030504040204" pitchFamily="34" charset="0"/>
                <a:cs typeface="Verdana" panose="020B0604030504040204" pitchFamily="34" charset="0"/>
              </a:endParaRPr>
            </a:p>
          </p:txBody>
        </p:sp>
        <p:sp>
          <p:nvSpPr>
            <p:cNvPr id="13" name="TextBox 12">
              <a:extLst>
                <a:ext uri="{FF2B5EF4-FFF2-40B4-BE49-F238E27FC236}">
                  <a16:creationId xmlns:a16="http://schemas.microsoft.com/office/drawing/2014/main" id="{CF2F75A9-F6B7-37F9-8014-57DEFC2D31C3}"/>
                </a:ext>
              </a:extLst>
            </p:cNvPr>
            <p:cNvSpPr txBox="1"/>
            <p:nvPr/>
          </p:nvSpPr>
          <p:spPr>
            <a:xfrm rot="16200000">
              <a:off x="-231711" y="3896952"/>
              <a:ext cx="1488303" cy="738664"/>
            </a:xfrm>
            <a:prstGeom prst="rect">
              <a:avLst/>
            </a:prstGeom>
            <a:solidFill>
              <a:schemeClr val="bg1">
                <a:alpha val="30000"/>
              </a:schemeClr>
            </a:solidFill>
          </p:spPr>
          <p:txBody>
            <a:bodyPr wrap="square" rtlCol="0">
              <a:spAutoFit/>
            </a:bodyPr>
            <a:lstStyle/>
            <a:p>
              <a:pPr lvl="0" algn="ctr">
                <a:defRPr/>
              </a:pPr>
              <a:r>
                <a:rPr lang="en-US" sz="1400" b="1">
                  <a:solidFill>
                    <a:srgbClr val="000000"/>
                  </a:solidFill>
                  <a:ea typeface="Verdana" panose="020B0604030504040204" pitchFamily="34" charset="0"/>
                  <a:cs typeface="Verdana" panose="020B0604030504040204" pitchFamily="34" charset="0"/>
                </a:rPr>
                <a:t>Scope Understanding </a:t>
              </a:r>
            </a:p>
            <a:p>
              <a:pPr lvl="0" algn="ctr">
                <a:defRPr/>
              </a:pPr>
              <a:endParaRPr lang="en-US" sz="1400" b="1">
                <a:solidFill>
                  <a:srgbClr val="000000"/>
                </a:solidFill>
                <a:ea typeface="Verdana" panose="020B0604030504040204" pitchFamily="34" charset="0"/>
                <a:cs typeface="Verdana" panose="020B0604030504040204" pitchFamily="34" charset="0"/>
              </a:endParaRPr>
            </a:p>
          </p:txBody>
        </p:sp>
        <p:cxnSp>
          <p:nvCxnSpPr>
            <p:cNvPr id="14" name="Elbow Connector 13">
              <a:extLst>
                <a:ext uri="{FF2B5EF4-FFF2-40B4-BE49-F238E27FC236}">
                  <a16:creationId xmlns:a16="http://schemas.microsoft.com/office/drawing/2014/main" id="{309A89DB-E89F-0D55-6F5A-2156134C56F1}"/>
                </a:ext>
              </a:extLst>
            </p:cNvPr>
            <p:cNvCxnSpPr/>
            <p:nvPr/>
          </p:nvCxnSpPr>
          <p:spPr>
            <a:xfrm rot="5400000">
              <a:off x="128794" y="4245315"/>
              <a:ext cx="73152" cy="0"/>
            </a:xfrm>
            <a:prstGeom prst="bentConnector3">
              <a:avLst/>
            </a:prstGeom>
            <a:ln w="2857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15" name="Straight Connector 14">
            <a:extLst>
              <a:ext uri="{FF2B5EF4-FFF2-40B4-BE49-F238E27FC236}">
                <a16:creationId xmlns:a16="http://schemas.microsoft.com/office/drawing/2014/main" id="{31DA251E-5B13-B3C1-986A-5FA0E19791E4}"/>
              </a:ext>
            </a:extLst>
          </p:cNvPr>
          <p:cNvCxnSpPr/>
          <p:nvPr/>
        </p:nvCxnSpPr>
        <p:spPr>
          <a:xfrm>
            <a:off x="1065067" y="1599476"/>
            <a:ext cx="420624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CB9236D9-0DD7-C116-52D9-93A12CA8D159}"/>
              </a:ext>
            </a:extLst>
          </p:cNvPr>
          <p:cNvCxnSpPr/>
          <p:nvPr/>
        </p:nvCxnSpPr>
        <p:spPr>
          <a:xfrm>
            <a:off x="5639174" y="1599476"/>
            <a:ext cx="6053328"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graphicFrame>
        <p:nvGraphicFramePr>
          <p:cNvPr id="19" name="Table 18">
            <a:extLst>
              <a:ext uri="{FF2B5EF4-FFF2-40B4-BE49-F238E27FC236}">
                <a16:creationId xmlns:a16="http://schemas.microsoft.com/office/drawing/2014/main" id="{7040EA91-561D-9B71-AF39-87FC1CF82D69}"/>
              </a:ext>
            </a:extLst>
          </p:cNvPr>
          <p:cNvGraphicFramePr>
            <a:graphicFrameLocks noGrp="1"/>
          </p:cNvGraphicFramePr>
          <p:nvPr>
            <p:extLst>
              <p:ext uri="{D42A27DB-BD31-4B8C-83A1-F6EECF244321}">
                <p14:modId xmlns:p14="http://schemas.microsoft.com/office/powerpoint/2010/main" val="1037389403"/>
              </p:ext>
            </p:extLst>
          </p:nvPr>
        </p:nvGraphicFramePr>
        <p:xfrm>
          <a:off x="5639174" y="1864007"/>
          <a:ext cx="6051176" cy="4405233"/>
        </p:xfrm>
        <a:graphic>
          <a:graphicData uri="http://schemas.openxmlformats.org/drawingml/2006/table">
            <a:tbl>
              <a:tblPr firstRow="1" bandRow="1">
                <a:tableStyleId>{5C22544A-7EE6-4342-B048-85BDC9FD1C3A}</a:tableStyleId>
              </a:tblPr>
              <a:tblGrid>
                <a:gridCol w="762123">
                  <a:extLst>
                    <a:ext uri="{9D8B030D-6E8A-4147-A177-3AD203B41FA5}">
                      <a16:colId xmlns:a16="http://schemas.microsoft.com/office/drawing/2014/main" val="3975474829"/>
                    </a:ext>
                  </a:extLst>
                </a:gridCol>
                <a:gridCol w="208280">
                  <a:extLst>
                    <a:ext uri="{9D8B030D-6E8A-4147-A177-3AD203B41FA5}">
                      <a16:colId xmlns:a16="http://schemas.microsoft.com/office/drawing/2014/main" val="844568499"/>
                    </a:ext>
                  </a:extLst>
                </a:gridCol>
                <a:gridCol w="5080773">
                  <a:extLst>
                    <a:ext uri="{9D8B030D-6E8A-4147-A177-3AD203B41FA5}">
                      <a16:colId xmlns:a16="http://schemas.microsoft.com/office/drawing/2014/main" val="1868331620"/>
                    </a:ext>
                  </a:extLst>
                </a:gridCol>
              </a:tblGrid>
              <a:tr h="753535">
                <a:tc>
                  <a:txBody>
                    <a:bodyPr/>
                    <a:lstStyle/>
                    <a:p>
                      <a:pPr algn="l"/>
                      <a:endParaRPr lang="en-US" sz="11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IN" sz="1100" b="0" kern="1200">
                          <a:solidFill>
                            <a:schemeClr val="tx1"/>
                          </a:solidFill>
                          <a:latin typeface="+mn-lt"/>
                          <a:ea typeface="Verdana" panose="020B0604030504040204" pitchFamily="34" charset="0"/>
                          <a:cs typeface="+mn-cs"/>
                        </a:rPr>
                        <a:t>unified platform for real-time tracking </a:t>
                      </a:r>
                    </a:p>
                    <a:p>
                      <a:pPr marL="171450" indent="-171450" algn="l">
                        <a:buFont typeface="Arial" panose="020B0604020202020204" pitchFamily="34" charset="0"/>
                        <a:buChar char="•"/>
                      </a:pPr>
                      <a:r>
                        <a:rPr lang="en-IN" sz="1100" b="0" kern="1200">
                          <a:solidFill>
                            <a:schemeClr val="tx1"/>
                          </a:solidFill>
                          <a:latin typeface="+mn-lt"/>
                          <a:ea typeface="Verdana" panose="020B0604030504040204" pitchFamily="34" charset="0"/>
                          <a:cs typeface="+mn-cs"/>
                        </a:rPr>
                        <a:t>integration </a:t>
                      </a:r>
                      <a:r>
                        <a:rPr lang="en-US" sz="1100" b="0" kern="1200">
                          <a:solidFill>
                            <a:schemeClr val="tx1"/>
                          </a:solidFill>
                          <a:latin typeface="+mn-lt"/>
                          <a:ea typeface="Verdana" panose="020B0604030504040204" pitchFamily="34" charset="0"/>
                          <a:cs typeface="+mn-cs"/>
                        </a:rPr>
                        <a:t>State/Regional</a:t>
                      </a:r>
                      <a:endParaRPr lang="en-US" sz="1100" b="0" kern="120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702733">
                <a:tc>
                  <a:txBody>
                    <a:bodyPr/>
                    <a:lstStyle/>
                    <a:p>
                      <a:pPr algn="l"/>
                      <a:endParaRPr lang="en-US" sz="11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US" sz="1100" b="0">
                          <a:solidFill>
                            <a:schemeClr val="tx1"/>
                          </a:solidFill>
                          <a:latin typeface="+mn-lt"/>
                          <a:ea typeface="Verdana" panose="020B0604030504040204" pitchFamily="34" charset="0"/>
                          <a:cs typeface="Verdana" panose="020B0604030504040204" pitchFamily="34" charset="0"/>
                        </a:rPr>
                        <a:t>Data submission through web and mobile interfaces</a:t>
                      </a:r>
                    </a:p>
                    <a:p>
                      <a:pPr marL="171450" indent="-171450" algn="l">
                        <a:buFont typeface="Arial" panose="020B0604020202020204" pitchFamily="34" charset="0"/>
                        <a:buChar char="•"/>
                      </a:pPr>
                      <a:r>
                        <a:rPr lang="en-US" sz="1100" b="0">
                          <a:solidFill>
                            <a:schemeClr val="tx1"/>
                          </a:solidFill>
                          <a:latin typeface="+mn-lt"/>
                          <a:ea typeface="Verdana" panose="020B0604030504040204" pitchFamily="34" charset="0"/>
                          <a:cs typeface="Verdana" panose="020B0604030504040204" pitchFamily="34" charset="0"/>
                        </a:rPr>
                        <a:t>Implement robust verification workflows (SDAs, AEAs, ACVs)</a:t>
                      </a:r>
                    </a:p>
                    <a:p>
                      <a:pPr marL="171450" indent="-171450" algn="l">
                        <a:buFont typeface="Arial" panose="020B0604020202020204" pitchFamily="34" charset="0"/>
                        <a:buChar char="•"/>
                      </a:pPr>
                      <a:r>
                        <a:rPr lang="en-US" sz="1100" b="0">
                          <a:solidFill>
                            <a:schemeClr val="tx1"/>
                          </a:solidFill>
                          <a:latin typeface="+mn-lt"/>
                          <a:ea typeface="Verdana" panose="020B0604030504040204" pitchFamily="34" charset="0"/>
                          <a:cs typeface="Verdana" panose="020B0604030504040204" pitchFamily="34" charset="0"/>
                        </a:rPr>
                        <a:t>Resolve discrepancies using a systematic reconciliation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651933">
                <a:tc>
                  <a:txBody>
                    <a:bodyPr/>
                    <a:lstStyle/>
                    <a:p>
                      <a:pPr algn="l"/>
                      <a:endParaRPr lang="en-US" sz="11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US" sz="1100" b="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817">
                <a:tc>
                  <a:txBody>
                    <a:bodyPr/>
                    <a:lstStyle/>
                    <a:p>
                      <a:pPr algn="l"/>
                      <a:endParaRPr lang="en-US" sz="11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US" sz="1100" b="0">
                          <a:solidFill>
                            <a:schemeClr val="tx1"/>
                          </a:solidFill>
                          <a:latin typeface="+mn-lt"/>
                          <a:ea typeface="Verdana" panose="020B0604030504040204" pitchFamily="34" charset="0"/>
                          <a:cs typeface="Verdana" panose="020B0604030504040204" pitchFamily="34" charset="0"/>
                        </a:rPr>
                        <a:t>Automate processing, and reporting</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725117">
                <a:tc>
                  <a:txBody>
                    <a:bodyPr/>
                    <a:lstStyle/>
                    <a:p>
                      <a:pPr algn="l"/>
                      <a:endParaRPr lang="en-US" sz="11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US" sz="1100" b="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2064739"/>
                  </a:ext>
                </a:extLst>
              </a:tr>
              <a:tr h="883098">
                <a:tc>
                  <a:txBody>
                    <a:bodyPr/>
                    <a:lstStyle/>
                    <a:p>
                      <a:pPr algn="l"/>
                      <a:endParaRPr lang="en-US" sz="11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US" sz="1100" b="0">
                          <a:solidFill>
                            <a:schemeClr val="tx1"/>
                          </a:solidFill>
                          <a:latin typeface="+mn-lt"/>
                          <a:ea typeface="Verdana" panose="020B0604030504040204" pitchFamily="34" charset="0"/>
                          <a:cs typeface="Verdana" panose="020B0604030504040204" pitchFamily="34" charset="0"/>
                        </a:rPr>
                        <a:t>Design a scalable system capable of handling growing user and data demands</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pic>
        <p:nvPicPr>
          <p:cNvPr id="20" name="Picture 19">
            <a:extLst>
              <a:ext uri="{FF2B5EF4-FFF2-40B4-BE49-F238E27FC236}">
                <a16:creationId xmlns:a16="http://schemas.microsoft.com/office/drawing/2014/main" id="{4DAC4EB8-AE97-2C8E-E2B5-AEC8D216A82F}"/>
              </a:ext>
            </a:extLst>
          </p:cNvPr>
          <p:cNvPicPr>
            <a:picLocks noChangeAspect="1"/>
          </p:cNvPicPr>
          <p:nvPr/>
        </p:nvPicPr>
        <p:blipFill rotWithShape="1">
          <a:blip r:embed="rId2"/>
          <a:srcRect l="50779" t="11162" r="45996" b="81632"/>
          <a:stretch/>
        </p:blipFill>
        <p:spPr>
          <a:xfrm>
            <a:off x="5878807" y="2035985"/>
            <a:ext cx="343093" cy="411480"/>
          </a:xfrm>
          <a:prstGeom prst="rect">
            <a:avLst/>
          </a:prstGeom>
        </p:spPr>
      </p:pic>
      <p:pic>
        <p:nvPicPr>
          <p:cNvPr id="21" name="Picture 20">
            <a:extLst>
              <a:ext uri="{FF2B5EF4-FFF2-40B4-BE49-F238E27FC236}">
                <a16:creationId xmlns:a16="http://schemas.microsoft.com/office/drawing/2014/main" id="{2E88A215-EADB-E651-1F73-1C9E805856B4}"/>
              </a:ext>
            </a:extLst>
          </p:cNvPr>
          <p:cNvPicPr>
            <a:picLocks noChangeAspect="1"/>
          </p:cNvPicPr>
          <p:nvPr/>
        </p:nvPicPr>
        <p:blipFill rotWithShape="1">
          <a:blip r:embed="rId2"/>
          <a:srcRect l="50479" t="26425" r="45512" b="69011"/>
          <a:stretch/>
        </p:blipFill>
        <p:spPr>
          <a:xfrm>
            <a:off x="5825860" y="2832999"/>
            <a:ext cx="448987" cy="274320"/>
          </a:xfrm>
          <a:prstGeom prst="rect">
            <a:avLst/>
          </a:prstGeom>
        </p:spPr>
      </p:pic>
      <p:pic>
        <p:nvPicPr>
          <p:cNvPr id="22" name="Picture 21">
            <a:extLst>
              <a:ext uri="{FF2B5EF4-FFF2-40B4-BE49-F238E27FC236}">
                <a16:creationId xmlns:a16="http://schemas.microsoft.com/office/drawing/2014/main" id="{44496540-E286-71CE-801A-99EA6293B971}"/>
              </a:ext>
            </a:extLst>
          </p:cNvPr>
          <p:cNvPicPr>
            <a:picLocks noChangeAspect="1"/>
          </p:cNvPicPr>
          <p:nvPr/>
        </p:nvPicPr>
        <p:blipFill rotWithShape="1">
          <a:blip r:embed="rId2"/>
          <a:srcRect l="50658" t="39548" r="45735" b="55388"/>
          <a:stretch/>
        </p:blipFill>
        <p:spPr>
          <a:xfrm>
            <a:off x="5872293" y="3520937"/>
            <a:ext cx="356122" cy="268392"/>
          </a:xfrm>
          <a:prstGeom prst="rect">
            <a:avLst/>
          </a:prstGeom>
        </p:spPr>
      </p:pic>
      <p:pic>
        <p:nvPicPr>
          <p:cNvPr id="23" name="Picture 22">
            <a:extLst>
              <a:ext uri="{FF2B5EF4-FFF2-40B4-BE49-F238E27FC236}">
                <a16:creationId xmlns:a16="http://schemas.microsoft.com/office/drawing/2014/main" id="{A7CC162F-9A29-F88E-8499-051621F060D1}"/>
              </a:ext>
            </a:extLst>
          </p:cNvPr>
          <p:cNvPicPr>
            <a:picLocks noChangeAspect="1"/>
          </p:cNvPicPr>
          <p:nvPr/>
        </p:nvPicPr>
        <p:blipFill rotWithShape="1">
          <a:blip r:embed="rId2"/>
          <a:srcRect l="50142" t="53678" r="44972" b="38547"/>
          <a:stretch/>
        </p:blipFill>
        <p:spPr>
          <a:xfrm>
            <a:off x="5832906" y="4122811"/>
            <a:ext cx="434894" cy="371412"/>
          </a:xfrm>
          <a:prstGeom prst="rect">
            <a:avLst/>
          </a:prstGeom>
        </p:spPr>
      </p:pic>
      <p:pic>
        <p:nvPicPr>
          <p:cNvPr id="24" name="Picture 23">
            <a:extLst>
              <a:ext uri="{FF2B5EF4-FFF2-40B4-BE49-F238E27FC236}">
                <a16:creationId xmlns:a16="http://schemas.microsoft.com/office/drawing/2014/main" id="{561BA022-C3ED-46A8-5ED0-83B1B539222E}"/>
              </a:ext>
            </a:extLst>
          </p:cNvPr>
          <p:cNvPicPr>
            <a:picLocks noChangeAspect="1"/>
          </p:cNvPicPr>
          <p:nvPr/>
        </p:nvPicPr>
        <p:blipFill rotWithShape="1">
          <a:blip r:embed="rId2"/>
          <a:srcRect l="50342" t="68735" r="45356" b="25892"/>
          <a:stretch/>
        </p:blipFill>
        <p:spPr>
          <a:xfrm>
            <a:off x="5850145" y="4923017"/>
            <a:ext cx="400418" cy="268392"/>
          </a:xfrm>
          <a:prstGeom prst="rect">
            <a:avLst/>
          </a:prstGeom>
        </p:spPr>
      </p:pic>
      <p:pic>
        <p:nvPicPr>
          <p:cNvPr id="25" name="Picture 24">
            <a:extLst>
              <a:ext uri="{FF2B5EF4-FFF2-40B4-BE49-F238E27FC236}">
                <a16:creationId xmlns:a16="http://schemas.microsoft.com/office/drawing/2014/main" id="{2F6A06DA-F2CF-BDA4-B398-C2BABFB0F417}"/>
              </a:ext>
            </a:extLst>
          </p:cNvPr>
          <p:cNvPicPr>
            <a:picLocks noChangeAspect="1"/>
          </p:cNvPicPr>
          <p:nvPr/>
        </p:nvPicPr>
        <p:blipFill rotWithShape="1">
          <a:blip r:embed="rId2"/>
          <a:srcRect l="49946" t="82082" r="44944" b="10583"/>
          <a:stretch/>
        </p:blipFill>
        <p:spPr>
          <a:xfrm>
            <a:off x="5817943" y="5690441"/>
            <a:ext cx="464820" cy="358140"/>
          </a:xfrm>
          <a:prstGeom prst="rect">
            <a:avLst/>
          </a:prstGeom>
        </p:spPr>
      </p:pic>
      <p:grpSp>
        <p:nvGrpSpPr>
          <p:cNvPr id="26" name="组合 268">
            <a:extLst>
              <a:ext uri="{FF2B5EF4-FFF2-40B4-BE49-F238E27FC236}">
                <a16:creationId xmlns:a16="http://schemas.microsoft.com/office/drawing/2014/main" id="{060EA2C2-2750-FF3D-C0DE-B503C8F388AA}"/>
              </a:ext>
            </a:extLst>
          </p:cNvPr>
          <p:cNvGrpSpPr/>
          <p:nvPr/>
        </p:nvGrpSpPr>
        <p:grpSpPr>
          <a:xfrm rot="16200000">
            <a:off x="-267613" y="3089908"/>
            <a:ext cx="2492639" cy="172720"/>
            <a:chOff x="499437" y="1535322"/>
            <a:chExt cx="862073" cy="192140"/>
          </a:xfrm>
        </p:grpSpPr>
        <p:cxnSp>
          <p:nvCxnSpPr>
            <p:cNvPr id="27" name="Straight Connector 20">
              <a:extLst>
                <a:ext uri="{FF2B5EF4-FFF2-40B4-BE49-F238E27FC236}">
                  <a16:creationId xmlns:a16="http://schemas.microsoft.com/office/drawing/2014/main" id="{8E6E4907-E276-CB32-C763-E28DCE901E43}"/>
                </a:ext>
              </a:extLst>
            </p:cNvPr>
            <p:cNvCxnSpPr>
              <a:cxnSpLocks/>
            </p:cNvCxnSpPr>
            <p:nvPr/>
          </p:nvCxnSpPr>
          <p:spPr>
            <a:xfrm>
              <a:off x="500077" y="1629959"/>
              <a:ext cx="86143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0">
              <a:extLst>
                <a:ext uri="{FF2B5EF4-FFF2-40B4-BE49-F238E27FC236}">
                  <a16:creationId xmlns:a16="http://schemas.microsoft.com/office/drawing/2014/main" id="{6E543425-D5A9-C1FE-A803-0EF1A401B5E8}"/>
                </a:ext>
              </a:extLst>
            </p:cNvPr>
            <p:cNvCxnSpPr>
              <a:cxnSpLocks/>
            </p:cNvCxnSpPr>
            <p:nvPr/>
          </p:nvCxnSpPr>
          <p:spPr>
            <a:xfrm flipV="1">
              <a:off x="136049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0">
              <a:extLst>
                <a:ext uri="{FF2B5EF4-FFF2-40B4-BE49-F238E27FC236}">
                  <a16:creationId xmlns:a16="http://schemas.microsoft.com/office/drawing/2014/main" id="{DCF6073F-DE37-D794-80D1-949F037797CA}"/>
                </a:ext>
              </a:extLst>
            </p:cNvPr>
            <p:cNvCxnSpPr>
              <a:cxnSpLocks/>
            </p:cNvCxnSpPr>
            <p:nvPr/>
          </p:nvCxnSpPr>
          <p:spPr>
            <a:xfrm flipV="1">
              <a:off x="49943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F7614A55-00E8-F096-4C9B-39FE06FCAA9C}"/>
              </a:ext>
            </a:extLst>
          </p:cNvPr>
          <p:cNvSpPr/>
          <p:nvPr/>
        </p:nvSpPr>
        <p:spPr>
          <a:xfrm rot="16200000">
            <a:off x="-316727" y="2809527"/>
            <a:ext cx="1925181"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2000" b="1">
                <a:solidFill>
                  <a:srgbClr val="86BC25"/>
                </a:solidFill>
                <a:latin typeface="Calibri Light"/>
                <a:ea typeface="Verdana" panose="020B0604030504040204" pitchFamily="34" charset="0"/>
                <a:cs typeface="Verdana" panose="020B0604030504040204" pitchFamily="34" charset="0"/>
              </a:rPr>
              <a:t>Basic Deliverable</a:t>
            </a:r>
            <a:endParaRPr kumimoji="0" lang="en-US" altLang="zh-CN" sz="2000" b="1" i="0" u="none" strike="noStrike" kern="1200" cap="none" spc="0" normalizeH="0" baseline="0" noProof="0">
              <a:ln>
                <a:noFill/>
              </a:ln>
              <a:solidFill>
                <a:srgbClr val="86BC25"/>
              </a:solidFill>
              <a:effectLst/>
              <a:uLnTx/>
              <a:uFillTx/>
              <a:latin typeface="Calibri Light"/>
              <a:ea typeface="Verdana" panose="020B0604030504040204" pitchFamily="34" charset="0"/>
              <a:cs typeface="Verdana" panose="020B0604030504040204" pitchFamily="34" charset="0"/>
            </a:endParaRPr>
          </a:p>
        </p:txBody>
      </p:sp>
      <p:grpSp>
        <p:nvGrpSpPr>
          <p:cNvPr id="31" name="组合 268">
            <a:extLst>
              <a:ext uri="{FF2B5EF4-FFF2-40B4-BE49-F238E27FC236}">
                <a16:creationId xmlns:a16="http://schemas.microsoft.com/office/drawing/2014/main" id="{0029C376-DEFF-59F1-7C41-EAB1211B5988}"/>
              </a:ext>
            </a:extLst>
          </p:cNvPr>
          <p:cNvGrpSpPr/>
          <p:nvPr/>
        </p:nvGrpSpPr>
        <p:grpSpPr>
          <a:xfrm rot="16200000">
            <a:off x="162125" y="5215449"/>
            <a:ext cx="1633162" cy="172720"/>
            <a:chOff x="499437" y="1535322"/>
            <a:chExt cx="862073" cy="192140"/>
          </a:xfrm>
        </p:grpSpPr>
        <p:cxnSp>
          <p:nvCxnSpPr>
            <p:cNvPr id="32" name="Straight Connector 20">
              <a:extLst>
                <a:ext uri="{FF2B5EF4-FFF2-40B4-BE49-F238E27FC236}">
                  <a16:creationId xmlns:a16="http://schemas.microsoft.com/office/drawing/2014/main" id="{8B3D0BF7-4A10-B595-5B7F-662FD766D9CB}"/>
                </a:ext>
              </a:extLst>
            </p:cNvPr>
            <p:cNvCxnSpPr>
              <a:cxnSpLocks/>
            </p:cNvCxnSpPr>
            <p:nvPr/>
          </p:nvCxnSpPr>
          <p:spPr>
            <a:xfrm>
              <a:off x="500077" y="1629959"/>
              <a:ext cx="861433" cy="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33" name="Straight Connector 20">
              <a:extLst>
                <a:ext uri="{FF2B5EF4-FFF2-40B4-BE49-F238E27FC236}">
                  <a16:creationId xmlns:a16="http://schemas.microsoft.com/office/drawing/2014/main" id="{38DD31FD-C7A9-1A88-9D93-6CE822199741}"/>
                </a:ext>
              </a:extLst>
            </p:cNvPr>
            <p:cNvCxnSpPr>
              <a:cxnSpLocks/>
            </p:cNvCxnSpPr>
            <p:nvPr/>
          </p:nvCxnSpPr>
          <p:spPr>
            <a:xfrm flipV="1">
              <a:off x="136049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34" name="Straight Connector 20">
              <a:extLst>
                <a:ext uri="{FF2B5EF4-FFF2-40B4-BE49-F238E27FC236}">
                  <a16:creationId xmlns:a16="http://schemas.microsoft.com/office/drawing/2014/main" id="{365AA4BC-1E11-EDCF-2527-689BBCCA289E}"/>
                </a:ext>
              </a:extLst>
            </p:cNvPr>
            <p:cNvCxnSpPr>
              <a:cxnSpLocks/>
            </p:cNvCxnSpPr>
            <p:nvPr/>
          </p:nvCxnSpPr>
          <p:spPr>
            <a:xfrm flipV="1">
              <a:off x="49943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grpSp>
      <p:sp>
        <p:nvSpPr>
          <p:cNvPr id="35" name="Rectangle 65">
            <a:extLst>
              <a:ext uri="{FF2B5EF4-FFF2-40B4-BE49-F238E27FC236}">
                <a16:creationId xmlns:a16="http://schemas.microsoft.com/office/drawing/2014/main" id="{F9CB3D44-6B61-E699-7BE7-5552EE2CE1BF}"/>
              </a:ext>
            </a:extLst>
          </p:cNvPr>
          <p:cNvSpPr/>
          <p:nvPr/>
        </p:nvSpPr>
        <p:spPr>
          <a:xfrm rot="16200000">
            <a:off x="-455344" y="5250243"/>
            <a:ext cx="2202418"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2000" b="1">
                <a:solidFill>
                  <a:srgbClr val="626262"/>
                </a:solidFill>
                <a:latin typeface="Calibri Light"/>
                <a:ea typeface="Verdana" panose="020B0604030504040204" pitchFamily="34" charset="0"/>
                <a:cs typeface="Verdana" panose="020B0604030504040204" pitchFamily="34" charset="0"/>
              </a:rPr>
              <a:t>Advance Deliverable </a:t>
            </a:r>
            <a:endParaRPr kumimoji="0" lang="en-US" altLang="zh-CN" sz="2000" b="1" i="0" u="none" strike="noStrike" kern="1200" cap="none" spc="0" normalizeH="0" baseline="0" noProof="0">
              <a:ln>
                <a:noFill/>
              </a:ln>
              <a:solidFill>
                <a:srgbClr val="626262"/>
              </a:solidFill>
              <a:effectLst/>
              <a:uLnTx/>
              <a:uFillTx/>
              <a:latin typeface="Calibri Light"/>
              <a:ea typeface="Verdana" panose="020B0604030504040204" pitchFamily="34" charset="0"/>
              <a:cs typeface="Verdana" panose="020B0604030504040204" pitchFamily="34" charset="0"/>
            </a:endParaRPr>
          </a:p>
        </p:txBody>
      </p:sp>
      <p:sp>
        <p:nvSpPr>
          <p:cNvPr id="36" name="TextBox 35">
            <a:extLst>
              <a:ext uri="{FF2B5EF4-FFF2-40B4-BE49-F238E27FC236}">
                <a16:creationId xmlns:a16="http://schemas.microsoft.com/office/drawing/2014/main" id="{30F4859C-574A-F87F-C5FB-93482DEBB117}"/>
              </a:ext>
            </a:extLst>
          </p:cNvPr>
          <p:cNvSpPr txBox="1"/>
          <p:nvPr/>
        </p:nvSpPr>
        <p:spPr>
          <a:xfrm>
            <a:off x="1056531" y="1395194"/>
            <a:ext cx="1918987" cy="184666"/>
          </a:xfrm>
          <a:prstGeom prst="rect">
            <a:avLst/>
          </a:prstGeom>
          <a:noFill/>
          <a:ln>
            <a:noFill/>
          </a:ln>
        </p:spPr>
        <p:txBody>
          <a:bodyPr wrap="none" lIns="0" tIns="0" rIns="0" bIns="0" rtlCol="0">
            <a:spAutoFit/>
          </a:bodyPr>
          <a:lstStyle/>
          <a:p>
            <a:pPr lvl="0">
              <a:defRPr/>
            </a:pPr>
            <a:r>
              <a:rPr lang="en-US" sz="1200">
                <a:solidFill>
                  <a:srgbClr val="000000"/>
                </a:solidFill>
                <a:ea typeface="Verdana" panose="020B0604030504040204" pitchFamily="34" charset="0"/>
                <a:cs typeface="Verdana" panose="020B0604030504040204" pitchFamily="34" charset="0"/>
              </a:rPr>
              <a:t>Key Features &amp; Functionalities </a:t>
            </a:r>
          </a:p>
        </p:txBody>
      </p:sp>
    </p:spTree>
    <p:extLst>
      <p:ext uri="{BB962C8B-B14F-4D97-AF65-F5344CB8AC3E}">
        <p14:creationId xmlns:p14="http://schemas.microsoft.com/office/powerpoint/2010/main" val="41327974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CFC00F-CE3E-6FAD-DD7A-6C9EB79C40E2}"/>
            </a:ext>
          </a:extLst>
        </p:cNvPr>
        <p:cNvGrpSpPr/>
        <p:nvPr/>
      </p:nvGrpSpPr>
      <p:grpSpPr>
        <a:xfrm>
          <a:off x="0" y="0"/>
          <a:ext cx="0" cy="0"/>
          <a:chOff x="0" y="0"/>
          <a:chExt cx="0" cy="0"/>
        </a:xfrm>
      </p:grpSpPr>
      <p:pic>
        <p:nvPicPr>
          <p:cNvPr id="4" name="Picture Placeholder 8">
            <a:extLst>
              <a:ext uri="{FF2B5EF4-FFF2-40B4-BE49-F238E27FC236}">
                <a16:creationId xmlns:a16="http://schemas.microsoft.com/office/drawing/2014/main" id="{D282613C-B116-EA19-A3BD-EE04929D605F}"/>
              </a:ext>
            </a:extLst>
          </p:cNvPr>
          <p:cNvPicPr>
            <a:picLocks noChangeAspect="1"/>
          </p:cNvPicPr>
          <p:nvPr/>
        </p:nvPicPr>
        <p:blipFill rotWithShape="1">
          <a:blip r:embed="rId2"/>
          <a:srcRect t="2976" b="22023"/>
          <a:stretch/>
        </p:blipFill>
        <p:spPr>
          <a:xfrm>
            <a:off x="0" y="0"/>
            <a:ext cx="12192000" cy="6858000"/>
          </a:xfrm>
          <a:prstGeom prst="rect">
            <a:avLst/>
          </a:prstGeom>
        </p:spPr>
      </p:pic>
      <p:sp>
        <p:nvSpPr>
          <p:cNvPr id="5" name="Title 4">
            <a:extLst>
              <a:ext uri="{FF2B5EF4-FFF2-40B4-BE49-F238E27FC236}">
                <a16:creationId xmlns:a16="http://schemas.microsoft.com/office/drawing/2014/main" id="{B7AA34C4-69AE-A2D7-F512-ECB044D0CB29}"/>
              </a:ext>
            </a:extLst>
          </p:cNvPr>
          <p:cNvSpPr txBox="1">
            <a:spLocks/>
          </p:cNvSpPr>
          <p:nvPr/>
        </p:nvSpPr>
        <p:spPr bwMode="gray">
          <a:xfrm>
            <a:off x="0" y="4431764"/>
            <a:ext cx="6295292" cy="1289868"/>
          </a:xfrm>
          <a:prstGeom prst="rect">
            <a:avLst/>
          </a:prstGeom>
          <a:solidFill>
            <a:schemeClr val="tx1">
              <a:alpha val="70000"/>
            </a:schemeClr>
          </a:solidFill>
        </p:spPr>
        <p:txBody>
          <a:bodyPr vert="horz" lIns="365760" tIns="0" rIns="182880" bIns="0" rtlCol="0" anchor="ctr" anchorCtr="0">
            <a:noAutofit/>
          </a:bodyPr>
          <a:lstStyle>
            <a:lvl1pPr algn="l" defTabSz="685800" rtl="0" eaLnBrk="1" latinLnBrk="0" hangingPunct="1">
              <a:lnSpc>
                <a:spcPct val="95000"/>
              </a:lnSpc>
              <a:spcBef>
                <a:spcPct val="0"/>
              </a:spcBef>
              <a:buNone/>
              <a:defRPr sz="2800" b="0" kern="120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pPr marL="0" marR="0" lvl="0" indent="0" algn="l" defTabSz="685800" rtl="0" eaLnBrk="1" fontAlgn="auto" latinLnBrk="0" hangingPunct="1">
              <a:lnSpc>
                <a:spcPct val="95000"/>
              </a:lnSpc>
              <a:spcBef>
                <a:spcPct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pitchFamily="34" charset="0"/>
                <a:ea typeface="Open Sans" panose="020B0606030504020204" pitchFamily="34" charset="0"/>
                <a:cs typeface="Calibri" panose="020F0502020204030204" pitchFamily="34" charset="0"/>
              </a:rPr>
              <a:t>Approach and Methodology</a:t>
            </a:r>
          </a:p>
        </p:txBody>
      </p:sp>
    </p:spTree>
    <p:extLst>
      <p:ext uri="{BB962C8B-B14F-4D97-AF65-F5344CB8AC3E}">
        <p14:creationId xmlns:p14="http://schemas.microsoft.com/office/powerpoint/2010/main" val="20038179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 name="Title 3">
            <a:extLst>
              <a:ext uri="{FF2B5EF4-FFF2-40B4-BE49-F238E27FC236}">
                <a16:creationId xmlns:a16="http://schemas.microsoft.com/office/drawing/2014/main" id="{807E16E5-42DF-14EC-866C-55E403BD759B}"/>
              </a:ext>
            </a:extLst>
          </p:cNvPr>
          <p:cNvSpPr>
            <a:spLocks noGrp="1"/>
          </p:cNvSpPr>
          <p:nvPr>
            <p:ph type="title"/>
          </p:nvPr>
        </p:nvSpPr>
        <p:spPr/>
        <p:txBody>
          <a:bodyPr vert="horz" lIns="0" tIns="0" rIns="0" bIns="0" rtlCol="0" anchor="t" anchorCtr="0">
            <a:noAutofit/>
          </a:bodyPr>
          <a:lstStyle/>
          <a:p>
            <a:r>
              <a:rPr lang="en-US" sz="2400" b="1">
                <a:solidFill>
                  <a:schemeClr val="accent2"/>
                </a:solidFill>
              </a:rPr>
              <a:t>Hybrid Delivery Model</a:t>
            </a:r>
          </a:p>
        </p:txBody>
      </p:sp>
      <p:sp>
        <p:nvSpPr>
          <p:cNvPr id="82" name="TextBox 81">
            <a:extLst>
              <a:ext uri="{FF2B5EF4-FFF2-40B4-BE49-F238E27FC236}">
                <a16:creationId xmlns:a16="http://schemas.microsoft.com/office/drawing/2014/main" id="{AA619803-2176-45B2-6A0C-682F5FB2739E}"/>
              </a:ext>
            </a:extLst>
          </p:cNvPr>
          <p:cNvSpPr txBox="1"/>
          <p:nvPr/>
        </p:nvSpPr>
        <p:spPr>
          <a:xfrm>
            <a:off x="1005841" y="5526266"/>
            <a:ext cx="11039886" cy="1360268"/>
          </a:xfrm>
          <a:prstGeom prst="rect">
            <a:avLst/>
          </a:prstGeom>
        </p:spPr>
        <p:txBody>
          <a:bodyPr vert="horz" lIns="91440" tIns="45720" rIns="91440" bIns="45720" rtlCol="0" anchor="ctr">
            <a:normAutofit/>
          </a:bodyPr>
          <a:lstStyle/>
          <a:p>
            <a:pPr defTabSz="914400">
              <a:lnSpc>
                <a:spcPct val="90000"/>
              </a:lnSpc>
              <a:spcAft>
                <a:spcPts val="600"/>
              </a:spcAft>
              <a:buSzPct val="100000"/>
              <a:defRPr/>
            </a:pPr>
            <a:r>
              <a:rPr lang="en-US" sz="1200"/>
              <a:t>It allows for flexible, iterative development and continuous customer feedback, ensuring that the final product meets evolving requirements and expectations efficiently</a:t>
            </a:r>
          </a:p>
        </p:txBody>
      </p:sp>
      <p:pic>
        <p:nvPicPr>
          <p:cNvPr id="336" name="Picture 335">
            <a:extLst>
              <a:ext uri="{FF2B5EF4-FFF2-40B4-BE49-F238E27FC236}">
                <a16:creationId xmlns:a16="http://schemas.microsoft.com/office/drawing/2014/main" id="{B7B3654B-0C37-43C4-857C-7432155B1A5F}"/>
              </a:ext>
            </a:extLst>
          </p:cNvPr>
          <p:cNvPicPr>
            <a:picLocks noChangeAspect="1"/>
          </p:cNvPicPr>
          <p:nvPr/>
        </p:nvPicPr>
        <p:blipFill>
          <a:blip r:embed="rId2"/>
          <a:stretch>
            <a:fillRect/>
          </a:stretch>
        </p:blipFill>
        <p:spPr>
          <a:xfrm>
            <a:off x="860425" y="1038225"/>
            <a:ext cx="10471150" cy="4781550"/>
          </a:xfrm>
          <a:prstGeom prst="rect">
            <a:avLst/>
          </a:prstGeom>
        </p:spPr>
      </p:pic>
    </p:spTree>
    <p:extLst>
      <p:ext uri="{BB962C8B-B14F-4D97-AF65-F5344CB8AC3E}">
        <p14:creationId xmlns:p14="http://schemas.microsoft.com/office/powerpoint/2010/main" val="219728097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0FC1FF-81F7-A0F8-D28F-A26A665765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think-cell data - do not delete" hidden="1">
                        <a:extLst>
                          <a:ext uri="{FF2B5EF4-FFF2-40B4-BE49-F238E27FC236}">
                            <a16:creationId xmlns:a16="http://schemas.microsoft.com/office/drawing/2014/main" id="{1A0FC1FF-81F7-A0F8-D28F-A26A665765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3">
            <a:extLst>
              <a:ext uri="{FF2B5EF4-FFF2-40B4-BE49-F238E27FC236}">
                <a16:creationId xmlns:a16="http://schemas.microsoft.com/office/drawing/2014/main" id="{05ACF71A-661D-9E04-9FAB-7A949E0A380E}"/>
              </a:ext>
            </a:extLst>
          </p:cNvPr>
          <p:cNvSpPr>
            <a:spLocks noGrp="1"/>
          </p:cNvSpPr>
          <p:nvPr>
            <p:ph type="title"/>
          </p:nvPr>
        </p:nvSpPr>
        <p:spPr/>
        <p:txBody>
          <a:bodyPr vert="horz" lIns="0" tIns="0" rIns="0" bIns="0" rtlCol="0" anchor="t" anchorCtr="0">
            <a:noAutofit/>
          </a:bodyPr>
          <a:lstStyle/>
          <a:p>
            <a:r>
              <a:rPr lang="en-US" altLang="en-US" sz="2400" b="1">
                <a:solidFill>
                  <a:schemeClr val="accent2"/>
                </a:solidFill>
              </a:rPr>
              <a:t>Maintenance &amp; Support Phase</a:t>
            </a:r>
            <a:endParaRPr lang="en-IN" sz="2400" b="1">
              <a:solidFill>
                <a:schemeClr val="accent2"/>
              </a:solidFill>
            </a:endParaRPr>
          </a:p>
        </p:txBody>
      </p:sp>
      <p:sp>
        <p:nvSpPr>
          <p:cNvPr id="9" name="TextBox 8">
            <a:extLst>
              <a:ext uri="{FF2B5EF4-FFF2-40B4-BE49-F238E27FC236}">
                <a16:creationId xmlns:a16="http://schemas.microsoft.com/office/drawing/2014/main" id="{7C7DEAE1-9821-A229-E020-61BA2F7C3ADA}"/>
              </a:ext>
            </a:extLst>
          </p:cNvPr>
          <p:cNvSpPr txBox="1"/>
          <p:nvPr/>
        </p:nvSpPr>
        <p:spPr>
          <a:xfrm>
            <a:off x="509653" y="714871"/>
            <a:ext cx="11233150" cy="553998"/>
          </a:xfrm>
          <a:prstGeom prst="rect">
            <a:avLst/>
          </a:prstGeom>
          <a:noFill/>
        </p:spPr>
        <p:txBody>
          <a:bodyPr wrap="square" lIns="0" tIns="0" rIns="0" bIns="0" rtlCol="0">
            <a:spAutoFit/>
          </a:bodyPr>
          <a:lstStyle/>
          <a:p>
            <a:pPr defTabSz="945677">
              <a:buSzPct val="100000"/>
              <a:defRPr/>
            </a:pPr>
            <a:r>
              <a:rPr lang="en-US">
                <a:solidFill>
                  <a:schemeClr val="bg1">
                    <a:lumMod val="50000"/>
                  </a:schemeClr>
                </a:solidFill>
              </a:rPr>
              <a:t>Continuous monitoring and immediate resolution of issues minimize downtime and maintain high availability, which is essential for RCO Portal Operation</a:t>
            </a:r>
          </a:p>
        </p:txBody>
      </p:sp>
      <p:sp>
        <p:nvSpPr>
          <p:cNvPr id="4" name="object 2">
            <a:extLst>
              <a:ext uri="{FF2B5EF4-FFF2-40B4-BE49-F238E27FC236}">
                <a16:creationId xmlns:a16="http://schemas.microsoft.com/office/drawing/2014/main" id="{55655C36-E5CC-901F-C73D-69C4738D8F4C}"/>
              </a:ext>
            </a:extLst>
          </p:cNvPr>
          <p:cNvSpPr/>
          <p:nvPr/>
        </p:nvSpPr>
        <p:spPr>
          <a:xfrm>
            <a:off x="586740" y="4910328"/>
            <a:ext cx="7065645" cy="708660"/>
          </a:xfrm>
          <a:custGeom>
            <a:avLst/>
            <a:gdLst/>
            <a:ahLst/>
            <a:cxnLst/>
            <a:rect l="l" t="t" r="r" b="b"/>
            <a:pathLst>
              <a:path w="7065645" h="708660">
                <a:moveTo>
                  <a:pt x="0" y="708660"/>
                </a:moveTo>
                <a:lnTo>
                  <a:pt x="7065264" y="708660"/>
                </a:lnTo>
                <a:lnTo>
                  <a:pt x="7065264" y="0"/>
                </a:lnTo>
                <a:lnTo>
                  <a:pt x="0" y="0"/>
                </a:lnTo>
                <a:lnTo>
                  <a:pt x="0" y="708660"/>
                </a:lnTo>
                <a:close/>
              </a:path>
            </a:pathLst>
          </a:custGeom>
          <a:ln w="6350">
            <a:solidFill>
              <a:srgbClr val="0D8390"/>
            </a:solidFill>
          </a:ln>
        </p:spPr>
        <p:txBody>
          <a:bodyPr wrap="square" lIns="0" tIns="0" rIns="0" bIns="0" rtlCol="0"/>
          <a:lstStyle/>
          <a:p>
            <a:endParaRPr/>
          </a:p>
        </p:txBody>
      </p:sp>
      <p:sp>
        <p:nvSpPr>
          <p:cNvPr id="5" name="object 3">
            <a:extLst>
              <a:ext uri="{FF2B5EF4-FFF2-40B4-BE49-F238E27FC236}">
                <a16:creationId xmlns:a16="http://schemas.microsoft.com/office/drawing/2014/main" id="{6A655F64-DA1C-CFA1-FFCF-A6AE8A230B18}"/>
              </a:ext>
            </a:extLst>
          </p:cNvPr>
          <p:cNvSpPr txBox="1"/>
          <p:nvPr/>
        </p:nvSpPr>
        <p:spPr>
          <a:xfrm>
            <a:off x="5659373" y="4468495"/>
            <a:ext cx="382905" cy="147955"/>
          </a:xfrm>
          <a:prstGeom prst="rect">
            <a:avLst/>
          </a:prstGeom>
        </p:spPr>
        <p:txBody>
          <a:bodyPr vert="horz" wrap="square" lIns="0" tIns="12700" rIns="0" bIns="0" rtlCol="0">
            <a:spAutoFit/>
          </a:bodyPr>
          <a:lstStyle/>
          <a:p>
            <a:pPr marL="12700">
              <a:lnSpc>
                <a:spcPct val="100000"/>
              </a:lnSpc>
              <a:spcBef>
                <a:spcPts val="100"/>
              </a:spcBef>
            </a:pPr>
            <a:r>
              <a:rPr sz="800" spc="-10">
                <a:latin typeface="Calibri"/>
                <a:cs typeface="Calibri"/>
              </a:rPr>
              <a:t>Releases</a:t>
            </a:r>
            <a:endParaRPr sz="800">
              <a:latin typeface="Calibri"/>
              <a:cs typeface="Calibri"/>
            </a:endParaRPr>
          </a:p>
        </p:txBody>
      </p:sp>
      <p:sp>
        <p:nvSpPr>
          <p:cNvPr id="6" name="object 4">
            <a:extLst>
              <a:ext uri="{FF2B5EF4-FFF2-40B4-BE49-F238E27FC236}">
                <a16:creationId xmlns:a16="http://schemas.microsoft.com/office/drawing/2014/main" id="{1930C6FE-7DF5-886F-783D-4CC6FD90DD8F}"/>
              </a:ext>
            </a:extLst>
          </p:cNvPr>
          <p:cNvSpPr txBox="1"/>
          <p:nvPr/>
        </p:nvSpPr>
        <p:spPr>
          <a:xfrm>
            <a:off x="3615309" y="1733550"/>
            <a:ext cx="572135" cy="147955"/>
          </a:xfrm>
          <a:prstGeom prst="rect">
            <a:avLst/>
          </a:prstGeom>
        </p:spPr>
        <p:txBody>
          <a:bodyPr vert="horz" wrap="square" lIns="0" tIns="13335" rIns="0" bIns="0" rtlCol="0">
            <a:spAutoFit/>
          </a:bodyPr>
          <a:lstStyle/>
          <a:p>
            <a:pPr marL="12700">
              <a:lnSpc>
                <a:spcPct val="100000"/>
              </a:lnSpc>
              <a:spcBef>
                <a:spcPts val="105"/>
              </a:spcBef>
            </a:pPr>
            <a:r>
              <a:rPr sz="800">
                <a:latin typeface="Calibri"/>
                <a:cs typeface="Calibri"/>
              </a:rPr>
              <a:t>L1</a:t>
            </a:r>
            <a:r>
              <a:rPr sz="800" spc="-10">
                <a:latin typeface="Calibri"/>
                <a:cs typeface="Calibri"/>
              </a:rPr>
              <a:t> Helpdesk*</a:t>
            </a:r>
            <a:endParaRPr sz="800">
              <a:latin typeface="Calibri"/>
              <a:cs typeface="Calibri"/>
            </a:endParaRPr>
          </a:p>
        </p:txBody>
      </p:sp>
      <p:sp>
        <p:nvSpPr>
          <p:cNvPr id="7" name="object 5">
            <a:extLst>
              <a:ext uri="{FF2B5EF4-FFF2-40B4-BE49-F238E27FC236}">
                <a16:creationId xmlns:a16="http://schemas.microsoft.com/office/drawing/2014/main" id="{A9013B90-E019-EFD6-58DC-10000B937E3F}"/>
              </a:ext>
            </a:extLst>
          </p:cNvPr>
          <p:cNvSpPr txBox="1"/>
          <p:nvPr/>
        </p:nvSpPr>
        <p:spPr>
          <a:xfrm>
            <a:off x="867257" y="1688338"/>
            <a:ext cx="303530" cy="147955"/>
          </a:xfrm>
          <a:prstGeom prst="rect">
            <a:avLst/>
          </a:prstGeom>
        </p:spPr>
        <p:txBody>
          <a:bodyPr vert="horz" wrap="square" lIns="0" tIns="13335" rIns="0" bIns="0" rtlCol="0">
            <a:spAutoFit/>
          </a:bodyPr>
          <a:lstStyle/>
          <a:p>
            <a:pPr marL="12700">
              <a:lnSpc>
                <a:spcPct val="100000"/>
              </a:lnSpc>
              <a:spcBef>
                <a:spcPts val="105"/>
              </a:spcBef>
            </a:pPr>
            <a:r>
              <a:rPr sz="800" spc="-10">
                <a:latin typeface="Calibri"/>
                <a:cs typeface="Calibri"/>
              </a:rPr>
              <a:t>Clients</a:t>
            </a:r>
            <a:endParaRPr sz="800">
              <a:latin typeface="Calibri"/>
              <a:cs typeface="Calibri"/>
            </a:endParaRPr>
          </a:p>
        </p:txBody>
      </p:sp>
      <p:sp>
        <p:nvSpPr>
          <p:cNvPr id="10" name="object 6">
            <a:extLst>
              <a:ext uri="{FF2B5EF4-FFF2-40B4-BE49-F238E27FC236}">
                <a16:creationId xmlns:a16="http://schemas.microsoft.com/office/drawing/2014/main" id="{EA7E5ABD-F0B8-A245-92E3-3B8B44328B69}"/>
              </a:ext>
            </a:extLst>
          </p:cNvPr>
          <p:cNvSpPr txBox="1"/>
          <p:nvPr/>
        </p:nvSpPr>
        <p:spPr>
          <a:xfrm>
            <a:off x="4668392" y="4326382"/>
            <a:ext cx="847090" cy="391795"/>
          </a:xfrm>
          <a:prstGeom prst="rect">
            <a:avLst/>
          </a:prstGeom>
        </p:spPr>
        <p:txBody>
          <a:bodyPr vert="horz" wrap="square" lIns="0" tIns="12700" rIns="0" bIns="0" rtlCol="0">
            <a:spAutoFit/>
          </a:bodyPr>
          <a:lstStyle/>
          <a:p>
            <a:pPr marL="12700" marR="5080" algn="ctr">
              <a:lnSpc>
                <a:spcPct val="100000"/>
              </a:lnSpc>
              <a:spcBef>
                <a:spcPts val="100"/>
              </a:spcBef>
            </a:pPr>
            <a:r>
              <a:rPr sz="800" spc="-10">
                <a:latin typeface="Calibri"/>
                <a:cs typeface="Calibri"/>
              </a:rPr>
              <a:t>Configuration</a:t>
            </a:r>
            <a:r>
              <a:rPr sz="800" spc="60">
                <a:latin typeface="Calibri"/>
                <a:cs typeface="Calibri"/>
              </a:rPr>
              <a:t> </a:t>
            </a:r>
            <a:r>
              <a:rPr sz="800" spc="-10">
                <a:latin typeface="Calibri"/>
                <a:cs typeface="Calibri"/>
              </a:rPr>
              <a:t>Items</a:t>
            </a:r>
            <a:r>
              <a:rPr sz="800" spc="500">
                <a:latin typeface="Calibri"/>
                <a:cs typeface="Calibri"/>
              </a:rPr>
              <a:t> </a:t>
            </a:r>
            <a:r>
              <a:rPr sz="800">
                <a:latin typeface="Calibri"/>
                <a:cs typeface="Calibri"/>
              </a:rPr>
              <a:t>(CI),</a:t>
            </a:r>
            <a:r>
              <a:rPr sz="800" spc="-20">
                <a:latin typeface="Calibri"/>
                <a:cs typeface="Calibri"/>
              </a:rPr>
              <a:t> </a:t>
            </a:r>
            <a:r>
              <a:rPr sz="800" spc="-10">
                <a:latin typeface="Calibri"/>
                <a:cs typeface="Calibri"/>
              </a:rPr>
              <a:t>Relationships</a:t>
            </a:r>
            <a:r>
              <a:rPr sz="800" spc="500">
                <a:latin typeface="Calibri"/>
                <a:cs typeface="Calibri"/>
              </a:rPr>
              <a:t> </a:t>
            </a:r>
            <a:r>
              <a:rPr sz="800" spc="-20">
                <a:latin typeface="Calibri"/>
                <a:cs typeface="Calibri"/>
              </a:rPr>
              <a:t>info</a:t>
            </a:r>
            <a:endParaRPr sz="800">
              <a:latin typeface="Calibri"/>
              <a:cs typeface="Calibri"/>
            </a:endParaRPr>
          </a:p>
        </p:txBody>
      </p:sp>
      <p:grpSp>
        <p:nvGrpSpPr>
          <p:cNvPr id="11" name="object 7">
            <a:extLst>
              <a:ext uri="{FF2B5EF4-FFF2-40B4-BE49-F238E27FC236}">
                <a16:creationId xmlns:a16="http://schemas.microsoft.com/office/drawing/2014/main" id="{4418B4FB-E901-BC11-A897-C316E8187C20}"/>
              </a:ext>
            </a:extLst>
          </p:cNvPr>
          <p:cNvGrpSpPr/>
          <p:nvPr/>
        </p:nvGrpSpPr>
        <p:grpSpPr>
          <a:xfrm>
            <a:off x="499872" y="2073401"/>
            <a:ext cx="3385185" cy="2806700"/>
            <a:chOff x="499872" y="2073401"/>
            <a:chExt cx="3385185" cy="2806700"/>
          </a:xfrm>
        </p:grpSpPr>
        <p:sp>
          <p:nvSpPr>
            <p:cNvPr id="12" name="object 8">
              <a:extLst>
                <a:ext uri="{FF2B5EF4-FFF2-40B4-BE49-F238E27FC236}">
                  <a16:creationId xmlns:a16="http://schemas.microsoft.com/office/drawing/2014/main" id="{16A4EB77-4FDE-D134-D4BA-2E8C81B0079C}"/>
                </a:ext>
              </a:extLst>
            </p:cNvPr>
            <p:cNvSpPr/>
            <p:nvPr/>
          </p:nvSpPr>
          <p:spPr>
            <a:xfrm>
              <a:off x="1533512" y="3197351"/>
              <a:ext cx="2351405" cy="1682750"/>
            </a:xfrm>
            <a:custGeom>
              <a:avLst/>
              <a:gdLst/>
              <a:ahLst/>
              <a:cxnLst/>
              <a:rect l="l" t="t" r="r" b="b"/>
              <a:pathLst>
                <a:path w="2351404" h="1682750">
                  <a:moveTo>
                    <a:pt x="76085" y="1606677"/>
                  </a:moveTo>
                  <a:lnTo>
                    <a:pt x="44234" y="1606677"/>
                  </a:lnTo>
                  <a:lnTo>
                    <a:pt x="48526" y="0"/>
                  </a:lnTo>
                  <a:lnTo>
                    <a:pt x="35826" y="0"/>
                  </a:lnTo>
                  <a:lnTo>
                    <a:pt x="31534" y="1606677"/>
                  </a:lnTo>
                  <a:lnTo>
                    <a:pt x="0" y="1606677"/>
                  </a:lnTo>
                  <a:lnTo>
                    <a:pt x="37731" y="1682750"/>
                  </a:lnTo>
                  <a:lnTo>
                    <a:pt x="69735" y="1619250"/>
                  </a:lnTo>
                  <a:lnTo>
                    <a:pt x="76085" y="1606677"/>
                  </a:lnTo>
                  <a:close/>
                </a:path>
                <a:path w="2351404" h="1682750">
                  <a:moveTo>
                    <a:pt x="2319667" y="114173"/>
                  </a:moveTo>
                  <a:lnTo>
                    <a:pt x="2319032" y="112522"/>
                  </a:lnTo>
                  <a:lnTo>
                    <a:pt x="2317762" y="111379"/>
                  </a:lnTo>
                  <a:lnTo>
                    <a:pt x="2316619" y="110109"/>
                  </a:lnTo>
                  <a:lnTo>
                    <a:pt x="2314968" y="109474"/>
                  </a:lnTo>
                  <a:lnTo>
                    <a:pt x="1558683" y="109474"/>
                  </a:lnTo>
                  <a:lnTo>
                    <a:pt x="1558683" y="122174"/>
                  </a:lnTo>
                  <a:lnTo>
                    <a:pt x="2306929" y="122174"/>
                  </a:lnTo>
                  <a:lnTo>
                    <a:pt x="2306967" y="115824"/>
                  </a:lnTo>
                  <a:lnTo>
                    <a:pt x="2319655" y="115824"/>
                  </a:lnTo>
                  <a:lnTo>
                    <a:pt x="2319667" y="114173"/>
                  </a:lnTo>
                  <a:close/>
                </a:path>
                <a:path w="2351404" h="1682750">
                  <a:moveTo>
                    <a:pt x="2351290" y="265430"/>
                  </a:moveTo>
                  <a:lnTo>
                    <a:pt x="2318842" y="263321"/>
                  </a:lnTo>
                  <a:lnTo>
                    <a:pt x="2319617" y="122174"/>
                  </a:lnTo>
                  <a:lnTo>
                    <a:pt x="2313317" y="122174"/>
                  </a:lnTo>
                  <a:lnTo>
                    <a:pt x="2306929" y="122174"/>
                  </a:lnTo>
                  <a:lnTo>
                    <a:pt x="2306155" y="260477"/>
                  </a:lnTo>
                  <a:lnTo>
                    <a:pt x="2306142" y="262496"/>
                  </a:lnTo>
                  <a:lnTo>
                    <a:pt x="2275344" y="260477"/>
                  </a:lnTo>
                  <a:lnTo>
                    <a:pt x="2308364" y="339090"/>
                  </a:lnTo>
                  <a:lnTo>
                    <a:pt x="2345283" y="275717"/>
                  </a:lnTo>
                  <a:lnTo>
                    <a:pt x="2351290" y="265430"/>
                  </a:lnTo>
                  <a:close/>
                </a:path>
              </a:pathLst>
            </a:custGeom>
            <a:solidFill>
              <a:srgbClr val="000000"/>
            </a:solidFill>
          </p:spPr>
          <p:txBody>
            <a:bodyPr wrap="square" lIns="0" tIns="0" rIns="0" bIns="0" rtlCol="0"/>
            <a:lstStyle/>
            <a:p>
              <a:endParaRPr/>
            </a:p>
          </p:txBody>
        </p:sp>
        <p:pic>
          <p:nvPicPr>
            <p:cNvPr id="13" name="object 9">
              <a:extLst>
                <a:ext uri="{FF2B5EF4-FFF2-40B4-BE49-F238E27FC236}">
                  <a16:creationId xmlns:a16="http://schemas.microsoft.com/office/drawing/2014/main" id="{6B1707BC-930E-5699-65F3-6265910C44EE}"/>
                </a:ext>
              </a:extLst>
            </p:cNvPr>
            <p:cNvPicPr/>
            <p:nvPr/>
          </p:nvPicPr>
          <p:blipFill>
            <a:blip r:embed="rId6" cstate="print"/>
            <a:stretch>
              <a:fillRect/>
            </a:stretch>
          </p:blipFill>
          <p:spPr>
            <a:xfrm>
              <a:off x="1490488" y="2370581"/>
              <a:ext cx="2088625" cy="16001"/>
            </a:xfrm>
            <a:prstGeom prst="rect">
              <a:avLst/>
            </a:prstGeom>
          </p:spPr>
        </p:pic>
        <p:pic>
          <p:nvPicPr>
            <p:cNvPr id="14" name="object 10">
              <a:extLst>
                <a:ext uri="{FF2B5EF4-FFF2-40B4-BE49-F238E27FC236}">
                  <a16:creationId xmlns:a16="http://schemas.microsoft.com/office/drawing/2014/main" id="{49CF698D-EE18-D9C2-3AC7-003EA130AC5D}"/>
                </a:ext>
              </a:extLst>
            </p:cNvPr>
            <p:cNvPicPr/>
            <p:nvPr/>
          </p:nvPicPr>
          <p:blipFill>
            <a:blip r:embed="rId7" cstate="print"/>
            <a:stretch>
              <a:fillRect/>
            </a:stretch>
          </p:blipFill>
          <p:spPr>
            <a:xfrm>
              <a:off x="1490472" y="2073401"/>
              <a:ext cx="2090162" cy="16001"/>
            </a:xfrm>
            <a:prstGeom prst="rect">
              <a:avLst/>
            </a:prstGeom>
          </p:spPr>
        </p:pic>
        <p:sp>
          <p:nvSpPr>
            <p:cNvPr id="15" name="object 11">
              <a:extLst>
                <a:ext uri="{FF2B5EF4-FFF2-40B4-BE49-F238E27FC236}">
                  <a16:creationId xmlns:a16="http://schemas.microsoft.com/office/drawing/2014/main" id="{DC0769C4-9127-560B-D8B9-DE60D0A2AD6B}"/>
                </a:ext>
              </a:extLst>
            </p:cNvPr>
            <p:cNvSpPr/>
            <p:nvPr/>
          </p:nvSpPr>
          <p:spPr>
            <a:xfrm>
              <a:off x="499872" y="2825495"/>
              <a:ext cx="1341120" cy="372110"/>
            </a:xfrm>
            <a:custGeom>
              <a:avLst/>
              <a:gdLst/>
              <a:ahLst/>
              <a:cxnLst/>
              <a:rect l="l" t="t" r="r" b="b"/>
              <a:pathLst>
                <a:path w="1341120" h="372110">
                  <a:moveTo>
                    <a:pt x="1155192" y="0"/>
                  </a:moveTo>
                  <a:lnTo>
                    <a:pt x="185928" y="0"/>
                  </a:lnTo>
                  <a:lnTo>
                    <a:pt x="136502" y="6637"/>
                  </a:lnTo>
                  <a:lnTo>
                    <a:pt x="92089" y="25371"/>
                  </a:lnTo>
                  <a:lnTo>
                    <a:pt x="54459" y="54435"/>
                  </a:lnTo>
                  <a:lnTo>
                    <a:pt x="25385" y="92060"/>
                  </a:lnTo>
                  <a:lnTo>
                    <a:pt x="6641" y="136480"/>
                  </a:lnTo>
                  <a:lnTo>
                    <a:pt x="0" y="185927"/>
                  </a:lnTo>
                  <a:lnTo>
                    <a:pt x="6641" y="235375"/>
                  </a:lnTo>
                  <a:lnTo>
                    <a:pt x="25385" y="279795"/>
                  </a:lnTo>
                  <a:lnTo>
                    <a:pt x="54459" y="317420"/>
                  </a:lnTo>
                  <a:lnTo>
                    <a:pt x="92089" y="346484"/>
                  </a:lnTo>
                  <a:lnTo>
                    <a:pt x="136502" y="365218"/>
                  </a:lnTo>
                  <a:lnTo>
                    <a:pt x="185928" y="371855"/>
                  </a:lnTo>
                  <a:lnTo>
                    <a:pt x="1155192" y="371855"/>
                  </a:lnTo>
                  <a:lnTo>
                    <a:pt x="1204639" y="365218"/>
                  </a:lnTo>
                  <a:lnTo>
                    <a:pt x="1249059" y="346484"/>
                  </a:lnTo>
                  <a:lnTo>
                    <a:pt x="1286684" y="317420"/>
                  </a:lnTo>
                  <a:lnTo>
                    <a:pt x="1315748" y="279795"/>
                  </a:lnTo>
                  <a:lnTo>
                    <a:pt x="1334482" y="235375"/>
                  </a:lnTo>
                  <a:lnTo>
                    <a:pt x="1341120" y="185927"/>
                  </a:lnTo>
                  <a:lnTo>
                    <a:pt x="1334482" y="136480"/>
                  </a:lnTo>
                  <a:lnTo>
                    <a:pt x="1315748" y="92060"/>
                  </a:lnTo>
                  <a:lnTo>
                    <a:pt x="1286684" y="54435"/>
                  </a:lnTo>
                  <a:lnTo>
                    <a:pt x="1249059" y="25371"/>
                  </a:lnTo>
                  <a:lnTo>
                    <a:pt x="1204639" y="6637"/>
                  </a:lnTo>
                  <a:lnTo>
                    <a:pt x="1155192" y="0"/>
                  </a:lnTo>
                  <a:close/>
                </a:path>
              </a:pathLst>
            </a:custGeom>
            <a:solidFill>
              <a:srgbClr val="85BB24"/>
            </a:solidFill>
          </p:spPr>
          <p:txBody>
            <a:bodyPr wrap="square" lIns="0" tIns="0" rIns="0" bIns="0" rtlCol="0"/>
            <a:lstStyle/>
            <a:p>
              <a:endParaRPr/>
            </a:p>
          </p:txBody>
        </p:sp>
      </p:grpSp>
      <p:sp>
        <p:nvSpPr>
          <p:cNvPr id="16" name="object 12">
            <a:extLst>
              <a:ext uri="{FF2B5EF4-FFF2-40B4-BE49-F238E27FC236}">
                <a16:creationId xmlns:a16="http://schemas.microsoft.com/office/drawing/2014/main" id="{5C760170-9CBB-46BD-A4EE-6BCB61BA8D93}"/>
              </a:ext>
            </a:extLst>
          </p:cNvPr>
          <p:cNvSpPr txBox="1"/>
          <p:nvPr/>
        </p:nvSpPr>
        <p:spPr>
          <a:xfrm>
            <a:off x="647496" y="2923413"/>
            <a:ext cx="104711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FFFFFF"/>
                </a:solidFill>
                <a:latin typeface="Calibri"/>
                <a:cs typeface="Calibri"/>
              </a:rPr>
              <a:t>Incident</a:t>
            </a:r>
            <a:r>
              <a:rPr sz="900" spc="-35">
                <a:solidFill>
                  <a:srgbClr val="FFFFFF"/>
                </a:solidFill>
                <a:latin typeface="Calibri"/>
                <a:cs typeface="Calibri"/>
              </a:rPr>
              <a:t> </a:t>
            </a:r>
            <a:r>
              <a:rPr sz="900" spc="-10">
                <a:solidFill>
                  <a:srgbClr val="FFFFFF"/>
                </a:solidFill>
                <a:latin typeface="Calibri"/>
                <a:cs typeface="Calibri"/>
              </a:rPr>
              <a:t>management</a:t>
            </a:r>
            <a:endParaRPr sz="900">
              <a:latin typeface="Calibri"/>
              <a:cs typeface="Calibri"/>
            </a:endParaRPr>
          </a:p>
        </p:txBody>
      </p:sp>
      <p:sp>
        <p:nvSpPr>
          <p:cNvPr id="17" name="object 13">
            <a:extLst>
              <a:ext uri="{FF2B5EF4-FFF2-40B4-BE49-F238E27FC236}">
                <a16:creationId xmlns:a16="http://schemas.microsoft.com/office/drawing/2014/main" id="{7261B8B9-FDEA-FC9C-8BC0-CFD94A28A840}"/>
              </a:ext>
            </a:extLst>
          </p:cNvPr>
          <p:cNvSpPr/>
          <p:nvPr/>
        </p:nvSpPr>
        <p:spPr>
          <a:xfrm>
            <a:off x="3448811" y="3535679"/>
            <a:ext cx="1341120" cy="372110"/>
          </a:xfrm>
          <a:custGeom>
            <a:avLst/>
            <a:gdLst/>
            <a:ahLst/>
            <a:cxnLst/>
            <a:rect l="l" t="t" r="r" b="b"/>
            <a:pathLst>
              <a:path w="1341120" h="372110">
                <a:moveTo>
                  <a:pt x="1155191" y="0"/>
                </a:moveTo>
                <a:lnTo>
                  <a:pt x="185927" y="0"/>
                </a:lnTo>
                <a:lnTo>
                  <a:pt x="136480" y="6637"/>
                </a:lnTo>
                <a:lnTo>
                  <a:pt x="92060" y="25371"/>
                </a:lnTo>
                <a:lnTo>
                  <a:pt x="54435" y="54435"/>
                </a:lnTo>
                <a:lnTo>
                  <a:pt x="25371" y="92060"/>
                </a:lnTo>
                <a:lnTo>
                  <a:pt x="6637" y="136480"/>
                </a:lnTo>
                <a:lnTo>
                  <a:pt x="0" y="185928"/>
                </a:lnTo>
                <a:lnTo>
                  <a:pt x="6637" y="235375"/>
                </a:lnTo>
                <a:lnTo>
                  <a:pt x="25371" y="279795"/>
                </a:lnTo>
                <a:lnTo>
                  <a:pt x="54435" y="317420"/>
                </a:lnTo>
                <a:lnTo>
                  <a:pt x="92060" y="346484"/>
                </a:lnTo>
                <a:lnTo>
                  <a:pt x="136480" y="365218"/>
                </a:lnTo>
                <a:lnTo>
                  <a:pt x="185927" y="371856"/>
                </a:lnTo>
                <a:lnTo>
                  <a:pt x="1155191" y="371856"/>
                </a:lnTo>
                <a:lnTo>
                  <a:pt x="1204639" y="365218"/>
                </a:lnTo>
                <a:lnTo>
                  <a:pt x="1249059" y="346484"/>
                </a:lnTo>
                <a:lnTo>
                  <a:pt x="1286684" y="317420"/>
                </a:lnTo>
                <a:lnTo>
                  <a:pt x="1315748" y="279795"/>
                </a:lnTo>
                <a:lnTo>
                  <a:pt x="1334482" y="235375"/>
                </a:lnTo>
                <a:lnTo>
                  <a:pt x="1341120" y="185928"/>
                </a:lnTo>
                <a:lnTo>
                  <a:pt x="1334482" y="136480"/>
                </a:lnTo>
                <a:lnTo>
                  <a:pt x="1315748" y="92060"/>
                </a:lnTo>
                <a:lnTo>
                  <a:pt x="1286684" y="54435"/>
                </a:lnTo>
                <a:lnTo>
                  <a:pt x="1249059" y="25371"/>
                </a:lnTo>
                <a:lnTo>
                  <a:pt x="1204639" y="6637"/>
                </a:lnTo>
                <a:lnTo>
                  <a:pt x="1155191" y="0"/>
                </a:lnTo>
                <a:close/>
              </a:path>
            </a:pathLst>
          </a:custGeom>
          <a:solidFill>
            <a:srgbClr val="85BB24"/>
          </a:solidFill>
        </p:spPr>
        <p:txBody>
          <a:bodyPr wrap="square" lIns="0" tIns="0" rIns="0" bIns="0" rtlCol="0"/>
          <a:lstStyle/>
          <a:p>
            <a:endParaRPr/>
          </a:p>
        </p:txBody>
      </p:sp>
      <p:sp>
        <p:nvSpPr>
          <p:cNvPr id="18" name="object 14">
            <a:extLst>
              <a:ext uri="{FF2B5EF4-FFF2-40B4-BE49-F238E27FC236}">
                <a16:creationId xmlns:a16="http://schemas.microsoft.com/office/drawing/2014/main" id="{01326CD9-B5F5-AD0F-D652-BB3B0481D42B}"/>
              </a:ext>
            </a:extLst>
          </p:cNvPr>
          <p:cNvSpPr txBox="1"/>
          <p:nvPr/>
        </p:nvSpPr>
        <p:spPr>
          <a:xfrm>
            <a:off x="3613784" y="3633978"/>
            <a:ext cx="1013460"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FFFFFF"/>
                </a:solidFill>
                <a:latin typeface="Calibri"/>
                <a:cs typeface="Calibri"/>
              </a:rPr>
              <a:t>Change</a:t>
            </a:r>
            <a:r>
              <a:rPr sz="900" spc="-30">
                <a:solidFill>
                  <a:srgbClr val="FFFFFF"/>
                </a:solidFill>
                <a:latin typeface="Calibri"/>
                <a:cs typeface="Calibri"/>
              </a:rPr>
              <a:t> </a:t>
            </a:r>
            <a:r>
              <a:rPr sz="900" spc="-10">
                <a:solidFill>
                  <a:srgbClr val="FFFFFF"/>
                </a:solidFill>
                <a:latin typeface="Calibri"/>
                <a:cs typeface="Calibri"/>
              </a:rPr>
              <a:t>management</a:t>
            </a:r>
            <a:endParaRPr sz="900">
              <a:latin typeface="Calibri"/>
              <a:cs typeface="Calibri"/>
            </a:endParaRPr>
          </a:p>
        </p:txBody>
      </p:sp>
      <p:sp>
        <p:nvSpPr>
          <p:cNvPr id="19" name="object 15">
            <a:extLst>
              <a:ext uri="{FF2B5EF4-FFF2-40B4-BE49-F238E27FC236}">
                <a16:creationId xmlns:a16="http://schemas.microsoft.com/office/drawing/2014/main" id="{EB2F07C5-76E0-4EAA-9A80-63BCC2DD1805}"/>
              </a:ext>
            </a:extLst>
          </p:cNvPr>
          <p:cNvSpPr/>
          <p:nvPr/>
        </p:nvSpPr>
        <p:spPr>
          <a:xfrm>
            <a:off x="4878323" y="3907535"/>
            <a:ext cx="1341120" cy="373380"/>
          </a:xfrm>
          <a:custGeom>
            <a:avLst/>
            <a:gdLst/>
            <a:ahLst/>
            <a:cxnLst/>
            <a:rect l="l" t="t" r="r" b="b"/>
            <a:pathLst>
              <a:path w="1341120" h="373379">
                <a:moveTo>
                  <a:pt x="1154429" y="0"/>
                </a:moveTo>
                <a:lnTo>
                  <a:pt x="186689" y="0"/>
                </a:lnTo>
                <a:lnTo>
                  <a:pt x="137054" y="6667"/>
                </a:lnTo>
                <a:lnTo>
                  <a:pt x="92456" y="25484"/>
                </a:lnTo>
                <a:lnTo>
                  <a:pt x="54673" y="54673"/>
                </a:lnTo>
                <a:lnTo>
                  <a:pt x="25484" y="92456"/>
                </a:lnTo>
                <a:lnTo>
                  <a:pt x="6667" y="137054"/>
                </a:lnTo>
                <a:lnTo>
                  <a:pt x="0" y="186689"/>
                </a:lnTo>
                <a:lnTo>
                  <a:pt x="6667" y="236325"/>
                </a:lnTo>
                <a:lnTo>
                  <a:pt x="25484" y="280924"/>
                </a:lnTo>
                <a:lnTo>
                  <a:pt x="54673" y="318706"/>
                </a:lnTo>
                <a:lnTo>
                  <a:pt x="92456" y="347895"/>
                </a:lnTo>
                <a:lnTo>
                  <a:pt x="137054" y="366712"/>
                </a:lnTo>
                <a:lnTo>
                  <a:pt x="186689" y="373380"/>
                </a:lnTo>
                <a:lnTo>
                  <a:pt x="1154429" y="373380"/>
                </a:lnTo>
                <a:lnTo>
                  <a:pt x="1204065" y="366712"/>
                </a:lnTo>
                <a:lnTo>
                  <a:pt x="1248664" y="347895"/>
                </a:lnTo>
                <a:lnTo>
                  <a:pt x="1286446" y="318706"/>
                </a:lnTo>
                <a:lnTo>
                  <a:pt x="1315635" y="280924"/>
                </a:lnTo>
                <a:lnTo>
                  <a:pt x="1334452" y="236325"/>
                </a:lnTo>
                <a:lnTo>
                  <a:pt x="1341120" y="186689"/>
                </a:lnTo>
                <a:lnTo>
                  <a:pt x="1334452" y="137054"/>
                </a:lnTo>
                <a:lnTo>
                  <a:pt x="1315635" y="92456"/>
                </a:lnTo>
                <a:lnTo>
                  <a:pt x="1286446" y="54673"/>
                </a:lnTo>
                <a:lnTo>
                  <a:pt x="1248664" y="25484"/>
                </a:lnTo>
                <a:lnTo>
                  <a:pt x="1204065" y="6667"/>
                </a:lnTo>
                <a:lnTo>
                  <a:pt x="1154429" y="0"/>
                </a:lnTo>
                <a:close/>
              </a:path>
            </a:pathLst>
          </a:custGeom>
          <a:solidFill>
            <a:srgbClr val="85BB24"/>
          </a:solidFill>
        </p:spPr>
        <p:txBody>
          <a:bodyPr wrap="square" lIns="0" tIns="0" rIns="0" bIns="0" rtlCol="0"/>
          <a:lstStyle/>
          <a:p>
            <a:endParaRPr/>
          </a:p>
        </p:txBody>
      </p:sp>
      <p:sp>
        <p:nvSpPr>
          <p:cNvPr id="20" name="object 16">
            <a:extLst>
              <a:ext uri="{FF2B5EF4-FFF2-40B4-BE49-F238E27FC236}">
                <a16:creationId xmlns:a16="http://schemas.microsoft.com/office/drawing/2014/main" id="{40ADF746-A17B-2B36-B3B8-1C4A03046E77}"/>
              </a:ext>
            </a:extLst>
          </p:cNvPr>
          <p:cNvSpPr txBox="1"/>
          <p:nvPr/>
        </p:nvSpPr>
        <p:spPr>
          <a:xfrm>
            <a:off x="5037582" y="4006088"/>
            <a:ext cx="102552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FFFFFF"/>
                </a:solidFill>
                <a:latin typeface="Calibri"/>
                <a:cs typeface="Calibri"/>
              </a:rPr>
              <a:t>Release</a:t>
            </a:r>
            <a:r>
              <a:rPr sz="900" spc="-35">
                <a:solidFill>
                  <a:srgbClr val="FFFFFF"/>
                </a:solidFill>
                <a:latin typeface="Calibri"/>
                <a:cs typeface="Calibri"/>
              </a:rPr>
              <a:t> </a:t>
            </a:r>
            <a:r>
              <a:rPr sz="900" spc="-10">
                <a:solidFill>
                  <a:srgbClr val="FFFFFF"/>
                </a:solidFill>
                <a:latin typeface="Calibri"/>
                <a:cs typeface="Calibri"/>
              </a:rPr>
              <a:t>management</a:t>
            </a:r>
            <a:endParaRPr sz="900">
              <a:latin typeface="Calibri"/>
              <a:cs typeface="Calibri"/>
            </a:endParaRPr>
          </a:p>
        </p:txBody>
      </p:sp>
      <p:sp>
        <p:nvSpPr>
          <p:cNvPr id="21" name="object 17">
            <a:extLst>
              <a:ext uri="{FF2B5EF4-FFF2-40B4-BE49-F238E27FC236}">
                <a16:creationId xmlns:a16="http://schemas.microsoft.com/office/drawing/2014/main" id="{743C741E-810C-E67F-A68F-BA7F83EE21FE}"/>
              </a:ext>
            </a:extLst>
          </p:cNvPr>
          <p:cNvSpPr/>
          <p:nvPr/>
        </p:nvSpPr>
        <p:spPr>
          <a:xfrm>
            <a:off x="6309359" y="4206240"/>
            <a:ext cx="1339850" cy="372110"/>
          </a:xfrm>
          <a:custGeom>
            <a:avLst/>
            <a:gdLst/>
            <a:ahLst/>
            <a:cxnLst/>
            <a:rect l="l" t="t" r="r" b="b"/>
            <a:pathLst>
              <a:path w="1339850" h="372110">
                <a:moveTo>
                  <a:pt x="1153667" y="0"/>
                </a:moveTo>
                <a:lnTo>
                  <a:pt x="185927" y="0"/>
                </a:lnTo>
                <a:lnTo>
                  <a:pt x="136480" y="6637"/>
                </a:lnTo>
                <a:lnTo>
                  <a:pt x="92060" y="25371"/>
                </a:lnTo>
                <a:lnTo>
                  <a:pt x="54435" y="54435"/>
                </a:lnTo>
                <a:lnTo>
                  <a:pt x="25371" y="92060"/>
                </a:lnTo>
                <a:lnTo>
                  <a:pt x="6637" y="136480"/>
                </a:lnTo>
                <a:lnTo>
                  <a:pt x="0" y="185928"/>
                </a:lnTo>
                <a:lnTo>
                  <a:pt x="6637" y="235375"/>
                </a:lnTo>
                <a:lnTo>
                  <a:pt x="25371" y="279795"/>
                </a:lnTo>
                <a:lnTo>
                  <a:pt x="54435" y="317420"/>
                </a:lnTo>
                <a:lnTo>
                  <a:pt x="92060" y="346484"/>
                </a:lnTo>
                <a:lnTo>
                  <a:pt x="136480" y="365218"/>
                </a:lnTo>
                <a:lnTo>
                  <a:pt x="185927" y="371856"/>
                </a:lnTo>
                <a:lnTo>
                  <a:pt x="1153667" y="371856"/>
                </a:lnTo>
                <a:lnTo>
                  <a:pt x="1203115" y="365218"/>
                </a:lnTo>
                <a:lnTo>
                  <a:pt x="1247535" y="346484"/>
                </a:lnTo>
                <a:lnTo>
                  <a:pt x="1285160" y="317420"/>
                </a:lnTo>
                <a:lnTo>
                  <a:pt x="1314224" y="279795"/>
                </a:lnTo>
                <a:lnTo>
                  <a:pt x="1332958" y="235375"/>
                </a:lnTo>
                <a:lnTo>
                  <a:pt x="1339595" y="185928"/>
                </a:lnTo>
                <a:lnTo>
                  <a:pt x="1332958" y="136480"/>
                </a:lnTo>
                <a:lnTo>
                  <a:pt x="1314224" y="92060"/>
                </a:lnTo>
                <a:lnTo>
                  <a:pt x="1285160" y="54435"/>
                </a:lnTo>
                <a:lnTo>
                  <a:pt x="1247535" y="25371"/>
                </a:lnTo>
                <a:lnTo>
                  <a:pt x="1203115" y="6637"/>
                </a:lnTo>
                <a:lnTo>
                  <a:pt x="1153667" y="0"/>
                </a:lnTo>
                <a:close/>
              </a:path>
            </a:pathLst>
          </a:custGeom>
          <a:solidFill>
            <a:srgbClr val="85BB24"/>
          </a:solidFill>
        </p:spPr>
        <p:txBody>
          <a:bodyPr wrap="square" lIns="0" tIns="0" rIns="0" bIns="0" rtlCol="0"/>
          <a:lstStyle/>
          <a:p>
            <a:endParaRPr/>
          </a:p>
        </p:txBody>
      </p:sp>
      <p:sp>
        <p:nvSpPr>
          <p:cNvPr id="22" name="object 18">
            <a:extLst>
              <a:ext uri="{FF2B5EF4-FFF2-40B4-BE49-F238E27FC236}">
                <a16:creationId xmlns:a16="http://schemas.microsoft.com/office/drawing/2014/main" id="{37BD2AB9-E5BC-92B9-B5B3-A067448D03DB}"/>
              </a:ext>
            </a:extLst>
          </p:cNvPr>
          <p:cNvSpPr txBox="1"/>
          <p:nvPr/>
        </p:nvSpPr>
        <p:spPr>
          <a:xfrm>
            <a:off x="6563614" y="4303903"/>
            <a:ext cx="83375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FFFFFF"/>
                </a:solidFill>
                <a:latin typeface="Calibri"/>
                <a:cs typeface="Calibri"/>
              </a:rPr>
              <a:t>SLA</a:t>
            </a:r>
            <a:r>
              <a:rPr sz="900" spc="-25">
                <a:solidFill>
                  <a:srgbClr val="FFFFFF"/>
                </a:solidFill>
                <a:latin typeface="Calibri"/>
                <a:cs typeface="Calibri"/>
              </a:rPr>
              <a:t> </a:t>
            </a:r>
            <a:r>
              <a:rPr sz="900" spc="-10">
                <a:solidFill>
                  <a:srgbClr val="FFFFFF"/>
                </a:solidFill>
                <a:latin typeface="Calibri"/>
                <a:cs typeface="Calibri"/>
              </a:rPr>
              <a:t>management</a:t>
            </a:r>
            <a:endParaRPr sz="900">
              <a:latin typeface="Calibri"/>
              <a:cs typeface="Calibri"/>
            </a:endParaRPr>
          </a:p>
        </p:txBody>
      </p:sp>
      <p:sp>
        <p:nvSpPr>
          <p:cNvPr id="23" name="object 19">
            <a:extLst>
              <a:ext uri="{FF2B5EF4-FFF2-40B4-BE49-F238E27FC236}">
                <a16:creationId xmlns:a16="http://schemas.microsoft.com/office/drawing/2014/main" id="{88B40D81-D56D-52DA-F4D8-19303BACBB97}"/>
              </a:ext>
            </a:extLst>
          </p:cNvPr>
          <p:cNvSpPr/>
          <p:nvPr/>
        </p:nvSpPr>
        <p:spPr>
          <a:xfrm>
            <a:off x="1940052" y="1927859"/>
            <a:ext cx="1207135" cy="628015"/>
          </a:xfrm>
          <a:custGeom>
            <a:avLst/>
            <a:gdLst/>
            <a:ahLst/>
            <a:cxnLst/>
            <a:rect l="l" t="t" r="r" b="b"/>
            <a:pathLst>
              <a:path w="1207135" h="628014">
                <a:moveTo>
                  <a:pt x="1207008" y="0"/>
                </a:moveTo>
                <a:lnTo>
                  <a:pt x="0" y="0"/>
                </a:lnTo>
                <a:lnTo>
                  <a:pt x="0" y="338328"/>
                </a:lnTo>
                <a:lnTo>
                  <a:pt x="121920" y="338328"/>
                </a:lnTo>
                <a:lnTo>
                  <a:pt x="121920" y="627888"/>
                </a:lnTo>
                <a:lnTo>
                  <a:pt x="1068324" y="627888"/>
                </a:lnTo>
                <a:lnTo>
                  <a:pt x="1068324" y="338328"/>
                </a:lnTo>
                <a:lnTo>
                  <a:pt x="1207008" y="338328"/>
                </a:lnTo>
                <a:lnTo>
                  <a:pt x="1207008" y="0"/>
                </a:lnTo>
                <a:close/>
              </a:path>
            </a:pathLst>
          </a:custGeom>
          <a:solidFill>
            <a:srgbClr val="FFFFFF"/>
          </a:solidFill>
        </p:spPr>
        <p:txBody>
          <a:bodyPr wrap="square" lIns="0" tIns="0" rIns="0" bIns="0" rtlCol="0"/>
          <a:lstStyle/>
          <a:p>
            <a:endParaRPr/>
          </a:p>
        </p:txBody>
      </p:sp>
      <p:sp>
        <p:nvSpPr>
          <p:cNvPr id="24" name="object 20">
            <a:extLst>
              <a:ext uri="{FF2B5EF4-FFF2-40B4-BE49-F238E27FC236}">
                <a16:creationId xmlns:a16="http://schemas.microsoft.com/office/drawing/2014/main" id="{A9DB53AF-927E-C245-3843-491FAD262194}"/>
              </a:ext>
            </a:extLst>
          </p:cNvPr>
          <p:cNvSpPr txBox="1"/>
          <p:nvPr/>
        </p:nvSpPr>
        <p:spPr>
          <a:xfrm>
            <a:off x="2105025" y="1953513"/>
            <a:ext cx="862330" cy="561975"/>
          </a:xfrm>
          <a:prstGeom prst="rect">
            <a:avLst/>
          </a:prstGeom>
        </p:spPr>
        <p:txBody>
          <a:bodyPr vert="horz" wrap="square" lIns="0" tIns="13335" rIns="0" bIns="0" rtlCol="0">
            <a:spAutoFit/>
          </a:bodyPr>
          <a:lstStyle/>
          <a:p>
            <a:pPr marL="102870" marR="78105" algn="ctr">
              <a:lnSpc>
                <a:spcPct val="100000"/>
              </a:lnSpc>
              <a:spcBef>
                <a:spcPts val="105"/>
              </a:spcBef>
            </a:pPr>
            <a:r>
              <a:rPr sz="800">
                <a:latin typeface="Calibri"/>
                <a:cs typeface="Calibri"/>
              </a:rPr>
              <a:t>Service</a:t>
            </a:r>
            <a:r>
              <a:rPr sz="800" spc="-30">
                <a:latin typeface="Calibri"/>
                <a:cs typeface="Calibri"/>
              </a:rPr>
              <a:t> </a:t>
            </a:r>
            <a:r>
              <a:rPr sz="800" spc="-10">
                <a:latin typeface="Calibri"/>
                <a:cs typeface="Calibri"/>
              </a:rPr>
              <a:t>requests</a:t>
            </a:r>
            <a:r>
              <a:rPr sz="800" spc="500">
                <a:latin typeface="Calibri"/>
                <a:cs typeface="Calibri"/>
              </a:rPr>
              <a:t> </a:t>
            </a:r>
            <a:r>
              <a:rPr sz="800">
                <a:latin typeface="Calibri"/>
                <a:cs typeface="Calibri"/>
              </a:rPr>
              <a:t>or</a:t>
            </a:r>
            <a:r>
              <a:rPr sz="800" spc="-15">
                <a:latin typeface="Calibri"/>
                <a:cs typeface="Calibri"/>
              </a:rPr>
              <a:t> </a:t>
            </a:r>
            <a:r>
              <a:rPr sz="800" spc="-10">
                <a:latin typeface="Calibri"/>
                <a:cs typeface="Calibri"/>
              </a:rPr>
              <a:t>incidents</a:t>
            </a:r>
            <a:endParaRPr sz="800">
              <a:latin typeface="Calibri"/>
              <a:cs typeface="Calibri"/>
            </a:endParaRPr>
          </a:p>
          <a:p>
            <a:pPr marL="12700" marR="5080" algn="ctr">
              <a:lnSpc>
                <a:spcPct val="100000"/>
              </a:lnSpc>
              <a:spcBef>
                <a:spcPts val="375"/>
              </a:spcBef>
            </a:pPr>
            <a:r>
              <a:rPr sz="800" spc="-10">
                <a:latin typeface="Calibri"/>
                <a:cs typeface="Calibri"/>
              </a:rPr>
              <a:t>Communication</a:t>
            </a:r>
            <a:r>
              <a:rPr sz="800" spc="70">
                <a:latin typeface="Calibri"/>
                <a:cs typeface="Calibri"/>
              </a:rPr>
              <a:t> </a:t>
            </a:r>
            <a:r>
              <a:rPr sz="800" spc="-25">
                <a:latin typeface="Calibri"/>
                <a:cs typeface="Calibri"/>
              </a:rPr>
              <a:t>and</a:t>
            </a:r>
            <a:r>
              <a:rPr sz="800" spc="500">
                <a:latin typeface="Calibri"/>
                <a:cs typeface="Calibri"/>
              </a:rPr>
              <a:t> </a:t>
            </a:r>
            <a:r>
              <a:rPr sz="800" spc="-10">
                <a:latin typeface="Calibri"/>
                <a:cs typeface="Calibri"/>
              </a:rPr>
              <a:t>updates</a:t>
            </a:r>
            <a:endParaRPr sz="800">
              <a:latin typeface="Calibri"/>
              <a:cs typeface="Calibri"/>
            </a:endParaRPr>
          </a:p>
        </p:txBody>
      </p:sp>
      <p:grpSp>
        <p:nvGrpSpPr>
          <p:cNvPr id="25" name="object 21">
            <a:extLst>
              <a:ext uri="{FF2B5EF4-FFF2-40B4-BE49-F238E27FC236}">
                <a16:creationId xmlns:a16="http://schemas.microsoft.com/office/drawing/2014/main" id="{E5473FC5-9AF4-9349-9797-EEACC3F09C6B}"/>
              </a:ext>
            </a:extLst>
          </p:cNvPr>
          <p:cNvGrpSpPr/>
          <p:nvPr/>
        </p:nvGrpSpPr>
        <p:grpSpPr>
          <a:xfrm>
            <a:off x="1840992" y="2852927"/>
            <a:ext cx="887094" cy="385445"/>
            <a:chOff x="1840992" y="2852927"/>
            <a:chExt cx="887094" cy="385445"/>
          </a:xfrm>
        </p:grpSpPr>
        <p:sp>
          <p:nvSpPr>
            <p:cNvPr id="26" name="object 22">
              <a:extLst>
                <a:ext uri="{FF2B5EF4-FFF2-40B4-BE49-F238E27FC236}">
                  <a16:creationId xmlns:a16="http://schemas.microsoft.com/office/drawing/2014/main" id="{6ECB0B71-BCAB-0619-0D60-C340FED9B528}"/>
                </a:ext>
              </a:extLst>
            </p:cNvPr>
            <p:cNvSpPr/>
            <p:nvPr/>
          </p:nvSpPr>
          <p:spPr>
            <a:xfrm>
              <a:off x="1840992" y="3005073"/>
              <a:ext cx="887094" cy="233045"/>
            </a:xfrm>
            <a:custGeom>
              <a:avLst/>
              <a:gdLst/>
              <a:ahLst/>
              <a:cxnLst/>
              <a:rect l="l" t="t" r="r" b="b"/>
              <a:pathLst>
                <a:path w="887094" h="233044">
                  <a:moveTo>
                    <a:pt x="842644" y="156845"/>
                  </a:moveTo>
                  <a:lnTo>
                    <a:pt x="810894" y="156845"/>
                  </a:lnTo>
                  <a:lnTo>
                    <a:pt x="848994" y="233045"/>
                  </a:lnTo>
                  <a:lnTo>
                    <a:pt x="880744" y="169545"/>
                  </a:lnTo>
                  <a:lnTo>
                    <a:pt x="842644" y="169545"/>
                  </a:lnTo>
                  <a:lnTo>
                    <a:pt x="842644" y="156845"/>
                  </a:lnTo>
                  <a:close/>
                </a:path>
                <a:path w="887094" h="233044">
                  <a:moveTo>
                    <a:pt x="842644" y="6350"/>
                  </a:moveTo>
                  <a:lnTo>
                    <a:pt x="842644" y="169545"/>
                  </a:lnTo>
                  <a:lnTo>
                    <a:pt x="855344" y="169545"/>
                  </a:lnTo>
                  <a:lnTo>
                    <a:pt x="855344" y="12700"/>
                  </a:lnTo>
                  <a:lnTo>
                    <a:pt x="848994" y="12700"/>
                  </a:lnTo>
                  <a:lnTo>
                    <a:pt x="842644" y="6350"/>
                  </a:lnTo>
                  <a:close/>
                </a:path>
                <a:path w="887094" h="233044">
                  <a:moveTo>
                    <a:pt x="887094" y="156845"/>
                  </a:moveTo>
                  <a:lnTo>
                    <a:pt x="855344" y="156845"/>
                  </a:lnTo>
                  <a:lnTo>
                    <a:pt x="855344" y="169545"/>
                  </a:lnTo>
                  <a:lnTo>
                    <a:pt x="880744" y="169545"/>
                  </a:lnTo>
                  <a:lnTo>
                    <a:pt x="887094" y="156845"/>
                  </a:lnTo>
                  <a:close/>
                </a:path>
                <a:path w="887094" h="233044">
                  <a:moveTo>
                    <a:pt x="852424" y="0"/>
                  </a:moveTo>
                  <a:lnTo>
                    <a:pt x="0" y="0"/>
                  </a:lnTo>
                  <a:lnTo>
                    <a:pt x="0" y="12700"/>
                  </a:lnTo>
                  <a:lnTo>
                    <a:pt x="842644" y="12700"/>
                  </a:lnTo>
                  <a:lnTo>
                    <a:pt x="842644" y="6350"/>
                  </a:lnTo>
                  <a:lnTo>
                    <a:pt x="855344" y="6350"/>
                  </a:lnTo>
                  <a:lnTo>
                    <a:pt x="855344" y="2793"/>
                  </a:lnTo>
                  <a:lnTo>
                    <a:pt x="852424" y="0"/>
                  </a:lnTo>
                  <a:close/>
                </a:path>
                <a:path w="887094" h="233044">
                  <a:moveTo>
                    <a:pt x="855344" y="6350"/>
                  </a:moveTo>
                  <a:lnTo>
                    <a:pt x="842644" y="6350"/>
                  </a:lnTo>
                  <a:lnTo>
                    <a:pt x="848994" y="12700"/>
                  </a:lnTo>
                  <a:lnTo>
                    <a:pt x="855344" y="12700"/>
                  </a:lnTo>
                  <a:lnTo>
                    <a:pt x="855344" y="6350"/>
                  </a:lnTo>
                  <a:close/>
                </a:path>
              </a:pathLst>
            </a:custGeom>
            <a:solidFill>
              <a:srgbClr val="000000"/>
            </a:solidFill>
          </p:spPr>
          <p:txBody>
            <a:bodyPr wrap="square" lIns="0" tIns="0" rIns="0" bIns="0" rtlCol="0"/>
            <a:lstStyle/>
            <a:p>
              <a:endParaRPr/>
            </a:p>
          </p:txBody>
        </p:sp>
        <p:sp>
          <p:nvSpPr>
            <p:cNvPr id="27" name="object 23">
              <a:extLst>
                <a:ext uri="{FF2B5EF4-FFF2-40B4-BE49-F238E27FC236}">
                  <a16:creationId xmlns:a16="http://schemas.microsoft.com/office/drawing/2014/main" id="{0931044E-A1DF-AC8C-91F4-6413798A3268}"/>
                </a:ext>
              </a:extLst>
            </p:cNvPr>
            <p:cNvSpPr/>
            <p:nvPr/>
          </p:nvSpPr>
          <p:spPr>
            <a:xfrm>
              <a:off x="1975104" y="2852927"/>
              <a:ext cx="559435" cy="245745"/>
            </a:xfrm>
            <a:custGeom>
              <a:avLst/>
              <a:gdLst/>
              <a:ahLst/>
              <a:cxnLst/>
              <a:rect l="l" t="t" r="r" b="b"/>
              <a:pathLst>
                <a:path w="559435" h="245744">
                  <a:moveTo>
                    <a:pt x="559307" y="0"/>
                  </a:moveTo>
                  <a:lnTo>
                    <a:pt x="0" y="0"/>
                  </a:lnTo>
                  <a:lnTo>
                    <a:pt x="0" y="245363"/>
                  </a:lnTo>
                  <a:lnTo>
                    <a:pt x="559307" y="245363"/>
                  </a:lnTo>
                  <a:lnTo>
                    <a:pt x="559307" y="0"/>
                  </a:lnTo>
                  <a:close/>
                </a:path>
              </a:pathLst>
            </a:custGeom>
            <a:solidFill>
              <a:srgbClr val="FFFFFF"/>
            </a:solidFill>
          </p:spPr>
          <p:txBody>
            <a:bodyPr wrap="square" lIns="0" tIns="0" rIns="0" bIns="0" rtlCol="0"/>
            <a:lstStyle/>
            <a:p>
              <a:endParaRPr/>
            </a:p>
          </p:txBody>
        </p:sp>
      </p:grpSp>
      <p:sp>
        <p:nvSpPr>
          <p:cNvPr id="28" name="object 24">
            <a:extLst>
              <a:ext uri="{FF2B5EF4-FFF2-40B4-BE49-F238E27FC236}">
                <a16:creationId xmlns:a16="http://schemas.microsoft.com/office/drawing/2014/main" id="{FC6EAFBC-2EFE-FD44-2FDF-2E9C80E0FBAC}"/>
              </a:ext>
            </a:extLst>
          </p:cNvPr>
          <p:cNvSpPr txBox="1"/>
          <p:nvPr/>
        </p:nvSpPr>
        <p:spPr>
          <a:xfrm>
            <a:off x="2046223" y="2834132"/>
            <a:ext cx="416559" cy="269875"/>
          </a:xfrm>
          <a:prstGeom prst="rect">
            <a:avLst/>
          </a:prstGeom>
        </p:spPr>
        <p:txBody>
          <a:bodyPr vert="horz" wrap="square" lIns="0" tIns="13335" rIns="0" bIns="0" rtlCol="0">
            <a:spAutoFit/>
          </a:bodyPr>
          <a:lstStyle/>
          <a:p>
            <a:pPr marL="12700" marR="5080" indent="100330">
              <a:lnSpc>
                <a:spcPct val="100000"/>
              </a:lnSpc>
              <a:spcBef>
                <a:spcPts val="105"/>
              </a:spcBef>
            </a:pPr>
            <a:r>
              <a:rPr sz="800" spc="-25">
                <a:latin typeface="Calibri"/>
                <a:cs typeface="Calibri"/>
              </a:rPr>
              <a:t>New</a:t>
            </a:r>
            <a:r>
              <a:rPr sz="800" spc="500">
                <a:latin typeface="Calibri"/>
                <a:cs typeface="Calibri"/>
              </a:rPr>
              <a:t> </a:t>
            </a:r>
            <a:r>
              <a:rPr sz="800" spc="-10">
                <a:latin typeface="Calibri"/>
                <a:cs typeface="Calibri"/>
              </a:rPr>
              <a:t>problems</a:t>
            </a:r>
            <a:endParaRPr sz="800">
              <a:latin typeface="Calibri"/>
              <a:cs typeface="Calibri"/>
            </a:endParaRPr>
          </a:p>
        </p:txBody>
      </p:sp>
      <p:sp>
        <p:nvSpPr>
          <p:cNvPr id="29" name="object 25">
            <a:extLst>
              <a:ext uri="{FF2B5EF4-FFF2-40B4-BE49-F238E27FC236}">
                <a16:creationId xmlns:a16="http://schemas.microsoft.com/office/drawing/2014/main" id="{1C48A07D-5834-FA56-6591-8F9AA04E08B2}"/>
              </a:ext>
            </a:extLst>
          </p:cNvPr>
          <p:cNvSpPr txBox="1"/>
          <p:nvPr/>
        </p:nvSpPr>
        <p:spPr>
          <a:xfrm>
            <a:off x="3358388" y="2882011"/>
            <a:ext cx="492125" cy="391795"/>
          </a:xfrm>
          <a:prstGeom prst="rect">
            <a:avLst/>
          </a:prstGeom>
        </p:spPr>
        <p:txBody>
          <a:bodyPr vert="horz" wrap="square" lIns="0" tIns="13335" rIns="0" bIns="0" rtlCol="0">
            <a:spAutoFit/>
          </a:bodyPr>
          <a:lstStyle/>
          <a:p>
            <a:pPr marL="12700" marR="5080" indent="635" algn="ctr">
              <a:lnSpc>
                <a:spcPct val="100000"/>
              </a:lnSpc>
              <a:spcBef>
                <a:spcPts val="105"/>
              </a:spcBef>
            </a:pPr>
            <a:r>
              <a:rPr sz="800" spc="-10">
                <a:latin typeface="Calibri"/>
                <a:cs typeface="Calibri"/>
              </a:rPr>
              <a:t>Request</a:t>
            </a:r>
            <a:r>
              <a:rPr sz="800" spc="500">
                <a:latin typeface="Calibri"/>
                <a:cs typeface="Calibri"/>
              </a:rPr>
              <a:t> </a:t>
            </a:r>
            <a:r>
              <a:rPr sz="800">
                <a:latin typeface="Calibri"/>
                <a:cs typeface="Calibri"/>
              </a:rPr>
              <a:t>For</a:t>
            </a:r>
            <a:r>
              <a:rPr sz="800" spc="-25">
                <a:latin typeface="Calibri"/>
                <a:cs typeface="Calibri"/>
              </a:rPr>
              <a:t> </a:t>
            </a:r>
            <a:r>
              <a:rPr sz="800" spc="-10">
                <a:latin typeface="Calibri"/>
                <a:cs typeface="Calibri"/>
              </a:rPr>
              <a:t>Change</a:t>
            </a:r>
            <a:r>
              <a:rPr sz="800" spc="500">
                <a:latin typeface="Calibri"/>
                <a:cs typeface="Calibri"/>
              </a:rPr>
              <a:t> </a:t>
            </a:r>
            <a:r>
              <a:rPr sz="800" spc="-10">
                <a:latin typeface="Calibri"/>
                <a:cs typeface="Calibri"/>
              </a:rPr>
              <a:t>(RFC)</a:t>
            </a:r>
            <a:endParaRPr sz="800">
              <a:latin typeface="Calibri"/>
              <a:cs typeface="Calibri"/>
            </a:endParaRPr>
          </a:p>
        </p:txBody>
      </p:sp>
      <p:sp>
        <p:nvSpPr>
          <p:cNvPr id="30" name="object 26">
            <a:extLst>
              <a:ext uri="{FF2B5EF4-FFF2-40B4-BE49-F238E27FC236}">
                <a16:creationId xmlns:a16="http://schemas.microsoft.com/office/drawing/2014/main" id="{3CEC6D74-DE79-F57C-39C8-F83337771CF9}"/>
              </a:ext>
            </a:extLst>
          </p:cNvPr>
          <p:cNvSpPr/>
          <p:nvPr/>
        </p:nvSpPr>
        <p:spPr>
          <a:xfrm>
            <a:off x="4215384" y="2494787"/>
            <a:ext cx="1372235" cy="1412875"/>
          </a:xfrm>
          <a:custGeom>
            <a:avLst/>
            <a:gdLst/>
            <a:ahLst/>
            <a:cxnLst/>
            <a:rect l="l" t="t" r="r" b="b"/>
            <a:pathLst>
              <a:path w="1372235" h="1412875">
                <a:moveTo>
                  <a:pt x="76200" y="965454"/>
                </a:moveTo>
                <a:lnTo>
                  <a:pt x="44450" y="965454"/>
                </a:lnTo>
                <a:lnTo>
                  <a:pt x="44450" y="0"/>
                </a:lnTo>
                <a:lnTo>
                  <a:pt x="31750" y="0"/>
                </a:lnTo>
                <a:lnTo>
                  <a:pt x="31750" y="965454"/>
                </a:lnTo>
                <a:lnTo>
                  <a:pt x="0" y="965454"/>
                </a:lnTo>
                <a:lnTo>
                  <a:pt x="38100" y="1041654"/>
                </a:lnTo>
                <a:lnTo>
                  <a:pt x="69850" y="978154"/>
                </a:lnTo>
                <a:lnTo>
                  <a:pt x="76200" y="965454"/>
                </a:lnTo>
                <a:close/>
              </a:path>
              <a:path w="1372235" h="1412875">
                <a:moveTo>
                  <a:pt x="1372235" y="1336675"/>
                </a:moveTo>
                <a:lnTo>
                  <a:pt x="1340485" y="1336675"/>
                </a:lnTo>
                <a:lnTo>
                  <a:pt x="1340485" y="1233170"/>
                </a:lnTo>
                <a:lnTo>
                  <a:pt x="1340485" y="1226820"/>
                </a:lnTo>
                <a:lnTo>
                  <a:pt x="1340485" y="1223264"/>
                </a:lnTo>
                <a:lnTo>
                  <a:pt x="1337691" y="1220470"/>
                </a:lnTo>
                <a:lnTo>
                  <a:pt x="574548" y="1220470"/>
                </a:lnTo>
                <a:lnTo>
                  <a:pt x="574548" y="1233170"/>
                </a:lnTo>
                <a:lnTo>
                  <a:pt x="1327785" y="1233170"/>
                </a:lnTo>
                <a:lnTo>
                  <a:pt x="1327785" y="1336675"/>
                </a:lnTo>
                <a:lnTo>
                  <a:pt x="1296035" y="1336675"/>
                </a:lnTo>
                <a:lnTo>
                  <a:pt x="1334135" y="1412875"/>
                </a:lnTo>
                <a:lnTo>
                  <a:pt x="1365885" y="1349375"/>
                </a:lnTo>
                <a:lnTo>
                  <a:pt x="1372235" y="1336675"/>
                </a:lnTo>
                <a:close/>
              </a:path>
            </a:pathLst>
          </a:custGeom>
          <a:solidFill>
            <a:srgbClr val="000000"/>
          </a:solidFill>
        </p:spPr>
        <p:txBody>
          <a:bodyPr wrap="square" lIns="0" tIns="0" rIns="0" bIns="0" rtlCol="0"/>
          <a:lstStyle/>
          <a:p>
            <a:endParaRPr/>
          </a:p>
        </p:txBody>
      </p:sp>
      <p:sp>
        <p:nvSpPr>
          <p:cNvPr id="31" name="object 27">
            <a:extLst>
              <a:ext uri="{FF2B5EF4-FFF2-40B4-BE49-F238E27FC236}">
                <a16:creationId xmlns:a16="http://schemas.microsoft.com/office/drawing/2014/main" id="{4FFE4DB9-ACAE-217A-A5F7-82014D93201E}"/>
              </a:ext>
            </a:extLst>
          </p:cNvPr>
          <p:cNvSpPr txBox="1"/>
          <p:nvPr/>
        </p:nvSpPr>
        <p:spPr>
          <a:xfrm>
            <a:off x="5038090" y="3579367"/>
            <a:ext cx="162560" cy="132080"/>
          </a:xfrm>
          <a:prstGeom prst="rect">
            <a:avLst/>
          </a:prstGeom>
        </p:spPr>
        <p:txBody>
          <a:bodyPr vert="horz" wrap="square" lIns="0" tIns="12065" rIns="0" bIns="0" rtlCol="0">
            <a:spAutoFit/>
          </a:bodyPr>
          <a:lstStyle/>
          <a:p>
            <a:pPr marL="12700">
              <a:lnSpc>
                <a:spcPct val="100000"/>
              </a:lnSpc>
              <a:spcBef>
                <a:spcPts val="95"/>
              </a:spcBef>
            </a:pPr>
            <a:r>
              <a:rPr sz="700" spc="-25">
                <a:latin typeface="Calibri"/>
                <a:cs typeface="Calibri"/>
              </a:rPr>
              <a:t>RFC</a:t>
            </a:r>
            <a:endParaRPr sz="700">
              <a:latin typeface="Calibri"/>
              <a:cs typeface="Calibri"/>
            </a:endParaRPr>
          </a:p>
        </p:txBody>
      </p:sp>
      <p:sp>
        <p:nvSpPr>
          <p:cNvPr id="32" name="object 28">
            <a:extLst>
              <a:ext uri="{FF2B5EF4-FFF2-40B4-BE49-F238E27FC236}">
                <a16:creationId xmlns:a16="http://schemas.microsoft.com/office/drawing/2014/main" id="{237A3C14-54E8-33B7-41F2-1159D077EA9D}"/>
              </a:ext>
            </a:extLst>
          </p:cNvPr>
          <p:cNvSpPr/>
          <p:nvPr/>
        </p:nvSpPr>
        <p:spPr>
          <a:xfrm>
            <a:off x="6219444" y="4087114"/>
            <a:ext cx="798195" cy="118110"/>
          </a:xfrm>
          <a:custGeom>
            <a:avLst/>
            <a:gdLst/>
            <a:ahLst/>
            <a:cxnLst/>
            <a:rect l="l" t="t" r="r" b="b"/>
            <a:pathLst>
              <a:path w="798195" h="118110">
                <a:moveTo>
                  <a:pt x="753236" y="41783"/>
                </a:moveTo>
                <a:lnTo>
                  <a:pt x="721486" y="41783"/>
                </a:lnTo>
                <a:lnTo>
                  <a:pt x="759586" y="117983"/>
                </a:lnTo>
                <a:lnTo>
                  <a:pt x="791336" y="54483"/>
                </a:lnTo>
                <a:lnTo>
                  <a:pt x="753236" y="54483"/>
                </a:lnTo>
                <a:lnTo>
                  <a:pt x="753236" y="41783"/>
                </a:lnTo>
                <a:close/>
              </a:path>
              <a:path w="798195" h="118110">
                <a:moveTo>
                  <a:pt x="753236" y="6350"/>
                </a:moveTo>
                <a:lnTo>
                  <a:pt x="753236" y="54483"/>
                </a:lnTo>
                <a:lnTo>
                  <a:pt x="765936" y="54483"/>
                </a:lnTo>
                <a:lnTo>
                  <a:pt x="765936" y="12700"/>
                </a:lnTo>
                <a:lnTo>
                  <a:pt x="759586" y="12700"/>
                </a:lnTo>
                <a:lnTo>
                  <a:pt x="753236" y="6350"/>
                </a:lnTo>
                <a:close/>
              </a:path>
              <a:path w="798195" h="118110">
                <a:moveTo>
                  <a:pt x="797686" y="41783"/>
                </a:moveTo>
                <a:lnTo>
                  <a:pt x="765936" y="41783"/>
                </a:lnTo>
                <a:lnTo>
                  <a:pt x="765936" y="54483"/>
                </a:lnTo>
                <a:lnTo>
                  <a:pt x="791336" y="54483"/>
                </a:lnTo>
                <a:lnTo>
                  <a:pt x="797686" y="41783"/>
                </a:lnTo>
                <a:close/>
              </a:path>
              <a:path w="798195" h="118110">
                <a:moveTo>
                  <a:pt x="763142" y="0"/>
                </a:moveTo>
                <a:lnTo>
                  <a:pt x="0" y="0"/>
                </a:lnTo>
                <a:lnTo>
                  <a:pt x="0" y="12700"/>
                </a:lnTo>
                <a:lnTo>
                  <a:pt x="753236" y="12700"/>
                </a:lnTo>
                <a:lnTo>
                  <a:pt x="753236" y="6350"/>
                </a:lnTo>
                <a:lnTo>
                  <a:pt x="765936" y="6350"/>
                </a:lnTo>
                <a:lnTo>
                  <a:pt x="765936" y="2793"/>
                </a:lnTo>
                <a:lnTo>
                  <a:pt x="763142" y="0"/>
                </a:lnTo>
                <a:close/>
              </a:path>
              <a:path w="798195" h="118110">
                <a:moveTo>
                  <a:pt x="765936" y="6350"/>
                </a:moveTo>
                <a:lnTo>
                  <a:pt x="753236" y="6350"/>
                </a:lnTo>
                <a:lnTo>
                  <a:pt x="759586" y="12700"/>
                </a:lnTo>
                <a:lnTo>
                  <a:pt x="765936" y="12700"/>
                </a:lnTo>
                <a:lnTo>
                  <a:pt x="765936" y="6350"/>
                </a:lnTo>
                <a:close/>
              </a:path>
            </a:pathLst>
          </a:custGeom>
          <a:solidFill>
            <a:srgbClr val="85BB24"/>
          </a:solidFill>
        </p:spPr>
        <p:txBody>
          <a:bodyPr wrap="square" lIns="0" tIns="0" rIns="0" bIns="0" rtlCol="0"/>
          <a:lstStyle/>
          <a:p>
            <a:endParaRPr/>
          </a:p>
        </p:txBody>
      </p:sp>
      <p:sp>
        <p:nvSpPr>
          <p:cNvPr id="33" name="object 29">
            <a:extLst>
              <a:ext uri="{FF2B5EF4-FFF2-40B4-BE49-F238E27FC236}">
                <a16:creationId xmlns:a16="http://schemas.microsoft.com/office/drawing/2014/main" id="{9B01667D-09CC-16DC-7B69-E41AE6D4769D}"/>
              </a:ext>
            </a:extLst>
          </p:cNvPr>
          <p:cNvSpPr txBox="1"/>
          <p:nvPr/>
        </p:nvSpPr>
        <p:spPr>
          <a:xfrm>
            <a:off x="6447535" y="3954526"/>
            <a:ext cx="379095" cy="132080"/>
          </a:xfrm>
          <a:prstGeom prst="rect">
            <a:avLst/>
          </a:prstGeom>
        </p:spPr>
        <p:txBody>
          <a:bodyPr vert="horz" wrap="square" lIns="0" tIns="12065" rIns="0" bIns="0" rtlCol="0">
            <a:spAutoFit/>
          </a:bodyPr>
          <a:lstStyle/>
          <a:p>
            <a:pPr marL="12700">
              <a:lnSpc>
                <a:spcPct val="100000"/>
              </a:lnSpc>
              <a:spcBef>
                <a:spcPts val="95"/>
              </a:spcBef>
            </a:pPr>
            <a:r>
              <a:rPr sz="700">
                <a:latin typeface="Calibri"/>
                <a:cs typeface="Calibri"/>
              </a:rPr>
              <a:t>CI</a:t>
            </a:r>
            <a:r>
              <a:rPr sz="700" spc="-10">
                <a:latin typeface="Calibri"/>
                <a:cs typeface="Calibri"/>
              </a:rPr>
              <a:t> Update</a:t>
            </a:r>
            <a:endParaRPr sz="700">
              <a:latin typeface="Calibri"/>
              <a:cs typeface="Calibri"/>
            </a:endParaRPr>
          </a:p>
        </p:txBody>
      </p:sp>
      <p:grpSp>
        <p:nvGrpSpPr>
          <p:cNvPr id="34" name="object 30">
            <a:extLst>
              <a:ext uri="{FF2B5EF4-FFF2-40B4-BE49-F238E27FC236}">
                <a16:creationId xmlns:a16="http://schemas.microsoft.com/office/drawing/2014/main" id="{7A475D47-B897-6D40-2DF4-647C512F5972}"/>
              </a:ext>
            </a:extLst>
          </p:cNvPr>
          <p:cNvGrpSpPr/>
          <p:nvPr/>
        </p:nvGrpSpPr>
        <p:grpSpPr>
          <a:xfrm>
            <a:off x="541019" y="3197351"/>
            <a:ext cx="805180" cy="1682750"/>
            <a:chOff x="541019" y="3197351"/>
            <a:chExt cx="805180" cy="1682750"/>
          </a:xfrm>
        </p:grpSpPr>
        <p:sp>
          <p:nvSpPr>
            <p:cNvPr id="35" name="object 31">
              <a:extLst>
                <a:ext uri="{FF2B5EF4-FFF2-40B4-BE49-F238E27FC236}">
                  <a16:creationId xmlns:a16="http://schemas.microsoft.com/office/drawing/2014/main" id="{767ABC17-53B3-DA39-CABA-934AC72D8E42}"/>
                </a:ext>
              </a:extLst>
            </p:cNvPr>
            <p:cNvSpPr/>
            <p:nvPr/>
          </p:nvSpPr>
          <p:spPr>
            <a:xfrm>
              <a:off x="905255" y="3197351"/>
              <a:ext cx="76200" cy="1682750"/>
            </a:xfrm>
            <a:custGeom>
              <a:avLst/>
              <a:gdLst/>
              <a:ahLst/>
              <a:cxnLst/>
              <a:rect l="l" t="t" r="r" b="b"/>
              <a:pathLst>
                <a:path w="76200" h="1682750">
                  <a:moveTo>
                    <a:pt x="44450" y="63500"/>
                  </a:moveTo>
                  <a:lnTo>
                    <a:pt x="31750" y="63500"/>
                  </a:lnTo>
                  <a:lnTo>
                    <a:pt x="31750" y="1682750"/>
                  </a:lnTo>
                  <a:lnTo>
                    <a:pt x="44450" y="1682750"/>
                  </a:lnTo>
                  <a:lnTo>
                    <a:pt x="44450" y="63500"/>
                  </a:lnTo>
                  <a:close/>
                </a:path>
                <a:path w="76200" h="1682750">
                  <a:moveTo>
                    <a:pt x="38100" y="0"/>
                  </a:moveTo>
                  <a:lnTo>
                    <a:pt x="0" y="76200"/>
                  </a:lnTo>
                  <a:lnTo>
                    <a:pt x="31750" y="76200"/>
                  </a:lnTo>
                  <a:lnTo>
                    <a:pt x="31750" y="63500"/>
                  </a:lnTo>
                  <a:lnTo>
                    <a:pt x="69850" y="63500"/>
                  </a:lnTo>
                  <a:lnTo>
                    <a:pt x="38100" y="0"/>
                  </a:lnTo>
                  <a:close/>
                </a:path>
                <a:path w="76200" h="1682750">
                  <a:moveTo>
                    <a:pt x="69850" y="63500"/>
                  </a:moveTo>
                  <a:lnTo>
                    <a:pt x="44450" y="63500"/>
                  </a:lnTo>
                  <a:lnTo>
                    <a:pt x="44450" y="76200"/>
                  </a:lnTo>
                  <a:lnTo>
                    <a:pt x="76200" y="76200"/>
                  </a:lnTo>
                  <a:lnTo>
                    <a:pt x="69850" y="63500"/>
                  </a:lnTo>
                  <a:close/>
                </a:path>
              </a:pathLst>
            </a:custGeom>
            <a:solidFill>
              <a:srgbClr val="000000"/>
            </a:solidFill>
          </p:spPr>
          <p:txBody>
            <a:bodyPr wrap="square" lIns="0" tIns="0" rIns="0" bIns="0" rtlCol="0"/>
            <a:lstStyle/>
            <a:p>
              <a:endParaRPr/>
            </a:p>
          </p:txBody>
        </p:sp>
        <p:sp>
          <p:nvSpPr>
            <p:cNvPr id="36" name="object 32">
              <a:extLst>
                <a:ext uri="{FF2B5EF4-FFF2-40B4-BE49-F238E27FC236}">
                  <a16:creationId xmlns:a16="http://schemas.microsoft.com/office/drawing/2014/main" id="{9633CCFF-D61A-225A-3408-1B68CA5216C4}"/>
                </a:ext>
              </a:extLst>
            </p:cNvPr>
            <p:cNvSpPr/>
            <p:nvPr/>
          </p:nvSpPr>
          <p:spPr>
            <a:xfrm>
              <a:off x="541019" y="3619499"/>
              <a:ext cx="805180" cy="247015"/>
            </a:xfrm>
            <a:custGeom>
              <a:avLst/>
              <a:gdLst/>
              <a:ahLst/>
              <a:cxnLst/>
              <a:rect l="l" t="t" r="r" b="b"/>
              <a:pathLst>
                <a:path w="805180" h="247014">
                  <a:moveTo>
                    <a:pt x="804672" y="0"/>
                  </a:moveTo>
                  <a:lnTo>
                    <a:pt x="0" y="0"/>
                  </a:lnTo>
                  <a:lnTo>
                    <a:pt x="0" y="246887"/>
                  </a:lnTo>
                  <a:lnTo>
                    <a:pt x="804672" y="246887"/>
                  </a:lnTo>
                  <a:lnTo>
                    <a:pt x="804672" y="0"/>
                  </a:lnTo>
                  <a:close/>
                </a:path>
              </a:pathLst>
            </a:custGeom>
            <a:solidFill>
              <a:srgbClr val="FFFFFF"/>
            </a:solidFill>
          </p:spPr>
          <p:txBody>
            <a:bodyPr wrap="square" lIns="0" tIns="0" rIns="0" bIns="0" rtlCol="0"/>
            <a:lstStyle/>
            <a:p>
              <a:endParaRPr/>
            </a:p>
          </p:txBody>
        </p:sp>
      </p:grpSp>
      <p:sp>
        <p:nvSpPr>
          <p:cNvPr id="37" name="object 33">
            <a:extLst>
              <a:ext uri="{FF2B5EF4-FFF2-40B4-BE49-F238E27FC236}">
                <a16:creationId xmlns:a16="http://schemas.microsoft.com/office/drawing/2014/main" id="{29984D50-F718-3ACA-05F7-26B749DEBD42}"/>
              </a:ext>
            </a:extLst>
          </p:cNvPr>
          <p:cNvSpPr txBox="1"/>
          <p:nvPr/>
        </p:nvSpPr>
        <p:spPr>
          <a:xfrm>
            <a:off x="591413" y="3601592"/>
            <a:ext cx="702310" cy="147955"/>
          </a:xfrm>
          <a:prstGeom prst="rect">
            <a:avLst/>
          </a:prstGeom>
        </p:spPr>
        <p:txBody>
          <a:bodyPr vert="horz" wrap="square" lIns="0" tIns="12700" rIns="0" bIns="0" rtlCol="0">
            <a:spAutoFit/>
          </a:bodyPr>
          <a:lstStyle/>
          <a:p>
            <a:pPr marL="12700">
              <a:lnSpc>
                <a:spcPct val="100000"/>
              </a:lnSpc>
              <a:spcBef>
                <a:spcPts val="100"/>
              </a:spcBef>
            </a:pPr>
            <a:r>
              <a:rPr sz="800">
                <a:latin typeface="Calibri"/>
                <a:cs typeface="Calibri"/>
              </a:rPr>
              <a:t>Problem,</a:t>
            </a:r>
            <a:r>
              <a:rPr sz="800" spc="-40">
                <a:latin typeface="Calibri"/>
                <a:cs typeface="Calibri"/>
              </a:rPr>
              <a:t> </a:t>
            </a:r>
            <a:r>
              <a:rPr sz="800" spc="-10">
                <a:latin typeface="Calibri"/>
                <a:cs typeface="Calibri"/>
              </a:rPr>
              <a:t>known</a:t>
            </a:r>
            <a:endParaRPr sz="800">
              <a:latin typeface="Calibri"/>
              <a:cs typeface="Calibri"/>
            </a:endParaRPr>
          </a:p>
        </p:txBody>
      </p:sp>
      <p:sp>
        <p:nvSpPr>
          <p:cNvPr id="38" name="object 34">
            <a:extLst>
              <a:ext uri="{FF2B5EF4-FFF2-40B4-BE49-F238E27FC236}">
                <a16:creationId xmlns:a16="http://schemas.microsoft.com/office/drawing/2014/main" id="{78952190-81A9-0FCA-D213-FFA76169B5EA}"/>
              </a:ext>
            </a:extLst>
          </p:cNvPr>
          <p:cNvSpPr txBox="1"/>
          <p:nvPr/>
        </p:nvSpPr>
        <p:spPr>
          <a:xfrm>
            <a:off x="570077" y="3723513"/>
            <a:ext cx="746760" cy="147955"/>
          </a:xfrm>
          <a:prstGeom prst="rect">
            <a:avLst/>
          </a:prstGeom>
        </p:spPr>
        <p:txBody>
          <a:bodyPr vert="horz" wrap="square" lIns="0" tIns="12700" rIns="0" bIns="0" rtlCol="0">
            <a:spAutoFit/>
          </a:bodyPr>
          <a:lstStyle/>
          <a:p>
            <a:pPr marL="12700">
              <a:lnSpc>
                <a:spcPct val="100000"/>
              </a:lnSpc>
              <a:spcBef>
                <a:spcPts val="100"/>
              </a:spcBef>
            </a:pPr>
            <a:r>
              <a:rPr sz="800">
                <a:latin typeface="Calibri"/>
                <a:cs typeface="Calibri"/>
              </a:rPr>
              <a:t>error</a:t>
            </a:r>
            <a:r>
              <a:rPr sz="800" spc="-25">
                <a:latin typeface="Calibri"/>
                <a:cs typeface="Calibri"/>
              </a:rPr>
              <a:t> </a:t>
            </a:r>
            <a:r>
              <a:rPr sz="800" spc="-10">
                <a:latin typeface="Calibri"/>
                <a:cs typeface="Calibri"/>
              </a:rPr>
              <a:t>information</a:t>
            </a:r>
            <a:endParaRPr sz="800">
              <a:latin typeface="Calibri"/>
              <a:cs typeface="Calibri"/>
            </a:endParaRPr>
          </a:p>
        </p:txBody>
      </p:sp>
      <p:sp>
        <p:nvSpPr>
          <p:cNvPr id="39" name="object 35">
            <a:extLst>
              <a:ext uri="{FF2B5EF4-FFF2-40B4-BE49-F238E27FC236}">
                <a16:creationId xmlns:a16="http://schemas.microsoft.com/office/drawing/2014/main" id="{28D3F107-ED4A-B528-4226-E9AF5D536E19}"/>
              </a:ext>
            </a:extLst>
          </p:cNvPr>
          <p:cNvSpPr/>
          <p:nvPr/>
        </p:nvSpPr>
        <p:spPr>
          <a:xfrm>
            <a:off x="1252727" y="3959352"/>
            <a:ext cx="647700" cy="123825"/>
          </a:xfrm>
          <a:custGeom>
            <a:avLst/>
            <a:gdLst/>
            <a:ahLst/>
            <a:cxnLst/>
            <a:rect l="l" t="t" r="r" b="b"/>
            <a:pathLst>
              <a:path w="647700" h="123825">
                <a:moveTo>
                  <a:pt x="647699" y="0"/>
                </a:moveTo>
                <a:lnTo>
                  <a:pt x="0" y="0"/>
                </a:lnTo>
                <a:lnTo>
                  <a:pt x="0" y="123443"/>
                </a:lnTo>
                <a:lnTo>
                  <a:pt x="647699" y="123443"/>
                </a:lnTo>
                <a:lnTo>
                  <a:pt x="647699" y="0"/>
                </a:lnTo>
                <a:close/>
              </a:path>
            </a:pathLst>
          </a:custGeom>
          <a:solidFill>
            <a:srgbClr val="FFFFFF"/>
          </a:solidFill>
        </p:spPr>
        <p:txBody>
          <a:bodyPr wrap="square" lIns="0" tIns="0" rIns="0" bIns="0" rtlCol="0"/>
          <a:lstStyle/>
          <a:p>
            <a:endParaRPr/>
          </a:p>
        </p:txBody>
      </p:sp>
      <p:sp>
        <p:nvSpPr>
          <p:cNvPr id="40" name="object 36">
            <a:extLst>
              <a:ext uri="{FF2B5EF4-FFF2-40B4-BE49-F238E27FC236}">
                <a16:creationId xmlns:a16="http://schemas.microsoft.com/office/drawing/2014/main" id="{289B485A-8D60-D03B-9782-8081C188211A}"/>
              </a:ext>
            </a:extLst>
          </p:cNvPr>
          <p:cNvSpPr txBox="1"/>
          <p:nvPr/>
        </p:nvSpPr>
        <p:spPr>
          <a:xfrm>
            <a:off x="1375410" y="3940555"/>
            <a:ext cx="401320" cy="147955"/>
          </a:xfrm>
          <a:prstGeom prst="rect">
            <a:avLst/>
          </a:prstGeom>
        </p:spPr>
        <p:txBody>
          <a:bodyPr vert="horz" wrap="square" lIns="0" tIns="12700" rIns="0" bIns="0" rtlCol="0">
            <a:spAutoFit/>
          </a:bodyPr>
          <a:lstStyle/>
          <a:p>
            <a:pPr marL="12700">
              <a:lnSpc>
                <a:spcPct val="100000"/>
              </a:lnSpc>
              <a:spcBef>
                <a:spcPts val="100"/>
              </a:spcBef>
            </a:pPr>
            <a:r>
              <a:rPr sz="800" spc="-10">
                <a:latin typeface="Calibri"/>
                <a:cs typeface="Calibri"/>
              </a:rPr>
              <a:t>Incidents</a:t>
            </a:r>
            <a:endParaRPr sz="800">
              <a:latin typeface="Calibri"/>
              <a:cs typeface="Calibri"/>
            </a:endParaRPr>
          </a:p>
        </p:txBody>
      </p:sp>
      <p:grpSp>
        <p:nvGrpSpPr>
          <p:cNvPr id="41" name="object 37">
            <a:extLst>
              <a:ext uri="{FF2B5EF4-FFF2-40B4-BE49-F238E27FC236}">
                <a16:creationId xmlns:a16="http://schemas.microsoft.com/office/drawing/2014/main" id="{07FA582B-A0CF-3604-CCDF-CC8A807F91CE}"/>
              </a:ext>
            </a:extLst>
          </p:cNvPr>
          <p:cNvGrpSpPr/>
          <p:nvPr/>
        </p:nvGrpSpPr>
        <p:grpSpPr>
          <a:xfrm>
            <a:off x="1929383" y="3610355"/>
            <a:ext cx="715010" cy="1270000"/>
            <a:chOff x="1929383" y="3610355"/>
            <a:chExt cx="715010" cy="1270000"/>
          </a:xfrm>
        </p:grpSpPr>
        <p:sp>
          <p:nvSpPr>
            <p:cNvPr id="42" name="object 38">
              <a:extLst>
                <a:ext uri="{FF2B5EF4-FFF2-40B4-BE49-F238E27FC236}">
                  <a16:creationId xmlns:a16="http://schemas.microsoft.com/office/drawing/2014/main" id="{D2F9D82B-41FE-DE8B-C5EB-A51308C494B8}"/>
                </a:ext>
              </a:extLst>
            </p:cNvPr>
            <p:cNvSpPr/>
            <p:nvPr/>
          </p:nvSpPr>
          <p:spPr>
            <a:xfrm>
              <a:off x="2249423" y="3610355"/>
              <a:ext cx="76200" cy="1270000"/>
            </a:xfrm>
            <a:custGeom>
              <a:avLst/>
              <a:gdLst/>
              <a:ahLst/>
              <a:cxnLst/>
              <a:rect l="l" t="t" r="r" b="b"/>
              <a:pathLst>
                <a:path w="76200" h="1270000">
                  <a:moveTo>
                    <a:pt x="44450" y="63500"/>
                  </a:moveTo>
                  <a:lnTo>
                    <a:pt x="31750" y="63500"/>
                  </a:lnTo>
                  <a:lnTo>
                    <a:pt x="31750" y="1270000"/>
                  </a:lnTo>
                  <a:lnTo>
                    <a:pt x="44450" y="1270000"/>
                  </a:lnTo>
                  <a:lnTo>
                    <a:pt x="44450" y="63500"/>
                  </a:lnTo>
                  <a:close/>
                </a:path>
                <a:path w="76200" h="1270000">
                  <a:moveTo>
                    <a:pt x="38100" y="0"/>
                  </a:moveTo>
                  <a:lnTo>
                    <a:pt x="0" y="76200"/>
                  </a:lnTo>
                  <a:lnTo>
                    <a:pt x="31750" y="76200"/>
                  </a:lnTo>
                  <a:lnTo>
                    <a:pt x="31750" y="63500"/>
                  </a:lnTo>
                  <a:lnTo>
                    <a:pt x="69850" y="63500"/>
                  </a:lnTo>
                  <a:lnTo>
                    <a:pt x="38100" y="0"/>
                  </a:lnTo>
                  <a:close/>
                </a:path>
                <a:path w="76200" h="1270000">
                  <a:moveTo>
                    <a:pt x="69850" y="63500"/>
                  </a:moveTo>
                  <a:lnTo>
                    <a:pt x="44450" y="63500"/>
                  </a:lnTo>
                  <a:lnTo>
                    <a:pt x="44450" y="76200"/>
                  </a:lnTo>
                  <a:lnTo>
                    <a:pt x="76200" y="76200"/>
                  </a:lnTo>
                  <a:lnTo>
                    <a:pt x="69850" y="63500"/>
                  </a:lnTo>
                  <a:close/>
                </a:path>
              </a:pathLst>
            </a:custGeom>
            <a:solidFill>
              <a:srgbClr val="000000"/>
            </a:solidFill>
          </p:spPr>
          <p:txBody>
            <a:bodyPr wrap="square" lIns="0" tIns="0" rIns="0" bIns="0" rtlCol="0"/>
            <a:lstStyle/>
            <a:p>
              <a:endParaRPr/>
            </a:p>
          </p:txBody>
        </p:sp>
        <p:sp>
          <p:nvSpPr>
            <p:cNvPr id="43" name="object 39">
              <a:extLst>
                <a:ext uri="{FF2B5EF4-FFF2-40B4-BE49-F238E27FC236}">
                  <a16:creationId xmlns:a16="http://schemas.microsoft.com/office/drawing/2014/main" id="{30E27739-859D-F110-4F7F-298F02988440}"/>
                </a:ext>
              </a:extLst>
            </p:cNvPr>
            <p:cNvSpPr/>
            <p:nvPr/>
          </p:nvSpPr>
          <p:spPr>
            <a:xfrm>
              <a:off x="1929383" y="3966971"/>
              <a:ext cx="715010" cy="247015"/>
            </a:xfrm>
            <a:custGeom>
              <a:avLst/>
              <a:gdLst/>
              <a:ahLst/>
              <a:cxnLst/>
              <a:rect l="l" t="t" r="r" b="b"/>
              <a:pathLst>
                <a:path w="715010" h="247014">
                  <a:moveTo>
                    <a:pt x="714756" y="0"/>
                  </a:moveTo>
                  <a:lnTo>
                    <a:pt x="0" y="0"/>
                  </a:lnTo>
                  <a:lnTo>
                    <a:pt x="0" y="246887"/>
                  </a:lnTo>
                  <a:lnTo>
                    <a:pt x="714756" y="246887"/>
                  </a:lnTo>
                  <a:lnTo>
                    <a:pt x="714756" y="0"/>
                  </a:lnTo>
                  <a:close/>
                </a:path>
              </a:pathLst>
            </a:custGeom>
            <a:solidFill>
              <a:srgbClr val="FFFFFF"/>
            </a:solidFill>
          </p:spPr>
          <p:txBody>
            <a:bodyPr wrap="square" lIns="0" tIns="0" rIns="0" bIns="0" rtlCol="0"/>
            <a:lstStyle/>
            <a:p>
              <a:endParaRPr/>
            </a:p>
          </p:txBody>
        </p:sp>
      </p:grpSp>
      <p:sp>
        <p:nvSpPr>
          <p:cNvPr id="44" name="object 40">
            <a:extLst>
              <a:ext uri="{FF2B5EF4-FFF2-40B4-BE49-F238E27FC236}">
                <a16:creationId xmlns:a16="http://schemas.microsoft.com/office/drawing/2014/main" id="{910B1005-395F-E156-A22B-6A0D60A299F5}"/>
              </a:ext>
            </a:extLst>
          </p:cNvPr>
          <p:cNvSpPr txBox="1"/>
          <p:nvPr/>
        </p:nvSpPr>
        <p:spPr>
          <a:xfrm>
            <a:off x="1936242" y="3948810"/>
            <a:ext cx="702310" cy="270510"/>
          </a:xfrm>
          <a:prstGeom prst="rect">
            <a:avLst/>
          </a:prstGeom>
        </p:spPr>
        <p:txBody>
          <a:bodyPr vert="horz" wrap="square" lIns="0" tIns="12700" rIns="0" bIns="0" rtlCol="0">
            <a:spAutoFit/>
          </a:bodyPr>
          <a:lstStyle/>
          <a:p>
            <a:pPr algn="ctr">
              <a:lnSpc>
                <a:spcPct val="100000"/>
              </a:lnSpc>
              <a:spcBef>
                <a:spcPts val="100"/>
              </a:spcBef>
            </a:pPr>
            <a:r>
              <a:rPr sz="800">
                <a:latin typeface="Calibri"/>
                <a:cs typeface="Calibri"/>
              </a:rPr>
              <a:t>Problem,</a:t>
            </a:r>
            <a:r>
              <a:rPr sz="800" spc="-40">
                <a:latin typeface="Calibri"/>
                <a:cs typeface="Calibri"/>
              </a:rPr>
              <a:t> </a:t>
            </a:r>
            <a:r>
              <a:rPr sz="800" spc="-10">
                <a:latin typeface="Calibri"/>
                <a:cs typeface="Calibri"/>
              </a:rPr>
              <a:t>known</a:t>
            </a:r>
            <a:endParaRPr sz="800">
              <a:latin typeface="Calibri"/>
              <a:cs typeface="Calibri"/>
            </a:endParaRPr>
          </a:p>
          <a:p>
            <a:pPr marL="1905" algn="ctr">
              <a:lnSpc>
                <a:spcPct val="100000"/>
              </a:lnSpc>
              <a:spcBef>
                <a:spcPts val="5"/>
              </a:spcBef>
            </a:pPr>
            <a:r>
              <a:rPr sz="800">
                <a:latin typeface="Calibri"/>
                <a:cs typeface="Calibri"/>
              </a:rPr>
              <a:t>error</a:t>
            </a:r>
            <a:r>
              <a:rPr sz="800" spc="-30">
                <a:latin typeface="Calibri"/>
                <a:cs typeface="Calibri"/>
              </a:rPr>
              <a:t> </a:t>
            </a:r>
            <a:r>
              <a:rPr sz="800" spc="-20">
                <a:latin typeface="Calibri"/>
                <a:cs typeface="Calibri"/>
              </a:rPr>
              <a:t>info</a:t>
            </a:r>
            <a:endParaRPr sz="800">
              <a:latin typeface="Calibri"/>
              <a:cs typeface="Calibri"/>
            </a:endParaRPr>
          </a:p>
        </p:txBody>
      </p:sp>
      <p:grpSp>
        <p:nvGrpSpPr>
          <p:cNvPr id="45" name="object 41">
            <a:extLst>
              <a:ext uri="{FF2B5EF4-FFF2-40B4-BE49-F238E27FC236}">
                <a16:creationId xmlns:a16="http://schemas.microsoft.com/office/drawing/2014/main" id="{57450A08-D923-1601-7F8D-521987F48DB9}"/>
              </a:ext>
            </a:extLst>
          </p:cNvPr>
          <p:cNvGrpSpPr/>
          <p:nvPr/>
        </p:nvGrpSpPr>
        <p:grpSpPr>
          <a:xfrm>
            <a:off x="2552700" y="3610355"/>
            <a:ext cx="715010" cy="1270000"/>
            <a:chOff x="2552700" y="3610355"/>
            <a:chExt cx="715010" cy="1270000"/>
          </a:xfrm>
        </p:grpSpPr>
        <p:sp>
          <p:nvSpPr>
            <p:cNvPr id="46" name="object 42">
              <a:extLst>
                <a:ext uri="{FF2B5EF4-FFF2-40B4-BE49-F238E27FC236}">
                  <a16:creationId xmlns:a16="http://schemas.microsoft.com/office/drawing/2014/main" id="{68761A7E-63E1-9596-3ADE-F889A4EF621B}"/>
                </a:ext>
              </a:extLst>
            </p:cNvPr>
            <p:cNvSpPr/>
            <p:nvPr/>
          </p:nvSpPr>
          <p:spPr>
            <a:xfrm>
              <a:off x="2872740" y="3610355"/>
              <a:ext cx="76200" cy="1270000"/>
            </a:xfrm>
            <a:custGeom>
              <a:avLst/>
              <a:gdLst/>
              <a:ahLst/>
              <a:cxnLst/>
              <a:rect l="l" t="t" r="r" b="b"/>
              <a:pathLst>
                <a:path w="76200" h="1270000">
                  <a:moveTo>
                    <a:pt x="31750" y="1193800"/>
                  </a:moveTo>
                  <a:lnTo>
                    <a:pt x="0" y="1193800"/>
                  </a:lnTo>
                  <a:lnTo>
                    <a:pt x="38100" y="1270000"/>
                  </a:lnTo>
                  <a:lnTo>
                    <a:pt x="69850" y="1206500"/>
                  </a:lnTo>
                  <a:lnTo>
                    <a:pt x="31750" y="1206500"/>
                  </a:lnTo>
                  <a:lnTo>
                    <a:pt x="31750" y="1193800"/>
                  </a:lnTo>
                  <a:close/>
                </a:path>
                <a:path w="76200" h="1270000">
                  <a:moveTo>
                    <a:pt x="44450" y="0"/>
                  </a:moveTo>
                  <a:lnTo>
                    <a:pt x="31750" y="0"/>
                  </a:lnTo>
                  <a:lnTo>
                    <a:pt x="31750" y="1206500"/>
                  </a:lnTo>
                  <a:lnTo>
                    <a:pt x="44450" y="1206500"/>
                  </a:lnTo>
                  <a:lnTo>
                    <a:pt x="44450" y="0"/>
                  </a:lnTo>
                  <a:close/>
                </a:path>
                <a:path w="76200" h="1270000">
                  <a:moveTo>
                    <a:pt x="76200" y="1193800"/>
                  </a:moveTo>
                  <a:lnTo>
                    <a:pt x="44450" y="1193800"/>
                  </a:lnTo>
                  <a:lnTo>
                    <a:pt x="44450" y="1206500"/>
                  </a:lnTo>
                  <a:lnTo>
                    <a:pt x="69850" y="1206500"/>
                  </a:lnTo>
                  <a:lnTo>
                    <a:pt x="76200" y="1193800"/>
                  </a:lnTo>
                  <a:close/>
                </a:path>
              </a:pathLst>
            </a:custGeom>
            <a:solidFill>
              <a:srgbClr val="000000"/>
            </a:solidFill>
          </p:spPr>
          <p:txBody>
            <a:bodyPr wrap="square" lIns="0" tIns="0" rIns="0" bIns="0" rtlCol="0"/>
            <a:lstStyle/>
            <a:p>
              <a:endParaRPr/>
            </a:p>
          </p:txBody>
        </p:sp>
        <p:sp>
          <p:nvSpPr>
            <p:cNvPr id="47" name="object 43">
              <a:extLst>
                <a:ext uri="{FF2B5EF4-FFF2-40B4-BE49-F238E27FC236}">
                  <a16:creationId xmlns:a16="http://schemas.microsoft.com/office/drawing/2014/main" id="{E2643147-9EBC-D5E2-BF22-1B4E592E3002}"/>
                </a:ext>
              </a:extLst>
            </p:cNvPr>
            <p:cNvSpPr/>
            <p:nvPr/>
          </p:nvSpPr>
          <p:spPr>
            <a:xfrm>
              <a:off x="2552700" y="4274819"/>
              <a:ext cx="715010" cy="247015"/>
            </a:xfrm>
            <a:custGeom>
              <a:avLst/>
              <a:gdLst/>
              <a:ahLst/>
              <a:cxnLst/>
              <a:rect l="l" t="t" r="r" b="b"/>
              <a:pathLst>
                <a:path w="715010" h="247014">
                  <a:moveTo>
                    <a:pt x="714755" y="0"/>
                  </a:moveTo>
                  <a:lnTo>
                    <a:pt x="0" y="0"/>
                  </a:lnTo>
                  <a:lnTo>
                    <a:pt x="0" y="246887"/>
                  </a:lnTo>
                  <a:lnTo>
                    <a:pt x="714755" y="246887"/>
                  </a:lnTo>
                  <a:lnTo>
                    <a:pt x="714755" y="0"/>
                  </a:lnTo>
                  <a:close/>
                </a:path>
              </a:pathLst>
            </a:custGeom>
            <a:solidFill>
              <a:srgbClr val="FFFFFF"/>
            </a:solidFill>
          </p:spPr>
          <p:txBody>
            <a:bodyPr wrap="square" lIns="0" tIns="0" rIns="0" bIns="0" rtlCol="0"/>
            <a:lstStyle/>
            <a:p>
              <a:endParaRPr/>
            </a:p>
          </p:txBody>
        </p:sp>
      </p:grpSp>
      <p:sp>
        <p:nvSpPr>
          <p:cNvPr id="48" name="object 44">
            <a:extLst>
              <a:ext uri="{FF2B5EF4-FFF2-40B4-BE49-F238E27FC236}">
                <a16:creationId xmlns:a16="http://schemas.microsoft.com/office/drawing/2014/main" id="{833CBC33-A2BA-B2F5-6C1F-EA66136BAEFB}"/>
              </a:ext>
            </a:extLst>
          </p:cNvPr>
          <p:cNvSpPr txBox="1"/>
          <p:nvPr/>
        </p:nvSpPr>
        <p:spPr>
          <a:xfrm>
            <a:off x="2559176" y="4256913"/>
            <a:ext cx="702310" cy="269875"/>
          </a:xfrm>
          <a:prstGeom prst="rect">
            <a:avLst/>
          </a:prstGeom>
        </p:spPr>
        <p:txBody>
          <a:bodyPr vert="horz" wrap="square" lIns="0" tIns="12700" rIns="0" bIns="0" rtlCol="0">
            <a:spAutoFit/>
          </a:bodyPr>
          <a:lstStyle/>
          <a:p>
            <a:pPr marL="227329" marR="5080" indent="-215265">
              <a:lnSpc>
                <a:spcPct val="100000"/>
              </a:lnSpc>
              <a:spcBef>
                <a:spcPts val="100"/>
              </a:spcBef>
            </a:pPr>
            <a:r>
              <a:rPr sz="800">
                <a:latin typeface="Calibri"/>
                <a:cs typeface="Calibri"/>
              </a:rPr>
              <a:t>Problem,</a:t>
            </a:r>
            <a:r>
              <a:rPr sz="800" spc="-40">
                <a:latin typeface="Calibri"/>
                <a:cs typeface="Calibri"/>
              </a:rPr>
              <a:t> </a:t>
            </a:r>
            <a:r>
              <a:rPr sz="800" spc="-10">
                <a:latin typeface="Calibri"/>
                <a:cs typeface="Calibri"/>
              </a:rPr>
              <a:t>known</a:t>
            </a:r>
            <a:r>
              <a:rPr sz="800" spc="500">
                <a:latin typeface="Calibri"/>
                <a:cs typeface="Calibri"/>
              </a:rPr>
              <a:t> </a:t>
            </a:r>
            <a:r>
              <a:rPr sz="800" spc="-10">
                <a:latin typeface="Calibri"/>
                <a:cs typeface="Calibri"/>
              </a:rPr>
              <a:t>errors</a:t>
            </a:r>
            <a:endParaRPr sz="800">
              <a:latin typeface="Calibri"/>
              <a:cs typeface="Calibri"/>
            </a:endParaRPr>
          </a:p>
        </p:txBody>
      </p:sp>
      <p:grpSp>
        <p:nvGrpSpPr>
          <p:cNvPr id="49" name="object 45">
            <a:extLst>
              <a:ext uri="{FF2B5EF4-FFF2-40B4-BE49-F238E27FC236}">
                <a16:creationId xmlns:a16="http://schemas.microsoft.com/office/drawing/2014/main" id="{5D820EE7-44D6-AAE9-F3B9-BD1948AFF87E}"/>
              </a:ext>
            </a:extLst>
          </p:cNvPr>
          <p:cNvGrpSpPr/>
          <p:nvPr/>
        </p:nvGrpSpPr>
        <p:grpSpPr>
          <a:xfrm>
            <a:off x="3461003" y="3907535"/>
            <a:ext cx="718185" cy="972819"/>
            <a:chOff x="3461003" y="3907535"/>
            <a:chExt cx="718185" cy="972819"/>
          </a:xfrm>
        </p:grpSpPr>
        <p:sp>
          <p:nvSpPr>
            <p:cNvPr id="50" name="object 46">
              <a:extLst>
                <a:ext uri="{FF2B5EF4-FFF2-40B4-BE49-F238E27FC236}">
                  <a16:creationId xmlns:a16="http://schemas.microsoft.com/office/drawing/2014/main" id="{DD0DAB10-C034-5B00-8AC1-51A5C99548D5}"/>
                </a:ext>
              </a:extLst>
            </p:cNvPr>
            <p:cNvSpPr/>
            <p:nvPr/>
          </p:nvSpPr>
          <p:spPr>
            <a:xfrm>
              <a:off x="3773423" y="3907535"/>
              <a:ext cx="76200" cy="972819"/>
            </a:xfrm>
            <a:custGeom>
              <a:avLst/>
              <a:gdLst/>
              <a:ahLst/>
              <a:cxnLst/>
              <a:rect l="l" t="t" r="r" b="b"/>
              <a:pathLst>
                <a:path w="76200" h="972820">
                  <a:moveTo>
                    <a:pt x="44450" y="63500"/>
                  </a:moveTo>
                  <a:lnTo>
                    <a:pt x="31750" y="63500"/>
                  </a:lnTo>
                  <a:lnTo>
                    <a:pt x="31750" y="972438"/>
                  </a:lnTo>
                  <a:lnTo>
                    <a:pt x="44450" y="972438"/>
                  </a:lnTo>
                  <a:lnTo>
                    <a:pt x="44450" y="63500"/>
                  </a:lnTo>
                  <a:close/>
                </a:path>
                <a:path w="76200" h="972820">
                  <a:moveTo>
                    <a:pt x="38100" y="0"/>
                  </a:moveTo>
                  <a:lnTo>
                    <a:pt x="0" y="76200"/>
                  </a:lnTo>
                  <a:lnTo>
                    <a:pt x="31750" y="76200"/>
                  </a:lnTo>
                  <a:lnTo>
                    <a:pt x="31750" y="63500"/>
                  </a:lnTo>
                  <a:lnTo>
                    <a:pt x="69850" y="63500"/>
                  </a:lnTo>
                  <a:lnTo>
                    <a:pt x="38100" y="0"/>
                  </a:lnTo>
                  <a:close/>
                </a:path>
                <a:path w="76200" h="972820">
                  <a:moveTo>
                    <a:pt x="69850" y="63500"/>
                  </a:moveTo>
                  <a:lnTo>
                    <a:pt x="44450" y="63500"/>
                  </a:lnTo>
                  <a:lnTo>
                    <a:pt x="44450" y="76200"/>
                  </a:lnTo>
                  <a:lnTo>
                    <a:pt x="76200" y="76200"/>
                  </a:lnTo>
                  <a:lnTo>
                    <a:pt x="69850" y="63500"/>
                  </a:lnTo>
                  <a:close/>
                </a:path>
              </a:pathLst>
            </a:custGeom>
            <a:solidFill>
              <a:srgbClr val="000000"/>
            </a:solidFill>
          </p:spPr>
          <p:txBody>
            <a:bodyPr wrap="square" lIns="0" tIns="0" rIns="0" bIns="0" rtlCol="0"/>
            <a:lstStyle/>
            <a:p>
              <a:endParaRPr/>
            </a:p>
          </p:txBody>
        </p:sp>
        <p:sp>
          <p:nvSpPr>
            <p:cNvPr id="51" name="object 47">
              <a:extLst>
                <a:ext uri="{FF2B5EF4-FFF2-40B4-BE49-F238E27FC236}">
                  <a16:creationId xmlns:a16="http://schemas.microsoft.com/office/drawing/2014/main" id="{4A63DFD9-112E-A675-A874-32946B364AAB}"/>
                </a:ext>
              </a:extLst>
            </p:cNvPr>
            <p:cNvSpPr/>
            <p:nvPr/>
          </p:nvSpPr>
          <p:spPr>
            <a:xfrm>
              <a:off x="3461003" y="4163567"/>
              <a:ext cx="718185" cy="245745"/>
            </a:xfrm>
            <a:custGeom>
              <a:avLst/>
              <a:gdLst/>
              <a:ahLst/>
              <a:cxnLst/>
              <a:rect l="l" t="t" r="r" b="b"/>
              <a:pathLst>
                <a:path w="718185" h="245745">
                  <a:moveTo>
                    <a:pt x="717803" y="0"/>
                  </a:moveTo>
                  <a:lnTo>
                    <a:pt x="0" y="0"/>
                  </a:lnTo>
                  <a:lnTo>
                    <a:pt x="0" y="245363"/>
                  </a:lnTo>
                  <a:lnTo>
                    <a:pt x="717803" y="245363"/>
                  </a:lnTo>
                  <a:lnTo>
                    <a:pt x="717803" y="0"/>
                  </a:lnTo>
                  <a:close/>
                </a:path>
              </a:pathLst>
            </a:custGeom>
            <a:solidFill>
              <a:srgbClr val="FFFFFF"/>
            </a:solidFill>
          </p:spPr>
          <p:txBody>
            <a:bodyPr wrap="square" lIns="0" tIns="0" rIns="0" bIns="0" rtlCol="0"/>
            <a:lstStyle/>
            <a:p>
              <a:endParaRPr/>
            </a:p>
          </p:txBody>
        </p:sp>
      </p:grpSp>
      <p:sp>
        <p:nvSpPr>
          <p:cNvPr id="52" name="object 48">
            <a:extLst>
              <a:ext uri="{FF2B5EF4-FFF2-40B4-BE49-F238E27FC236}">
                <a16:creationId xmlns:a16="http://schemas.microsoft.com/office/drawing/2014/main" id="{7597BBD6-FC37-AF9A-3EF0-2FBF8AF8A667}"/>
              </a:ext>
            </a:extLst>
          </p:cNvPr>
          <p:cNvSpPr txBox="1"/>
          <p:nvPr/>
        </p:nvSpPr>
        <p:spPr>
          <a:xfrm>
            <a:off x="3468370" y="4144213"/>
            <a:ext cx="702310" cy="270510"/>
          </a:xfrm>
          <a:prstGeom prst="rect">
            <a:avLst/>
          </a:prstGeom>
        </p:spPr>
        <p:txBody>
          <a:bodyPr vert="horz" wrap="square" lIns="0" tIns="13335" rIns="0" bIns="0" rtlCol="0">
            <a:spAutoFit/>
          </a:bodyPr>
          <a:lstStyle/>
          <a:p>
            <a:pPr algn="ctr">
              <a:lnSpc>
                <a:spcPct val="100000"/>
              </a:lnSpc>
              <a:spcBef>
                <a:spcPts val="105"/>
              </a:spcBef>
            </a:pPr>
            <a:r>
              <a:rPr sz="800" spc="-10">
                <a:latin typeface="Calibri"/>
                <a:cs typeface="Calibri"/>
              </a:rPr>
              <a:t>Problem,</a:t>
            </a:r>
            <a:r>
              <a:rPr sz="800" spc="20">
                <a:latin typeface="Calibri"/>
                <a:cs typeface="Calibri"/>
              </a:rPr>
              <a:t> </a:t>
            </a:r>
            <a:r>
              <a:rPr sz="800" spc="-10">
                <a:latin typeface="Calibri"/>
                <a:cs typeface="Calibri"/>
              </a:rPr>
              <a:t>known</a:t>
            </a:r>
            <a:endParaRPr sz="800">
              <a:latin typeface="Calibri"/>
              <a:cs typeface="Calibri"/>
            </a:endParaRPr>
          </a:p>
          <a:p>
            <a:pPr marL="1270" algn="ctr">
              <a:lnSpc>
                <a:spcPct val="100000"/>
              </a:lnSpc>
            </a:pPr>
            <a:r>
              <a:rPr sz="800">
                <a:latin typeface="Calibri"/>
                <a:cs typeface="Calibri"/>
              </a:rPr>
              <a:t>error</a:t>
            </a:r>
            <a:r>
              <a:rPr sz="800" spc="-25">
                <a:latin typeface="Calibri"/>
                <a:cs typeface="Calibri"/>
              </a:rPr>
              <a:t> </a:t>
            </a:r>
            <a:r>
              <a:rPr sz="800" spc="-20">
                <a:latin typeface="Calibri"/>
                <a:cs typeface="Calibri"/>
              </a:rPr>
              <a:t>info</a:t>
            </a:r>
            <a:endParaRPr sz="800">
              <a:latin typeface="Calibri"/>
              <a:cs typeface="Calibri"/>
            </a:endParaRPr>
          </a:p>
        </p:txBody>
      </p:sp>
      <p:grpSp>
        <p:nvGrpSpPr>
          <p:cNvPr id="53" name="object 49">
            <a:extLst>
              <a:ext uri="{FF2B5EF4-FFF2-40B4-BE49-F238E27FC236}">
                <a16:creationId xmlns:a16="http://schemas.microsoft.com/office/drawing/2014/main" id="{82BE724E-22FD-E2B7-A3F2-DEFDB833FDAD}"/>
              </a:ext>
            </a:extLst>
          </p:cNvPr>
          <p:cNvGrpSpPr/>
          <p:nvPr/>
        </p:nvGrpSpPr>
        <p:grpSpPr>
          <a:xfrm>
            <a:off x="4075176" y="3907409"/>
            <a:ext cx="715010" cy="972819"/>
            <a:chOff x="4075176" y="3907409"/>
            <a:chExt cx="715010" cy="972819"/>
          </a:xfrm>
        </p:grpSpPr>
        <p:sp>
          <p:nvSpPr>
            <p:cNvPr id="54" name="object 50">
              <a:extLst>
                <a:ext uri="{FF2B5EF4-FFF2-40B4-BE49-F238E27FC236}">
                  <a16:creationId xmlns:a16="http://schemas.microsoft.com/office/drawing/2014/main" id="{B91BA2EF-B8DA-DF21-8561-ACC442B20148}"/>
                </a:ext>
              </a:extLst>
            </p:cNvPr>
            <p:cNvSpPr/>
            <p:nvPr/>
          </p:nvSpPr>
          <p:spPr>
            <a:xfrm>
              <a:off x="4403344" y="3907409"/>
              <a:ext cx="76200" cy="972819"/>
            </a:xfrm>
            <a:custGeom>
              <a:avLst/>
              <a:gdLst/>
              <a:ahLst/>
              <a:cxnLst/>
              <a:rect l="l" t="t" r="r" b="b"/>
              <a:pathLst>
                <a:path w="76200" h="972820">
                  <a:moveTo>
                    <a:pt x="31719" y="896376"/>
                  </a:moveTo>
                  <a:lnTo>
                    <a:pt x="0" y="896747"/>
                  </a:lnTo>
                  <a:lnTo>
                    <a:pt x="38988" y="972566"/>
                  </a:lnTo>
                  <a:lnTo>
                    <a:pt x="69687" y="909066"/>
                  </a:lnTo>
                  <a:lnTo>
                    <a:pt x="31876" y="909066"/>
                  </a:lnTo>
                  <a:lnTo>
                    <a:pt x="31723" y="896747"/>
                  </a:lnTo>
                  <a:lnTo>
                    <a:pt x="31719" y="896376"/>
                  </a:lnTo>
                  <a:close/>
                </a:path>
                <a:path w="76200" h="972820">
                  <a:moveTo>
                    <a:pt x="44418" y="896227"/>
                  </a:moveTo>
                  <a:lnTo>
                    <a:pt x="31719" y="896376"/>
                  </a:lnTo>
                  <a:lnTo>
                    <a:pt x="31876" y="909066"/>
                  </a:lnTo>
                  <a:lnTo>
                    <a:pt x="44578" y="909066"/>
                  </a:lnTo>
                  <a:lnTo>
                    <a:pt x="44425" y="896747"/>
                  </a:lnTo>
                  <a:lnTo>
                    <a:pt x="44418" y="896227"/>
                  </a:lnTo>
                  <a:close/>
                </a:path>
                <a:path w="76200" h="972820">
                  <a:moveTo>
                    <a:pt x="76072" y="895858"/>
                  </a:moveTo>
                  <a:lnTo>
                    <a:pt x="44418" y="896227"/>
                  </a:lnTo>
                  <a:lnTo>
                    <a:pt x="44578" y="909066"/>
                  </a:lnTo>
                  <a:lnTo>
                    <a:pt x="69687" y="909066"/>
                  </a:lnTo>
                  <a:lnTo>
                    <a:pt x="76072" y="895858"/>
                  </a:lnTo>
                  <a:close/>
                </a:path>
                <a:path w="76200" h="972820">
                  <a:moveTo>
                    <a:pt x="33273" y="0"/>
                  </a:moveTo>
                  <a:lnTo>
                    <a:pt x="20573" y="254"/>
                  </a:lnTo>
                  <a:lnTo>
                    <a:pt x="31712" y="895858"/>
                  </a:lnTo>
                  <a:lnTo>
                    <a:pt x="31719" y="896376"/>
                  </a:lnTo>
                  <a:lnTo>
                    <a:pt x="44418" y="896227"/>
                  </a:lnTo>
                  <a:lnTo>
                    <a:pt x="33277" y="254"/>
                  </a:lnTo>
                  <a:lnTo>
                    <a:pt x="33273" y="0"/>
                  </a:lnTo>
                  <a:close/>
                </a:path>
              </a:pathLst>
            </a:custGeom>
            <a:solidFill>
              <a:srgbClr val="000000"/>
            </a:solidFill>
          </p:spPr>
          <p:txBody>
            <a:bodyPr wrap="square" lIns="0" tIns="0" rIns="0" bIns="0" rtlCol="0"/>
            <a:lstStyle/>
            <a:p>
              <a:endParaRPr/>
            </a:p>
          </p:txBody>
        </p:sp>
        <p:sp>
          <p:nvSpPr>
            <p:cNvPr id="55" name="object 51">
              <a:extLst>
                <a:ext uri="{FF2B5EF4-FFF2-40B4-BE49-F238E27FC236}">
                  <a16:creationId xmlns:a16="http://schemas.microsoft.com/office/drawing/2014/main" id="{980D704D-D72F-B417-E12A-283871A78D11}"/>
                </a:ext>
              </a:extLst>
            </p:cNvPr>
            <p:cNvSpPr/>
            <p:nvPr/>
          </p:nvSpPr>
          <p:spPr>
            <a:xfrm>
              <a:off x="4075176" y="4059936"/>
              <a:ext cx="715010" cy="123825"/>
            </a:xfrm>
            <a:custGeom>
              <a:avLst/>
              <a:gdLst/>
              <a:ahLst/>
              <a:cxnLst/>
              <a:rect l="l" t="t" r="r" b="b"/>
              <a:pathLst>
                <a:path w="715010" h="123825">
                  <a:moveTo>
                    <a:pt x="714755" y="0"/>
                  </a:moveTo>
                  <a:lnTo>
                    <a:pt x="0" y="0"/>
                  </a:lnTo>
                  <a:lnTo>
                    <a:pt x="0" y="123443"/>
                  </a:lnTo>
                  <a:lnTo>
                    <a:pt x="714755" y="123443"/>
                  </a:lnTo>
                  <a:lnTo>
                    <a:pt x="714755" y="0"/>
                  </a:lnTo>
                  <a:close/>
                </a:path>
              </a:pathLst>
            </a:custGeom>
            <a:solidFill>
              <a:srgbClr val="FFFFFF"/>
            </a:solidFill>
          </p:spPr>
          <p:txBody>
            <a:bodyPr wrap="square" lIns="0" tIns="0" rIns="0" bIns="0" rtlCol="0"/>
            <a:lstStyle/>
            <a:p>
              <a:endParaRPr/>
            </a:p>
          </p:txBody>
        </p:sp>
      </p:grpSp>
      <p:sp>
        <p:nvSpPr>
          <p:cNvPr id="56" name="object 52">
            <a:extLst>
              <a:ext uri="{FF2B5EF4-FFF2-40B4-BE49-F238E27FC236}">
                <a16:creationId xmlns:a16="http://schemas.microsoft.com/office/drawing/2014/main" id="{292232B4-587D-3272-FB48-D4EDEA174462}"/>
              </a:ext>
            </a:extLst>
          </p:cNvPr>
          <p:cNvSpPr txBox="1"/>
          <p:nvPr/>
        </p:nvSpPr>
        <p:spPr>
          <a:xfrm>
            <a:off x="4245609" y="4041775"/>
            <a:ext cx="374650" cy="147955"/>
          </a:xfrm>
          <a:prstGeom prst="rect">
            <a:avLst/>
          </a:prstGeom>
        </p:spPr>
        <p:txBody>
          <a:bodyPr vert="horz" wrap="square" lIns="0" tIns="12700" rIns="0" bIns="0" rtlCol="0">
            <a:spAutoFit/>
          </a:bodyPr>
          <a:lstStyle/>
          <a:p>
            <a:pPr marL="12700">
              <a:lnSpc>
                <a:spcPct val="100000"/>
              </a:lnSpc>
              <a:spcBef>
                <a:spcPts val="100"/>
              </a:spcBef>
            </a:pPr>
            <a:r>
              <a:rPr sz="800" spc="-10">
                <a:latin typeface="Calibri"/>
                <a:cs typeface="Calibri"/>
              </a:rPr>
              <a:t>Changes</a:t>
            </a:r>
            <a:endParaRPr sz="800">
              <a:latin typeface="Calibri"/>
              <a:cs typeface="Calibri"/>
            </a:endParaRPr>
          </a:p>
        </p:txBody>
      </p:sp>
      <p:grpSp>
        <p:nvGrpSpPr>
          <p:cNvPr id="57" name="object 53">
            <a:extLst>
              <a:ext uri="{FF2B5EF4-FFF2-40B4-BE49-F238E27FC236}">
                <a16:creationId xmlns:a16="http://schemas.microsoft.com/office/drawing/2014/main" id="{3E874E22-5A98-FFEB-6037-7427FB77C365}"/>
              </a:ext>
            </a:extLst>
          </p:cNvPr>
          <p:cNvGrpSpPr/>
          <p:nvPr/>
        </p:nvGrpSpPr>
        <p:grpSpPr>
          <a:xfrm>
            <a:off x="1156716" y="2529827"/>
            <a:ext cx="4430395" cy="2352040"/>
            <a:chOff x="1156716" y="2529827"/>
            <a:chExt cx="4430395" cy="2352040"/>
          </a:xfrm>
        </p:grpSpPr>
        <p:sp>
          <p:nvSpPr>
            <p:cNvPr id="58" name="object 54">
              <a:extLst>
                <a:ext uri="{FF2B5EF4-FFF2-40B4-BE49-F238E27FC236}">
                  <a16:creationId xmlns:a16="http://schemas.microsoft.com/office/drawing/2014/main" id="{0BD71F1E-D26A-9371-5A0C-6FEB25441208}"/>
                </a:ext>
              </a:extLst>
            </p:cNvPr>
            <p:cNvSpPr/>
            <p:nvPr/>
          </p:nvSpPr>
          <p:spPr>
            <a:xfrm>
              <a:off x="5510783" y="4280916"/>
              <a:ext cx="76200" cy="600710"/>
            </a:xfrm>
            <a:custGeom>
              <a:avLst/>
              <a:gdLst/>
              <a:ahLst/>
              <a:cxnLst/>
              <a:rect l="l" t="t" r="r" b="b"/>
              <a:pathLst>
                <a:path w="76200" h="600710">
                  <a:moveTo>
                    <a:pt x="31750" y="524128"/>
                  </a:moveTo>
                  <a:lnTo>
                    <a:pt x="0" y="524128"/>
                  </a:lnTo>
                  <a:lnTo>
                    <a:pt x="38100" y="600328"/>
                  </a:lnTo>
                  <a:lnTo>
                    <a:pt x="69850" y="536828"/>
                  </a:lnTo>
                  <a:lnTo>
                    <a:pt x="31750" y="536828"/>
                  </a:lnTo>
                  <a:lnTo>
                    <a:pt x="31750" y="524128"/>
                  </a:lnTo>
                  <a:close/>
                </a:path>
                <a:path w="76200" h="600710">
                  <a:moveTo>
                    <a:pt x="44450" y="0"/>
                  </a:moveTo>
                  <a:lnTo>
                    <a:pt x="31750" y="0"/>
                  </a:lnTo>
                  <a:lnTo>
                    <a:pt x="31750" y="536828"/>
                  </a:lnTo>
                  <a:lnTo>
                    <a:pt x="44450" y="536828"/>
                  </a:lnTo>
                  <a:lnTo>
                    <a:pt x="44450" y="0"/>
                  </a:lnTo>
                  <a:close/>
                </a:path>
                <a:path w="76200" h="600710">
                  <a:moveTo>
                    <a:pt x="76200" y="524128"/>
                  </a:moveTo>
                  <a:lnTo>
                    <a:pt x="44450" y="524128"/>
                  </a:lnTo>
                  <a:lnTo>
                    <a:pt x="44450" y="536828"/>
                  </a:lnTo>
                  <a:lnTo>
                    <a:pt x="69850" y="536828"/>
                  </a:lnTo>
                  <a:lnTo>
                    <a:pt x="76200" y="524128"/>
                  </a:lnTo>
                  <a:close/>
                </a:path>
              </a:pathLst>
            </a:custGeom>
            <a:solidFill>
              <a:srgbClr val="000000"/>
            </a:solidFill>
          </p:spPr>
          <p:txBody>
            <a:bodyPr wrap="square" lIns="0" tIns="0" rIns="0" bIns="0" rtlCol="0"/>
            <a:lstStyle/>
            <a:p>
              <a:endParaRPr/>
            </a:p>
          </p:txBody>
        </p:sp>
        <p:pic>
          <p:nvPicPr>
            <p:cNvPr id="59" name="object 55">
              <a:extLst>
                <a:ext uri="{FF2B5EF4-FFF2-40B4-BE49-F238E27FC236}">
                  <a16:creationId xmlns:a16="http://schemas.microsoft.com/office/drawing/2014/main" id="{7D6F33E8-B60A-6A0E-45F5-395A0EBB3094}"/>
                </a:ext>
              </a:extLst>
            </p:cNvPr>
            <p:cNvPicPr/>
            <p:nvPr/>
          </p:nvPicPr>
          <p:blipFill>
            <a:blip r:embed="rId8" cstate="print"/>
            <a:stretch>
              <a:fillRect/>
            </a:stretch>
          </p:blipFill>
          <p:spPr>
            <a:xfrm>
              <a:off x="1156716" y="2529827"/>
              <a:ext cx="2747010" cy="307098"/>
            </a:xfrm>
            <a:prstGeom prst="rect">
              <a:avLst/>
            </a:prstGeom>
          </p:spPr>
        </p:pic>
      </p:grpSp>
      <p:sp>
        <p:nvSpPr>
          <p:cNvPr id="60" name="object 56">
            <a:extLst>
              <a:ext uri="{FF2B5EF4-FFF2-40B4-BE49-F238E27FC236}">
                <a16:creationId xmlns:a16="http://schemas.microsoft.com/office/drawing/2014/main" id="{6703FFD0-576A-0F47-DEAA-F871128178C9}"/>
              </a:ext>
            </a:extLst>
          </p:cNvPr>
          <p:cNvSpPr txBox="1"/>
          <p:nvPr/>
        </p:nvSpPr>
        <p:spPr>
          <a:xfrm>
            <a:off x="2292095" y="2577083"/>
            <a:ext cx="487680" cy="215265"/>
          </a:xfrm>
          <a:prstGeom prst="rect">
            <a:avLst/>
          </a:prstGeom>
          <a:solidFill>
            <a:srgbClr val="FFFFFF"/>
          </a:solidFill>
        </p:spPr>
        <p:txBody>
          <a:bodyPr vert="horz" wrap="square" lIns="0" tIns="39370" rIns="0" bIns="0" rtlCol="0">
            <a:spAutoFit/>
          </a:bodyPr>
          <a:lstStyle/>
          <a:p>
            <a:pPr marL="56515">
              <a:lnSpc>
                <a:spcPct val="100000"/>
              </a:lnSpc>
              <a:spcBef>
                <a:spcPts val="310"/>
              </a:spcBef>
            </a:pPr>
            <a:r>
              <a:rPr sz="800" spc="-10">
                <a:latin typeface="Calibri"/>
                <a:cs typeface="Calibri"/>
              </a:rPr>
              <a:t>Incidents</a:t>
            </a:r>
            <a:endParaRPr sz="800">
              <a:latin typeface="Calibri"/>
              <a:cs typeface="Calibri"/>
            </a:endParaRPr>
          </a:p>
        </p:txBody>
      </p:sp>
      <p:grpSp>
        <p:nvGrpSpPr>
          <p:cNvPr id="61" name="object 57">
            <a:extLst>
              <a:ext uri="{FF2B5EF4-FFF2-40B4-BE49-F238E27FC236}">
                <a16:creationId xmlns:a16="http://schemas.microsoft.com/office/drawing/2014/main" id="{06F9EE07-5066-6493-2B14-8DBF55FCF783}"/>
              </a:ext>
            </a:extLst>
          </p:cNvPr>
          <p:cNvGrpSpPr/>
          <p:nvPr/>
        </p:nvGrpSpPr>
        <p:grpSpPr>
          <a:xfrm>
            <a:off x="541019" y="1903476"/>
            <a:ext cx="4112260" cy="1706880"/>
            <a:chOff x="541019" y="1903476"/>
            <a:chExt cx="4112260" cy="1706880"/>
          </a:xfrm>
        </p:grpSpPr>
        <p:pic>
          <p:nvPicPr>
            <p:cNvPr id="62" name="object 58">
              <a:extLst>
                <a:ext uri="{FF2B5EF4-FFF2-40B4-BE49-F238E27FC236}">
                  <a16:creationId xmlns:a16="http://schemas.microsoft.com/office/drawing/2014/main" id="{7636865D-5CC2-EB2C-2E2A-0B293BB40095}"/>
                </a:ext>
              </a:extLst>
            </p:cNvPr>
            <p:cNvPicPr/>
            <p:nvPr/>
          </p:nvPicPr>
          <p:blipFill>
            <a:blip r:embed="rId9" cstate="print"/>
            <a:stretch>
              <a:fillRect/>
            </a:stretch>
          </p:blipFill>
          <p:spPr>
            <a:xfrm>
              <a:off x="541019" y="1903476"/>
              <a:ext cx="995172" cy="658368"/>
            </a:xfrm>
            <a:prstGeom prst="rect">
              <a:avLst/>
            </a:prstGeom>
          </p:spPr>
        </p:pic>
        <p:pic>
          <p:nvPicPr>
            <p:cNvPr id="63" name="object 59">
              <a:extLst>
                <a:ext uri="{FF2B5EF4-FFF2-40B4-BE49-F238E27FC236}">
                  <a16:creationId xmlns:a16="http://schemas.microsoft.com/office/drawing/2014/main" id="{362B3463-6B79-3B35-12D1-15FED11F87FA}"/>
                </a:ext>
              </a:extLst>
            </p:cNvPr>
            <p:cNvPicPr/>
            <p:nvPr/>
          </p:nvPicPr>
          <p:blipFill>
            <a:blip r:embed="rId10" cstate="print"/>
            <a:stretch>
              <a:fillRect/>
            </a:stretch>
          </p:blipFill>
          <p:spPr>
            <a:xfrm>
              <a:off x="3573780" y="1955292"/>
              <a:ext cx="655320" cy="577596"/>
            </a:xfrm>
            <a:prstGeom prst="rect">
              <a:avLst/>
            </a:prstGeom>
          </p:spPr>
        </p:pic>
        <p:pic>
          <p:nvPicPr>
            <p:cNvPr id="192" name="object 60">
              <a:extLst>
                <a:ext uri="{FF2B5EF4-FFF2-40B4-BE49-F238E27FC236}">
                  <a16:creationId xmlns:a16="http://schemas.microsoft.com/office/drawing/2014/main" id="{D76781B3-4B65-C00F-1A45-033D88A34D0C}"/>
                </a:ext>
              </a:extLst>
            </p:cNvPr>
            <p:cNvPicPr/>
            <p:nvPr/>
          </p:nvPicPr>
          <p:blipFill>
            <a:blip r:embed="rId11" cstate="print"/>
            <a:stretch>
              <a:fillRect/>
            </a:stretch>
          </p:blipFill>
          <p:spPr>
            <a:xfrm>
              <a:off x="4206240" y="2115312"/>
              <a:ext cx="446532" cy="417575"/>
            </a:xfrm>
            <a:prstGeom prst="rect">
              <a:avLst/>
            </a:prstGeom>
          </p:spPr>
        </p:pic>
        <p:sp>
          <p:nvSpPr>
            <p:cNvPr id="193" name="object 61">
              <a:extLst>
                <a:ext uri="{FF2B5EF4-FFF2-40B4-BE49-F238E27FC236}">
                  <a16:creationId xmlns:a16="http://schemas.microsoft.com/office/drawing/2014/main" id="{FCC79D21-6E4F-E07D-C3BE-7151F8445C4E}"/>
                </a:ext>
              </a:extLst>
            </p:cNvPr>
            <p:cNvSpPr/>
            <p:nvPr/>
          </p:nvSpPr>
          <p:spPr>
            <a:xfrm>
              <a:off x="2019300" y="3238500"/>
              <a:ext cx="1341120" cy="372110"/>
            </a:xfrm>
            <a:custGeom>
              <a:avLst/>
              <a:gdLst/>
              <a:ahLst/>
              <a:cxnLst/>
              <a:rect l="l" t="t" r="r" b="b"/>
              <a:pathLst>
                <a:path w="1341120" h="372110">
                  <a:moveTo>
                    <a:pt x="1155192" y="0"/>
                  </a:moveTo>
                  <a:lnTo>
                    <a:pt x="185927" y="0"/>
                  </a:lnTo>
                  <a:lnTo>
                    <a:pt x="136480" y="6637"/>
                  </a:lnTo>
                  <a:lnTo>
                    <a:pt x="92060" y="25371"/>
                  </a:lnTo>
                  <a:lnTo>
                    <a:pt x="54435" y="54435"/>
                  </a:lnTo>
                  <a:lnTo>
                    <a:pt x="25371" y="92060"/>
                  </a:lnTo>
                  <a:lnTo>
                    <a:pt x="6637" y="136480"/>
                  </a:lnTo>
                  <a:lnTo>
                    <a:pt x="0" y="185927"/>
                  </a:lnTo>
                  <a:lnTo>
                    <a:pt x="6637" y="235375"/>
                  </a:lnTo>
                  <a:lnTo>
                    <a:pt x="25371" y="279795"/>
                  </a:lnTo>
                  <a:lnTo>
                    <a:pt x="54435" y="317420"/>
                  </a:lnTo>
                  <a:lnTo>
                    <a:pt x="92060" y="346484"/>
                  </a:lnTo>
                  <a:lnTo>
                    <a:pt x="136480" y="365218"/>
                  </a:lnTo>
                  <a:lnTo>
                    <a:pt x="185927" y="371856"/>
                  </a:lnTo>
                  <a:lnTo>
                    <a:pt x="1155192" y="371856"/>
                  </a:lnTo>
                  <a:lnTo>
                    <a:pt x="1204639" y="365218"/>
                  </a:lnTo>
                  <a:lnTo>
                    <a:pt x="1249059" y="346484"/>
                  </a:lnTo>
                  <a:lnTo>
                    <a:pt x="1286684" y="317420"/>
                  </a:lnTo>
                  <a:lnTo>
                    <a:pt x="1315748" y="279795"/>
                  </a:lnTo>
                  <a:lnTo>
                    <a:pt x="1334482" y="235375"/>
                  </a:lnTo>
                  <a:lnTo>
                    <a:pt x="1341120" y="185927"/>
                  </a:lnTo>
                  <a:lnTo>
                    <a:pt x="1334482" y="136480"/>
                  </a:lnTo>
                  <a:lnTo>
                    <a:pt x="1315748" y="92060"/>
                  </a:lnTo>
                  <a:lnTo>
                    <a:pt x="1286684" y="54435"/>
                  </a:lnTo>
                  <a:lnTo>
                    <a:pt x="1249059" y="25371"/>
                  </a:lnTo>
                  <a:lnTo>
                    <a:pt x="1204639" y="6637"/>
                  </a:lnTo>
                  <a:lnTo>
                    <a:pt x="1155192" y="0"/>
                  </a:lnTo>
                  <a:close/>
                </a:path>
              </a:pathLst>
            </a:custGeom>
            <a:solidFill>
              <a:srgbClr val="85BB24"/>
            </a:solidFill>
          </p:spPr>
          <p:txBody>
            <a:bodyPr wrap="square" lIns="0" tIns="0" rIns="0" bIns="0" rtlCol="0"/>
            <a:lstStyle/>
            <a:p>
              <a:endParaRPr/>
            </a:p>
          </p:txBody>
        </p:sp>
      </p:grpSp>
      <p:sp>
        <p:nvSpPr>
          <p:cNvPr id="194" name="object 62">
            <a:extLst>
              <a:ext uri="{FF2B5EF4-FFF2-40B4-BE49-F238E27FC236}">
                <a16:creationId xmlns:a16="http://schemas.microsoft.com/office/drawing/2014/main" id="{D6448928-A5D2-60CB-C7B6-1E55601F0FAE}"/>
              </a:ext>
            </a:extLst>
          </p:cNvPr>
          <p:cNvSpPr txBox="1"/>
          <p:nvPr/>
        </p:nvSpPr>
        <p:spPr>
          <a:xfrm>
            <a:off x="2159254" y="3336416"/>
            <a:ext cx="1061720"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FFFFFF"/>
                </a:solidFill>
                <a:latin typeface="Calibri"/>
                <a:cs typeface="Calibri"/>
              </a:rPr>
              <a:t>Problem</a:t>
            </a:r>
            <a:r>
              <a:rPr sz="900" spc="-35">
                <a:solidFill>
                  <a:srgbClr val="FFFFFF"/>
                </a:solidFill>
                <a:latin typeface="Calibri"/>
                <a:cs typeface="Calibri"/>
              </a:rPr>
              <a:t> </a:t>
            </a:r>
            <a:r>
              <a:rPr sz="900" spc="-10">
                <a:solidFill>
                  <a:srgbClr val="FFFFFF"/>
                </a:solidFill>
                <a:latin typeface="Calibri"/>
                <a:cs typeface="Calibri"/>
              </a:rPr>
              <a:t>management</a:t>
            </a:r>
            <a:endParaRPr sz="900">
              <a:latin typeface="Calibri"/>
              <a:cs typeface="Calibri"/>
            </a:endParaRPr>
          </a:p>
        </p:txBody>
      </p:sp>
      <p:grpSp>
        <p:nvGrpSpPr>
          <p:cNvPr id="195" name="object 63">
            <a:extLst>
              <a:ext uri="{FF2B5EF4-FFF2-40B4-BE49-F238E27FC236}">
                <a16:creationId xmlns:a16="http://schemas.microsoft.com/office/drawing/2014/main" id="{DEBFD4BA-E68F-EDAB-59F4-8C78B46EC684}"/>
              </a:ext>
            </a:extLst>
          </p:cNvPr>
          <p:cNvGrpSpPr/>
          <p:nvPr/>
        </p:nvGrpSpPr>
        <p:grpSpPr>
          <a:xfrm>
            <a:off x="4791901" y="1892807"/>
            <a:ext cx="2583180" cy="2988310"/>
            <a:chOff x="4791901" y="1892807"/>
            <a:chExt cx="2583180" cy="2988310"/>
          </a:xfrm>
        </p:grpSpPr>
        <p:sp>
          <p:nvSpPr>
            <p:cNvPr id="196" name="object 64">
              <a:extLst>
                <a:ext uri="{FF2B5EF4-FFF2-40B4-BE49-F238E27FC236}">
                  <a16:creationId xmlns:a16="http://schemas.microsoft.com/office/drawing/2014/main" id="{C2F2A94A-FF0A-C02E-B14B-E66A96D8A128}"/>
                </a:ext>
              </a:extLst>
            </p:cNvPr>
            <p:cNvSpPr/>
            <p:nvPr/>
          </p:nvSpPr>
          <p:spPr>
            <a:xfrm>
              <a:off x="6940296" y="4578095"/>
              <a:ext cx="76200" cy="302895"/>
            </a:xfrm>
            <a:custGeom>
              <a:avLst/>
              <a:gdLst/>
              <a:ahLst/>
              <a:cxnLst/>
              <a:rect l="l" t="t" r="r" b="b"/>
              <a:pathLst>
                <a:path w="76200" h="302895">
                  <a:moveTo>
                    <a:pt x="31750" y="226567"/>
                  </a:moveTo>
                  <a:lnTo>
                    <a:pt x="0" y="226567"/>
                  </a:lnTo>
                  <a:lnTo>
                    <a:pt x="38100" y="302767"/>
                  </a:lnTo>
                  <a:lnTo>
                    <a:pt x="69850" y="239267"/>
                  </a:lnTo>
                  <a:lnTo>
                    <a:pt x="31750" y="239267"/>
                  </a:lnTo>
                  <a:lnTo>
                    <a:pt x="31750" y="226567"/>
                  </a:lnTo>
                  <a:close/>
                </a:path>
                <a:path w="76200" h="302895">
                  <a:moveTo>
                    <a:pt x="44450" y="0"/>
                  </a:moveTo>
                  <a:lnTo>
                    <a:pt x="31750" y="0"/>
                  </a:lnTo>
                  <a:lnTo>
                    <a:pt x="31750" y="239267"/>
                  </a:lnTo>
                  <a:lnTo>
                    <a:pt x="44450" y="239267"/>
                  </a:lnTo>
                  <a:lnTo>
                    <a:pt x="44450" y="0"/>
                  </a:lnTo>
                  <a:close/>
                </a:path>
                <a:path w="76200" h="302895">
                  <a:moveTo>
                    <a:pt x="76200" y="226567"/>
                  </a:moveTo>
                  <a:lnTo>
                    <a:pt x="44450" y="226567"/>
                  </a:lnTo>
                  <a:lnTo>
                    <a:pt x="44450" y="239267"/>
                  </a:lnTo>
                  <a:lnTo>
                    <a:pt x="69850" y="239267"/>
                  </a:lnTo>
                  <a:lnTo>
                    <a:pt x="76200" y="226567"/>
                  </a:lnTo>
                  <a:close/>
                </a:path>
              </a:pathLst>
            </a:custGeom>
            <a:solidFill>
              <a:srgbClr val="000000"/>
            </a:solidFill>
          </p:spPr>
          <p:txBody>
            <a:bodyPr wrap="square" lIns="0" tIns="0" rIns="0" bIns="0" rtlCol="0"/>
            <a:lstStyle/>
            <a:p>
              <a:endParaRPr/>
            </a:p>
          </p:txBody>
        </p:sp>
        <p:pic>
          <p:nvPicPr>
            <p:cNvPr id="198" name="object 65">
              <a:extLst>
                <a:ext uri="{FF2B5EF4-FFF2-40B4-BE49-F238E27FC236}">
                  <a16:creationId xmlns:a16="http://schemas.microsoft.com/office/drawing/2014/main" id="{C0BC2CBD-DFAB-2DD6-6AFD-C7EC02EB4C1F}"/>
                </a:ext>
              </a:extLst>
            </p:cNvPr>
            <p:cNvPicPr/>
            <p:nvPr/>
          </p:nvPicPr>
          <p:blipFill>
            <a:blip r:embed="rId12" cstate="print"/>
            <a:stretch>
              <a:fillRect/>
            </a:stretch>
          </p:blipFill>
          <p:spPr>
            <a:xfrm>
              <a:off x="6338402" y="3261359"/>
              <a:ext cx="984311" cy="516635"/>
            </a:xfrm>
            <a:prstGeom prst="rect">
              <a:avLst/>
            </a:prstGeom>
          </p:spPr>
        </p:pic>
        <p:pic>
          <p:nvPicPr>
            <p:cNvPr id="199" name="object 66">
              <a:extLst>
                <a:ext uri="{FF2B5EF4-FFF2-40B4-BE49-F238E27FC236}">
                  <a16:creationId xmlns:a16="http://schemas.microsoft.com/office/drawing/2014/main" id="{40EDAE3E-C45E-8A09-629F-676E4D8F6485}"/>
                </a:ext>
              </a:extLst>
            </p:cNvPr>
            <p:cNvPicPr/>
            <p:nvPr/>
          </p:nvPicPr>
          <p:blipFill>
            <a:blip r:embed="rId13" cstate="print"/>
            <a:stretch>
              <a:fillRect/>
            </a:stretch>
          </p:blipFill>
          <p:spPr>
            <a:xfrm>
              <a:off x="4791901" y="2878570"/>
              <a:ext cx="570338" cy="655051"/>
            </a:xfrm>
            <a:prstGeom prst="rect">
              <a:avLst/>
            </a:prstGeom>
          </p:spPr>
        </p:pic>
        <p:pic>
          <p:nvPicPr>
            <p:cNvPr id="200" name="object 67">
              <a:extLst>
                <a:ext uri="{FF2B5EF4-FFF2-40B4-BE49-F238E27FC236}">
                  <a16:creationId xmlns:a16="http://schemas.microsoft.com/office/drawing/2014/main" id="{E0C15DCE-05A8-D6FE-8066-0918151B3C9E}"/>
                </a:ext>
              </a:extLst>
            </p:cNvPr>
            <p:cNvPicPr/>
            <p:nvPr/>
          </p:nvPicPr>
          <p:blipFill>
            <a:blip r:embed="rId14" cstate="print"/>
            <a:stretch>
              <a:fillRect/>
            </a:stretch>
          </p:blipFill>
          <p:spPr>
            <a:xfrm>
              <a:off x="5965834" y="3519459"/>
              <a:ext cx="338406" cy="386933"/>
            </a:xfrm>
            <a:prstGeom prst="rect">
              <a:avLst/>
            </a:prstGeom>
          </p:spPr>
        </p:pic>
        <p:pic>
          <p:nvPicPr>
            <p:cNvPr id="201" name="object 68">
              <a:extLst>
                <a:ext uri="{FF2B5EF4-FFF2-40B4-BE49-F238E27FC236}">
                  <a16:creationId xmlns:a16="http://schemas.microsoft.com/office/drawing/2014/main" id="{38F6829F-E586-5126-B676-5C934CB0B5E3}"/>
                </a:ext>
              </a:extLst>
            </p:cNvPr>
            <p:cNvPicPr/>
            <p:nvPr/>
          </p:nvPicPr>
          <p:blipFill>
            <a:blip r:embed="rId15" cstate="print"/>
            <a:stretch>
              <a:fillRect/>
            </a:stretch>
          </p:blipFill>
          <p:spPr>
            <a:xfrm>
              <a:off x="6976872" y="3667632"/>
              <a:ext cx="397763" cy="422109"/>
            </a:xfrm>
            <a:prstGeom prst="rect">
              <a:avLst/>
            </a:prstGeom>
          </p:spPr>
        </p:pic>
        <p:sp>
          <p:nvSpPr>
            <p:cNvPr id="202" name="object 69">
              <a:extLst>
                <a:ext uri="{FF2B5EF4-FFF2-40B4-BE49-F238E27FC236}">
                  <a16:creationId xmlns:a16="http://schemas.microsoft.com/office/drawing/2014/main" id="{BE323CE3-78DC-2B10-CF3E-7D157D5F6389}"/>
                </a:ext>
              </a:extLst>
            </p:cNvPr>
            <p:cNvSpPr/>
            <p:nvPr/>
          </p:nvSpPr>
          <p:spPr>
            <a:xfrm>
              <a:off x="5181600" y="1892807"/>
              <a:ext cx="1061085" cy="783590"/>
            </a:xfrm>
            <a:custGeom>
              <a:avLst/>
              <a:gdLst/>
              <a:ahLst/>
              <a:cxnLst/>
              <a:rect l="l" t="t" r="r" b="b"/>
              <a:pathLst>
                <a:path w="1061085" h="783589">
                  <a:moveTo>
                    <a:pt x="1060704" y="637794"/>
                  </a:moveTo>
                  <a:lnTo>
                    <a:pt x="530352" y="492252"/>
                  </a:lnTo>
                  <a:lnTo>
                    <a:pt x="0" y="637794"/>
                  </a:lnTo>
                  <a:lnTo>
                    <a:pt x="530352" y="783336"/>
                  </a:lnTo>
                  <a:lnTo>
                    <a:pt x="1060704" y="637794"/>
                  </a:lnTo>
                  <a:close/>
                </a:path>
                <a:path w="1061085" h="783589">
                  <a:moveTo>
                    <a:pt x="1060704" y="145542"/>
                  </a:moveTo>
                  <a:lnTo>
                    <a:pt x="530352" y="0"/>
                  </a:lnTo>
                  <a:lnTo>
                    <a:pt x="0" y="145542"/>
                  </a:lnTo>
                  <a:lnTo>
                    <a:pt x="530352" y="291084"/>
                  </a:lnTo>
                  <a:lnTo>
                    <a:pt x="1060704" y="145542"/>
                  </a:lnTo>
                  <a:close/>
                </a:path>
              </a:pathLst>
            </a:custGeom>
            <a:solidFill>
              <a:srgbClr val="D1EB9F"/>
            </a:solidFill>
          </p:spPr>
          <p:txBody>
            <a:bodyPr wrap="square" lIns="0" tIns="0" rIns="0" bIns="0" rtlCol="0"/>
            <a:lstStyle/>
            <a:p>
              <a:endParaRPr/>
            </a:p>
          </p:txBody>
        </p:sp>
      </p:grpSp>
      <p:sp>
        <p:nvSpPr>
          <p:cNvPr id="204" name="object 71">
            <a:extLst>
              <a:ext uri="{FF2B5EF4-FFF2-40B4-BE49-F238E27FC236}">
                <a16:creationId xmlns:a16="http://schemas.microsoft.com/office/drawing/2014/main" id="{FCA09DB2-B4B4-B4A2-9504-852AE6D17A80}"/>
              </a:ext>
            </a:extLst>
          </p:cNvPr>
          <p:cNvSpPr txBox="1"/>
          <p:nvPr/>
        </p:nvSpPr>
        <p:spPr>
          <a:xfrm>
            <a:off x="1548383" y="5157215"/>
            <a:ext cx="2548255" cy="215265"/>
          </a:xfrm>
          <a:prstGeom prst="rect">
            <a:avLst/>
          </a:prstGeom>
          <a:ln w="3175">
            <a:solidFill>
              <a:srgbClr val="000000"/>
            </a:solidFill>
          </a:ln>
        </p:spPr>
        <p:txBody>
          <a:bodyPr vert="horz" wrap="square" lIns="0" tIns="7620" rIns="0" bIns="0" rtlCol="0">
            <a:spAutoFit/>
          </a:bodyPr>
          <a:lstStyle/>
          <a:p>
            <a:pPr marL="284480">
              <a:lnSpc>
                <a:spcPct val="100000"/>
              </a:lnSpc>
              <a:spcBef>
                <a:spcPts val="60"/>
              </a:spcBef>
            </a:pPr>
            <a:r>
              <a:rPr sz="1200" b="1" spc="-10">
                <a:latin typeface="Calibri"/>
                <a:cs typeface="Calibri"/>
              </a:rPr>
              <a:t>Day-to-</a:t>
            </a:r>
            <a:r>
              <a:rPr sz="1200" b="1">
                <a:latin typeface="Calibri"/>
                <a:cs typeface="Calibri"/>
              </a:rPr>
              <a:t>day</a:t>
            </a:r>
            <a:r>
              <a:rPr sz="1200" b="1" spc="-20">
                <a:latin typeface="Calibri"/>
                <a:cs typeface="Calibri"/>
              </a:rPr>
              <a:t> </a:t>
            </a:r>
            <a:r>
              <a:rPr sz="1200" b="1">
                <a:latin typeface="Calibri"/>
                <a:cs typeface="Calibri"/>
              </a:rPr>
              <a:t>Production</a:t>
            </a:r>
            <a:r>
              <a:rPr sz="1200" b="1" spc="15">
                <a:latin typeface="Calibri"/>
                <a:cs typeface="Calibri"/>
              </a:rPr>
              <a:t> </a:t>
            </a:r>
            <a:r>
              <a:rPr sz="1200" b="1" spc="-10">
                <a:latin typeface="Calibri"/>
                <a:cs typeface="Calibri"/>
              </a:rPr>
              <a:t>Support</a:t>
            </a:r>
            <a:endParaRPr sz="1200">
              <a:latin typeface="Calibri"/>
              <a:cs typeface="Calibri"/>
            </a:endParaRPr>
          </a:p>
        </p:txBody>
      </p:sp>
      <p:sp>
        <p:nvSpPr>
          <p:cNvPr id="205" name="object 72">
            <a:extLst>
              <a:ext uri="{FF2B5EF4-FFF2-40B4-BE49-F238E27FC236}">
                <a16:creationId xmlns:a16="http://schemas.microsoft.com/office/drawing/2014/main" id="{CE480A0F-86F6-6984-5312-6FA1382A7EF1}"/>
              </a:ext>
            </a:extLst>
          </p:cNvPr>
          <p:cNvSpPr txBox="1"/>
          <p:nvPr/>
        </p:nvSpPr>
        <p:spPr>
          <a:xfrm>
            <a:off x="4555235" y="5157215"/>
            <a:ext cx="2369820" cy="215265"/>
          </a:xfrm>
          <a:prstGeom prst="rect">
            <a:avLst/>
          </a:prstGeom>
          <a:ln w="3175">
            <a:solidFill>
              <a:srgbClr val="000000"/>
            </a:solidFill>
          </a:ln>
        </p:spPr>
        <p:txBody>
          <a:bodyPr vert="horz" wrap="square" lIns="0" tIns="7620" rIns="0" bIns="0" rtlCol="0">
            <a:spAutoFit/>
          </a:bodyPr>
          <a:lstStyle/>
          <a:p>
            <a:pPr marL="52069">
              <a:lnSpc>
                <a:spcPct val="100000"/>
              </a:lnSpc>
              <a:spcBef>
                <a:spcPts val="60"/>
              </a:spcBef>
            </a:pPr>
            <a:r>
              <a:rPr sz="1200" b="1" spc="-10">
                <a:latin typeface="Calibri"/>
                <a:cs typeface="Calibri"/>
              </a:rPr>
              <a:t>Corrective/Preventive</a:t>
            </a:r>
            <a:r>
              <a:rPr sz="1200" b="1" spc="75">
                <a:latin typeface="Calibri"/>
                <a:cs typeface="Calibri"/>
              </a:rPr>
              <a:t> </a:t>
            </a:r>
            <a:r>
              <a:rPr sz="1200" b="1" spc="-10">
                <a:latin typeface="Calibri"/>
                <a:cs typeface="Calibri"/>
              </a:rPr>
              <a:t>Maintenance</a:t>
            </a:r>
            <a:endParaRPr sz="1200">
              <a:latin typeface="Calibri"/>
              <a:cs typeface="Calibri"/>
            </a:endParaRPr>
          </a:p>
        </p:txBody>
      </p:sp>
      <p:sp>
        <p:nvSpPr>
          <p:cNvPr id="206" name="object 73">
            <a:extLst>
              <a:ext uri="{FF2B5EF4-FFF2-40B4-BE49-F238E27FC236}">
                <a16:creationId xmlns:a16="http://schemas.microsoft.com/office/drawing/2014/main" id="{39524070-33FE-1116-8BE3-F8C75FEFE5A6}"/>
              </a:ext>
            </a:extLst>
          </p:cNvPr>
          <p:cNvSpPr txBox="1"/>
          <p:nvPr/>
        </p:nvSpPr>
        <p:spPr>
          <a:xfrm>
            <a:off x="5573395" y="2451862"/>
            <a:ext cx="278765" cy="147955"/>
          </a:xfrm>
          <a:prstGeom prst="rect">
            <a:avLst/>
          </a:prstGeom>
        </p:spPr>
        <p:txBody>
          <a:bodyPr vert="horz" wrap="square" lIns="0" tIns="13335" rIns="0" bIns="0" rtlCol="0">
            <a:spAutoFit/>
          </a:bodyPr>
          <a:lstStyle/>
          <a:p>
            <a:pPr marL="12700">
              <a:lnSpc>
                <a:spcPct val="100000"/>
              </a:lnSpc>
              <a:spcBef>
                <a:spcPts val="105"/>
              </a:spcBef>
            </a:pPr>
            <a:r>
              <a:rPr sz="800" b="1" spc="-10">
                <a:latin typeface="Calibri"/>
                <a:cs typeface="Calibri"/>
              </a:rPr>
              <a:t>Type?</a:t>
            </a:r>
            <a:endParaRPr sz="800">
              <a:latin typeface="Calibri"/>
              <a:cs typeface="Calibri"/>
            </a:endParaRPr>
          </a:p>
        </p:txBody>
      </p:sp>
      <p:sp>
        <p:nvSpPr>
          <p:cNvPr id="207" name="object 74">
            <a:extLst>
              <a:ext uri="{FF2B5EF4-FFF2-40B4-BE49-F238E27FC236}">
                <a16:creationId xmlns:a16="http://schemas.microsoft.com/office/drawing/2014/main" id="{AF899529-E3BD-915C-7C8A-3D1BC6493347}"/>
              </a:ext>
            </a:extLst>
          </p:cNvPr>
          <p:cNvSpPr txBox="1"/>
          <p:nvPr/>
        </p:nvSpPr>
        <p:spPr>
          <a:xfrm>
            <a:off x="5341620" y="2828544"/>
            <a:ext cx="741045" cy="251460"/>
          </a:xfrm>
          <a:prstGeom prst="rect">
            <a:avLst/>
          </a:prstGeom>
          <a:solidFill>
            <a:srgbClr val="D1EB9F"/>
          </a:solidFill>
        </p:spPr>
        <p:txBody>
          <a:bodyPr vert="horz" wrap="square" lIns="0" tIns="0" rIns="0" bIns="0" rtlCol="0">
            <a:spAutoFit/>
          </a:bodyPr>
          <a:lstStyle/>
          <a:p>
            <a:pPr marL="1270" algn="ctr">
              <a:lnSpc>
                <a:spcPts val="930"/>
              </a:lnSpc>
            </a:pPr>
            <a:r>
              <a:rPr sz="800" b="1" spc="-10">
                <a:latin typeface="Calibri"/>
                <a:cs typeface="Calibri"/>
              </a:rPr>
              <a:t>Incident</a:t>
            </a:r>
            <a:endParaRPr sz="800">
              <a:latin typeface="Calibri"/>
              <a:cs typeface="Calibri"/>
            </a:endParaRPr>
          </a:p>
          <a:p>
            <a:pPr algn="ctr">
              <a:lnSpc>
                <a:spcPct val="100000"/>
              </a:lnSpc>
              <a:spcBef>
                <a:spcPts val="45"/>
              </a:spcBef>
            </a:pPr>
            <a:r>
              <a:rPr sz="800" b="1" spc="-10">
                <a:latin typeface="Calibri"/>
                <a:cs typeface="Calibri"/>
              </a:rPr>
              <a:t>Management</a:t>
            </a:r>
            <a:endParaRPr sz="800">
              <a:latin typeface="Calibri"/>
              <a:cs typeface="Calibri"/>
            </a:endParaRPr>
          </a:p>
        </p:txBody>
      </p:sp>
      <p:grpSp>
        <p:nvGrpSpPr>
          <p:cNvPr id="208" name="object 75">
            <a:extLst>
              <a:ext uri="{FF2B5EF4-FFF2-40B4-BE49-F238E27FC236}">
                <a16:creationId xmlns:a16="http://schemas.microsoft.com/office/drawing/2014/main" id="{532EB93C-CD92-16FD-04AB-7C1B6A393374}"/>
              </a:ext>
            </a:extLst>
          </p:cNvPr>
          <p:cNvGrpSpPr/>
          <p:nvPr/>
        </p:nvGrpSpPr>
        <p:grpSpPr>
          <a:xfrm>
            <a:off x="5181600" y="2183892"/>
            <a:ext cx="1043940" cy="645160"/>
            <a:chOff x="5181600" y="2183892"/>
            <a:chExt cx="1043940" cy="645160"/>
          </a:xfrm>
        </p:grpSpPr>
        <p:pic>
          <p:nvPicPr>
            <p:cNvPr id="209" name="object 76">
              <a:extLst>
                <a:ext uri="{FF2B5EF4-FFF2-40B4-BE49-F238E27FC236}">
                  <a16:creationId xmlns:a16="http://schemas.microsoft.com/office/drawing/2014/main" id="{FBFE8720-BC1D-1344-770E-156CEBCAACDC}"/>
                </a:ext>
              </a:extLst>
            </p:cNvPr>
            <p:cNvPicPr/>
            <p:nvPr/>
          </p:nvPicPr>
          <p:blipFill>
            <a:blip r:embed="rId16" cstate="print"/>
            <a:stretch>
              <a:fillRect/>
            </a:stretch>
          </p:blipFill>
          <p:spPr>
            <a:xfrm>
              <a:off x="5674231" y="2183892"/>
              <a:ext cx="76074" cy="202311"/>
            </a:xfrm>
            <a:prstGeom prst="rect">
              <a:avLst/>
            </a:prstGeom>
          </p:spPr>
        </p:pic>
        <p:pic>
          <p:nvPicPr>
            <p:cNvPr id="210" name="object 77">
              <a:extLst>
                <a:ext uri="{FF2B5EF4-FFF2-40B4-BE49-F238E27FC236}">
                  <a16:creationId xmlns:a16="http://schemas.microsoft.com/office/drawing/2014/main" id="{D31264F0-ACE6-1CA9-C9FB-90F5B7881434}"/>
                </a:ext>
              </a:extLst>
            </p:cNvPr>
            <p:cNvPicPr/>
            <p:nvPr/>
          </p:nvPicPr>
          <p:blipFill>
            <a:blip r:embed="rId17" cstate="print"/>
            <a:stretch>
              <a:fillRect/>
            </a:stretch>
          </p:blipFill>
          <p:spPr>
            <a:xfrm>
              <a:off x="5673851" y="2676144"/>
              <a:ext cx="76200" cy="152907"/>
            </a:xfrm>
            <a:prstGeom prst="rect">
              <a:avLst/>
            </a:prstGeom>
          </p:spPr>
        </p:pic>
        <p:sp>
          <p:nvSpPr>
            <p:cNvPr id="211" name="object 78">
              <a:extLst>
                <a:ext uri="{FF2B5EF4-FFF2-40B4-BE49-F238E27FC236}">
                  <a16:creationId xmlns:a16="http://schemas.microsoft.com/office/drawing/2014/main" id="{580F2FE7-FAAF-E372-102F-2E389DB693A8}"/>
                </a:ext>
              </a:extLst>
            </p:cNvPr>
            <p:cNvSpPr/>
            <p:nvPr/>
          </p:nvSpPr>
          <p:spPr>
            <a:xfrm>
              <a:off x="5181600" y="2278126"/>
              <a:ext cx="370840" cy="170180"/>
            </a:xfrm>
            <a:custGeom>
              <a:avLst/>
              <a:gdLst/>
              <a:ahLst/>
              <a:cxnLst/>
              <a:rect l="l" t="t" r="r" b="b"/>
              <a:pathLst>
                <a:path w="370839" h="170180">
                  <a:moveTo>
                    <a:pt x="294386" y="93218"/>
                  </a:moveTo>
                  <a:lnTo>
                    <a:pt x="331470" y="169925"/>
                  </a:lnTo>
                  <a:lnTo>
                    <a:pt x="364285" y="106425"/>
                  </a:lnTo>
                  <a:lnTo>
                    <a:pt x="326009" y="106425"/>
                  </a:lnTo>
                  <a:lnTo>
                    <a:pt x="326025" y="93639"/>
                  </a:lnTo>
                  <a:lnTo>
                    <a:pt x="294386" y="93218"/>
                  </a:lnTo>
                  <a:close/>
                </a:path>
                <a:path w="370839" h="170180">
                  <a:moveTo>
                    <a:pt x="326025" y="93639"/>
                  </a:moveTo>
                  <a:lnTo>
                    <a:pt x="326009" y="106425"/>
                  </a:lnTo>
                  <a:lnTo>
                    <a:pt x="338709" y="106425"/>
                  </a:lnTo>
                  <a:lnTo>
                    <a:pt x="338724" y="93809"/>
                  </a:lnTo>
                  <a:lnTo>
                    <a:pt x="326025" y="93639"/>
                  </a:lnTo>
                  <a:close/>
                </a:path>
                <a:path w="370839" h="170180">
                  <a:moveTo>
                    <a:pt x="338724" y="93809"/>
                  </a:moveTo>
                  <a:lnTo>
                    <a:pt x="338709" y="106425"/>
                  </a:lnTo>
                  <a:lnTo>
                    <a:pt x="364285" y="106425"/>
                  </a:lnTo>
                  <a:lnTo>
                    <a:pt x="370586" y="94234"/>
                  </a:lnTo>
                  <a:lnTo>
                    <a:pt x="338724" y="93809"/>
                  </a:lnTo>
                  <a:close/>
                </a:path>
                <a:path w="370839" h="170180">
                  <a:moveTo>
                    <a:pt x="326136" y="6350"/>
                  </a:moveTo>
                  <a:lnTo>
                    <a:pt x="326025" y="93639"/>
                  </a:lnTo>
                  <a:lnTo>
                    <a:pt x="338724" y="93809"/>
                  </a:lnTo>
                  <a:lnTo>
                    <a:pt x="338826" y="12700"/>
                  </a:lnTo>
                  <a:lnTo>
                    <a:pt x="332486" y="12700"/>
                  </a:lnTo>
                  <a:lnTo>
                    <a:pt x="326136" y="6350"/>
                  </a:lnTo>
                  <a:close/>
                </a:path>
                <a:path w="370839" h="170180">
                  <a:moveTo>
                    <a:pt x="334137" y="0"/>
                  </a:moveTo>
                  <a:lnTo>
                    <a:pt x="0" y="0"/>
                  </a:lnTo>
                  <a:lnTo>
                    <a:pt x="0" y="12700"/>
                  </a:lnTo>
                  <a:lnTo>
                    <a:pt x="326127" y="12700"/>
                  </a:lnTo>
                  <a:lnTo>
                    <a:pt x="326136" y="6350"/>
                  </a:lnTo>
                  <a:lnTo>
                    <a:pt x="338833" y="6350"/>
                  </a:lnTo>
                  <a:lnTo>
                    <a:pt x="338836" y="4699"/>
                  </a:lnTo>
                  <a:lnTo>
                    <a:pt x="338200" y="3048"/>
                  </a:lnTo>
                  <a:lnTo>
                    <a:pt x="335788" y="635"/>
                  </a:lnTo>
                  <a:lnTo>
                    <a:pt x="334137" y="0"/>
                  </a:lnTo>
                  <a:close/>
                </a:path>
                <a:path w="370839" h="170180">
                  <a:moveTo>
                    <a:pt x="338833" y="6350"/>
                  </a:moveTo>
                  <a:lnTo>
                    <a:pt x="326136" y="6350"/>
                  </a:lnTo>
                  <a:lnTo>
                    <a:pt x="332486" y="12700"/>
                  </a:lnTo>
                  <a:lnTo>
                    <a:pt x="338826" y="12700"/>
                  </a:lnTo>
                  <a:lnTo>
                    <a:pt x="338833" y="6350"/>
                  </a:lnTo>
                  <a:close/>
                </a:path>
              </a:pathLst>
            </a:custGeom>
            <a:solidFill>
              <a:srgbClr val="D0D0CE"/>
            </a:solidFill>
          </p:spPr>
          <p:txBody>
            <a:bodyPr wrap="square" lIns="0" tIns="0" rIns="0" bIns="0" rtlCol="0"/>
            <a:lstStyle/>
            <a:p>
              <a:endParaRPr/>
            </a:p>
          </p:txBody>
        </p:sp>
        <p:sp>
          <p:nvSpPr>
            <p:cNvPr id="212" name="object 79">
              <a:extLst>
                <a:ext uri="{FF2B5EF4-FFF2-40B4-BE49-F238E27FC236}">
                  <a16:creationId xmlns:a16="http://schemas.microsoft.com/office/drawing/2014/main" id="{94168D87-F820-F5B8-63F7-6797E1C4E28D}"/>
                </a:ext>
              </a:extLst>
            </p:cNvPr>
            <p:cNvSpPr/>
            <p:nvPr/>
          </p:nvSpPr>
          <p:spPr>
            <a:xfrm>
              <a:off x="5882131" y="2278126"/>
              <a:ext cx="343535" cy="165735"/>
            </a:xfrm>
            <a:custGeom>
              <a:avLst/>
              <a:gdLst/>
              <a:ahLst/>
              <a:cxnLst/>
              <a:rect l="l" t="t" r="r" b="b"/>
              <a:pathLst>
                <a:path w="343535" h="165735">
                  <a:moveTo>
                    <a:pt x="31750" y="89450"/>
                  </a:moveTo>
                  <a:lnTo>
                    <a:pt x="0" y="89662"/>
                  </a:lnTo>
                  <a:lnTo>
                    <a:pt x="38607" y="165608"/>
                  </a:lnTo>
                  <a:lnTo>
                    <a:pt x="69830" y="102108"/>
                  </a:lnTo>
                  <a:lnTo>
                    <a:pt x="31750" y="102108"/>
                  </a:lnTo>
                  <a:lnTo>
                    <a:pt x="31750" y="89450"/>
                  </a:lnTo>
                  <a:close/>
                </a:path>
                <a:path w="343535" h="165735">
                  <a:moveTo>
                    <a:pt x="343280" y="0"/>
                  </a:moveTo>
                  <a:lnTo>
                    <a:pt x="34543" y="0"/>
                  </a:lnTo>
                  <a:lnTo>
                    <a:pt x="31750" y="2794"/>
                  </a:lnTo>
                  <a:lnTo>
                    <a:pt x="31750" y="102108"/>
                  </a:lnTo>
                  <a:lnTo>
                    <a:pt x="44450" y="102108"/>
                  </a:lnTo>
                  <a:lnTo>
                    <a:pt x="44450" y="12700"/>
                  </a:lnTo>
                  <a:lnTo>
                    <a:pt x="38100" y="12700"/>
                  </a:lnTo>
                  <a:lnTo>
                    <a:pt x="44450" y="6350"/>
                  </a:lnTo>
                  <a:lnTo>
                    <a:pt x="343280" y="6350"/>
                  </a:lnTo>
                  <a:lnTo>
                    <a:pt x="343280" y="0"/>
                  </a:lnTo>
                  <a:close/>
                </a:path>
                <a:path w="343535" h="165735">
                  <a:moveTo>
                    <a:pt x="76054" y="89450"/>
                  </a:moveTo>
                  <a:lnTo>
                    <a:pt x="44450" y="89450"/>
                  </a:lnTo>
                  <a:lnTo>
                    <a:pt x="44450" y="102108"/>
                  </a:lnTo>
                  <a:lnTo>
                    <a:pt x="69830" y="102108"/>
                  </a:lnTo>
                  <a:lnTo>
                    <a:pt x="75950" y="89662"/>
                  </a:lnTo>
                  <a:lnTo>
                    <a:pt x="76054" y="89450"/>
                  </a:lnTo>
                  <a:close/>
                </a:path>
                <a:path w="343535" h="165735">
                  <a:moveTo>
                    <a:pt x="76200" y="89153"/>
                  </a:moveTo>
                  <a:lnTo>
                    <a:pt x="31749" y="89450"/>
                  </a:lnTo>
                  <a:lnTo>
                    <a:pt x="76054" y="89450"/>
                  </a:lnTo>
                  <a:lnTo>
                    <a:pt x="76200" y="89153"/>
                  </a:lnTo>
                  <a:close/>
                </a:path>
                <a:path w="343535" h="165735">
                  <a:moveTo>
                    <a:pt x="44450" y="6350"/>
                  </a:moveTo>
                  <a:lnTo>
                    <a:pt x="38100" y="12700"/>
                  </a:lnTo>
                  <a:lnTo>
                    <a:pt x="44450" y="12700"/>
                  </a:lnTo>
                  <a:lnTo>
                    <a:pt x="44450" y="6350"/>
                  </a:lnTo>
                  <a:close/>
                </a:path>
                <a:path w="343535" h="165735">
                  <a:moveTo>
                    <a:pt x="343280" y="6350"/>
                  </a:moveTo>
                  <a:lnTo>
                    <a:pt x="44450" y="6350"/>
                  </a:lnTo>
                  <a:lnTo>
                    <a:pt x="44450" y="12700"/>
                  </a:lnTo>
                  <a:lnTo>
                    <a:pt x="343280" y="12700"/>
                  </a:lnTo>
                  <a:lnTo>
                    <a:pt x="343280" y="6350"/>
                  </a:lnTo>
                  <a:close/>
                </a:path>
              </a:pathLst>
            </a:custGeom>
            <a:solidFill>
              <a:srgbClr val="000000"/>
            </a:solidFill>
          </p:spPr>
          <p:txBody>
            <a:bodyPr wrap="square" lIns="0" tIns="0" rIns="0" bIns="0" rtlCol="0"/>
            <a:lstStyle/>
            <a:p>
              <a:endParaRPr/>
            </a:p>
          </p:txBody>
        </p:sp>
      </p:grpSp>
      <p:sp>
        <p:nvSpPr>
          <p:cNvPr id="213" name="object 80">
            <a:extLst>
              <a:ext uri="{FF2B5EF4-FFF2-40B4-BE49-F238E27FC236}">
                <a16:creationId xmlns:a16="http://schemas.microsoft.com/office/drawing/2014/main" id="{C8554356-7F49-BC67-569E-7E22642C880F}"/>
              </a:ext>
            </a:extLst>
          </p:cNvPr>
          <p:cNvSpPr txBox="1"/>
          <p:nvPr/>
        </p:nvSpPr>
        <p:spPr>
          <a:xfrm>
            <a:off x="5449951" y="1895094"/>
            <a:ext cx="692150" cy="394970"/>
          </a:xfrm>
          <a:prstGeom prst="rect">
            <a:avLst/>
          </a:prstGeom>
        </p:spPr>
        <p:txBody>
          <a:bodyPr vert="horz" wrap="square" lIns="0" tIns="13335" rIns="0" bIns="0" rtlCol="0">
            <a:spAutoFit/>
          </a:bodyPr>
          <a:lstStyle/>
          <a:p>
            <a:pPr marR="158750" algn="ctr">
              <a:lnSpc>
                <a:spcPct val="100000"/>
              </a:lnSpc>
              <a:spcBef>
                <a:spcPts val="105"/>
              </a:spcBef>
            </a:pPr>
            <a:r>
              <a:rPr sz="800" b="1" spc="-10">
                <a:latin typeface="Calibri"/>
                <a:cs typeface="Calibri"/>
              </a:rPr>
              <a:t>Significance</a:t>
            </a:r>
            <a:endParaRPr sz="800">
              <a:latin typeface="Calibri"/>
              <a:cs typeface="Calibri"/>
            </a:endParaRPr>
          </a:p>
          <a:p>
            <a:pPr marR="160020" algn="ctr">
              <a:lnSpc>
                <a:spcPct val="100000"/>
              </a:lnSpc>
              <a:spcBef>
                <a:spcPts val="45"/>
              </a:spcBef>
            </a:pPr>
            <a:r>
              <a:rPr sz="800" b="1" spc="-50">
                <a:latin typeface="Calibri"/>
                <a:cs typeface="Calibri"/>
              </a:rPr>
              <a:t>?</a:t>
            </a:r>
            <a:endParaRPr sz="800">
              <a:latin typeface="Calibri"/>
              <a:cs typeface="Calibri"/>
            </a:endParaRPr>
          </a:p>
          <a:p>
            <a:pPr marL="307975" algn="ctr">
              <a:lnSpc>
                <a:spcPct val="100000"/>
              </a:lnSpc>
              <a:spcBef>
                <a:spcPts val="95"/>
              </a:spcBef>
            </a:pPr>
            <a:r>
              <a:rPr sz="700" b="1" spc="-10">
                <a:solidFill>
                  <a:srgbClr val="0096A9"/>
                </a:solidFill>
                <a:latin typeface="Calibri"/>
                <a:cs typeface="Calibri"/>
              </a:rPr>
              <a:t>Exception</a:t>
            </a:r>
            <a:endParaRPr sz="700">
              <a:latin typeface="Calibri"/>
              <a:cs typeface="Calibri"/>
            </a:endParaRPr>
          </a:p>
        </p:txBody>
      </p:sp>
      <p:sp>
        <p:nvSpPr>
          <p:cNvPr id="214" name="object 81">
            <a:extLst>
              <a:ext uri="{FF2B5EF4-FFF2-40B4-BE49-F238E27FC236}">
                <a16:creationId xmlns:a16="http://schemas.microsoft.com/office/drawing/2014/main" id="{08875851-909A-9759-8EE2-CAC70EC161C0}"/>
              </a:ext>
            </a:extLst>
          </p:cNvPr>
          <p:cNvSpPr/>
          <p:nvPr/>
        </p:nvSpPr>
        <p:spPr>
          <a:xfrm>
            <a:off x="7854695" y="1723644"/>
            <a:ext cx="0" cy="4439920"/>
          </a:xfrm>
          <a:custGeom>
            <a:avLst/>
            <a:gdLst/>
            <a:ahLst/>
            <a:cxnLst/>
            <a:rect l="l" t="t" r="r" b="b"/>
            <a:pathLst>
              <a:path h="4439920">
                <a:moveTo>
                  <a:pt x="0" y="0"/>
                </a:moveTo>
                <a:lnTo>
                  <a:pt x="0" y="4439831"/>
                </a:lnTo>
              </a:path>
            </a:pathLst>
          </a:custGeom>
          <a:ln w="3175">
            <a:solidFill>
              <a:srgbClr val="85BB24"/>
            </a:solidFill>
          </a:ln>
        </p:spPr>
        <p:txBody>
          <a:bodyPr wrap="square" lIns="0" tIns="0" rIns="0" bIns="0" rtlCol="0"/>
          <a:lstStyle/>
          <a:p>
            <a:endParaRPr/>
          </a:p>
        </p:txBody>
      </p:sp>
      <p:sp>
        <p:nvSpPr>
          <p:cNvPr id="215" name="object 82">
            <a:extLst>
              <a:ext uri="{FF2B5EF4-FFF2-40B4-BE49-F238E27FC236}">
                <a16:creationId xmlns:a16="http://schemas.microsoft.com/office/drawing/2014/main" id="{D2D4F0FF-8B9D-4D09-6767-15CCE377F4EF}"/>
              </a:ext>
            </a:extLst>
          </p:cNvPr>
          <p:cNvSpPr txBox="1"/>
          <p:nvPr/>
        </p:nvSpPr>
        <p:spPr>
          <a:xfrm>
            <a:off x="9429750" y="1610613"/>
            <a:ext cx="1098550" cy="269240"/>
          </a:xfrm>
          <a:prstGeom prst="rect">
            <a:avLst/>
          </a:prstGeom>
        </p:spPr>
        <p:txBody>
          <a:bodyPr vert="horz" wrap="square" lIns="0" tIns="12065" rIns="0" bIns="0" rtlCol="0">
            <a:spAutoFit/>
          </a:bodyPr>
          <a:lstStyle/>
          <a:p>
            <a:pPr marL="12700">
              <a:lnSpc>
                <a:spcPct val="100000"/>
              </a:lnSpc>
              <a:spcBef>
                <a:spcPts val="95"/>
              </a:spcBef>
            </a:pPr>
            <a:r>
              <a:rPr sz="1600" b="1">
                <a:solidFill>
                  <a:srgbClr val="85BB24"/>
                </a:solidFill>
                <a:latin typeface="Calibri"/>
                <a:cs typeface="Calibri"/>
              </a:rPr>
              <a:t>Key</a:t>
            </a:r>
            <a:r>
              <a:rPr sz="1600" b="1" spc="-65">
                <a:solidFill>
                  <a:srgbClr val="85BB24"/>
                </a:solidFill>
                <a:latin typeface="Calibri"/>
                <a:cs typeface="Calibri"/>
              </a:rPr>
              <a:t> </a:t>
            </a:r>
            <a:r>
              <a:rPr sz="1600" b="1" spc="-10">
                <a:solidFill>
                  <a:srgbClr val="85BB24"/>
                </a:solidFill>
                <a:latin typeface="Calibri"/>
                <a:cs typeface="Calibri"/>
              </a:rPr>
              <a:t>Features</a:t>
            </a:r>
            <a:endParaRPr sz="1600">
              <a:latin typeface="Calibri"/>
              <a:cs typeface="Calibri"/>
            </a:endParaRPr>
          </a:p>
        </p:txBody>
      </p:sp>
      <p:sp>
        <p:nvSpPr>
          <p:cNvPr id="216" name="object 83">
            <a:extLst>
              <a:ext uri="{FF2B5EF4-FFF2-40B4-BE49-F238E27FC236}">
                <a16:creationId xmlns:a16="http://schemas.microsoft.com/office/drawing/2014/main" id="{4310A3D6-98A9-F6D4-197B-B3B0EA9255BD}"/>
              </a:ext>
            </a:extLst>
          </p:cNvPr>
          <p:cNvSpPr txBox="1"/>
          <p:nvPr/>
        </p:nvSpPr>
        <p:spPr>
          <a:xfrm>
            <a:off x="8257793" y="2260385"/>
            <a:ext cx="3295650" cy="795020"/>
          </a:xfrm>
          <a:prstGeom prst="rect">
            <a:avLst/>
          </a:prstGeom>
        </p:spPr>
        <p:txBody>
          <a:bodyPr vert="horz" wrap="square" lIns="0" tIns="12700" rIns="0" bIns="0" rtlCol="0">
            <a:spAutoFit/>
          </a:bodyPr>
          <a:lstStyle/>
          <a:p>
            <a:pPr marL="183515" marR="5080" indent="-171450">
              <a:lnSpc>
                <a:spcPct val="120100"/>
              </a:lnSpc>
              <a:spcBef>
                <a:spcPts val="100"/>
              </a:spcBef>
              <a:buFont typeface="Arial"/>
              <a:buChar char="•"/>
              <a:tabLst>
                <a:tab pos="184785" algn="l"/>
              </a:tabLst>
            </a:pPr>
            <a:r>
              <a:rPr sz="1400">
                <a:latin typeface="Calibri"/>
                <a:cs typeface="Calibri"/>
              </a:rPr>
              <a:t>Ensures</a:t>
            </a:r>
            <a:r>
              <a:rPr sz="1400" spc="-35">
                <a:latin typeface="Calibri"/>
                <a:cs typeface="Calibri"/>
              </a:rPr>
              <a:t> </a:t>
            </a:r>
            <a:r>
              <a:rPr sz="1400">
                <a:latin typeface="Calibri"/>
                <a:cs typeface="Calibri"/>
              </a:rPr>
              <a:t>user</a:t>
            </a:r>
            <a:r>
              <a:rPr sz="1400" spc="-45">
                <a:latin typeface="Calibri"/>
                <a:cs typeface="Calibri"/>
              </a:rPr>
              <a:t> </a:t>
            </a:r>
            <a:r>
              <a:rPr sz="1400">
                <a:latin typeface="Calibri"/>
                <a:cs typeface="Calibri"/>
              </a:rPr>
              <a:t>requests</a:t>
            </a:r>
            <a:r>
              <a:rPr sz="1400" spc="-25">
                <a:latin typeface="Calibri"/>
                <a:cs typeface="Calibri"/>
              </a:rPr>
              <a:t> </a:t>
            </a:r>
            <a:r>
              <a:rPr sz="1400" spc="-10">
                <a:latin typeface="Calibri"/>
                <a:cs typeface="Calibri"/>
              </a:rPr>
              <a:t>(issues, 	</a:t>
            </a:r>
            <a:r>
              <a:rPr sz="1400">
                <a:latin typeface="Calibri"/>
                <a:cs typeface="Calibri"/>
              </a:rPr>
              <a:t>enhancements,</a:t>
            </a:r>
            <a:r>
              <a:rPr sz="1400" spc="-30">
                <a:latin typeface="Calibri"/>
                <a:cs typeface="Calibri"/>
              </a:rPr>
              <a:t> </a:t>
            </a:r>
            <a:r>
              <a:rPr sz="1400">
                <a:latin typeface="Calibri"/>
                <a:cs typeface="Calibri"/>
              </a:rPr>
              <a:t>or</a:t>
            </a:r>
            <a:r>
              <a:rPr sz="1400" spc="-60">
                <a:latin typeface="Calibri"/>
                <a:cs typeface="Calibri"/>
              </a:rPr>
              <a:t> </a:t>
            </a:r>
            <a:r>
              <a:rPr sz="1400">
                <a:latin typeface="Calibri"/>
                <a:cs typeface="Calibri"/>
              </a:rPr>
              <a:t>questions)</a:t>
            </a:r>
            <a:r>
              <a:rPr sz="1400" spc="-35">
                <a:latin typeface="Calibri"/>
                <a:cs typeface="Calibri"/>
              </a:rPr>
              <a:t> </a:t>
            </a:r>
            <a:r>
              <a:rPr sz="1400">
                <a:latin typeface="Calibri"/>
                <a:cs typeface="Calibri"/>
              </a:rPr>
              <a:t>are</a:t>
            </a:r>
            <a:r>
              <a:rPr sz="1400" spc="-45">
                <a:latin typeface="Calibri"/>
                <a:cs typeface="Calibri"/>
              </a:rPr>
              <a:t> </a:t>
            </a:r>
            <a:r>
              <a:rPr sz="1400" spc="-10">
                <a:latin typeface="Calibri"/>
                <a:cs typeface="Calibri"/>
              </a:rPr>
              <a:t>managed 	</a:t>
            </a:r>
            <a:r>
              <a:rPr sz="1400">
                <a:latin typeface="Calibri"/>
                <a:cs typeface="Calibri"/>
              </a:rPr>
              <a:t>to</a:t>
            </a:r>
            <a:r>
              <a:rPr sz="1400" spc="-20">
                <a:latin typeface="Calibri"/>
                <a:cs typeface="Calibri"/>
              </a:rPr>
              <a:t> </a:t>
            </a:r>
            <a:r>
              <a:rPr sz="1400" spc="-10">
                <a:latin typeface="Calibri"/>
                <a:cs typeface="Calibri"/>
              </a:rPr>
              <a:t>completion</a:t>
            </a:r>
            <a:endParaRPr sz="1400">
              <a:latin typeface="Calibri"/>
              <a:cs typeface="Calibri"/>
            </a:endParaRPr>
          </a:p>
        </p:txBody>
      </p:sp>
      <p:sp>
        <p:nvSpPr>
          <p:cNvPr id="217" name="object 84">
            <a:extLst>
              <a:ext uri="{FF2B5EF4-FFF2-40B4-BE49-F238E27FC236}">
                <a16:creationId xmlns:a16="http://schemas.microsoft.com/office/drawing/2014/main" id="{372F68BA-9915-4C91-A633-F3E55C219AF1}"/>
              </a:ext>
            </a:extLst>
          </p:cNvPr>
          <p:cNvSpPr txBox="1"/>
          <p:nvPr/>
        </p:nvSpPr>
        <p:spPr>
          <a:xfrm>
            <a:off x="8257793" y="3143859"/>
            <a:ext cx="2856230" cy="537845"/>
          </a:xfrm>
          <a:prstGeom prst="rect">
            <a:avLst/>
          </a:prstGeom>
        </p:spPr>
        <p:txBody>
          <a:bodyPr vert="horz" wrap="square" lIns="0" tIns="12700" rIns="0" bIns="0" rtlCol="0">
            <a:spAutoFit/>
          </a:bodyPr>
          <a:lstStyle/>
          <a:p>
            <a:pPr marL="183515" marR="5080" indent="-171450">
              <a:lnSpc>
                <a:spcPct val="120000"/>
              </a:lnSpc>
              <a:spcBef>
                <a:spcPts val="100"/>
              </a:spcBef>
              <a:buFont typeface="Arial"/>
              <a:buChar char="•"/>
              <a:tabLst>
                <a:tab pos="184785" algn="l"/>
              </a:tabLst>
            </a:pPr>
            <a:r>
              <a:rPr sz="1400" spc="-10">
                <a:latin typeface="Calibri"/>
                <a:cs typeface="Calibri"/>
              </a:rPr>
              <a:t>Facilitates</a:t>
            </a:r>
            <a:r>
              <a:rPr sz="1400" spc="-30">
                <a:latin typeface="Calibri"/>
                <a:cs typeface="Calibri"/>
              </a:rPr>
              <a:t> </a:t>
            </a:r>
            <a:r>
              <a:rPr sz="1400">
                <a:latin typeface="Calibri"/>
                <a:cs typeface="Calibri"/>
              </a:rPr>
              <a:t>adherence</a:t>
            </a:r>
            <a:r>
              <a:rPr sz="1400" spc="-5">
                <a:latin typeface="Calibri"/>
                <a:cs typeface="Calibri"/>
              </a:rPr>
              <a:t> </a:t>
            </a:r>
            <a:r>
              <a:rPr sz="1400">
                <a:latin typeface="Calibri"/>
                <a:cs typeface="Calibri"/>
              </a:rPr>
              <a:t>to</a:t>
            </a:r>
            <a:r>
              <a:rPr sz="1400" spc="-30">
                <a:latin typeface="Calibri"/>
                <a:cs typeface="Calibri"/>
              </a:rPr>
              <a:t> </a:t>
            </a:r>
            <a:r>
              <a:rPr sz="1400" spc="-10">
                <a:latin typeface="Calibri"/>
                <a:cs typeface="Calibri"/>
              </a:rPr>
              <a:t>service-</a:t>
            </a:r>
            <a:r>
              <a:rPr sz="1400" spc="-20">
                <a:latin typeface="Calibri"/>
                <a:cs typeface="Calibri"/>
              </a:rPr>
              <a:t>level 	</a:t>
            </a:r>
            <a:r>
              <a:rPr sz="1400" spc="-10">
                <a:latin typeface="Calibri"/>
                <a:cs typeface="Calibri"/>
              </a:rPr>
              <a:t>agreements</a:t>
            </a:r>
            <a:r>
              <a:rPr sz="1400" spc="10">
                <a:latin typeface="Calibri"/>
                <a:cs typeface="Calibri"/>
              </a:rPr>
              <a:t> </a:t>
            </a:r>
            <a:r>
              <a:rPr sz="1400" spc="-10">
                <a:latin typeface="Calibri"/>
                <a:cs typeface="Calibri"/>
              </a:rPr>
              <a:t>(SLAs)</a:t>
            </a:r>
            <a:endParaRPr sz="1400">
              <a:latin typeface="Calibri"/>
              <a:cs typeface="Calibri"/>
            </a:endParaRPr>
          </a:p>
        </p:txBody>
      </p:sp>
      <p:sp>
        <p:nvSpPr>
          <p:cNvPr id="218" name="object 85">
            <a:extLst>
              <a:ext uri="{FF2B5EF4-FFF2-40B4-BE49-F238E27FC236}">
                <a16:creationId xmlns:a16="http://schemas.microsoft.com/office/drawing/2014/main" id="{1E091DC3-6756-91BB-759B-FA3F4D82DEEE}"/>
              </a:ext>
            </a:extLst>
          </p:cNvPr>
          <p:cNvSpPr txBox="1"/>
          <p:nvPr/>
        </p:nvSpPr>
        <p:spPr>
          <a:xfrm>
            <a:off x="8257793" y="3811981"/>
            <a:ext cx="3391535" cy="240029"/>
          </a:xfrm>
          <a:prstGeom prst="rect">
            <a:avLst/>
          </a:prstGeom>
        </p:spPr>
        <p:txBody>
          <a:bodyPr vert="horz" wrap="square" lIns="0" tIns="13335" rIns="0" bIns="0" rtlCol="0">
            <a:spAutoFit/>
          </a:bodyPr>
          <a:lstStyle/>
          <a:p>
            <a:pPr marL="184150" indent="-171450">
              <a:lnSpc>
                <a:spcPct val="100000"/>
              </a:lnSpc>
              <a:spcBef>
                <a:spcPts val="105"/>
              </a:spcBef>
              <a:buFont typeface="Arial"/>
              <a:buChar char="•"/>
              <a:tabLst>
                <a:tab pos="184150" algn="l"/>
              </a:tabLst>
            </a:pPr>
            <a:r>
              <a:rPr sz="1400">
                <a:latin typeface="Calibri"/>
                <a:cs typeface="Calibri"/>
              </a:rPr>
              <a:t>Focuses</a:t>
            </a:r>
            <a:r>
              <a:rPr sz="1400" spc="-35">
                <a:latin typeface="Calibri"/>
                <a:cs typeface="Calibri"/>
              </a:rPr>
              <a:t> </a:t>
            </a:r>
            <a:r>
              <a:rPr sz="1400">
                <a:latin typeface="Calibri"/>
                <a:cs typeface="Calibri"/>
              </a:rPr>
              <a:t>on</a:t>
            </a:r>
            <a:r>
              <a:rPr sz="1400" spc="-20">
                <a:latin typeface="Calibri"/>
                <a:cs typeface="Calibri"/>
              </a:rPr>
              <a:t> </a:t>
            </a:r>
            <a:r>
              <a:rPr sz="1400" spc="-10">
                <a:latin typeface="Calibri"/>
                <a:cs typeface="Calibri"/>
              </a:rPr>
              <a:t>end-to-</a:t>
            </a:r>
            <a:r>
              <a:rPr sz="1400">
                <a:latin typeface="Calibri"/>
                <a:cs typeface="Calibri"/>
              </a:rPr>
              <a:t>end service</a:t>
            </a:r>
            <a:r>
              <a:rPr sz="1400" spc="-20">
                <a:latin typeface="Calibri"/>
                <a:cs typeface="Calibri"/>
              </a:rPr>
              <a:t> </a:t>
            </a:r>
            <a:r>
              <a:rPr sz="1400" spc="-10">
                <a:latin typeface="Calibri"/>
                <a:cs typeface="Calibri"/>
              </a:rPr>
              <a:t>management</a:t>
            </a:r>
            <a:endParaRPr sz="1400">
              <a:latin typeface="Calibri"/>
              <a:cs typeface="Calibri"/>
            </a:endParaRPr>
          </a:p>
        </p:txBody>
      </p:sp>
      <p:sp>
        <p:nvSpPr>
          <p:cNvPr id="219" name="object 86">
            <a:extLst>
              <a:ext uri="{FF2B5EF4-FFF2-40B4-BE49-F238E27FC236}">
                <a16:creationId xmlns:a16="http://schemas.microsoft.com/office/drawing/2014/main" id="{CA10D90A-4C9A-8AC8-1EE1-2B339F13DAA5}"/>
              </a:ext>
            </a:extLst>
          </p:cNvPr>
          <p:cNvSpPr txBox="1"/>
          <p:nvPr/>
        </p:nvSpPr>
        <p:spPr>
          <a:xfrm>
            <a:off x="8257793" y="4182871"/>
            <a:ext cx="2122805" cy="239395"/>
          </a:xfrm>
          <a:prstGeom prst="rect">
            <a:avLst/>
          </a:prstGeom>
        </p:spPr>
        <p:txBody>
          <a:bodyPr vert="horz" wrap="square" lIns="0" tIns="12700" rIns="0" bIns="0" rtlCol="0">
            <a:spAutoFit/>
          </a:bodyPr>
          <a:lstStyle/>
          <a:p>
            <a:pPr marL="184150" indent="-171450">
              <a:lnSpc>
                <a:spcPct val="100000"/>
              </a:lnSpc>
              <a:spcBef>
                <a:spcPts val="100"/>
              </a:spcBef>
              <a:buFont typeface="Arial"/>
              <a:buChar char="•"/>
              <a:tabLst>
                <a:tab pos="184150" algn="l"/>
              </a:tabLst>
            </a:pPr>
            <a:r>
              <a:rPr sz="1400">
                <a:latin typeface="Calibri"/>
                <a:cs typeface="Calibri"/>
              </a:rPr>
              <a:t>Supports</a:t>
            </a:r>
            <a:r>
              <a:rPr sz="1400" spc="-40">
                <a:latin typeface="Calibri"/>
                <a:cs typeface="Calibri"/>
              </a:rPr>
              <a:t> </a:t>
            </a:r>
            <a:r>
              <a:rPr sz="1400">
                <a:latin typeface="Calibri"/>
                <a:cs typeface="Calibri"/>
              </a:rPr>
              <a:t>quality</a:t>
            </a:r>
            <a:r>
              <a:rPr sz="1400" spc="-10">
                <a:latin typeface="Calibri"/>
                <a:cs typeface="Calibri"/>
              </a:rPr>
              <a:t> initiatives</a:t>
            </a:r>
            <a:endParaRPr sz="1400">
              <a:latin typeface="Calibri"/>
              <a:cs typeface="Calibri"/>
            </a:endParaRPr>
          </a:p>
        </p:txBody>
      </p:sp>
      <p:sp>
        <p:nvSpPr>
          <p:cNvPr id="220" name="object 87">
            <a:extLst>
              <a:ext uri="{FF2B5EF4-FFF2-40B4-BE49-F238E27FC236}">
                <a16:creationId xmlns:a16="http://schemas.microsoft.com/office/drawing/2014/main" id="{6C9D2608-0960-7A75-02DB-8EEBE5516B69}"/>
              </a:ext>
            </a:extLst>
          </p:cNvPr>
          <p:cNvSpPr txBox="1"/>
          <p:nvPr/>
        </p:nvSpPr>
        <p:spPr>
          <a:xfrm>
            <a:off x="8257793" y="4553203"/>
            <a:ext cx="2798445" cy="239395"/>
          </a:xfrm>
          <a:prstGeom prst="rect">
            <a:avLst/>
          </a:prstGeom>
        </p:spPr>
        <p:txBody>
          <a:bodyPr vert="horz" wrap="square" lIns="0" tIns="12700" rIns="0" bIns="0" rtlCol="0">
            <a:spAutoFit/>
          </a:bodyPr>
          <a:lstStyle/>
          <a:p>
            <a:pPr marL="184150" indent="-171450">
              <a:lnSpc>
                <a:spcPct val="100000"/>
              </a:lnSpc>
              <a:spcBef>
                <a:spcPts val="100"/>
              </a:spcBef>
              <a:buFont typeface="Arial"/>
              <a:buChar char="•"/>
              <a:tabLst>
                <a:tab pos="184150" algn="l"/>
              </a:tabLst>
            </a:pPr>
            <a:r>
              <a:rPr sz="1400" spc="-10">
                <a:latin typeface="Calibri"/>
                <a:cs typeface="Calibri"/>
              </a:rPr>
              <a:t>Refines</a:t>
            </a:r>
            <a:r>
              <a:rPr sz="1400" spc="-25">
                <a:latin typeface="Calibri"/>
                <a:cs typeface="Calibri"/>
              </a:rPr>
              <a:t> </a:t>
            </a:r>
            <a:r>
              <a:rPr sz="1400" spc="-10">
                <a:latin typeface="Calibri"/>
                <a:cs typeface="Calibri"/>
              </a:rPr>
              <a:t>through</a:t>
            </a:r>
            <a:r>
              <a:rPr sz="1400" spc="-15">
                <a:latin typeface="Calibri"/>
                <a:cs typeface="Calibri"/>
              </a:rPr>
              <a:t> </a:t>
            </a:r>
            <a:r>
              <a:rPr sz="1400">
                <a:latin typeface="Calibri"/>
                <a:cs typeface="Calibri"/>
              </a:rPr>
              <a:t>delivery</a:t>
            </a:r>
            <a:r>
              <a:rPr sz="1400" spc="-15">
                <a:latin typeface="Calibri"/>
                <a:cs typeface="Calibri"/>
              </a:rPr>
              <a:t> </a:t>
            </a:r>
            <a:r>
              <a:rPr sz="1400" spc="-10">
                <a:latin typeface="Calibri"/>
                <a:cs typeface="Calibri"/>
              </a:rPr>
              <a:t>experience</a:t>
            </a:r>
            <a:endParaRPr sz="1400">
              <a:latin typeface="Calibri"/>
              <a:cs typeface="Calibri"/>
            </a:endParaRPr>
          </a:p>
        </p:txBody>
      </p:sp>
      <p:sp>
        <p:nvSpPr>
          <p:cNvPr id="221" name="object 88">
            <a:extLst>
              <a:ext uri="{FF2B5EF4-FFF2-40B4-BE49-F238E27FC236}">
                <a16:creationId xmlns:a16="http://schemas.microsoft.com/office/drawing/2014/main" id="{BC680E31-C488-A635-8824-A15E42EC1C5C}"/>
              </a:ext>
            </a:extLst>
          </p:cNvPr>
          <p:cNvSpPr txBox="1"/>
          <p:nvPr/>
        </p:nvSpPr>
        <p:spPr>
          <a:xfrm>
            <a:off x="8257793" y="4923535"/>
            <a:ext cx="3091815" cy="239395"/>
          </a:xfrm>
          <a:prstGeom prst="rect">
            <a:avLst/>
          </a:prstGeom>
        </p:spPr>
        <p:txBody>
          <a:bodyPr vert="horz" wrap="square" lIns="0" tIns="12700" rIns="0" bIns="0" rtlCol="0">
            <a:spAutoFit/>
          </a:bodyPr>
          <a:lstStyle/>
          <a:p>
            <a:pPr marL="184150" indent="-171450">
              <a:lnSpc>
                <a:spcPct val="100000"/>
              </a:lnSpc>
              <a:spcBef>
                <a:spcPts val="100"/>
              </a:spcBef>
              <a:buFont typeface="Arial"/>
              <a:buChar char="•"/>
              <a:tabLst>
                <a:tab pos="184150" algn="l"/>
              </a:tabLst>
            </a:pPr>
            <a:r>
              <a:rPr sz="1400" spc="-10">
                <a:latin typeface="Calibri"/>
                <a:cs typeface="Calibri"/>
              </a:rPr>
              <a:t>Facilitates</a:t>
            </a:r>
            <a:r>
              <a:rPr sz="1400" spc="-25">
                <a:latin typeface="Calibri"/>
                <a:cs typeface="Calibri"/>
              </a:rPr>
              <a:t> </a:t>
            </a:r>
            <a:r>
              <a:rPr sz="1400" spc="-10">
                <a:latin typeface="Calibri"/>
                <a:cs typeface="Calibri"/>
              </a:rPr>
              <a:t>cost-effective</a:t>
            </a:r>
            <a:r>
              <a:rPr sz="1400" spc="-30">
                <a:latin typeface="Calibri"/>
                <a:cs typeface="Calibri"/>
              </a:rPr>
              <a:t> </a:t>
            </a:r>
            <a:r>
              <a:rPr sz="1400">
                <a:latin typeface="Calibri"/>
                <a:cs typeface="Calibri"/>
              </a:rPr>
              <a:t>service</a:t>
            </a:r>
            <a:r>
              <a:rPr sz="1400" spc="-35">
                <a:latin typeface="Calibri"/>
                <a:cs typeface="Calibri"/>
              </a:rPr>
              <a:t> </a:t>
            </a:r>
            <a:r>
              <a:rPr sz="1400" spc="-10">
                <a:latin typeface="Calibri"/>
                <a:cs typeface="Calibri"/>
              </a:rPr>
              <a:t>delivery</a:t>
            </a:r>
            <a:endParaRPr sz="1400">
              <a:latin typeface="Calibri"/>
              <a:cs typeface="Calibri"/>
            </a:endParaRPr>
          </a:p>
        </p:txBody>
      </p:sp>
      <p:grpSp>
        <p:nvGrpSpPr>
          <p:cNvPr id="222" name="object 89">
            <a:extLst>
              <a:ext uri="{FF2B5EF4-FFF2-40B4-BE49-F238E27FC236}">
                <a16:creationId xmlns:a16="http://schemas.microsoft.com/office/drawing/2014/main" id="{475206D0-5F84-D1BB-43E5-FF7326E025C6}"/>
              </a:ext>
            </a:extLst>
          </p:cNvPr>
          <p:cNvGrpSpPr/>
          <p:nvPr/>
        </p:nvGrpSpPr>
        <p:grpSpPr>
          <a:xfrm>
            <a:off x="8086280" y="1534604"/>
            <a:ext cx="3524885" cy="448945"/>
            <a:chOff x="8086280" y="1534604"/>
            <a:chExt cx="3524885" cy="448945"/>
          </a:xfrm>
        </p:grpSpPr>
        <p:sp>
          <p:nvSpPr>
            <p:cNvPr id="223" name="object 90">
              <a:extLst>
                <a:ext uri="{FF2B5EF4-FFF2-40B4-BE49-F238E27FC236}">
                  <a16:creationId xmlns:a16="http://schemas.microsoft.com/office/drawing/2014/main" id="{E79E8C8C-96E2-92A9-83D9-4F73D489EFC7}"/>
                </a:ext>
              </a:extLst>
            </p:cNvPr>
            <p:cNvSpPr/>
            <p:nvPr/>
          </p:nvSpPr>
          <p:spPr>
            <a:xfrm>
              <a:off x="8356854" y="1968245"/>
              <a:ext cx="3240405" cy="1270"/>
            </a:xfrm>
            <a:custGeom>
              <a:avLst/>
              <a:gdLst/>
              <a:ahLst/>
              <a:cxnLst/>
              <a:rect l="l" t="t" r="r" b="b"/>
              <a:pathLst>
                <a:path w="3240404" h="1269">
                  <a:moveTo>
                    <a:pt x="0" y="888"/>
                  </a:moveTo>
                  <a:lnTo>
                    <a:pt x="3240024" y="0"/>
                  </a:lnTo>
                </a:path>
              </a:pathLst>
            </a:custGeom>
            <a:ln w="28575">
              <a:solidFill>
                <a:srgbClr val="85BB24"/>
              </a:solidFill>
            </a:ln>
          </p:spPr>
          <p:txBody>
            <a:bodyPr wrap="square" lIns="0" tIns="0" rIns="0" bIns="0" rtlCol="0"/>
            <a:lstStyle/>
            <a:p>
              <a:endParaRPr/>
            </a:p>
          </p:txBody>
        </p:sp>
        <p:sp>
          <p:nvSpPr>
            <p:cNvPr id="224" name="object 91">
              <a:extLst>
                <a:ext uri="{FF2B5EF4-FFF2-40B4-BE49-F238E27FC236}">
                  <a16:creationId xmlns:a16="http://schemas.microsoft.com/office/drawing/2014/main" id="{16F9A2B5-B1D2-59CF-4523-117595F7D75D}"/>
                </a:ext>
              </a:extLst>
            </p:cNvPr>
            <p:cNvSpPr/>
            <p:nvPr/>
          </p:nvSpPr>
          <p:spPr>
            <a:xfrm>
              <a:off x="8087868" y="1536191"/>
              <a:ext cx="431800" cy="431800"/>
            </a:xfrm>
            <a:custGeom>
              <a:avLst/>
              <a:gdLst/>
              <a:ahLst/>
              <a:cxnLst/>
              <a:rect l="l" t="t" r="r" b="b"/>
              <a:pathLst>
                <a:path w="431800" h="431800">
                  <a:moveTo>
                    <a:pt x="215646" y="0"/>
                  </a:moveTo>
                  <a:lnTo>
                    <a:pt x="166031" y="5713"/>
                  </a:lnTo>
                  <a:lnTo>
                    <a:pt x="120575" y="21980"/>
                  </a:lnTo>
                  <a:lnTo>
                    <a:pt x="80545" y="47486"/>
                  </a:lnTo>
                  <a:lnTo>
                    <a:pt x="47206" y="80918"/>
                  </a:lnTo>
                  <a:lnTo>
                    <a:pt x="21824" y="120964"/>
                  </a:lnTo>
                  <a:lnTo>
                    <a:pt x="5667" y="166311"/>
                  </a:lnTo>
                  <a:lnTo>
                    <a:pt x="0" y="215646"/>
                  </a:lnTo>
                  <a:lnTo>
                    <a:pt x="5667" y="264980"/>
                  </a:lnTo>
                  <a:lnTo>
                    <a:pt x="21824" y="310327"/>
                  </a:lnTo>
                  <a:lnTo>
                    <a:pt x="47206" y="350373"/>
                  </a:lnTo>
                  <a:lnTo>
                    <a:pt x="80545" y="383805"/>
                  </a:lnTo>
                  <a:lnTo>
                    <a:pt x="120575" y="409311"/>
                  </a:lnTo>
                  <a:lnTo>
                    <a:pt x="166031" y="425578"/>
                  </a:lnTo>
                  <a:lnTo>
                    <a:pt x="215646" y="431292"/>
                  </a:lnTo>
                  <a:lnTo>
                    <a:pt x="264980" y="425578"/>
                  </a:lnTo>
                  <a:lnTo>
                    <a:pt x="298263" y="413638"/>
                  </a:lnTo>
                  <a:lnTo>
                    <a:pt x="215646" y="413638"/>
                  </a:lnTo>
                  <a:lnTo>
                    <a:pt x="170208" y="408376"/>
                  </a:lnTo>
                  <a:lnTo>
                    <a:pt x="128518" y="393403"/>
                  </a:lnTo>
                  <a:lnTo>
                    <a:pt x="91758" y="369941"/>
                  </a:lnTo>
                  <a:lnTo>
                    <a:pt x="61110" y="339213"/>
                  </a:lnTo>
                  <a:lnTo>
                    <a:pt x="37755" y="302439"/>
                  </a:lnTo>
                  <a:lnTo>
                    <a:pt x="22875" y="260843"/>
                  </a:lnTo>
                  <a:lnTo>
                    <a:pt x="17652" y="215646"/>
                  </a:lnTo>
                  <a:lnTo>
                    <a:pt x="22875" y="170448"/>
                  </a:lnTo>
                  <a:lnTo>
                    <a:pt x="37755" y="128852"/>
                  </a:lnTo>
                  <a:lnTo>
                    <a:pt x="61110" y="92078"/>
                  </a:lnTo>
                  <a:lnTo>
                    <a:pt x="91758" y="61350"/>
                  </a:lnTo>
                  <a:lnTo>
                    <a:pt x="128518" y="37888"/>
                  </a:lnTo>
                  <a:lnTo>
                    <a:pt x="170208" y="22915"/>
                  </a:lnTo>
                  <a:lnTo>
                    <a:pt x="215646" y="17653"/>
                  </a:lnTo>
                  <a:lnTo>
                    <a:pt x="298263" y="17653"/>
                  </a:lnTo>
                  <a:lnTo>
                    <a:pt x="264980" y="5713"/>
                  </a:lnTo>
                  <a:lnTo>
                    <a:pt x="215646" y="0"/>
                  </a:lnTo>
                  <a:close/>
                </a:path>
                <a:path w="431800" h="431800">
                  <a:moveTo>
                    <a:pt x="298263" y="17653"/>
                  </a:moveTo>
                  <a:lnTo>
                    <a:pt x="215646" y="17653"/>
                  </a:lnTo>
                  <a:lnTo>
                    <a:pt x="260794" y="22915"/>
                  </a:lnTo>
                  <a:lnTo>
                    <a:pt x="302263" y="37888"/>
                  </a:lnTo>
                  <a:lnTo>
                    <a:pt x="338863" y="61350"/>
                  </a:lnTo>
                  <a:lnTo>
                    <a:pt x="369402" y="92078"/>
                  </a:lnTo>
                  <a:lnTo>
                    <a:pt x="392690" y="128852"/>
                  </a:lnTo>
                  <a:lnTo>
                    <a:pt x="407536" y="170448"/>
                  </a:lnTo>
                  <a:lnTo>
                    <a:pt x="412750" y="215646"/>
                  </a:lnTo>
                  <a:lnTo>
                    <a:pt x="407536" y="260843"/>
                  </a:lnTo>
                  <a:lnTo>
                    <a:pt x="392690" y="302439"/>
                  </a:lnTo>
                  <a:lnTo>
                    <a:pt x="369402" y="339213"/>
                  </a:lnTo>
                  <a:lnTo>
                    <a:pt x="338863" y="369941"/>
                  </a:lnTo>
                  <a:lnTo>
                    <a:pt x="302263" y="393403"/>
                  </a:lnTo>
                  <a:lnTo>
                    <a:pt x="260794" y="408376"/>
                  </a:lnTo>
                  <a:lnTo>
                    <a:pt x="215646" y="413638"/>
                  </a:lnTo>
                  <a:lnTo>
                    <a:pt x="298263" y="413638"/>
                  </a:lnTo>
                  <a:lnTo>
                    <a:pt x="350373" y="383805"/>
                  </a:lnTo>
                  <a:lnTo>
                    <a:pt x="383805" y="350373"/>
                  </a:lnTo>
                  <a:lnTo>
                    <a:pt x="409311" y="310327"/>
                  </a:lnTo>
                  <a:lnTo>
                    <a:pt x="425578" y="264980"/>
                  </a:lnTo>
                  <a:lnTo>
                    <a:pt x="431291" y="215646"/>
                  </a:lnTo>
                  <a:lnTo>
                    <a:pt x="425578" y="166311"/>
                  </a:lnTo>
                  <a:lnTo>
                    <a:pt x="409311" y="120964"/>
                  </a:lnTo>
                  <a:lnTo>
                    <a:pt x="383805" y="80918"/>
                  </a:lnTo>
                  <a:lnTo>
                    <a:pt x="350373" y="47486"/>
                  </a:lnTo>
                  <a:lnTo>
                    <a:pt x="310327" y="21980"/>
                  </a:lnTo>
                  <a:lnTo>
                    <a:pt x="298263" y="17653"/>
                  </a:lnTo>
                  <a:close/>
                </a:path>
              </a:pathLst>
            </a:custGeom>
            <a:solidFill>
              <a:srgbClr val="85BB24"/>
            </a:solidFill>
          </p:spPr>
          <p:txBody>
            <a:bodyPr wrap="square" lIns="0" tIns="0" rIns="0" bIns="0" rtlCol="0"/>
            <a:lstStyle/>
            <a:p>
              <a:endParaRPr/>
            </a:p>
          </p:txBody>
        </p:sp>
        <p:sp>
          <p:nvSpPr>
            <p:cNvPr id="225" name="object 92">
              <a:extLst>
                <a:ext uri="{FF2B5EF4-FFF2-40B4-BE49-F238E27FC236}">
                  <a16:creationId xmlns:a16="http://schemas.microsoft.com/office/drawing/2014/main" id="{4A4A9D77-306C-401B-7D92-1A1BE915A85E}"/>
                </a:ext>
              </a:extLst>
            </p:cNvPr>
            <p:cNvSpPr/>
            <p:nvPr/>
          </p:nvSpPr>
          <p:spPr>
            <a:xfrm>
              <a:off x="8087868" y="1536191"/>
              <a:ext cx="431800" cy="431800"/>
            </a:xfrm>
            <a:custGeom>
              <a:avLst/>
              <a:gdLst/>
              <a:ahLst/>
              <a:cxnLst/>
              <a:rect l="l" t="t" r="r" b="b"/>
              <a:pathLst>
                <a:path w="431800" h="431800">
                  <a:moveTo>
                    <a:pt x="215646" y="17653"/>
                  </a:moveTo>
                  <a:lnTo>
                    <a:pt x="260794" y="22915"/>
                  </a:lnTo>
                  <a:lnTo>
                    <a:pt x="302263" y="37888"/>
                  </a:lnTo>
                  <a:lnTo>
                    <a:pt x="338863" y="61350"/>
                  </a:lnTo>
                  <a:lnTo>
                    <a:pt x="369402" y="92078"/>
                  </a:lnTo>
                  <a:lnTo>
                    <a:pt x="392690" y="128852"/>
                  </a:lnTo>
                  <a:lnTo>
                    <a:pt x="407536" y="170448"/>
                  </a:lnTo>
                  <a:lnTo>
                    <a:pt x="412750" y="215646"/>
                  </a:lnTo>
                  <a:lnTo>
                    <a:pt x="407536" y="260843"/>
                  </a:lnTo>
                  <a:lnTo>
                    <a:pt x="392690" y="302439"/>
                  </a:lnTo>
                  <a:lnTo>
                    <a:pt x="369402" y="339213"/>
                  </a:lnTo>
                  <a:lnTo>
                    <a:pt x="338863" y="369941"/>
                  </a:lnTo>
                  <a:lnTo>
                    <a:pt x="302263" y="393403"/>
                  </a:lnTo>
                  <a:lnTo>
                    <a:pt x="260794" y="408376"/>
                  </a:lnTo>
                  <a:lnTo>
                    <a:pt x="215646" y="413638"/>
                  </a:lnTo>
                  <a:lnTo>
                    <a:pt x="170208" y="408376"/>
                  </a:lnTo>
                  <a:lnTo>
                    <a:pt x="128518" y="393403"/>
                  </a:lnTo>
                  <a:lnTo>
                    <a:pt x="91758" y="369941"/>
                  </a:lnTo>
                  <a:lnTo>
                    <a:pt x="61110" y="339213"/>
                  </a:lnTo>
                  <a:lnTo>
                    <a:pt x="37755" y="302439"/>
                  </a:lnTo>
                  <a:lnTo>
                    <a:pt x="22875" y="260843"/>
                  </a:lnTo>
                  <a:lnTo>
                    <a:pt x="17652" y="215646"/>
                  </a:lnTo>
                  <a:lnTo>
                    <a:pt x="22875" y="170448"/>
                  </a:lnTo>
                  <a:lnTo>
                    <a:pt x="37755" y="128852"/>
                  </a:lnTo>
                  <a:lnTo>
                    <a:pt x="61110" y="92078"/>
                  </a:lnTo>
                  <a:lnTo>
                    <a:pt x="91758" y="61350"/>
                  </a:lnTo>
                  <a:lnTo>
                    <a:pt x="128518" y="37888"/>
                  </a:lnTo>
                  <a:lnTo>
                    <a:pt x="170208" y="22915"/>
                  </a:lnTo>
                  <a:lnTo>
                    <a:pt x="215646" y="17653"/>
                  </a:lnTo>
                </a:path>
                <a:path w="431800" h="431800">
                  <a:moveTo>
                    <a:pt x="215646" y="0"/>
                  </a:moveTo>
                  <a:lnTo>
                    <a:pt x="166031" y="5713"/>
                  </a:lnTo>
                  <a:lnTo>
                    <a:pt x="120575" y="21980"/>
                  </a:lnTo>
                  <a:lnTo>
                    <a:pt x="80545" y="47486"/>
                  </a:lnTo>
                  <a:lnTo>
                    <a:pt x="47206" y="80918"/>
                  </a:lnTo>
                  <a:lnTo>
                    <a:pt x="21824" y="120964"/>
                  </a:lnTo>
                  <a:lnTo>
                    <a:pt x="5667" y="166311"/>
                  </a:lnTo>
                  <a:lnTo>
                    <a:pt x="0" y="215646"/>
                  </a:lnTo>
                  <a:lnTo>
                    <a:pt x="5667" y="264980"/>
                  </a:lnTo>
                  <a:lnTo>
                    <a:pt x="21824" y="310327"/>
                  </a:lnTo>
                  <a:lnTo>
                    <a:pt x="47206" y="350373"/>
                  </a:lnTo>
                  <a:lnTo>
                    <a:pt x="80545" y="383805"/>
                  </a:lnTo>
                  <a:lnTo>
                    <a:pt x="120575" y="409311"/>
                  </a:lnTo>
                  <a:lnTo>
                    <a:pt x="166031" y="425578"/>
                  </a:lnTo>
                  <a:lnTo>
                    <a:pt x="215646" y="431292"/>
                  </a:lnTo>
                  <a:lnTo>
                    <a:pt x="264980" y="425578"/>
                  </a:lnTo>
                  <a:lnTo>
                    <a:pt x="310327" y="409311"/>
                  </a:lnTo>
                  <a:lnTo>
                    <a:pt x="350373" y="383805"/>
                  </a:lnTo>
                  <a:lnTo>
                    <a:pt x="383805" y="350373"/>
                  </a:lnTo>
                  <a:lnTo>
                    <a:pt x="409311" y="310327"/>
                  </a:lnTo>
                  <a:lnTo>
                    <a:pt x="425578" y="264980"/>
                  </a:lnTo>
                  <a:lnTo>
                    <a:pt x="431291" y="215646"/>
                  </a:lnTo>
                  <a:lnTo>
                    <a:pt x="425578" y="166311"/>
                  </a:lnTo>
                  <a:lnTo>
                    <a:pt x="409311" y="120964"/>
                  </a:lnTo>
                  <a:lnTo>
                    <a:pt x="383805" y="80918"/>
                  </a:lnTo>
                  <a:lnTo>
                    <a:pt x="350373" y="47486"/>
                  </a:lnTo>
                  <a:lnTo>
                    <a:pt x="310327" y="21980"/>
                  </a:lnTo>
                  <a:lnTo>
                    <a:pt x="264980" y="5713"/>
                  </a:lnTo>
                  <a:lnTo>
                    <a:pt x="215646" y="0"/>
                  </a:lnTo>
                  <a:close/>
                </a:path>
              </a:pathLst>
            </a:custGeom>
            <a:ln w="3175">
              <a:solidFill>
                <a:srgbClr val="85BB24"/>
              </a:solidFill>
            </a:ln>
          </p:spPr>
          <p:txBody>
            <a:bodyPr wrap="square" lIns="0" tIns="0" rIns="0" bIns="0" rtlCol="0"/>
            <a:lstStyle/>
            <a:p>
              <a:endParaRPr/>
            </a:p>
          </p:txBody>
        </p:sp>
        <p:sp>
          <p:nvSpPr>
            <p:cNvPr id="226" name="object 93">
              <a:extLst>
                <a:ext uri="{FF2B5EF4-FFF2-40B4-BE49-F238E27FC236}">
                  <a16:creationId xmlns:a16="http://schemas.microsoft.com/office/drawing/2014/main" id="{A6D24C39-2EFA-963B-5E40-3239EA63EF84}"/>
                </a:ext>
              </a:extLst>
            </p:cNvPr>
            <p:cNvSpPr/>
            <p:nvPr/>
          </p:nvSpPr>
          <p:spPr>
            <a:xfrm>
              <a:off x="8168640" y="1680971"/>
              <a:ext cx="269875" cy="143510"/>
            </a:xfrm>
            <a:custGeom>
              <a:avLst/>
              <a:gdLst/>
              <a:ahLst/>
              <a:cxnLst/>
              <a:rect l="l" t="t" r="r" b="b"/>
              <a:pathLst>
                <a:path w="269875" h="143510">
                  <a:moveTo>
                    <a:pt x="71627" y="0"/>
                  </a:moveTo>
                  <a:lnTo>
                    <a:pt x="22405" y="19887"/>
                  </a:lnTo>
                  <a:lnTo>
                    <a:pt x="0" y="71247"/>
                  </a:lnTo>
                  <a:lnTo>
                    <a:pt x="5619" y="99107"/>
                  </a:lnTo>
                  <a:lnTo>
                    <a:pt x="20002" y="120592"/>
                  </a:lnTo>
                  <a:lnTo>
                    <a:pt x="20989" y="122039"/>
                  </a:lnTo>
                  <a:lnTo>
                    <a:pt x="43719" y="137540"/>
                  </a:lnTo>
                  <a:lnTo>
                    <a:pt x="71627" y="143255"/>
                  </a:lnTo>
                  <a:lnTo>
                    <a:pt x="90265" y="140692"/>
                  </a:lnTo>
                  <a:lnTo>
                    <a:pt x="107568" y="133413"/>
                  </a:lnTo>
                  <a:lnTo>
                    <a:pt x="118815" y="124840"/>
                  </a:lnTo>
                  <a:lnTo>
                    <a:pt x="71627" y="124840"/>
                  </a:lnTo>
                  <a:lnTo>
                    <a:pt x="50764" y="120592"/>
                  </a:lnTo>
                  <a:lnTo>
                    <a:pt x="33591" y="109045"/>
                  </a:lnTo>
                  <a:lnTo>
                    <a:pt x="21943" y="91997"/>
                  </a:lnTo>
                  <a:lnTo>
                    <a:pt x="17652" y="71247"/>
                  </a:lnTo>
                  <a:lnTo>
                    <a:pt x="21943" y="50496"/>
                  </a:lnTo>
                  <a:lnTo>
                    <a:pt x="33591" y="33448"/>
                  </a:lnTo>
                  <a:lnTo>
                    <a:pt x="50764" y="21901"/>
                  </a:lnTo>
                  <a:lnTo>
                    <a:pt x="71627" y="17652"/>
                  </a:lnTo>
                  <a:lnTo>
                    <a:pt x="118224" y="17652"/>
                  </a:lnTo>
                  <a:lnTo>
                    <a:pt x="107569" y="9556"/>
                  </a:lnTo>
                  <a:lnTo>
                    <a:pt x="90265" y="2456"/>
                  </a:lnTo>
                  <a:lnTo>
                    <a:pt x="71627" y="0"/>
                  </a:lnTo>
                  <a:close/>
                </a:path>
                <a:path w="269875" h="143510">
                  <a:moveTo>
                    <a:pt x="191388" y="70357"/>
                  </a:moveTo>
                  <a:lnTo>
                    <a:pt x="185419" y="70357"/>
                  </a:lnTo>
                  <a:lnTo>
                    <a:pt x="182117" y="73660"/>
                  </a:lnTo>
                  <a:lnTo>
                    <a:pt x="166877" y="89662"/>
                  </a:lnTo>
                  <a:lnTo>
                    <a:pt x="124713" y="89662"/>
                  </a:lnTo>
                  <a:lnTo>
                    <a:pt x="122174" y="91312"/>
                  </a:lnTo>
                  <a:lnTo>
                    <a:pt x="120523" y="94614"/>
                  </a:lnTo>
                  <a:lnTo>
                    <a:pt x="111903" y="107187"/>
                  </a:lnTo>
                  <a:lnTo>
                    <a:pt x="100504" y="116681"/>
                  </a:lnTo>
                  <a:lnTo>
                    <a:pt x="86858" y="122725"/>
                  </a:lnTo>
                  <a:lnTo>
                    <a:pt x="71627" y="124840"/>
                  </a:lnTo>
                  <a:lnTo>
                    <a:pt x="118815" y="124840"/>
                  </a:lnTo>
                  <a:lnTo>
                    <a:pt x="122491" y="122039"/>
                  </a:lnTo>
                  <a:lnTo>
                    <a:pt x="133984" y="107187"/>
                  </a:lnTo>
                  <a:lnTo>
                    <a:pt x="172846" y="107187"/>
                  </a:lnTo>
                  <a:lnTo>
                    <a:pt x="175386" y="106425"/>
                  </a:lnTo>
                  <a:lnTo>
                    <a:pt x="188849" y="92963"/>
                  </a:lnTo>
                  <a:lnTo>
                    <a:pt x="256973" y="92963"/>
                  </a:lnTo>
                  <a:lnTo>
                    <a:pt x="261945" y="85470"/>
                  </a:lnTo>
                  <a:lnTo>
                    <a:pt x="206501" y="85470"/>
                  </a:lnTo>
                  <a:lnTo>
                    <a:pt x="191388" y="70357"/>
                  </a:lnTo>
                  <a:close/>
                </a:path>
                <a:path w="269875" h="143510">
                  <a:moveTo>
                    <a:pt x="224281" y="92963"/>
                  </a:moveTo>
                  <a:lnTo>
                    <a:pt x="188849" y="92963"/>
                  </a:lnTo>
                  <a:lnTo>
                    <a:pt x="199770" y="104775"/>
                  </a:lnTo>
                  <a:lnTo>
                    <a:pt x="203961" y="108076"/>
                  </a:lnTo>
                  <a:lnTo>
                    <a:pt x="209041" y="108076"/>
                  </a:lnTo>
                  <a:lnTo>
                    <a:pt x="213232" y="104775"/>
                  </a:lnTo>
                  <a:lnTo>
                    <a:pt x="224281" y="92963"/>
                  </a:lnTo>
                  <a:close/>
                </a:path>
                <a:path w="269875" h="143510">
                  <a:moveTo>
                    <a:pt x="256973" y="92963"/>
                  </a:moveTo>
                  <a:lnTo>
                    <a:pt x="224281" y="92963"/>
                  </a:lnTo>
                  <a:lnTo>
                    <a:pt x="235965" y="104775"/>
                  </a:lnTo>
                  <a:lnTo>
                    <a:pt x="237743" y="106425"/>
                  </a:lnTo>
                  <a:lnTo>
                    <a:pt x="240283" y="107187"/>
                  </a:lnTo>
                  <a:lnTo>
                    <a:pt x="243585" y="107187"/>
                  </a:lnTo>
                  <a:lnTo>
                    <a:pt x="246125" y="106425"/>
                  </a:lnTo>
                  <a:lnTo>
                    <a:pt x="248665" y="105537"/>
                  </a:lnTo>
                  <a:lnTo>
                    <a:pt x="250316" y="102997"/>
                  </a:lnTo>
                  <a:lnTo>
                    <a:pt x="256973" y="92963"/>
                  </a:lnTo>
                  <a:close/>
                </a:path>
                <a:path w="269875" h="143510">
                  <a:moveTo>
                    <a:pt x="227583" y="70357"/>
                  </a:moveTo>
                  <a:lnTo>
                    <a:pt x="221741" y="70357"/>
                  </a:lnTo>
                  <a:lnTo>
                    <a:pt x="218312" y="73660"/>
                  </a:lnTo>
                  <a:lnTo>
                    <a:pt x="206501" y="85470"/>
                  </a:lnTo>
                  <a:lnTo>
                    <a:pt x="261945" y="85470"/>
                  </a:lnTo>
                  <a:lnTo>
                    <a:pt x="263041" y="83819"/>
                  </a:lnTo>
                  <a:lnTo>
                    <a:pt x="241045" y="83819"/>
                  </a:lnTo>
                  <a:lnTo>
                    <a:pt x="231012" y="73660"/>
                  </a:lnTo>
                  <a:lnTo>
                    <a:pt x="227583" y="70357"/>
                  </a:lnTo>
                  <a:close/>
                </a:path>
                <a:path w="269875" h="143510">
                  <a:moveTo>
                    <a:pt x="118224" y="17652"/>
                  </a:moveTo>
                  <a:lnTo>
                    <a:pt x="71627" y="17652"/>
                  </a:lnTo>
                  <a:lnTo>
                    <a:pt x="86858" y="19887"/>
                  </a:lnTo>
                  <a:lnTo>
                    <a:pt x="100504" y="26193"/>
                  </a:lnTo>
                  <a:lnTo>
                    <a:pt x="108982" y="33448"/>
                  </a:lnTo>
                  <a:lnTo>
                    <a:pt x="111998" y="36067"/>
                  </a:lnTo>
                  <a:lnTo>
                    <a:pt x="120523" y="48640"/>
                  </a:lnTo>
                  <a:lnTo>
                    <a:pt x="122174" y="51942"/>
                  </a:lnTo>
                  <a:lnTo>
                    <a:pt x="124713" y="53593"/>
                  </a:lnTo>
                  <a:lnTo>
                    <a:pt x="237743" y="53593"/>
                  </a:lnTo>
                  <a:lnTo>
                    <a:pt x="249554" y="71247"/>
                  </a:lnTo>
                  <a:lnTo>
                    <a:pt x="241045" y="83819"/>
                  </a:lnTo>
                  <a:lnTo>
                    <a:pt x="263041" y="83819"/>
                  </a:lnTo>
                  <a:lnTo>
                    <a:pt x="268096" y="76200"/>
                  </a:lnTo>
                  <a:lnTo>
                    <a:pt x="269748" y="72898"/>
                  </a:lnTo>
                  <a:lnTo>
                    <a:pt x="269748" y="69595"/>
                  </a:lnTo>
                  <a:lnTo>
                    <a:pt x="268096" y="66166"/>
                  </a:lnTo>
                  <a:lnTo>
                    <a:pt x="250316" y="39369"/>
                  </a:lnTo>
                  <a:lnTo>
                    <a:pt x="248665" y="36829"/>
                  </a:lnTo>
                  <a:lnTo>
                    <a:pt x="245363" y="36067"/>
                  </a:lnTo>
                  <a:lnTo>
                    <a:pt x="133984" y="36067"/>
                  </a:lnTo>
                  <a:lnTo>
                    <a:pt x="122491" y="20895"/>
                  </a:lnTo>
                  <a:lnTo>
                    <a:pt x="118224" y="17652"/>
                  </a:lnTo>
                  <a:close/>
                </a:path>
              </a:pathLst>
            </a:custGeom>
            <a:solidFill>
              <a:srgbClr val="85BB24"/>
            </a:solidFill>
          </p:spPr>
          <p:txBody>
            <a:bodyPr wrap="square" lIns="0" tIns="0" rIns="0" bIns="0" rtlCol="0"/>
            <a:lstStyle/>
            <a:p>
              <a:endParaRPr/>
            </a:p>
          </p:txBody>
        </p:sp>
        <p:sp>
          <p:nvSpPr>
            <p:cNvPr id="227" name="object 94">
              <a:extLst>
                <a:ext uri="{FF2B5EF4-FFF2-40B4-BE49-F238E27FC236}">
                  <a16:creationId xmlns:a16="http://schemas.microsoft.com/office/drawing/2014/main" id="{2F7244A4-2E1B-FA06-62E4-5F663CBCAF22}"/>
                </a:ext>
              </a:extLst>
            </p:cNvPr>
            <p:cNvSpPr/>
            <p:nvPr/>
          </p:nvSpPr>
          <p:spPr>
            <a:xfrm>
              <a:off x="8168640" y="1680971"/>
              <a:ext cx="269875" cy="143510"/>
            </a:xfrm>
            <a:custGeom>
              <a:avLst/>
              <a:gdLst/>
              <a:ahLst/>
              <a:cxnLst/>
              <a:rect l="l" t="t" r="r" b="b"/>
              <a:pathLst>
                <a:path w="269875" h="143510">
                  <a:moveTo>
                    <a:pt x="268096" y="66166"/>
                  </a:moveTo>
                  <a:lnTo>
                    <a:pt x="257817" y="50674"/>
                  </a:lnTo>
                  <a:lnTo>
                    <a:pt x="252539" y="42719"/>
                  </a:lnTo>
                  <a:lnTo>
                    <a:pt x="250594" y="39788"/>
                  </a:lnTo>
                  <a:lnTo>
                    <a:pt x="250316" y="39369"/>
                  </a:lnTo>
                  <a:lnTo>
                    <a:pt x="248665" y="36829"/>
                  </a:lnTo>
                  <a:lnTo>
                    <a:pt x="245363" y="36067"/>
                  </a:lnTo>
                  <a:lnTo>
                    <a:pt x="242824" y="36067"/>
                  </a:lnTo>
                  <a:lnTo>
                    <a:pt x="179901" y="36067"/>
                  </a:lnTo>
                  <a:lnTo>
                    <a:pt x="147589" y="36067"/>
                  </a:lnTo>
                  <a:lnTo>
                    <a:pt x="135685" y="36067"/>
                  </a:lnTo>
                  <a:lnTo>
                    <a:pt x="133984" y="36067"/>
                  </a:lnTo>
                  <a:lnTo>
                    <a:pt x="122491" y="20895"/>
                  </a:lnTo>
                  <a:lnTo>
                    <a:pt x="107569" y="9556"/>
                  </a:lnTo>
                  <a:lnTo>
                    <a:pt x="90265" y="2456"/>
                  </a:lnTo>
                  <a:lnTo>
                    <a:pt x="71627" y="0"/>
                  </a:lnTo>
                  <a:lnTo>
                    <a:pt x="43719" y="5595"/>
                  </a:lnTo>
                  <a:lnTo>
                    <a:pt x="20954" y="20859"/>
                  </a:lnTo>
                  <a:lnTo>
                    <a:pt x="5619" y="43505"/>
                  </a:lnTo>
                  <a:lnTo>
                    <a:pt x="0" y="71247"/>
                  </a:lnTo>
                  <a:lnTo>
                    <a:pt x="5619" y="99107"/>
                  </a:lnTo>
                  <a:lnTo>
                    <a:pt x="20954" y="122015"/>
                  </a:lnTo>
                  <a:lnTo>
                    <a:pt x="43719" y="137540"/>
                  </a:lnTo>
                  <a:lnTo>
                    <a:pt x="71627" y="143255"/>
                  </a:lnTo>
                  <a:lnTo>
                    <a:pt x="90265" y="140692"/>
                  </a:lnTo>
                  <a:lnTo>
                    <a:pt x="107568" y="133413"/>
                  </a:lnTo>
                  <a:lnTo>
                    <a:pt x="122491" y="122039"/>
                  </a:lnTo>
                  <a:lnTo>
                    <a:pt x="133984" y="107187"/>
                  </a:lnTo>
                  <a:lnTo>
                    <a:pt x="154983" y="107187"/>
                  </a:lnTo>
                  <a:lnTo>
                    <a:pt x="165766" y="107187"/>
                  </a:lnTo>
                  <a:lnTo>
                    <a:pt x="169739" y="107187"/>
                  </a:lnTo>
                  <a:lnTo>
                    <a:pt x="170306" y="107187"/>
                  </a:lnTo>
                  <a:lnTo>
                    <a:pt x="172846" y="107187"/>
                  </a:lnTo>
                  <a:lnTo>
                    <a:pt x="175386" y="106425"/>
                  </a:lnTo>
                  <a:lnTo>
                    <a:pt x="177037" y="104775"/>
                  </a:lnTo>
                  <a:lnTo>
                    <a:pt x="188849" y="92963"/>
                  </a:lnTo>
                  <a:lnTo>
                    <a:pt x="199770" y="104775"/>
                  </a:lnTo>
                  <a:lnTo>
                    <a:pt x="203961" y="108076"/>
                  </a:lnTo>
                  <a:lnTo>
                    <a:pt x="209041" y="108076"/>
                  </a:lnTo>
                  <a:lnTo>
                    <a:pt x="213232" y="104775"/>
                  </a:lnTo>
                  <a:lnTo>
                    <a:pt x="224281" y="92963"/>
                  </a:lnTo>
                  <a:lnTo>
                    <a:pt x="235965" y="104775"/>
                  </a:lnTo>
                  <a:lnTo>
                    <a:pt x="237743" y="106425"/>
                  </a:lnTo>
                  <a:lnTo>
                    <a:pt x="240283" y="107187"/>
                  </a:lnTo>
                  <a:lnTo>
                    <a:pt x="243585" y="107187"/>
                  </a:lnTo>
                  <a:lnTo>
                    <a:pt x="246125" y="106425"/>
                  </a:lnTo>
                  <a:lnTo>
                    <a:pt x="248665" y="105537"/>
                  </a:lnTo>
                  <a:lnTo>
                    <a:pt x="250316" y="102997"/>
                  </a:lnTo>
                  <a:lnTo>
                    <a:pt x="260596" y="87504"/>
                  </a:lnTo>
                  <a:lnTo>
                    <a:pt x="265874" y="79549"/>
                  </a:lnTo>
                  <a:lnTo>
                    <a:pt x="267819" y="76618"/>
                  </a:lnTo>
                  <a:lnTo>
                    <a:pt x="268096" y="76200"/>
                  </a:lnTo>
                  <a:lnTo>
                    <a:pt x="269748" y="72898"/>
                  </a:lnTo>
                  <a:lnTo>
                    <a:pt x="269748" y="69595"/>
                  </a:lnTo>
                  <a:lnTo>
                    <a:pt x="268096" y="66166"/>
                  </a:lnTo>
                  <a:close/>
                </a:path>
              </a:pathLst>
            </a:custGeom>
            <a:ln w="3175">
              <a:solidFill>
                <a:srgbClr val="85BB24"/>
              </a:solidFill>
            </a:ln>
          </p:spPr>
          <p:txBody>
            <a:bodyPr wrap="square" lIns="0" tIns="0" rIns="0" bIns="0" rtlCol="0"/>
            <a:lstStyle/>
            <a:p>
              <a:endParaRPr/>
            </a:p>
          </p:txBody>
        </p:sp>
        <p:pic>
          <p:nvPicPr>
            <p:cNvPr id="228" name="object 95">
              <a:extLst>
                <a:ext uri="{FF2B5EF4-FFF2-40B4-BE49-F238E27FC236}">
                  <a16:creationId xmlns:a16="http://schemas.microsoft.com/office/drawing/2014/main" id="{B1F029E6-7BDB-9FE3-3F15-F0C0AA038C87}"/>
                </a:ext>
              </a:extLst>
            </p:cNvPr>
            <p:cNvPicPr/>
            <p:nvPr/>
          </p:nvPicPr>
          <p:blipFill>
            <a:blip r:embed="rId18" cstate="print"/>
            <a:stretch>
              <a:fillRect/>
            </a:stretch>
          </p:blipFill>
          <p:spPr>
            <a:xfrm>
              <a:off x="8184705" y="1697037"/>
              <a:ext cx="235076" cy="110362"/>
            </a:xfrm>
            <a:prstGeom prst="rect">
              <a:avLst/>
            </a:prstGeom>
          </p:spPr>
        </p:pic>
      </p:grpSp>
      <p:sp>
        <p:nvSpPr>
          <p:cNvPr id="229" name="object 96">
            <a:extLst>
              <a:ext uri="{FF2B5EF4-FFF2-40B4-BE49-F238E27FC236}">
                <a16:creationId xmlns:a16="http://schemas.microsoft.com/office/drawing/2014/main" id="{E68AD61A-AF67-F943-2C35-B491CB256C86}"/>
              </a:ext>
            </a:extLst>
          </p:cNvPr>
          <p:cNvSpPr/>
          <p:nvPr/>
        </p:nvSpPr>
        <p:spPr>
          <a:xfrm>
            <a:off x="3957828" y="2708148"/>
            <a:ext cx="591820" cy="245745"/>
          </a:xfrm>
          <a:custGeom>
            <a:avLst/>
            <a:gdLst/>
            <a:ahLst/>
            <a:cxnLst/>
            <a:rect l="l" t="t" r="r" b="b"/>
            <a:pathLst>
              <a:path w="591820" h="245744">
                <a:moveTo>
                  <a:pt x="591312" y="0"/>
                </a:moveTo>
                <a:lnTo>
                  <a:pt x="0" y="0"/>
                </a:lnTo>
                <a:lnTo>
                  <a:pt x="0" y="245363"/>
                </a:lnTo>
                <a:lnTo>
                  <a:pt x="591312" y="245363"/>
                </a:lnTo>
                <a:lnTo>
                  <a:pt x="591312" y="0"/>
                </a:lnTo>
                <a:close/>
              </a:path>
            </a:pathLst>
          </a:custGeom>
          <a:solidFill>
            <a:srgbClr val="FFFFFF"/>
          </a:solidFill>
        </p:spPr>
        <p:txBody>
          <a:bodyPr wrap="square" lIns="0" tIns="0" rIns="0" bIns="0" rtlCol="0"/>
          <a:lstStyle/>
          <a:p>
            <a:endParaRPr/>
          </a:p>
        </p:txBody>
      </p:sp>
      <p:sp>
        <p:nvSpPr>
          <p:cNvPr id="230" name="object 97">
            <a:extLst>
              <a:ext uri="{FF2B5EF4-FFF2-40B4-BE49-F238E27FC236}">
                <a16:creationId xmlns:a16="http://schemas.microsoft.com/office/drawing/2014/main" id="{82D634BB-15DA-79E1-7D36-0C5008305019}"/>
              </a:ext>
            </a:extLst>
          </p:cNvPr>
          <p:cNvSpPr txBox="1"/>
          <p:nvPr/>
        </p:nvSpPr>
        <p:spPr>
          <a:xfrm>
            <a:off x="4063365" y="2689098"/>
            <a:ext cx="381000" cy="269875"/>
          </a:xfrm>
          <a:prstGeom prst="rect">
            <a:avLst/>
          </a:prstGeom>
        </p:spPr>
        <p:txBody>
          <a:bodyPr vert="horz" wrap="square" lIns="0" tIns="13335" rIns="0" bIns="0" rtlCol="0">
            <a:spAutoFit/>
          </a:bodyPr>
          <a:lstStyle/>
          <a:p>
            <a:pPr marL="12700" marR="5080" indent="30480">
              <a:lnSpc>
                <a:spcPct val="100000"/>
              </a:lnSpc>
              <a:spcBef>
                <a:spcPts val="105"/>
              </a:spcBef>
            </a:pPr>
            <a:r>
              <a:rPr sz="800" spc="-10">
                <a:latin typeface="Calibri"/>
                <a:cs typeface="Calibri"/>
              </a:rPr>
              <a:t>Service</a:t>
            </a:r>
            <a:r>
              <a:rPr sz="800" spc="500">
                <a:latin typeface="Calibri"/>
                <a:cs typeface="Calibri"/>
              </a:rPr>
              <a:t> </a:t>
            </a:r>
            <a:r>
              <a:rPr sz="800" spc="-10">
                <a:latin typeface="Calibri"/>
                <a:cs typeface="Calibri"/>
              </a:rPr>
              <a:t>requests</a:t>
            </a:r>
            <a:endParaRPr sz="800">
              <a:latin typeface="Calibri"/>
              <a:cs typeface="Calibri"/>
            </a:endParaRPr>
          </a:p>
        </p:txBody>
      </p:sp>
      <p:sp>
        <p:nvSpPr>
          <p:cNvPr id="231" name="object 98">
            <a:extLst>
              <a:ext uri="{FF2B5EF4-FFF2-40B4-BE49-F238E27FC236}">
                <a16:creationId xmlns:a16="http://schemas.microsoft.com/office/drawing/2014/main" id="{4E2719AD-F6CF-0830-B51F-0D19E5D7E9DA}"/>
              </a:ext>
            </a:extLst>
          </p:cNvPr>
          <p:cNvSpPr/>
          <p:nvPr/>
        </p:nvSpPr>
        <p:spPr>
          <a:xfrm>
            <a:off x="6618731" y="4613147"/>
            <a:ext cx="721360" cy="121920"/>
          </a:xfrm>
          <a:custGeom>
            <a:avLst/>
            <a:gdLst/>
            <a:ahLst/>
            <a:cxnLst/>
            <a:rect l="l" t="t" r="r" b="b"/>
            <a:pathLst>
              <a:path w="721359" h="121920">
                <a:moveTo>
                  <a:pt x="720851" y="0"/>
                </a:moveTo>
                <a:lnTo>
                  <a:pt x="0" y="0"/>
                </a:lnTo>
                <a:lnTo>
                  <a:pt x="0" y="121919"/>
                </a:lnTo>
                <a:lnTo>
                  <a:pt x="720851" y="121919"/>
                </a:lnTo>
                <a:lnTo>
                  <a:pt x="720851" y="0"/>
                </a:lnTo>
                <a:close/>
              </a:path>
            </a:pathLst>
          </a:custGeom>
          <a:solidFill>
            <a:srgbClr val="FFFFFF"/>
          </a:solidFill>
        </p:spPr>
        <p:txBody>
          <a:bodyPr wrap="square" lIns="0" tIns="0" rIns="0" bIns="0" rtlCol="0"/>
          <a:lstStyle/>
          <a:p>
            <a:endParaRPr/>
          </a:p>
        </p:txBody>
      </p:sp>
      <p:sp>
        <p:nvSpPr>
          <p:cNvPr id="232" name="object 99">
            <a:extLst>
              <a:ext uri="{FF2B5EF4-FFF2-40B4-BE49-F238E27FC236}">
                <a16:creationId xmlns:a16="http://schemas.microsoft.com/office/drawing/2014/main" id="{56C147EB-9E2B-88AD-A232-728E9B805F58}"/>
              </a:ext>
            </a:extLst>
          </p:cNvPr>
          <p:cNvSpPr txBox="1"/>
          <p:nvPr/>
        </p:nvSpPr>
        <p:spPr>
          <a:xfrm>
            <a:off x="6619747" y="4593412"/>
            <a:ext cx="720725" cy="148590"/>
          </a:xfrm>
          <a:prstGeom prst="rect">
            <a:avLst/>
          </a:prstGeom>
        </p:spPr>
        <p:txBody>
          <a:bodyPr vert="horz" wrap="square" lIns="0" tIns="13335" rIns="0" bIns="0" rtlCol="0">
            <a:spAutoFit/>
          </a:bodyPr>
          <a:lstStyle/>
          <a:p>
            <a:pPr marL="12700">
              <a:lnSpc>
                <a:spcPct val="100000"/>
              </a:lnSpc>
              <a:spcBef>
                <a:spcPts val="105"/>
              </a:spcBef>
            </a:pPr>
            <a:r>
              <a:rPr sz="800">
                <a:latin typeface="Calibri"/>
                <a:cs typeface="Calibri"/>
              </a:rPr>
              <a:t>CI’s</a:t>
            </a:r>
            <a:r>
              <a:rPr sz="800" spc="-30">
                <a:latin typeface="Calibri"/>
                <a:cs typeface="Calibri"/>
              </a:rPr>
              <a:t> </a:t>
            </a:r>
            <a:r>
              <a:rPr sz="800" spc="-10">
                <a:latin typeface="Calibri"/>
                <a:cs typeface="Calibri"/>
              </a:rPr>
              <a:t>relationships</a:t>
            </a:r>
            <a:endParaRPr sz="800">
              <a:latin typeface="Calibri"/>
              <a:cs typeface="Calibri"/>
            </a:endParaRPr>
          </a:p>
        </p:txBody>
      </p:sp>
    </p:spTree>
    <p:extLst>
      <p:ext uri="{BB962C8B-B14F-4D97-AF65-F5344CB8AC3E}">
        <p14:creationId xmlns:p14="http://schemas.microsoft.com/office/powerpoint/2010/main" val="5208512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0FC1FF-81F7-A0F8-D28F-A26A665765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think-cell data - do not delete" hidden="1">
                        <a:extLst>
                          <a:ext uri="{FF2B5EF4-FFF2-40B4-BE49-F238E27FC236}">
                            <a16:creationId xmlns:a16="http://schemas.microsoft.com/office/drawing/2014/main" id="{1A0FC1FF-81F7-A0F8-D28F-A26A665765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3">
            <a:extLst>
              <a:ext uri="{FF2B5EF4-FFF2-40B4-BE49-F238E27FC236}">
                <a16:creationId xmlns:a16="http://schemas.microsoft.com/office/drawing/2014/main" id="{05ACF71A-661D-9E04-9FAB-7A949E0A380E}"/>
              </a:ext>
            </a:extLst>
          </p:cNvPr>
          <p:cNvSpPr>
            <a:spLocks noGrp="1"/>
          </p:cNvSpPr>
          <p:nvPr>
            <p:ph type="title"/>
          </p:nvPr>
        </p:nvSpPr>
        <p:spPr/>
        <p:txBody>
          <a:bodyPr vert="horz" lIns="0" tIns="0" rIns="0" bIns="0" rtlCol="0" anchor="t" anchorCtr="0">
            <a:noAutofit/>
          </a:bodyPr>
          <a:lstStyle/>
          <a:p>
            <a:r>
              <a:rPr lang="en-US" altLang="en-US" sz="2400" b="1">
                <a:solidFill>
                  <a:schemeClr val="accent2"/>
                </a:solidFill>
              </a:rPr>
              <a:t>Maintenance &amp; Support Phase</a:t>
            </a:r>
            <a:endParaRPr lang="en-IN" sz="2400" b="1">
              <a:solidFill>
                <a:schemeClr val="accent2"/>
              </a:solidFill>
            </a:endParaRPr>
          </a:p>
        </p:txBody>
      </p:sp>
      <p:pic>
        <p:nvPicPr>
          <p:cNvPr id="2" name="Picture 1">
            <a:extLst>
              <a:ext uri="{FF2B5EF4-FFF2-40B4-BE49-F238E27FC236}">
                <a16:creationId xmlns:a16="http://schemas.microsoft.com/office/drawing/2014/main" id="{C2484BED-4C73-6D38-3BA6-61D14A464DF8}"/>
              </a:ext>
            </a:extLst>
          </p:cNvPr>
          <p:cNvPicPr>
            <a:picLocks noChangeAspect="1"/>
          </p:cNvPicPr>
          <p:nvPr/>
        </p:nvPicPr>
        <p:blipFill>
          <a:blip r:embed="rId6">
            <a:duotone>
              <a:schemeClr val="accent3">
                <a:shade val="45000"/>
                <a:satMod val="135000"/>
              </a:schemeClr>
              <a:prstClr val="white"/>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243714" y="1227806"/>
            <a:ext cx="11706548" cy="5279259"/>
          </a:xfrm>
          <a:prstGeom prst="rect">
            <a:avLst/>
          </a:prstGeom>
          <a:noFill/>
          <a:ln>
            <a:solidFill>
              <a:schemeClr val="tx1"/>
            </a:solidFill>
          </a:ln>
        </p:spPr>
      </p:pic>
    </p:spTree>
    <p:extLst>
      <p:ext uri="{BB962C8B-B14F-4D97-AF65-F5344CB8AC3E}">
        <p14:creationId xmlns:p14="http://schemas.microsoft.com/office/powerpoint/2010/main" val="7108187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BCB0B52-F4CB-44DE-DCA5-F16500263FB9}"/>
              </a:ext>
            </a:extLst>
          </p:cNvPr>
          <p:cNvSpPr>
            <a:spLocks noGrp="1"/>
          </p:cNvSpPr>
          <p:nvPr>
            <p:ph type="title"/>
          </p:nvPr>
        </p:nvSpPr>
        <p:spPr>
          <a:xfrm>
            <a:off x="371094" y="1161288"/>
            <a:ext cx="3438144" cy="1124712"/>
          </a:xfrm>
        </p:spPr>
        <p:txBody>
          <a:bodyPr vert="horz" lIns="91440" tIns="45720" rIns="91440" bIns="45720" rtlCol="0" anchor="b">
            <a:normAutofit/>
          </a:bodyPr>
          <a:lstStyle/>
          <a:p>
            <a:r>
              <a:rPr lang="en-US" sz="2800"/>
              <a:t>Table of Contents</a:t>
            </a:r>
          </a:p>
        </p:txBody>
      </p:sp>
      <p:sp>
        <p:nvSpPr>
          <p:cNvPr id="9" name="Rectangle 8">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48842986-2279-A19A-E8BC-A5B4E5C3D270}"/>
              </a:ext>
            </a:extLst>
          </p:cNvPr>
          <p:cNvSpPr>
            <a:spLocks noGrp="1"/>
          </p:cNvSpPr>
          <p:nvPr>
            <p:ph type="body" sz="half" idx="2"/>
          </p:nvPr>
        </p:nvSpPr>
        <p:spPr>
          <a:xfrm>
            <a:off x="371094" y="2718054"/>
            <a:ext cx="3438906" cy="3207258"/>
          </a:xfrm>
        </p:spPr>
        <p:txBody>
          <a:bodyPr vert="horz" lIns="91440" tIns="45720" rIns="91440" bIns="45720" rtlCol="0" anchor="t">
            <a:normAutofit/>
          </a:bodyPr>
          <a:lstStyle/>
          <a:p>
            <a:pPr indent="-228600">
              <a:buFont typeface="Arial" panose="020B0604020202020204" pitchFamily="34" charset="0"/>
              <a:buChar char="•"/>
            </a:pPr>
            <a:r>
              <a:rPr lang="en-US" sz="2000"/>
              <a:t>About Deloitte</a:t>
            </a:r>
          </a:p>
          <a:p>
            <a:pPr indent="-228600">
              <a:buFont typeface="Arial" panose="020B0604020202020204" pitchFamily="34" charset="0"/>
              <a:buChar char="•"/>
            </a:pPr>
            <a:r>
              <a:rPr lang="en-US" sz="2000"/>
              <a:t>Our Understanding of scope</a:t>
            </a:r>
          </a:p>
          <a:p>
            <a:pPr indent="-228600">
              <a:buFont typeface="Arial" panose="020B0604020202020204" pitchFamily="34" charset="0"/>
              <a:buChar char="•"/>
            </a:pPr>
            <a:r>
              <a:rPr lang="en-US" sz="2000"/>
              <a:t>Approach and Methodology</a:t>
            </a:r>
          </a:p>
          <a:p>
            <a:pPr indent="-228600">
              <a:buFont typeface="Arial" panose="020B0604020202020204" pitchFamily="34" charset="0"/>
              <a:buChar char="•"/>
            </a:pPr>
            <a:r>
              <a:rPr lang="en-US" sz="2000"/>
              <a:t>Proposed Solution</a:t>
            </a:r>
          </a:p>
          <a:p>
            <a:pPr indent="-228600">
              <a:buFont typeface="Arial" panose="020B0604020202020204" pitchFamily="34" charset="0"/>
              <a:buChar char="•"/>
            </a:pPr>
            <a:r>
              <a:rPr lang="en-US" sz="2000"/>
              <a:t>Work Plan </a:t>
            </a:r>
          </a:p>
        </p:txBody>
      </p:sp>
      <p:sp>
        <p:nvSpPr>
          <p:cNvPr id="5" name="Footer Placeholder 4">
            <a:extLst>
              <a:ext uri="{FF2B5EF4-FFF2-40B4-BE49-F238E27FC236}">
                <a16:creationId xmlns:a16="http://schemas.microsoft.com/office/drawing/2014/main" id="{50123BFB-738E-3E60-5094-628786C50612}"/>
              </a:ext>
            </a:extLst>
          </p:cNvPr>
          <p:cNvSpPr>
            <a:spLocks noGrp="1"/>
          </p:cNvSpPr>
          <p:nvPr>
            <p:ph type="ftr" sz="quarter" idx="11"/>
          </p:nvPr>
        </p:nvSpPr>
        <p:spPr>
          <a:xfrm>
            <a:off x="579120" y="6356350"/>
            <a:ext cx="10830560" cy="365125"/>
          </a:xfrm>
        </p:spPr>
        <p:txBody>
          <a:bodyPr/>
          <a:lstStyle/>
          <a:p>
            <a:endParaRPr lang="en-ZA"/>
          </a:p>
        </p:txBody>
      </p:sp>
      <p:pic>
        <p:nvPicPr>
          <p:cNvPr id="3" name="Picture Placeholder 7">
            <a:extLst>
              <a:ext uri="{FF2B5EF4-FFF2-40B4-BE49-F238E27FC236}">
                <a16:creationId xmlns:a16="http://schemas.microsoft.com/office/drawing/2014/main" id="{D82D6DC8-C6A2-9936-A01F-EDC3A63AD106}"/>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4878302" y="271872"/>
            <a:ext cx="6265198" cy="6267040"/>
          </a:xfrm>
          <a:prstGeom prst="rect">
            <a:avLst/>
          </a:prstGeom>
        </p:spPr>
      </p:pic>
    </p:spTree>
    <p:extLst>
      <p:ext uri="{BB962C8B-B14F-4D97-AF65-F5344CB8AC3E}">
        <p14:creationId xmlns:p14="http://schemas.microsoft.com/office/powerpoint/2010/main" val="21788336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CB008-7DDD-22D8-B634-02BEDD9FEDF7}"/>
            </a:ext>
          </a:extLst>
        </p:cNvPr>
        <p:cNvGrpSpPr/>
        <p:nvPr/>
      </p:nvGrpSpPr>
      <p:grpSpPr>
        <a:xfrm>
          <a:off x="0" y="0"/>
          <a:ext cx="0" cy="0"/>
          <a:chOff x="0" y="0"/>
          <a:chExt cx="0" cy="0"/>
        </a:xfrm>
      </p:grpSpPr>
      <p:pic>
        <p:nvPicPr>
          <p:cNvPr id="4" name="Picture Placeholder 8">
            <a:extLst>
              <a:ext uri="{FF2B5EF4-FFF2-40B4-BE49-F238E27FC236}">
                <a16:creationId xmlns:a16="http://schemas.microsoft.com/office/drawing/2014/main" id="{31288C18-15BE-D27E-3418-B8D2CF2C94E5}"/>
              </a:ext>
            </a:extLst>
          </p:cNvPr>
          <p:cNvPicPr>
            <a:picLocks noChangeAspect="1"/>
          </p:cNvPicPr>
          <p:nvPr/>
        </p:nvPicPr>
        <p:blipFill rotWithShape="1">
          <a:blip r:embed="rId2"/>
          <a:srcRect t="2976" b="22023"/>
          <a:stretch/>
        </p:blipFill>
        <p:spPr>
          <a:xfrm>
            <a:off x="0" y="0"/>
            <a:ext cx="12192000" cy="6858000"/>
          </a:xfrm>
          <a:prstGeom prst="rect">
            <a:avLst/>
          </a:prstGeom>
        </p:spPr>
      </p:pic>
      <p:sp>
        <p:nvSpPr>
          <p:cNvPr id="5" name="Title 4">
            <a:extLst>
              <a:ext uri="{FF2B5EF4-FFF2-40B4-BE49-F238E27FC236}">
                <a16:creationId xmlns:a16="http://schemas.microsoft.com/office/drawing/2014/main" id="{C0A62919-8607-80AE-9D70-EA593ACD229E}"/>
              </a:ext>
            </a:extLst>
          </p:cNvPr>
          <p:cNvSpPr txBox="1">
            <a:spLocks/>
          </p:cNvSpPr>
          <p:nvPr/>
        </p:nvSpPr>
        <p:spPr bwMode="gray">
          <a:xfrm>
            <a:off x="0" y="4431764"/>
            <a:ext cx="6295292" cy="1289868"/>
          </a:xfrm>
          <a:prstGeom prst="rect">
            <a:avLst/>
          </a:prstGeom>
          <a:solidFill>
            <a:schemeClr val="tx1">
              <a:alpha val="70000"/>
            </a:schemeClr>
          </a:solidFill>
        </p:spPr>
        <p:txBody>
          <a:bodyPr vert="horz" lIns="365760" tIns="0" rIns="182880" bIns="0" rtlCol="0" anchor="ctr" anchorCtr="0">
            <a:noAutofit/>
          </a:bodyPr>
          <a:lstStyle>
            <a:lvl1pPr algn="l" defTabSz="685800" rtl="0" eaLnBrk="1" latinLnBrk="0" hangingPunct="1">
              <a:lnSpc>
                <a:spcPct val="95000"/>
              </a:lnSpc>
              <a:spcBef>
                <a:spcPct val="0"/>
              </a:spcBef>
              <a:buNone/>
              <a:defRPr sz="2800" b="0" kern="120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pPr marL="0" marR="0" lvl="0" indent="0" algn="l" defTabSz="685800" rtl="0" eaLnBrk="1" fontAlgn="auto" latinLnBrk="0" hangingPunct="1">
              <a:lnSpc>
                <a:spcPct val="95000"/>
              </a:lnSpc>
              <a:spcBef>
                <a:spcPct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pitchFamily="34" charset="0"/>
                <a:ea typeface="Open Sans" panose="020B0606030504020204" pitchFamily="34" charset="0"/>
                <a:cs typeface="Calibri" panose="020F0502020204030204" pitchFamily="34" charset="0"/>
              </a:rPr>
              <a:t>Proposed Solution</a:t>
            </a:r>
          </a:p>
        </p:txBody>
      </p:sp>
    </p:spTree>
    <p:extLst>
      <p:ext uri="{BB962C8B-B14F-4D97-AF65-F5344CB8AC3E}">
        <p14:creationId xmlns:p14="http://schemas.microsoft.com/office/powerpoint/2010/main" val="390382275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0FC1FF-81F7-A0F8-D28F-A26A665765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think-cell data - do not delete" hidden="1">
                        <a:extLst>
                          <a:ext uri="{FF2B5EF4-FFF2-40B4-BE49-F238E27FC236}">
                            <a16:creationId xmlns:a16="http://schemas.microsoft.com/office/drawing/2014/main" id="{1A0FC1FF-81F7-A0F8-D28F-A26A665765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3">
            <a:extLst>
              <a:ext uri="{FF2B5EF4-FFF2-40B4-BE49-F238E27FC236}">
                <a16:creationId xmlns:a16="http://schemas.microsoft.com/office/drawing/2014/main" id="{05ACF71A-661D-9E04-9FAB-7A949E0A380E}"/>
              </a:ext>
            </a:extLst>
          </p:cNvPr>
          <p:cNvSpPr>
            <a:spLocks noGrp="1"/>
          </p:cNvSpPr>
          <p:nvPr>
            <p:ph type="title"/>
          </p:nvPr>
        </p:nvSpPr>
        <p:spPr/>
        <p:txBody>
          <a:bodyPr vert="horz" lIns="0" tIns="0" rIns="0" bIns="0" rtlCol="0" anchor="t" anchorCtr="0">
            <a:noAutofit/>
          </a:bodyPr>
          <a:lstStyle/>
          <a:p>
            <a:r>
              <a:rPr lang="en-US" altLang="en-US" sz="2400" b="1">
                <a:solidFill>
                  <a:schemeClr val="accent2"/>
                </a:solidFill>
              </a:rPr>
              <a:t>Our Proposed Solution</a:t>
            </a:r>
            <a:endParaRPr lang="en-IN" sz="2400" b="1">
              <a:solidFill>
                <a:schemeClr val="accent2"/>
              </a:solidFill>
            </a:endParaRPr>
          </a:p>
        </p:txBody>
      </p:sp>
      <p:sp>
        <p:nvSpPr>
          <p:cNvPr id="9" name="TextBox 8">
            <a:extLst>
              <a:ext uri="{FF2B5EF4-FFF2-40B4-BE49-F238E27FC236}">
                <a16:creationId xmlns:a16="http://schemas.microsoft.com/office/drawing/2014/main" id="{7C7DEAE1-9821-A229-E020-61BA2F7C3ADA}"/>
              </a:ext>
            </a:extLst>
          </p:cNvPr>
          <p:cNvSpPr txBox="1"/>
          <p:nvPr/>
        </p:nvSpPr>
        <p:spPr>
          <a:xfrm>
            <a:off x="509653" y="714871"/>
            <a:ext cx="11233150" cy="553998"/>
          </a:xfrm>
          <a:prstGeom prst="rect">
            <a:avLst/>
          </a:prstGeom>
          <a:noFill/>
        </p:spPr>
        <p:txBody>
          <a:bodyPr wrap="square" lIns="0" tIns="0" rIns="0" bIns="0" rtlCol="0">
            <a:spAutoFit/>
          </a:bodyPr>
          <a:lstStyle/>
          <a:p>
            <a:pPr defTabSz="945677">
              <a:buSzPct val="100000"/>
              <a:defRPr/>
            </a:pPr>
            <a:r>
              <a:rPr lang="en-US">
                <a:solidFill>
                  <a:schemeClr val="bg1">
                    <a:lumMod val="50000"/>
                  </a:schemeClr>
                </a:solidFill>
              </a:rPr>
              <a:t>Our proposed solution ensures a comprehensive, user-friendly web portal that combines robust data management with modern development frameworks, delivering a seamless experience for users and stakeholders. </a:t>
            </a:r>
          </a:p>
        </p:txBody>
      </p:sp>
      <p:pic>
        <p:nvPicPr>
          <p:cNvPr id="197" name="Picture 196">
            <a:extLst>
              <a:ext uri="{FF2B5EF4-FFF2-40B4-BE49-F238E27FC236}">
                <a16:creationId xmlns:a16="http://schemas.microsoft.com/office/drawing/2014/main" id="{68D279ED-BDEF-E645-C284-2A48245BEE4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957" y="1433586"/>
            <a:ext cx="10837053" cy="5053747"/>
          </a:xfrm>
          <a:prstGeom prst="rect">
            <a:avLst/>
          </a:prstGeom>
          <a:ln w="3175">
            <a:solidFill>
              <a:schemeClr val="tx1"/>
            </a:solidFill>
          </a:ln>
        </p:spPr>
      </p:pic>
    </p:spTree>
    <p:extLst>
      <p:ext uri="{BB962C8B-B14F-4D97-AF65-F5344CB8AC3E}">
        <p14:creationId xmlns:p14="http://schemas.microsoft.com/office/powerpoint/2010/main" val="28827897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0FC1FF-81F7-A0F8-D28F-A26A66576555}"/>
              </a:ext>
            </a:extLst>
          </p:cNvPr>
          <p:cNvGraphicFramePr>
            <a:graphicFrameLocks noChangeAspect="1"/>
          </p:cNvGraphicFramePr>
          <p:nvPr>
            <p:custDataLst>
              <p:tags r:id="rId1"/>
            </p:custDataLst>
            <p:extLst>
              <p:ext uri="{D42A27DB-BD31-4B8C-83A1-F6EECF244321}">
                <p14:modId xmlns:p14="http://schemas.microsoft.com/office/powerpoint/2010/main" val="1133955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think-cell data - do not delete" hidden="1">
                        <a:extLst>
                          <a:ext uri="{FF2B5EF4-FFF2-40B4-BE49-F238E27FC236}">
                            <a16:creationId xmlns:a16="http://schemas.microsoft.com/office/drawing/2014/main" id="{1A0FC1FF-81F7-A0F8-D28F-A26A665765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3">
            <a:extLst>
              <a:ext uri="{FF2B5EF4-FFF2-40B4-BE49-F238E27FC236}">
                <a16:creationId xmlns:a16="http://schemas.microsoft.com/office/drawing/2014/main" id="{05ACF71A-661D-9E04-9FAB-7A949E0A380E}"/>
              </a:ext>
            </a:extLst>
          </p:cNvPr>
          <p:cNvSpPr>
            <a:spLocks noGrp="1"/>
          </p:cNvSpPr>
          <p:nvPr>
            <p:ph type="title"/>
          </p:nvPr>
        </p:nvSpPr>
        <p:spPr/>
        <p:txBody>
          <a:bodyPr vert="horz" lIns="0" tIns="0" rIns="0" bIns="0" rtlCol="0" anchor="t" anchorCtr="0">
            <a:noAutofit/>
          </a:bodyPr>
          <a:lstStyle/>
          <a:p>
            <a:r>
              <a:rPr lang="en-US" altLang="en-US" sz="2400" b="1">
                <a:solidFill>
                  <a:schemeClr val="accent2"/>
                </a:solidFill>
              </a:rPr>
              <a:t>Our Proposed Solution</a:t>
            </a:r>
            <a:endParaRPr lang="en-IN" sz="2400" b="1">
              <a:solidFill>
                <a:schemeClr val="accent2"/>
              </a:solidFill>
            </a:endParaRPr>
          </a:p>
        </p:txBody>
      </p:sp>
      <p:sp>
        <p:nvSpPr>
          <p:cNvPr id="9" name="TextBox 8">
            <a:extLst>
              <a:ext uri="{FF2B5EF4-FFF2-40B4-BE49-F238E27FC236}">
                <a16:creationId xmlns:a16="http://schemas.microsoft.com/office/drawing/2014/main" id="{7C7DEAE1-9821-A229-E020-61BA2F7C3ADA}"/>
              </a:ext>
            </a:extLst>
          </p:cNvPr>
          <p:cNvSpPr txBox="1"/>
          <p:nvPr/>
        </p:nvSpPr>
        <p:spPr>
          <a:xfrm>
            <a:off x="509653" y="791990"/>
            <a:ext cx="11233150" cy="276999"/>
          </a:xfrm>
          <a:prstGeom prst="rect">
            <a:avLst/>
          </a:prstGeom>
          <a:noFill/>
        </p:spPr>
        <p:txBody>
          <a:bodyPr wrap="square" lIns="0" tIns="0" rIns="0" bIns="0" rtlCol="0">
            <a:spAutoFit/>
          </a:bodyPr>
          <a:lstStyle/>
          <a:p>
            <a:pPr defTabSz="945677">
              <a:buSzPct val="100000"/>
              <a:defRPr/>
            </a:pPr>
            <a:r>
              <a:rPr lang="en-US">
                <a:solidFill>
                  <a:schemeClr val="bg1">
                    <a:lumMod val="50000"/>
                  </a:schemeClr>
                </a:solidFill>
              </a:rPr>
              <a:t>Deloitte’s Indicative Architecture for the Proposed Solution</a:t>
            </a:r>
          </a:p>
        </p:txBody>
      </p:sp>
      <p:grpSp>
        <p:nvGrpSpPr>
          <p:cNvPr id="5" name="Group 4">
            <a:extLst>
              <a:ext uri="{FF2B5EF4-FFF2-40B4-BE49-F238E27FC236}">
                <a16:creationId xmlns:a16="http://schemas.microsoft.com/office/drawing/2014/main" id="{579AE5AD-9DE2-AE5F-2BBD-596C7F6AC7CC}"/>
              </a:ext>
            </a:extLst>
          </p:cNvPr>
          <p:cNvGrpSpPr/>
          <p:nvPr/>
        </p:nvGrpSpPr>
        <p:grpSpPr>
          <a:xfrm>
            <a:off x="507755" y="827033"/>
            <a:ext cx="11174588" cy="5626932"/>
            <a:chOff x="433325" y="760477"/>
            <a:chExt cx="11068108" cy="5703452"/>
          </a:xfrm>
        </p:grpSpPr>
        <p:pic>
          <p:nvPicPr>
            <p:cNvPr id="6" name="Graphic 5" descr="Cloud outline">
              <a:extLst>
                <a:ext uri="{FF2B5EF4-FFF2-40B4-BE49-F238E27FC236}">
                  <a16:creationId xmlns:a16="http://schemas.microsoft.com/office/drawing/2014/main" id="{EAF00ED5-265B-E3A2-E4F0-1EE3AFC0149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21323" y="760477"/>
              <a:ext cx="914400" cy="914400"/>
            </a:xfrm>
            <a:prstGeom prst="rect">
              <a:avLst/>
            </a:prstGeom>
          </p:spPr>
        </p:pic>
        <p:grpSp>
          <p:nvGrpSpPr>
            <p:cNvPr id="7" name="Group 6">
              <a:extLst>
                <a:ext uri="{FF2B5EF4-FFF2-40B4-BE49-F238E27FC236}">
                  <a16:creationId xmlns:a16="http://schemas.microsoft.com/office/drawing/2014/main" id="{E7C5E746-096C-DDB1-C5E1-46E56F016036}"/>
                </a:ext>
              </a:extLst>
            </p:cNvPr>
            <p:cNvGrpSpPr/>
            <p:nvPr/>
          </p:nvGrpSpPr>
          <p:grpSpPr>
            <a:xfrm>
              <a:off x="433325" y="1080518"/>
              <a:ext cx="11068108" cy="5383411"/>
              <a:chOff x="-276653" y="434288"/>
              <a:chExt cx="12366084" cy="5123693"/>
            </a:xfrm>
          </p:grpSpPr>
          <p:sp>
            <p:nvSpPr>
              <p:cNvPr id="10" name="Rectangle 9">
                <a:extLst>
                  <a:ext uri="{FF2B5EF4-FFF2-40B4-BE49-F238E27FC236}">
                    <a16:creationId xmlns:a16="http://schemas.microsoft.com/office/drawing/2014/main" id="{6DD221E9-58FF-7B2E-FF74-7416959D639F}"/>
                  </a:ext>
                </a:extLst>
              </p:cNvPr>
              <p:cNvSpPr/>
              <p:nvPr/>
            </p:nvSpPr>
            <p:spPr>
              <a:xfrm>
                <a:off x="3030612" y="673442"/>
                <a:ext cx="7003880" cy="4761848"/>
              </a:xfrm>
              <a:prstGeom prst="rect">
                <a:avLst/>
              </a:prstGeom>
              <a:noFill/>
              <a:ln w="254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982C4C4B-B8DE-2643-8065-0FBB01E70580}"/>
                  </a:ext>
                </a:extLst>
              </p:cNvPr>
              <p:cNvSpPr txBox="1"/>
              <p:nvPr/>
            </p:nvSpPr>
            <p:spPr>
              <a:xfrm>
                <a:off x="3448724" y="434288"/>
                <a:ext cx="1596034" cy="2929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prstClr val="black"/>
                    </a:solidFill>
                    <a:latin typeface="Calibri"/>
                  </a:rPr>
                  <a:t>CSP</a:t>
                </a:r>
                <a:endParaRPr kumimoji="0" lang="en-US" sz="1400" b="1" i="0" u="none" strike="noStrike" kern="1200" cap="none" spc="0" normalizeH="0" baseline="0" noProof="0">
                  <a:ln>
                    <a:noFill/>
                  </a:ln>
                  <a:solidFill>
                    <a:prstClr val="black"/>
                  </a:solidFill>
                  <a:effectLst/>
                  <a:uLnTx/>
                  <a:uFillTx/>
                  <a:latin typeface="Calibri"/>
                  <a:ea typeface="+mn-ea"/>
                  <a:cs typeface="+mn-cs"/>
                </a:endParaRPr>
              </a:p>
            </p:txBody>
          </p:sp>
          <p:grpSp>
            <p:nvGrpSpPr>
              <p:cNvPr id="12" name="Group 11">
                <a:extLst>
                  <a:ext uri="{FF2B5EF4-FFF2-40B4-BE49-F238E27FC236}">
                    <a16:creationId xmlns:a16="http://schemas.microsoft.com/office/drawing/2014/main" id="{E5623A55-FE58-CBB5-BFB1-D4788406A484}"/>
                  </a:ext>
                </a:extLst>
              </p:cNvPr>
              <p:cNvGrpSpPr/>
              <p:nvPr/>
            </p:nvGrpSpPr>
            <p:grpSpPr>
              <a:xfrm>
                <a:off x="-276653" y="835591"/>
                <a:ext cx="1989908" cy="2320735"/>
                <a:chOff x="-462200" y="1250857"/>
                <a:chExt cx="2694142" cy="2749546"/>
              </a:xfrm>
            </p:grpSpPr>
            <p:sp>
              <p:nvSpPr>
                <p:cNvPr id="62" name="Rectangle 61">
                  <a:extLst>
                    <a:ext uri="{FF2B5EF4-FFF2-40B4-BE49-F238E27FC236}">
                      <a16:creationId xmlns:a16="http://schemas.microsoft.com/office/drawing/2014/main" id="{4476053C-3263-AB88-F5AB-76FD9530403D}"/>
                    </a:ext>
                  </a:extLst>
                </p:cNvPr>
                <p:cNvSpPr/>
                <p:nvPr/>
              </p:nvSpPr>
              <p:spPr>
                <a:xfrm>
                  <a:off x="-337607" y="1681711"/>
                  <a:ext cx="1186705" cy="64008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Captive Genco</a:t>
                  </a:r>
                </a:p>
              </p:txBody>
            </p:sp>
            <p:sp>
              <p:nvSpPr>
                <p:cNvPr id="63" name="Rectangle 62">
                  <a:extLst>
                    <a:ext uri="{FF2B5EF4-FFF2-40B4-BE49-F238E27FC236}">
                      <a16:creationId xmlns:a16="http://schemas.microsoft.com/office/drawing/2014/main" id="{02AD11A4-0174-9026-1B70-CE0EF9DBEC4F}"/>
                    </a:ext>
                  </a:extLst>
                </p:cNvPr>
                <p:cNvSpPr/>
                <p:nvPr/>
              </p:nvSpPr>
              <p:spPr>
                <a:xfrm>
                  <a:off x="947168" y="1678461"/>
                  <a:ext cx="1123336" cy="64008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Calibri"/>
                      <a:ea typeface="+mn-ea"/>
                      <a:cs typeface="+mn-cs"/>
                    </a:rPr>
                    <a:t>OA </a:t>
                  </a:r>
                  <a:r>
                    <a:rPr kumimoji="0" lang="en-IN" sz="900" b="0" i="0" u="none" strike="noStrike" kern="1200" cap="none" spc="0" normalizeH="0" baseline="0" noProof="0">
                      <a:ln>
                        <a:noFill/>
                      </a:ln>
                      <a:solidFill>
                        <a:prstClr val="black"/>
                      </a:solidFill>
                      <a:effectLst/>
                      <a:uLnTx/>
                      <a:uFillTx/>
                      <a:latin typeface="Calibri"/>
                      <a:ea typeface="+mn-ea"/>
                      <a:cs typeface="+mn-cs"/>
                    </a:rPr>
                    <a:t>consumers</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F0A68F13-9C76-391B-5FF4-DF7F029E8655}"/>
                    </a:ext>
                  </a:extLst>
                </p:cNvPr>
                <p:cNvSpPr/>
                <p:nvPr/>
              </p:nvSpPr>
              <p:spPr>
                <a:xfrm>
                  <a:off x="947280" y="2432605"/>
                  <a:ext cx="1123335" cy="64008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Calibri"/>
                      <a:ea typeface="+mn-ea"/>
                      <a:cs typeface="+mn-cs"/>
                    </a:rPr>
                    <a:t>SLDC</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65" name="Rectangle 64">
                  <a:extLst>
                    <a:ext uri="{FF2B5EF4-FFF2-40B4-BE49-F238E27FC236}">
                      <a16:creationId xmlns:a16="http://schemas.microsoft.com/office/drawing/2014/main" id="{E363B382-BEE9-1222-4730-840F0AE90EE2}"/>
                    </a:ext>
                  </a:extLst>
                </p:cNvPr>
                <p:cNvSpPr/>
                <p:nvPr/>
              </p:nvSpPr>
              <p:spPr>
                <a:xfrm>
                  <a:off x="-462200" y="1250857"/>
                  <a:ext cx="2694142" cy="2749546"/>
                </a:xfrm>
                <a:prstGeom prst="rect">
                  <a:avLst/>
                </a:prstGeom>
                <a:noFill/>
                <a:ln w="254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black"/>
                      </a:solidFill>
                      <a:effectLst/>
                      <a:uLnTx/>
                      <a:uFillTx/>
                      <a:latin typeface="Calibri"/>
                      <a:ea typeface="+mn-ea"/>
                      <a:cs typeface="+mn-cs"/>
                    </a:rPr>
                    <a:t>External Data Source</a:t>
                  </a:r>
                  <a:endParaRPr kumimoji="0" lang="en-US" sz="1400" b="1" i="0" u="none" strike="noStrike" kern="1200" cap="none" spc="0" normalizeH="0" baseline="0" noProof="0">
                    <a:ln>
                      <a:noFill/>
                    </a:ln>
                    <a:solidFill>
                      <a:prstClr val="black"/>
                    </a:solidFill>
                    <a:effectLst/>
                    <a:uLnTx/>
                    <a:uFillTx/>
                    <a:latin typeface="Calibri"/>
                    <a:ea typeface="+mn-ea"/>
                    <a:cs typeface="+mn-cs"/>
                  </a:endParaRPr>
                </a:p>
              </p:txBody>
            </p:sp>
            <p:sp>
              <p:nvSpPr>
                <p:cNvPr id="66" name="Rectangle 65">
                  <a:extLst>
                    <a:ext uri="{FF2B5EF4-FFF2-40B4-BE49-F238E27FC236}">
                      <a16:creationId xmlns:a16="http://schemas.microsoft.com/office/drawing/2014/main" id="{451F7C1D-32C1-8394-3BF7-ADED6A8943C2}"/>
                    </a:ext>
                  </a:extLst>
                </p:cNvPr>
                <p:cNvSpPr/>
                <p:nvPr/>
              </p:nvSpPr>
              <p:spPr>
                <a:xfrm>
                  <a:off x="-337608" y="2432605"/>
                  <a:ext cx="1186706" cy="64008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Calibri"/>
                      <a:ea typeface="+mn-ea"/>
                      <a:cs typeface="+mn-cs"/>
                    </a:rPr>
                    <a:t>Discoms</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67" name="Rectangle 66">
                  <a:extLst>
                    <a:ext uri="{FF2B5EF4-FFF2-40B4-BE49-F238E27FC236}">
                      <a16:creationId xmlns:a16="http://schemas.microsoft.com/office/drawing/2014/main" id="{F27DC2EE-4CB7-1359-A6A8-FA38028E2754}"/>
                    </a:ext>
                  </a:extLst>
                </p:cNvPr>
                <p:cNvSpPr/>
                <p:nvPr/>
              </p:nvSpPr>
              <p:spPr>
                <a:xfrm>
                  <a:off x="267361" y="3192914"/>
                  <a:ext cx="1123336" cy="64008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Calibri"/>
                      <a:ea typeface="+mn-ea"/>
                      <a:cs typeface="+mn-cs"/>
                    </a:rPr>
                    <a:t>STU</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13" name="Straight Arrow Connector 12">
                <a:extLst>
                  <a:ext uri="{FF2B5EF4-FFF2-40B4-BE49-F238E27FC236}">
                    <a16:creationId xmlns:a16="http://schemas.microsoft.com/office/drawing/2014/main" id="{AF2A7AC7-6F48-CAA6-0D61-85B6C266846F}"/>
                  </a:ext>
                </a:extLst>
              </p:cNvPr>
              <p:cNvCxnSpPr>
                <a:cxnSpLocks/>
              </p:cNvCxnSpPr>
              <p:nvPr/>
            </p:nvCxnSpPr>
            <p:spPr>
              <a:xfrm>
                <a:off x="1743595" y="2082201"/>
                <a:ext cx="57311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99A0291-87BA-2CCA-6BED-E899395CF930}"/>
                  </a:ext>
                </a:extLst>
              </p:cNvPr>
              <p:cNvSpPr/>
              <p:nvPr/>
            </p:nvSpPr>
            <p:spPr>
              <a:xfrm>
                <a:off x="-269388" y="3609760"/>
                <a:ext cx="2004621" cy="1305428"/>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black"/>
                    </a:solidFill>
                    <a:effectLst/>
                    <a:uLnTx/>
                    <a:uFillTx/>
                    <a:latin typeface="Calibri"/>
                    <a:ea typeface="+mn-ea"/>
                    <a:cs typeface="+mn-cs"/>
                  </a:rPr>
                  <a:t>Internal Data Sour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Calibri"/>
                    <a:ea typeface="+mn-ea"/>
                    <a:cs typeface="+mn-cs"/>
                  </a:rPr>
                  <a:t>B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Calibri"/>
                    <a:ea typeface="+mn-ea"/>
                    <a:cs typeface="+mn-cs"/>
                  </a:rPr>
                  <a:t>Legacy System</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9032BCCC-2109-D2FD-9F8E-5C6D65410127}"/>
                  </a:ext>
                </a:extLst>
              </p:cNvPr>
              <p:cNvSpPr/>
              <p:nvPr/>
            </p:nvSpPr>
            <p:spPr bwMode="gray">
              <a:xfrm>
                <a:off x="5599589" y="3835088"/>
                <a:ext cx="3124686" cy="1222891"/>
              </a:xfrm>
              <a:prstGeom prst="rect">
                <a:avLst/>
              </a:prstGeom>
              <a:solidFill>
                <a:schemeClr val="accent3">
                  <a:alpha val="17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573A60EA-2550-F1B5-0F8A-6CB31CEF4551}"/>
                  </a:ext>
                </a:extLst>
              </p:cNvPr>
              <p:cNvSpPr/>
              <p:nvPr/>
            </p:nvSpPr>
            <p:spPr>
              <a:xfrm>
                <a:off x="3239412" y="981219"/>
                <a:ext cx="1758285" cy="4076759"/>
              </a:xfrm>
              <a:prstGeom prst="rect">
                <a:avLst/>
              </a:prstGeom>
              <a:solidFill>
                <a:srgbClr val="EDFBFD"/>
              </a:solidFill>
              <a:ln w="25400">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Data</a:t>
                </a:r>
              </a:p>
            </p:txBody>
          </p:sp>
          <p:cxnSp>
            <p:nvCxnSpPr>
              <p:cNvPr id="17" name="Straight Arrow Connector 16">
                <a:extLst>
                  <a:ext uri="{FF2B5EF4-FFF2-40B4-BE49-F238E27FC236}">
                    <a16:creationId xmlns:a16="http://schemas.microsoft.com/office/drawing/2014/main" id="{95BAA2C7-D885-6ABF-3C4F-58BB53A03175}"/>
                  </a:ext>
                </a:extLst>
              </p:cNvPr>
              <p:cNvCxnSpPr>
                <a:cxnSpLocks/>
              </p:cNvCxnSpPr>
              <p:nvPr/>
            </p:nvCxnSpPr>
            <p:spPr>
              <a:xfrm>
                <a:off x="5003597" y="2202345"/>
                <a:ext cx="595995"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8ECE5D36-A81B-E053-FF39-00791EA6854F}"/>
                  </a:ext>
                </a:extLst>
              </p:cNvPr>
              <p:cNvGrpSpPr/>
              <p:nvPr/>
            </p:nvGrpSpPr>
            <p:grpSpPr>
              <a:xfrm>
                <a:off x="5884414" y="4152310"/>
                <a:ext cx="1733529" cy="708096"/>
                <a:chOff x="4982242" y="5093872"/>
                <a:chExt cx="1733529" cy="708096"/>
              </a:xfrm>
            </p:grpSpPr>
            <p:pic>
              <p:nvPicPr>
                <p:cNvPr id="60" name="Graphic 59" descr="Database with solid fill">
                  <a:extLst>
                    <a:ext uri="{FF2B5EF4-FFF2-40B4-BE49-F238E27FC236}">
                      <a16:creationId xmlns:a16="http://schemas.microsoft.com/office/drawing/2014/main" id="{03FA5622-17F6-3678-3889-381434DD4F8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82242" y="5093872"/>
                  <a:ext cx="708096" cy="708096"/>
                </a:xfrm>
                <a:prstGeom prst="rect">
                  <a:avLst/>
                </a:prstGeom>
              </p:spPr>
            </p:pic>
            <p:sp>
              <p:nvSpPr>
                <p:cNvPr id="61" name="TextBox 60">
                  <a:extLst>
                    <a:ext uri="{FF2B5EF4-FFF2-40B4-BE49-F238E27FC236}">
                      <a16:creationId xmlns:a16="http://schemas.microsoft.com/office/drawing/2014/main" id="{AD135B63-970B-56BD-A125-C4F64515423B}"/>
                    </a:ext>
                  </a:extLst>
                </p:cNvPr>
                <p:cNvSpPr txBox="1"/>
                <p:nvPr/>
              </p:nvSpPr>
              <p:spPr>
                <a:xfrm>
                  <a:off x="5499287" y="5529905"/>
                  <a:ext cx="1216484"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1200" cap="none" spc="0" normalizeH="0" baseline="0" noProof="0">
                      <a:ln>
                        <a:noFill/>
                      </a:ln>
                      <a:solidFill>
                        <a:srgbClr val="313131"/>
                      </a:solidFill>
                      <a:effectLst/>
                      <a:uLnTx/>
                      <a:uFillTx/>
                      <a:latin typeface="Calibri"/>
                      <a:ea typeface="+mn-ea"/>
                      <a:cs typeface="+mn-cs"/>
                    </a:rPr>
                    <a:t>Historical Data</a:t>
                  </a:r>
                </a:p>
              </p:txBody>
            </p:sp>
          </p:grpSp>
          <p:cxnSp>
            <p:nvCxnSpPr>
              <p:cNvPr id="19" name="Straight Arrow Connector 18">
                <a:extLst>
                  <a:ext uri="{FF2B5EF4-FFF2-40B4-BE49-F238E27FC236}">
                    <a16:creationId xmlns:a16="http://schemas.microsoft.com/office/drawing/2014/main" id="{9091CBE7-ADF8-8B97-584C-F5F900FB8EAD}"/>
                  </a:ext>
                </a:extLst>
              </p:cNvPr>
              <p:cNvCxnSpPr>
                <a:cxnSpLocks/>
              </p:cNvCxnSpPr>
              <p:nvPr/>
            </p:nvCxnSpPr>
            <p:spPr>
              <a:xfrm>
                <a:off x="5917215" y="3468311"/>
                <a:ext cx="0" cy="365694"/>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A69F1888-6BD6-E7BB-1F43-A4A0B666CD4B}"/>
                  </a:ext>
                </a:extLst>
              </p:cNvPr>
              <p:cNvSpPr/>
              <p:nvPr/>
            </p:nvSpPr>
            <p:spPr>
              <a:xfrm>
                <a:off x="3414752" y="1335781"/>
                <a:ext cx="1447438" cy="1010231"/>
              </a:xfrm>
              <a:prstGeom prst="rect">
                <a:avLst/>
              </a:prstGeom>
              <a:ln>
                <a:solidFill>
                  <a:schemeClr val="accent5"/>
                </a:solidFill>
              </a:ln>
            </p:spPr>
            <p:style>
              <a:lnRef idx="2">
                <a:schemeClr val="accent1"/>
              </a:lnRef>
              <a:fillRef idx="1">
                <a:schemeClr val="lt1"/>
              </a:fillRef>
              <a:effectRef idx="0">
                <a:schemeClr val="accent1"/>
              </a:effectRef>
              <a:fontRef idx="minor">
                <a:schemeClr val="dk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100">
                    <a:solidFill>
                      <a:prstClr val="black"/>
                    </a:solidFill>
                    <a:latin typeface="Calibri"/>
                  </a:rPr>
                  <a:t>Un-structure</a:t>
                </a:r>
                <a:r>
                  <a:rPr lang="en-IN" sz="1400">
                    <a:solidFill>
                      <a:prstClr val="black"/>
                    </a:solidFill>
                    <a:latin typeface="Calibri"/>
                  </a:rPr>
                  <a:t> Data</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1D1BA8CD-66D8-8372-07F8-61BC5F48DA37}"/>
                  </a:ext>
                </a:extLst>
              </p:cNvPr>
              <p:cNvGrpSpPr/>
              <p:nvPr/>
            </p:nvGrpSpPr>
            <p:grpSpPr>
              <a:xfrm>
                <a:off x="5571410" y="984682"/>
                <a:ext cx="3181881" cy="2497287"/>
                <a:chOff x="5597869" y="1253446"/>
                <a:chExt cx="3181881" cy="2497287"/>
              </a:xfrm>
            </p:grpSpPr>
            <p:sp>
              <p:nvSpPr>
                <p:cNvPr id="54" name="Rectangle 53">
                  <a:extLst>
                    <a:ext uri="{FF2B5EF4-FFF2-40B4-BE49-F238E27FC236}">
                      <a16:creationId xmlns:a16="http://schemas.microsoft.com/office/drawing/2014/main" id="{C5188514-0C3E-F8E6-5547-0C3743B5DE2B}"/>
                    </a:ext>
                  </a:extLst>
                </p:cNvPr>
                <p:cNvSpPr/>
                <p:nvPr/>
              </p:nvSpPr>
              <p:spPr>
                <a:xfrm>
                  <a:off x="5597869" y="1253446"/>
                  <a:ext cx="3181881" cy="2497287"/>
                </a:xfrm>
                <a:prstGeom prst="rect">
                  <a:avLst/>
                </a:prstGeom>
                <a:solidFill>
                  <a:srgbClr val="EFFAFF"/>
                </a:solidFill>
                <a:ln w="254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Application Layer</a:t>
                  </a:r>
                </a:p>
              </p:txBody>
            </p:sp>
            <p:sp>
              <p:nvSpPr>
                <p:cNvPr id="55" name="Rectangle 54">
                  <a:extLst>
                    <a:ext uri="{FF2B5EF4-FFF2-40B4-BE49-F238E27FC236}">
                      <a16:creationId xmlns:a16="http://schemas.microsoft.com/office/drawing/2014/main" id="{C956AB0A-29B9-5B8D-5D6B-7095435077FD}"/>
                    </a:ext>
                  </a:extLst>
                </p:cNvPr>
                <p:cNvSpPr/>
                <p:nvPr/>
              </p:nvSpPr>
              <p:spPr>
                <a:xfrm>
                  <a:off x="7272774" y="1699559"/>
                  <a:ext cx="1227387" cy="596897"/>
                </a:xfrm>
                <a:prstGeom prst="rect">
                  <a:avLst/>
                </a:prstGeom>
                <a:ln>
                  <a:solidFill>
                    <a:schemeClr val="accent6"/>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Calibri"/>
                      <a:ea typeface="+mn-ea"/>
                      <a:cs typeface="+mn-cs"/>
                    </a:rPr>
                    <a:t>Payment Module</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56" name="Rectangle 55">
                  <a:extLst>
                    <a:ext uri="{FF2B5EF4-FFF2-40B4-BE49-F238E27FC236}">
                      <a16:creationId xmlns:a16="http://schemas.microsoft.com/office/drawing/2014/main" id="{D1A795F4-BE47-ABFD-F2AC-73747C87AAC7}"/>
                    </a:ext>
                  </a:extLst>
                </p:cNvPr>
                <p:cNvSpPr/>
                <p:nvPr/>
              </p:nvSpPr>
              <p:spPr>
                <a:xfrm>
                  <a:off x="5856470" y="1695293"/>
                  <a:ext cx="1203351" cy="596897"/>
                </a:xfrm>
                <a:prstGeom prst="rect">
                  <a:avLst/>
                </a:prstGeom>
                <a:ln>
                  <a:solidFill>
                    <a:schemeClr val="accent6"/>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Calibri"/>
                      <a:ea typeface="+mn-ea"/>
                      <a:cs typeface="+mn-cs"/>
                    </a:rPr>
                    <a:t>RCO Monitoring</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57" name="Rectangle 56">
                  <a:extLst>
                    <a:ext uri="{FF2B5EF4-FFF2-40B4-BE49-F238E27FC236}">
                      <a16:creationId xmlns:a16="http://schemas.microsoft.com/office/drawing/2014/main" id="{D4583656-63CB-0209-E703-8314D265CE76}"/>
                    </a:ext>
                  </a:extLst>
                </p:cNvPr>
                <p:cNvSpPr/>
                <p:nvPr/>
              </p:nvSpPr>
              <p:spPr>
                <a:xfrm>
                  <a:off x="5860383" y="2428254"/>
                  <a:ext cx="1203351" cy="596897"/>
                </a:xfrm>
                <a:prstGeom prst="rect">
                  <a:avLst/>
                </a:prstGeom>
                <a:ln>
                  <a:solidFill>
                    <a:schemeClr val="accent6"/>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Status Update</a:t>
                  </a:r>
                </a:p>
              </p:txBody>
            </p:sp>
            <p:sp>
              <p:nvSpPr>
                <p:cNvPr id="58" name="Rectangle 57">
                  <a:extLst>
                    <a:ext uri="{FF2B5EF4-FFF2-40B4-BE49-F238E27FC236}">
                      <a16:creationId xmlns:a16="http://schemas.microsoft.com/office/drawing/2014/main" id="{B8CA9F4A-E01F-2EAB-E533-7BD7F0D3CE46}"/>
                    </a:ext>
                  </a:extLst>
                </p:cNvPr>
                <p:cNvSpPr/>
                <p:nvPr/>
              </p:nvSpPr>
              <p:spPr>
                <a:xfrm>
                  <a:off x="7283059" y="2405439"/>
                  <a:ext cx="1191625" cy="602409"/>
                </a:xfrm>
                <a:prstGeom prst="rect">
                  <a:avLst/>
                </a:prstGeom>
                <a:ln>
                  <a:solidFill>
                    <a:schemeClr val="accent6"/>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Calibri"/>
                      <a:ea typeface="+mn-ea"/>
                      <a:cs typeface="+mn-cs"/>
                    </a:rPr>
                    <a:t>Associated Proofs</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4F461262-4FD0-8082-E887-013FA4F6CC95}"/>
                    </a:ext>
                  </a:extLst>
                </p:cNvPr>
                <p:cNvSpPr/>
                <p:nvPr/>
              </p:nvSpPr>
              <p:spPr>
                <a:xfrm>
                  <a:off x="5842000" y="3113607"/>
                  <a:ext cx="2624667" cy="391593"/>
                </a:xfrm>
                <a:prstGeom prst="rect">
                  <a:avLst/>
                </a:prstGeom>
                <a:ln>
                  <a:solidFill>
                    <a:schemeClr val="accent6"/>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Calibri"/>
                      <a:ea typeface="+mn-ea"/>
                      <a:cs typeface="+mn-cs"/>
                    </a:rPr>
                    <a:t>Data Analysis</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2" name="Rectangle 21">
                <a:extLst>
                  <a:ext uri="{FF2B5EF4-FFF2-40B4-BE49-F238E27FC236}">
                    <a16:creationId xmlns:a16="http://schemas.microsoft.com/office/drawing/2014/main" id="{EF8376D8-066F-BA58-577E-ADAA60551755}"/>
                  </a:ext>
                </a:extLst>
              </p:cNvPr>
              <p:cNvSpPr/>
              <p:nvPr/>
            </p:nvSpPr>
            <p:spPr>
              <a:xfrm>
                <a:off x="3411008" y="3844522"/>
                <a:ext cx="1435099" cy="1136840"/>
              </a:xfrm>
              <a:prstGeom prst="rect">
                <a:avLst/>
              </a:prstGeom>
              <a:ln>
                <a:solidFill>
                  <a:schemeClr val="accent5"/>
                </a:solidFill>
              </a:ln>
            </p:spPr>
            <p:style>
              <a:lnRef idx="2">
                <a:schemeClr val="accent1"/>
              </a:lnRef>
              <a:fillRef idx="1">
                <a:schemeClr val="lt1"/>
              </a:fillRef>
              <a:effectRef idx="0">
                <a:schemeClr val="accent1"/>
              </a:effectRef>
              <a:fontRef idx="minor">
                <a:schemeClr val="dk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Structured Data</a:t>
                </a:r>
              </a:p>
            </p:txBody>
          </p:sp>
          <p:sp>
            <p:nvSpPr>
              <p:cNvPr id="23" name="Rectangle 22">
                <a:extLst>
                  <a:ext uri="{FF2B5EF4-FFF2-40B4-BE49-F238E27FC236}">
                    <a16:creationId xmlns:a16="http://schemas.microsoft.com/office/drawing/2014/main" id="{A7DF5D02-6103-2B90-9B13-DEB095D1418F}"/>
                  </a:ext>
                </a:extLst>
              </p:cNvPr>
              <p:cNvSpPr/>
              <p:nvPr/>
            </p:nvSpPr>
            <p:spPr>
              <a:xfrm>
                <a:off x="3414209" y="2439761"/>
                <a:ext cx="1440365" cy="1235266"/>
              </a:xfrm>
              <a:prstGeom prst="rect">
                <a:avLst/>
              </a:prstGeom>
              <a:ln>
                <a:solidFill>
                  <a:schemeClr val="accent5"/>
                </a:solidFill>
              </a:ln>
            </p:spPr>
            <p:style>
              <a:lnRef idx="2">
                <a:schemeClr val="accent1"/>
              </a:lnRef>
              <a:fillRef idx="1">
                <a:schemeClr val="lt1"/>
              </a:fillRef>
              <a:effectRef idx="0">
                <a:schemeClr val="accent1"/>
              </a:effectRef>
              <a:fontRef idx="minor">
                <a:schemeClr val="dk1"/>
              </a:fontRef>
            </p:style>
            <p:txBody>
              <a:bodyPr vert="horz" rtlCol="0" anchor="ctr"/>
              <a:lstStyle/>
              <a:p>
                <a:pPr algn="ctr" defTabSz="914400">
                  <a:defRPr/>
                </a:pPr>
                <a:r>
                  <a:rPr lang="en-US" sz="1100">
                    <a:solidFill>
                      <a:prstClr val="black"/>
                    </a:solidFill>
                    <a:latin typeface="Calibri"/>
                  </a:rPr>
                  <a:t>Semi- Structured Data</a:t>
                </a:r>
              </a:p>
            </p:txBody>
          </p:sp>
          <p:pic>
            <p:nvPicPr>
              <p:cNvPr id="24" name="Picture 2" descr="Excel Icon | Microsoft Office Tiles Iconpack | carlosjj">
                <a:extLst>
                  <a:ext uri="{FF2B5EF4-FFF2-40B4-BE49-F238E27FC236}">
                    <a16:creationId xmlns:a16="http://schemas.microsoft.com/office/drawing/2014/main" id="{21097628-69E6-2D4B-173A-B08413E27740}"/>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4606846" y="4683861"/>
                <a:ext cx="204367" cy="23449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Xml file document icon Royalty Free Vector Image">
                <a:extLst>
                  <a:ext uri="{FF2B5EF4-FFF2-40B4-BE49-F238E27FC236}">
                    <a16:creationId xmlns:a16="http://schemas.microsoft.com/office/drawing/2014/main" id="{FC9242DE-3955-DF05-F545-40837B82E301}"/>
                  </a:ext>
                </a:extLst>
              </p:cNvPr>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3448983" y="3394820"/>
                <a:ext cx="169459" cy="18249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Free Json file Icon - Download in Flat Style">
                <a:extLst>
                  <a:ext uri="{FF2B5EF4-FFF2-40B4-BE49-F238E27FC236}">
                    <a16:creationId xmlns:a16="http://schemas.microsoft.com/office/drawing/2014/main" id="{0CE64455-425C-80A2-958B-043B505FD64D}"/>
                  </a:ext>
                </a:extLst>
              </p:cNvPr>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4642298" y="3414297"/>
                <a:ext cx="174205" cy="174205"/>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Straight Arrow Connector 26">
                <a:extLst>
                  <a:ext uri="{FF2B5EF4-FFF2-40B4-BE49-F238E27FC236}">
                    <a16:creationId xmlns:a16="http://schemas.microsoft.com/office/drawing/2014/main" id="{5D09F7E1-D7F8-F035-1BEE-523C619E272E}"/>
                  </a:ext>
                </a:extLst>
              </p:cNvPr>
              <p:cNvCxnSpPr>
                <a:cxnSpLocks/>
              </p:cNvCxnSpPr>
              <p:nvPr/>
            </p:nvCxnSpPr>
            <p:spPr>
              <a:xfrm>
                <a:off x="4997440" y="4040273"/>
                <a:ext cx="595995"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30062BBA-9FF6-B75D-18F5-39E88E404AC4}"/>
                  </a:ext>
                </a:extLst>
              </p:cNvPr>
              <p:cNvSpPr txBox="1"/>
              <p:nvPr/>
            </p:nvSpPr>
            <p:spPr>
              <a:xfrm>
                <a:off x="5479603" y="3875171"/>
                <a:ext cx="159603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black"/>
                    </a:solidFill>
                    <a:effectLst/>
                    <a:uLnTx/>
                    <a:uFillTx/>
                    <a:latin typeface="Calibri"/>
                    <a:ea typeface="+mn-ea"/>
                    <a:cs typeface="+mn-cs"/>
                  </a:rPr>
                  <a:t>Database Layer</a:t>
                </a:r>
                <a:endParaRPr kumimoji="0" lang="en-US" sz="1400" b="1" i="0" u="none" strike="noStrike" kern="1200" cap="none" spc="0" normalizeH="0" baseline="0" noProof="0">
                  <a:ln>
                    <a:noFill/>
                  </a:ln>
                  <a:solidFill>
                    <a:prstClr val="black"/>
                  </a:solidFill>
                  <a:effectLst/>
                  <a:uLnTx/>
                  <a:uFillTx/>
                  <a:latin typeface="Calibri"/>
                  <a:ea typeface="+mn-ea"/>
                  <a:cs typeface="+mn-cs"/>
                </a:endParaRPr>
              </a:p>
            </p:txBody>
          </p:sp>
          <p:cxnSp>
            <p:nvCxnSpPr>
              <p:cNvPr id="29" name="Straight Arrow Connector 28">
                <a:extLst>
                  <a:ext uri="{FF2B5EF4-FFF2-40B4-BE49-F238E27FC236}">
                    <a16:creationId xmlns:a16="http://schemas.microsoft.com/office/drawing/2014/main" id="{DE4ACB15-FE6D-5BD4-47B7-B812C8A0E6D9}"/>
                  </a:ext>
                </a:extLst>
              </p:cNvPr>
              <p:cNvCxnSpPr>
                <a:cxnSpLocks/>
              </p:cNvCxnSpPr>
              <p:nvPr/>
            </p:nvCxnSpPr>
            <p:spPr>
              <a:xfrm>
                <a:off x="1587214" y="5557981"/>
                <a:ext cx="902147" cy="0"/>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A2470EFE-6D77-480E-A262-EFA85819901E}"/>
                  </a:ext>
                </a:extLst>
              </p:cNvPr>
              <p:cNvSpPr txBox="1"/>
              <p:nvPr/>
            </p:nvSpPr>
            <p:spPr>
              <a:xfrm>
                <a:off x="1597461" y="5352931"/>
                <a:ext cx="1240837" cy="20505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1" u="none" strike="noStrike" kern="1200" cap="none" spc="0" normalizeH="0" baseline="0" noProof="0">
                    <a:ln>
                      <a:noFill/>
                    </a:ln>
                    <a:solidFill>
                      <a:srgbClr val="313131"/>
                    </a:solidFill>
                    <a:effectLst/>
                    <a:uLnTx/>
                    <a:uFillTx/>
                    <a:latin typeface="Calibri"/>
                    <a:ea typeface="+mn-ea"/>
                    <a:cs typeface="+mn-cs"/>
                  </a:rPr>
                  <a:t>Data Flow</a:t>
                </a:r>
              </a:p>
            </p:txBody>
          </p:sp>
          <p:cxnSp>
            <p:nvCxnSpPr>
              <p:cNvPr id="31" name="Straight Arrow Connector 30">
                <a:extLst>
                  <a:ext uri="{FF2B5EF4-FFF2-40B4-BE49-F238E27FC236}">
                    <a16:creationId xmlns:a16="http://schemas.microsoft.com/office/drawing/2014/main" id="{77BEDC8C-24A9-D294-04CB-1247D8D12745}"/>
                  </a:ext>
                </a:extLst>
              </p:cNvPr>
              <p:cNvCxnSpPr>
                <a:cxnSpLocks/>
              </p:cNvCxnSpPr>
              <p:nvPr/>
            </p:nvCxnSpPr>
            <p:spPr>
              <a:xfrm>
                <a:off x="9526037" y="2865171"/>
                <a:ext cx="0" cy="702031"/>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052CEE9F-4487-508D-DB76-1201433735AA}"/>
                  </a:ext>
                </a:extLst>
              </p:cNvPr>
              <p:cNvSpPr/>
              <p:nvPr/>
            </p:nvSpPr>
            <p:spPr>
              <a:xfrm>
                <a:off x="2312326" y="1119549"/>
                <a:ext cx="475042" cy="3793273"/>
              </a:xfrm>
              <a:prstGeom prst="rect">
                <a:avLst/>
              </a:prstGeom>
              <a:solidFill>
                <a:srgbClr val="F2F2F2"/>
              </a:solidFill>
              <a:ln>
                <a:solidFill>
                  <a:srgbClr val="A6A6A6"/>
                </a:solidFill>
              </a:ln>
            </p:spPr>
            <p:style>
              <a:lnRef idx="2">
                <a:schemeClr val="accent1"/>
              </a:lnRef>
              <a:fillRef idx="1">
                <a:schemeClr val="lt1"/>
              </a:fillRef>
              <a:effectRef idx="0">
                <a:schemeClr val="accent1"/>
              </a:effectRef>
              <a:fontRef idx="minor">
                <a:schemeClr val="dk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Calibri"/>
                    <a:ea typeface="+mn-ea"/>
                    <a:cs typeface="+mn-cs"/>
                  </a:rPr>
                  <a:t>User Interface</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cxnSp>
            <p:nvCxnSpPr>
              <p:cNvPr id="33" name="Straight Arrow Connector 32">
                <a:extLst>
                  <a:ext uri="{FF2B5EF4-FFF2-40B4-BE49-F238E27FC236}">
                    <a16:creationId xmlns:a16="http://schemas.microsoft.com/office/drawing/2014/main" id="{1A145E4A-FB8E-F029-38A8-E18BDBD9385D}"/>
                  </a:ext>
                </a:extLst>
              </p:cNvPr>
              <p:cNvCxnSpPr>
                <a:cxnSpLocks/>
              </p:cNvCxnSpPr>
              <p:nvPr/>
            </p:nvCxnSpPr>
            <p:spPr>
              <a:xfrm>
                <a:off x="2774270" y="1586897"/>
                <a:ext cx="445311"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790C7A6-0DAE-82C5-CAB1-CF6EC19B09DA}"/>
                  </a:ext>
                </a:extLst>
              </p:cNvPr>
              <p:cNvCxnSpPr>
                <a:cxnSpLocks/>
              </p:cNvCxnSpPr>
              <p:nvPr/>
            </p:nvCxnSpPr>
            <p:spPr>
              <a:xfrm>
                <a:off x="2779350" y="4397411"/>
                <a:ext cx="445311"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40F9CC9E-1790-4DDD-E22B-2EEF4F6C6343}"/>
                  </a:ext>
                </a:extLst>
              </p:cNvPr>
              <p:cNvSpPr/>
              <p:nvPr/>
            </p:nvSpPr>
            <p:spPr>
              <a:xfrm>
                <a:off x="9185275" y="981219"/>
                <a:ext cx="578283" cy="4076759"/>
              </a:xfrm>
              <a:prstGeom prst="rect">
                <a:avLst/>
              </a:prstGeom>
              <a:solidFill>
                <a:srgbClr val="F2F2F2"/>
              </a:solidFill>
              <a:ln>
                <a:solidFill>
                  <a:srgbClr val="A6A6A6"/>
                </a:solidFill>
              </a:ln>
            </p:spPr>
            <p:style>
              <a:lnRef idx="2">
                <a:schemeClr val="accent1"/>
              </a:lnRef>
              <a:fillRef idx="1">
                <a:schemeClr val="lt1"/>
              </a:fillRef>
              <a:effectRef idx="0">
                <a:schemeClr val="accent1"/>
              </a:effectRef>
              <a:fontRef idx="minor">
                <a:schemeClr val="dk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API/ Web Services</a:t>
                </a:r>
              </a:p>
            </p:txBody>
          </p:sp>
          <p:grpSp>
            <p:nvGrpSpPr>
              <p:cNvPr id="36" name="Group 35">
                <a:extLst>
                  <a:ext uri="{FF2B5EF4-FFF2-40B4-BE49-F238E27FC236}">
                    <a16:creationId xmlns:a16="http://schemas.microsoft.com/office/drawing/2014/main" id="{1D4DFFE7-642F-3FEB-4023-1D9ADA5461D5}"/>
                  </a:ext>
                </a:extLst>
              </p:cNvPr>
              <p:cNvGrpSpPr/>
              <p:nvPr/>
            </p:nvGrpSpPr>
            <p:grpSpPr>
              <a:xfrm>
                <a:off x="10180750" y="3015026"/>
                <a:ext cx="1908681" cy="2042942"/>
                <a:chOff x="7517330" y="3396693"/>
                <a:chExt cx="3150123" cy="2639326"/>
              </a:xfrm>
            </p:grpSpPr>
            <p:sp>
              <p:nvSpPr>
                <p:cNvPr id="51" name="Rectangle 50">
                  <a:extLst>
                    <a:ext uri="{FF2B5EF4-FFF2-40B4-BE49-F238E27FC236}">
                      <a16:creationId xmlns:a16="http://schemas.microsoft.com/office/drawing/2014/main" id="{2DE9FC6A-3D8B-9678-0461-C74985AF0FDD}"/>
                    </a:ext>
                  </a:extLst>
                </p:cNvPr>
                <p:cNvSpPr/>
                <p:nvPr/>
              </p:nvSpPr>
              <p:spPr>
                <a:xfrm>
                  <a:off x="7517330" y="3396693"/>
                  <a:ext cx="3150123" cy="2639326"/>
                </a:xfrm>
                <a:prstGeom prst="rect">
                  <a:avLst/>
                </a:prstGeom>
                <a:solidFill>
                  <a:srgbClr val="FDFDF5"/>
                </a:solidFill>
                <a:ln w="25400">
                  <a:solidFill>
                    <a:srgbClr val="C4D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Calibri"/>
                    <a:ea typeface="+mn-ea"/>
                    <a:cs typeface="+mn-cs"/>
                  </a:endParaRPr>
                </a:p>
              </p:txBody>
            </p:sp>
            <p:sp>
              <p:nvSpPr>
                <p:cNvPr id="52" name="Rectangle 51">
                  <a:extLst>
                    <a:ext uri="{FF2B5EF4-FFF2-40B4-BE49-F238E27FC236}">
                      <a16:creationId xmlns:a16="http://schemas.microsoft.com/office/drawing/2014/main" id="{B64D70DD-10F1-DF0F-6769-D0DF5C805F5F}"/>
                    </a:ext>
                  </a:extLst>
                </p:cNvPr>
                <p:cNvSpPr/>
                <p:nvPr/>
              </p:nvSpPr>
              <p:spPr>
                <a:xfrm>
                  <a:off x="7758611" y="5342438"/>
                  <a:ext cx="2667561" cy="562173"/>
                </a:xfrm>
                <a:prstGeom prst="rect">
                  <a:avLst/>
                </a:prstGeom>
                <a:ln>
                  <a:solidFill>
                    <a:srgbClr val="C4D600"/>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SMS/WhatsApp</a:t>
                  </a:r>
                </a:p>
              </p:txBody>
            </p:sp>
            <p:sp>
              <p:nvSpPr>
                <p:cNvPr id="53" name="Rectangle 52">
                  <a:extLst>
                    <a:ext uri="{FF2B5EF4-FFF2-40B4-BE49-F238E27FC236}">
                      <a16:creationId xmlns:a16="http://schemas.microsoft.com/office/drawing/2014/main" id="{618C216E-1E38-88D4-C417-644DA0947DE9}"/>
                    </a:ext>
                  </a:extLst>
                </p:cNvPr>
                <p:cNvSpPr/>
                <p:nvPr/>
              </p:nvSpPr>
              <p:spPr>
                <a:xfrm>
                  <a:off x="7758506" y="4440149"/>
                  <a:ext cx="2667561" cy="562172"/>
                </a:xfrm>
                <a:prstGeom prst="rect">
                  <a:avLst/>
                </a:prstGeom>
                <a:ln>
                  <a:solidFill>
                    <a:srgbClr val="C4D600"/>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a:solidFill>
                        <a:prstClr val="black"/>
                      </a:solidFill>
                      <a:latin typeface="Calibri"/>
                    </a:rPr>
                    <a:t>3</a:t>
                  </a:r>
                  <a:r>
                    <a:rPr lang="en-IN" sz="1400" baseline="30000">
                      <a:solidFill>
                        <a:prstClr val="black"/>
                      </a:solidFill>
                      <a:latin typeface="Calibri"/>
                    </a:rPr>
                    <a:t>rd</a:t>
                  </a:r>
                  <a:r>
                    <a:rPr lang="en-IN" sz="1400">
                      <a:solidFill>
                        <a:prstClr val="black"/>
                      </a:solidFill>
                      <a:latin typeface="Calibri"/>
                    </a:rPr>
                    <a:t> Party Integration</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7" name="Group 36">
                <a:extLst>
                  <a:ext uri="{FF2B5EF4-FFF2-40B4-BE49-F238E27FC236}">
                    <a16:creationId xmlns:a16="http://schemas.microsoft.com/office/drawing/2014/main" id="{94BBBAD6-6669-022A-98D9-9B358C676B66}"/>
                  </a:ext>
                </a:extLst>
              </p:cNvPr>
              <p:cNvGrpSpPr/>
              <p:nvPr/>
            </p:nvGrpSpPr>
            <p:grpSpPr>
              <a:xfrm>
                <a:off x="10224563" y="1197376"/>
                <a:ext cx="1758216" cy="1350679"/>
                <a:chOff x="10432106" y="1188253"/>
                <a:chExt cx="1975794" cy="1466047"/>
              </a:xfrm>
            </p:grpSpPr>
            <p:grpSp>
              <p:nvGrpSpPr>
                <p:cNvPr id="45" name="Group 44">
                  <a:extLst>
                    <a:ext uri="{FF2B5EF4-FFF2-40B4-BE49-F238E27FC236}">
                      <a16:creationId xmlns:a16="http://schemas.microsoft.com/office/drawing/2014/main" id="{7DB0302F-8CD5-F97F-E1B4-36E81A4771D2}"/>
                    </a:ext>
                  </a:extLst>
                </p:cNvPr>
                <p:cNvGrpSpPr/>
                <p:nvPr/>
              </p:nvGrpSpPr>
              <p:grpSpPr>
                <a:xfrm>
                  <a:off x="10432106" y="1188253"/>
                  <a:ext cx="1975794" cy="1466047"/>
                  <a:chOff x="650749" y="2434856"/>
                  <a:chExt cx="1613986" cy="1233377"/>
                </a:xfrm>
              </p:grpSpPr>
              <p:grpSp>
                <p:nvGrpSpPr>
                  <p:cNvPr id="47" name="Group 46">
                    <a:extLst>
                      <a:ext uri="{FF2B5EF4-FFF2-40B4-BE49-F238E27FC236}">
                        <a16:creationId xmlns:a16="http://schemas.microsoft.com/office/drawing/2014/main" id="{98011541-2CA6-C842-3A5B-11779E77F654}"/>
                      </a:ext>
                    </a:extLst>
                  </p:cNvPr>
                  <p:cNvGrpSpPr/>
                  <p:nvPr/>
                </p:nvGrpSpPr>
                <p:grpSpPr>
                  <a:xfrm>
                    <a:off x="729705" y="2661409"/>
                    <a:ext cx="1461857" cy="921266"/>
                    <a:chOff x="10097856" y="4445029"/>
                    <a:chExt cx="1608041" cy="921266"/>
                  </a:xfrm>
                </p:grpSpPr>
                <p:pic>
                  <p:nvPicPr>
                    <p:cNvPr id="49" name="Picture 48">
                      <a:extLst>
                        <a:ext uri="{FF2B5EF4-FFF2-40B4-BE49-F238E27FC236}">
                          <a16:creationId xmlns:a16="http://schemas.microsoft.com/office/drawing/2014/main" id="{C0E3D5F2-1D97-B239-1174-3DFB5D14C3FF}"/>
                        </a:ext>
                      </a:extLst>
                    </p:cNvPr>
                    <p:cNvPicPr>
                      <a:picLocks noChangeAspect="1"/>
                    </p:cNvPicPr>
                    <p:nvPr/>
                  </p:nvPicPr>
                  <p:blipFill rotWithShape="1">
                    <a:blip r:embed="rId13"/>
                    <a:srcRect l="28357" r="26799"/>
                    <a:stretch/>
                  </p:blipFill>
                  <p:spPr>
                    <a:xfrm>
                      <a:off x="10097856" y="4670368"/>
                      <a:ext cx="332797" cy="598123"/>
                    </a:xfrm>
                    <a:prstGeom prst="rect">
                      <a:avLst/>
                    </a:prstGeom>
                  </p:spPr>
                </p:pic>
                <p:pic>
                  <p:nvPicPr>
                    <p:cNvPr id="50" name="Picture 49">
                      <a:extLst>
                        <a:ext uri="{FF2B5EF4-FFF2-40B4-BE49-F238E27FC236}">
                          <a16:creationId xmlns:a16="http://schemas.microsoft.com/office/drawing/2014/main" id="{EACE492D-CAE4-4ABB-751A-6C3BA4B12D69}"/>
                        </a:ext>
                      </a:extLst>
                    </p:cNvPr>
                    <p:cNvPicPr>
                      <a:picLocks noChangeAspect="1"/>
                    </p:cNvPicPr>
                    <p:nvPr/>
                  </p:nvPicPr>
                  <p:blipFill rotWithShape="1">
                    <a:blip r:embed="rId14"/>
                    <a:srcRect l="3705" r="3742"/>
                    <a:stretch/>
                  </p:blipFill>
                  <p:spPr>
                    <a:xfrm>
                      <a:off x="10395470" y="4445029"/>
                      <a:ext cx="1310427" cy="921266"/>
                    </a:xfrm>
                    <a:prstGeom prst="rect">
                      <a:avLst/>
                    </a:prstGeom>
                  </p:spPr>
                </p:pic>
              </p:grpSp>
              <p:sp>
                <p:nvSpPr>
                  <p:cNvPr id="48" name="Rectangle 47">
                    <a:extLst>
                      <a:ext uri="{FF2B5EF4-FFF2-40B4-BE49-F238E27FC236}">
                        <a16:creationId xmlns:a16="http://schemas.microsoft.com/office/drawing/2014/main" id="{591068ED-E735-380D-135E-9CE1AD0035E9}"/>
                      </a:ext>
                    </a:extLst>
                  </p:cNvPr>
                  <p:cNvSpPr/>
                  <p:nvPr/>
                </p:nvSpPr>
                <p:spPr>
                  <a:xfrm>
                    <a:off x="650749" y="2434856"/>
                    <a:ext cx="1613986" cy="1233377"/>
                  </a:xfrm>
                  <a:prstGeom prst="rect">
                    <a:avLst/>
                  </a:prstGeom>
                  <a:noFill/>
                  <a:ln w="254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black"/>
                        </a:solidFill>
                        <a:effectLst/>
                        <a:uLnTx/>
                        <a:uFillTx/>
                        <a:latin typeface="Calibri"/>
                        <a:ea typeface="+mn-ea"/>
                        <a:cs typeface="+mn-cs"/>
                      </a:rPr>
                      <a:t>Presentation Layer</a:t>
                    </a:r>
                    <a:endParaRPr kumimoji="0" lang="en-US" sz="1400" b="1" i="0" u="none" strike="noStrike" kern="1200" cap="none" spc="0" normalizeH="0" baseline="0" noProof="0">
                      <a:ln>
                        <a:noFill/>
                      </a:ln>
                      <a:solidFill>
                        <a:prstClr val="black"/>
                      </a:solidFill>
                      <a:effectLst/>
                      <a:uLnTx/>
                      <a:uFillTx/>
                      <a:latin typeface="Calibri"/>
                      <a:ea typeface="+mn-ea"/>
                      <a:cs typeface="+mn-cs"/>
                    </a:endParaRPr>
                  </a:p>
                </p:txBody>
              </p:sp>
            </p:grpSp>
            <p:pic>
              <p:nvPicPr>
                <p:cNvPr id="46" name="Picture 2" descr="Js, react js, logo, react, react native ...">
                  <a:extLst>
                    <a:ext uri="{FF2B5EF4-FFF2-40B4-BE49-F238E27FC236}">
                      <a16:creationId xmlns:a16="http://schemas.microsoft.com/office/drawing/2014/main" id="{43C01FAD-9A0A-534D-4184-1498BD01043F}"/>
                    </a:ext>
                  </a:extLst>
                </p:cNvPr>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11350625" y="1754857"/>
                  <a:ext cx="445267" cy="44526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8" name="Straight Arrow Connector 37">
                <a:extLst>
                  <a:ext uri="{FF2B5EF4-FFF2-40B4-BE49-F238E27FC236}">
                    <a16:creationId xmlns:a16="http://schemas.microsoft.com/office/drawing/2014/main" id="{F7EDBA11-0B0D-82BC-BC4D-491FFD8E4E1C}"/>
                  </a:ext>
                </a:extLst>
              </p:cNvPr>
              <p:cNvCxnSpPr>
                <a:cxnSpLocks/>
              </p:cNvCxnSpPr>
              <p:nvPr/>
            </p:nvCxnSpPr>
            <p:spPr>
              <a:xfrm>
                <a:off x="1745323" y="4003059"/>
                <a:ext cx="61298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79BF88C3-9099-498A-76AA-BD98E9F510B1}"/>
                  </a:ext>
                </a:extLst>
              </p:cNvPr>
              <p:cNvCxnSpPr>
                <a:cxnSpLocks/>
              </p:cNvCxnSpPr>
              <p:nvPr/>
            </p:nvCxnSpPr>
            <p:spPr>
              <a:xfrm>
                <a:off x="8758111" y="2904649"/>
                <a:ext cx="444526"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D629EF1-F10E-E9A4-E23A-2E23273A8E2A}"/>
                  </a:ext>
                </a:extLst>
              </p:cNvPr>
              <p:cNvCxnSpPr>
                <a:cxnSpLocks/>
              </p:cNvCxnSpPr>
              <p:nvPr/>
            </p:nvCxnSpPr>
            <p:spPr>
              <a:xfrm>
                <a:off x="8297698" y="3476331"/>
                <a:ext cx="0" cy="365694"/>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5E3781-11C8-505B-DF29-04D32431D955}"/>
                  </a:ext>
                </a:extLst>
              </p:cNvPr>
              <p:cNvCxnSpPr>
                <a:cxnSpLocks/>
              </p:cNvCxnSpPr>
              <p:nvPr/>
            </p:nvCxnSpPr>
            <p:spPr>
              <a:xfrm>
                <a:off x="8765864" y="1513174"/>
                <a:ext cx="444526"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763358B1-0B0D-53F8-3BAB-2569DC2FB01A}"/>
                  </a:ext>
                </a:extLst>
              </p:cNvPr>
              <p:cNvCxnSpPr>
                <a:cxnSpLocks/>
              </p:cNvCxnSpPr>
              <p:nvPr/>
            </p:nvCxnSpPr>
            <p:spPr>
              <a:xfrm>
                <a:off x="9763970" y="3853985"/>
                <a:ext cx="404115"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85D5947-E743-6ADB-8E75-C435A97CFA89}"/>
                  </a:ext>
                </a:extLst>
              </p:cNvPr>
              <p:cNvCxnSpPr>
                <a:cxnSpLocks/>
              </p:cNvCxnSpPr>
              <p:nvPr/>
            </p:nvCxnSpPr>
            <p:spPr>
              <a:xfrm>
                <a:off x="9764931" y="1682508"/>
                <a:ext cx="444526"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D450D31-8165-93D4-2241-2E87D575A6A7}"/>
                  </a:ext>
                </a:extLst>
              </p:cNvPr>
              <p:cNvCxnSpPr>
                <a:cxnSpLocks/>
              </p:cNvCxnSpPr>
              <p:nvPr/>
            </p:nvCxnSpPr>
            <p:spPr>
              <a:xfrm>
                <a:off x="9757620" y="4590585"/>
                <a:ext cx="404115"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9771831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20CB008-7DDD-22D8-B634-02BEDD9FEDF7}"/>
            </a:ext>
          </a:extLst>
        </p:cNvPr>
        <p:cNvGrpSpPr/>
        <p:nvPr/>
      </p:nvGrpSpPr>
      <p:grpSpPr>
        <a:xfrm>
          <a:off x="0" y="0"/>
          <a:ext cx="0" cy="0"/>
          <a:chOff x="0" y="0"/>
          <a:chExt cx="0" cy="0"/>
        </a:xfrm>
      </p:grpSpPr>
      <p:sp>
        <p:nvSpPr>
          <p:cNvPr id="33" name="Rectangle 32">
            <a:extLst>
              <a:ext uri="{FF2B5EF4-FFF2-40B4-BE49-F238E27FC236}">
                <a16:creationId xmlns:a16="http://schemas.microsoft.com/office/drawing/2014/main" id="{347D6575-0B06-40B2-9D0F-298202F6BC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Arc 33">
            <a:extLst>
              <a:ext uri="{FF2B5EF4-FFF2-40B4-BE49-F238E27FC236}">
                <a16:creationId xmlns:a16="http://schemas.microsoft.com/office/drawing/2014/main" id="{E2B33195-5BCA-4BB7-A82D-6739522687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604789">
            <a:off x="675639" y="775849"/>
            <a:ext cx="2987899" cy="2987899"/>
          </a:xfrm>
          <a:prstGeom prst="arc">
            <a:avLst>
              <a:gd name="adj1" fmla="val 14455503"/>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0FA48D5-C4D1-FC2C-03CE-9B92504C0E92}"/>
              </a:ext>
            </a:extLst>
          </p:cNvPr>
          <p:cNvSpPr>
            <a:spLocks noGrp="1"/>
          </p:cNvSpPr>
          <p:nvPr>
            <p:ph type="title"/>
          </p:nvPr>
        </p:nvSpPr>
        <p:spPr>
          <a:xfrm>
            <a:off x="892818" y="1370171"/>
            <a:ext cx="5085580" cy="2387600"/>
          </a:xfrm>
        </p:spPr>
        <p:txBody>
          <a:bodyPr vert="horz" lIns="91440" tIns="45720" rIns="91440" bIns="45720" rtlCol="0" anchor="b">
            <a:normAutofit/>
          </a:bodyPr>
          <a:lstStyle/>
          <a:p>
            <a:r>
              <a:rPr lang="en-US" sz="6000">
                <a:ea typeface="+mj-ea"/>
                <a:cs typeface="+mj-cs"/>
              </a:rPr>
              <a:t>Indicative Wireframes</a:t>
            </a:r>
          </a:p>
        </p:txBody>
      </p:sp>
      <p:sp>
        <p:nvSpPr>
          <p:cNvPr id="35" name="Oval 34">
            <a:extLst>
              <a:ext uri="{FF2B5EF4-FFF2-40B4-BE49-F238E27FC236}">
                <a16:creationId xmlns:a16="http://schemas.microsoft.com/office/drawing/2014/main" id="{CF8AD9F3-9AF6-494F-83A3-2F67756393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9802" y="832686"/>
            <a:ext cx="1104943" cy="10749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 name="Picture Placeholder 8">
            <a:extLst>
              <a:ext uri="{FF2B5EF4-FFF2-40B4-BE49-F238E27FC236}">
                <a16:creationId xmlns:a16="http://schemas.microsoft.com/office/drawing/2014/main" id="{31288C18-15BE-D27E-3418-B8D2CF2C94E5}"/>
              </a:ext>
            </a:extLst>
          </p:cNvPr>
          <p:cNvPicPr>
            <a:picLocks noChangeAspect="1"/>
          </p:cNvPicPr>
          <p:nvPr/>
        </p:nvPicPr>
        <p:blipFill rotWithShape="1">
          <a:blip r:embed="rId2"/>
          <a:srcRect l="9828" r="15171"/>
          <a:stretch/>
        </p:blipFill>
        <p:spPr>
          <a:xfrm>
            <a:off x="6520859" y="795510"/>
            <a:ext cx="5137520" cy="5137520"/>
          </a:xfrm>
          <a:custGeom>
            <a:avLst/>
            <a:gdLst/>
            <a:ahLst/>
            <a:cxnLst/>
            <a:rect l="l" t="t" r="r" b="b"/>
            <a:pathLst>
              <a:path w="3741748" h="3741748">
                <a:moveTo>
                  <a:pt x="1870874" y="0"/>
                </a:moveTo>
                <a:cubicBezTo>
                  <a:pt x="2904129" y="0"/>
                  <a:pt x="3741748" y="837619"/>
                  <a:pt x="3741748" y="1870874"/>
                </a:cubicBezTo>
                <a:cubicBezTo>
                  <a:pt x="3741748" y="2904129"/>
                  <a:pt x="2904129" y="3741748"/>
                  <a:pt x="1870874" y="3741748"/>
                </a:cubicBezTo>
                <a:cubicBezTo>
                  <a:pt x="837619" y="3741748"/>
                  <a:pt x="0" y="2904129"/>
                  <a:pt x="0" y="1870874"/>
                </a:cubicBezTo>
                <a:cubicBezTo>
                  <a:pt x="0" y="837619"/>
                  <a:pt x="837619" y="0"/>
                  <a:pt x="1870874" y="0"/>
                </a:cubicBezTo>
                <a:close/>
              </a:path>
            </a:pathLst>
          </a:custGeom>
        </p:spPr>
      </p:pic>
      <p:sp>
        <p:nvSpPr>
          <p:cNvPr id="36" name="Rectangle 35">
            <a:extLst>
              <a:ext uri="{FF2B5EF4-FFF2-40B4-BE49-F238E27FC236}">
                <a16:creationId xmlns:a16="http://schemas.microsoft.com/office/drawing/2014/main" id="{0DA5DB8B-7E5C-4ABC-8069-A9A8806F39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82154" y="4925384"/>
            <a:ext cx="876704" cy="876704"/>
          </a:xfrm>
          <a:prstGeom prst="rect">
            <a:avLst/>
          </a:prstGeom>
          <a:noFill/>
          <a:ln w="127000">
            <a:solidFill>
              <a:schemeClr val="accent4"/>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57435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432141-1E2B-4DDC-9611-19C06C85C539}"/>
              </a:ext>
            </a:extLst>
          </p:cNvPr>
          <p:cNvGraphicFramePr>
            <a:graphicFrameLocks noChangeAspect="1"/>
          </p:cNvGraphicFramePr>
          <p:nvPr>
            <p:custDataLst>
              <p:tags r:id="rId1"/>
            </p:custDataLst>
            <p:extLst>
              <p:ext uri="{D42A27DB-BD31-4B8C-83A1-F6EECF244321}">
                <p14:modId xmlns:p14="http://schemas.microsoft.com/office/powerpoint/2010/main" val="2193159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think-cell data - do not delete" hidden="1">
                        <a:extLst>
                          <a:ext uri="{FF2B5EF4-FFF2-40B4-BE49-F238E27FC236}">
                            <a16:creationId xmlns:a16="http://schemas.microsoft.com/office/drawing/2014/main" id="{26432141-1E2B-4DDC-9611-19C06C85C5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3">
            <a:extLst>
              <a:ext uri="{FF2B5EF4-FFF2-40B4-BE49-F238E27FC236}">
                <a16:creationId xmlns:a16="http://schemas.microsoft.com/office/drawing/2014/main" id="{05ACF71A-661D-9E04-9FAB-7A949E0A380E}"/>
              </a:ext>
            </a:extLst>
          </p:cNvPr>
          <p:cNvSpPr>
            <a:spLocks noGrp="1"/>
          </p:cNvSpPr>
          <p:nvPr>
            <p:ph type="title"/>
          </p:nvPr>
        </p:nvSpPr>
        <p:spPr/>
        <p:txBody>
          <a:bodyPr vert="horz" lIns="0" tIns="0" rIns="0" bIns="0" rtlCol="0" anchor="t" anchorCtr="0">
            <a:noAutofit/>
          </a:bodyPr>
          <a:lstStyle/>
          <a:p>
            <a:r>
              <a:rPr lang="en-US" altLang="en-US" sz="2400" b="1">
                <a:solidFill>
                  <a:schemeClr val="accent2"/>
                </a:solidFill>
              </a:rPr>
              <a:t>Indicative Wireframe for Portal….1/8</a:t>
            </a:r>
          </a:p>
        </p:txBody>
      </p:sp>
      <p:pic>
        <p:nvPicPr>
          <p:cNvPr id="2" name="Picture 1">
            <a:extLst>
              <a:ext uri="{FF2B5EF4-FFF2-40B4-BE49-F238E27FC236}">
                <a16:creationId xmlns:a16="http://schemas.microsoft.com/office/drawing/2014/main" id="{09EEBDEF-87BA-2C73-ED5A-D0029E7D01D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1247727"/>
            <a:ext cx="11908221" cy="5489404"/>
          </a:xfrm>
          <a:prstGeom prst="rect">
            <a:avLst/>
          </a:prstGeom>
        </p:spPr>
      </p:pic>
    </p:spTree>
    <p:extLst>
      <p:ext uri="{BB962C8B-B14F-4D97-AF65-F5344CB8AC3E}">
        <p14:creationId xmlns:p14="http://schemas.microsoft.com/office/powerpoint/2010/main" val="245501820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F2CF85-38DE-BD76-6B07-8A88F3D4BBEA}"/>
              </a:ext>
            </a:extLst>
          </p:cNvPr>
          <p:cNvGraphicFramePr>
            <a:graphicFrameLocks noChangeAspect="1"/>
          </p:cNvGraphicFramePr>
          <p:nvPr>
            <p:custDataLst>
              <p:tags r:id="rId1"/>
            </p:custDataLst>
            <p:extLst>
              <p:ext uri="{D42A27DB-BD31-4B8C-83A1-F6EECF244321}">
                <p14:modId xmlns:p14="http://schemas.microsoft.com/office/powerpoint/2010/main" val="234934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think-cell data - do not delete" hidden="1">
                        <a:extLst>
                          <a:ext uri="{FF2B5EF4-FFF2-40B4-BE49-F238E27FC236}">
                            <a16:creationId xmlns:a16="http://schemas.microsoft.com/office/drawing/2014/main" id="{ACF2CF85-38DE-BD76-6B07-8A88F3D4BB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3">
            <a:extLst>
              <a:ext uri="{FF2B5EF4-FFF2-40B4-BE49-F238E27FC236}">
                <a16:creationId xmlns:a16="http://schemas.microsoft.com/office/drawing/2014/main" id="{05ACF71A-661D-9E04-9FAB-7A949E0A380E}"/>
              </a:ext>
            </a:extLst>
          </p:cNvPr>
          <p:cNvSpPr>
            <a:spLocks noGrp="1"/>
          </p:cNvSpPr>
          <p:nvPr>
            <p:ph type="title"/>
          </p:nvPr>
        </p:nvSpPr>
        <p:spPr/>
        <p:txBody>
          <a:bodyPr vert="horz" lIns="0" tIns="0" rIns="0" bIns="0" rtlCol="0" anchor="t" anchorCtr="0">
            <a:noAutofit/>
          </a:bodyPr>
          <a:lstStyle/>
          <a:p>
            <a:r>
              <a:rPr lang="en-US" altLang="en-US" sz="2400" b="1">
                <a:solidFill>
                  <a:schemeClr val="accent2"/>
                </a:solidFill>
              </a:rPr>
              <a:t>Indicative Wireframe for Portal….2/8</a:t>
            </a:r>
            <a:endParaRPr lang="en-IN" sz="2400" b="1">
              <a:solidFill>
                <a:schemeClr val="accent2"/>
              </a:solidFill>
            </a:endParaRPr>
          </a:p>
        </p:txBody>
      </p:sp>
      <p:grpSp>
        <p:nvGrpSpPr>
          <p:cNvPr id="10" name="Group 9">
            <a:extLst>
              <a:ext uri="{FF2B5EF4-FFF2-40B4-BE49-F238E27FC236}">
                <a16:creationId xmlns:a16="http://schemas.microsoft.com/office/drawing/2014/main" id="{765A6D8E-555D-92B4-4439-5D3D983FEEB4}"/>
              </a:ext>
            </a:extLst>
          </p:cNvPr>
          <p:cNvGrpSpPr/>
          <p:nvPr/>
        </p:nvGrpSpPr>
        <p:grpSpPr>
          <a:xfrm>
            <a:off x="246445" y="1174134"/>
            <a:ext cx="11798409" cy="5681663"/>
            <a:chOff x="246446" y="1174134"/>
            <a:chExt cx="9819348" cy="5681663"/>
          </a:xfrm>
        </p:grpSpPr>
        <p:pic>
          <p:nvPicPr>
            <p:cNvPr id="2053" name="Picture 171">
              <a:extLst>
                <a:ext uri="{FF2B5EF4-FFF2-40B4-BE49-F238E27FC236}">
                  <a16:creationId xmlns:a16="http://schemas.microsoft.com/office/drawing/2014/main" id="{CE72A7BC-1E92-E567-2667-643E85A3ADD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1342" y="1177309"/>
              <a:ext cx="4765366" cy="27082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177">
              <a:extLst>
                <a:ext uri="{FF2B5EF4-FFF2-40B4-BE49-F238E27FC236}">
                  <a16:creationId xmlns:a16="http://schemas.microsoft.com/office/drawing/2014/main" id="{54E7F7BC-EC48-E7A5-68AA-40B9D83F6D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97221" y="4120534"/>
              <a:ext cx="4765366" cy="2708275"/>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173">
              <a:extLst>
                <a:ext uri="{FF2B5EF4-FFF2-40B4-BE49-F238E27FC236}">
                  <a16:creationId xmlns:a16="http://schemas.microsoft.com/office/drawing/2014/main" id="{A271C8D9-DED6-B1F2-5137-AF2A23081F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6446" y="4101484"/>
              <a:ext cx="4843935" cy="275431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85">
              <a:extLst>
                <a:ext uri="{FF2B5EF4-FFF2-40B4-BE49-F238E27FC236}">
                  <a16:creationId xmlns:a16="http://schemas.microsoft.com/office/drawing/2014/main" id="{B1C186AC-8C97-9E2E-74B2-5E3FD50BAD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00428" y="1174134"/>
              <a:ext cx="4765366" cy="270827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50206">
              <a:extLst>
                <a:ext uri="{FF2B5EF4-FFF2-40B4-BE49-F238E27FC236}">
                  <a16:creationId xmlns:a16="http://schemas.microsoft.com/office/drawing/2014/main" id="{177393A8-4D74-E340-7BD8-5FE7172923D4}"/>
                </a:ext>
              </a:extLst>
            </p:cNvPr>
            <p:cNvSpPr>
              <a:spLocks noChangeArrowheads="1"/>
            </p:cNvSpPr>
            <p:nvPr/>
          </p:nvSpPr>
          <p:spPr bwMode="auto">
            <a:xfrm>
              <a:off x="4328755" y="3752234"/>
              <a:ext cx="1730091" cy="479425"/>
            </a:xfrm>
            <a:prstGeom prst="rect">
              <a:avLst/>
            </a:prstGeom>
            <a:solidFill>
              <a:srgbClr val="FFC000"/>
            </a:solidFill>
            <a:ln>
              <a:noFill/>
            </a:ln>
            <a:extLs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chemeClr val="tx1"/>
                  </a:solidFill>
                  <a:effectLst/>
                  <a:latin typeface="Verdana" panose="020B0604030504040204" pitchFamily="34" charset="0"/>
                  <a:ea typeface="Calibri" panose="020F0502020204030204" pitchFamily="34" charset="0"/>
                  <a:cs typeface="Mangal" panose="02040503050203030202" pitchFamily="18" charset="0"/>
                </a:rPr>
                <a:t>ILLUSTRATIV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4" name="Rectangle 6">
            <a:extLst>
              <a:ext uri="{FF2B5EF4-FFF2-40B4-BE49-F238E27FC236}">
                <a16:creationId xmlns:a16="http://schemas.microsoft.com/office/drawing/2014/main" id="{F0D57C53-2410-56D9-3627-48B4BEE01CBA}"/>
              </a:ext>
            </a:extLst>
          </p:cNvPr>
          <p:cNvSpPr>
            <a:spLocks noChangeArrowheads="1"/>
          </p:cNvSpPr>
          <p:nvPr/>
        </p:nvSpPr>
        <p:spPr bwMode="auto">
          <a:xfrm>
            <a:off x="634474" y="647084"/>
            <a:ext cx="1231427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Rectangle 8">
            <a:extLst>
              <a:ext uri="{FF2B5EF4-FFF2-40B4-BE49-F238E27FC236}">
                <a16:creationId xmlns:a16="http://schemas.microsoft.com/office/drawing/2014/main" id="{450BD029-E99B-430A-3184-D15291DA3F25}"/>
              </a:ext>
            </a:extLst>
          </p:cNvPr>
          <p:cNvSpPr>
            <a:spLocks noChangeArrowheads="1"/>
          </p:cNvSpPr>
          <p:nvPr/>
        </p:nvSpPr>
        <p:spPr bwMode="auto">
          <a:xfrm>
            <a:off x="634474" y="1104284"/>
            <a:ext cx="1231427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1" i="0" u="none" strike="noStrike" cap="none" normalizeH="0" baseline="0">
              <a:ln>
                <a:noFill/>
              </a:ln>
              <a:solidFill>
                <a:srgbClr val="00B050"/>
              </a:solidFill>
              <a:effectLst/>
              <a:latin typeface="Verdana" panose="020B0604030504040204" pitchFamily="34" charset="0"/>
              <a:ea typeface="Times New Roman" panose="02020603050405020304" pitchFamily="18" charset="0"/>
              <a:cs typeface="Mangal" panose="02040503050203030202"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400" b="1" i="0" u="none" strike="noStrike" cap="none" normalizeH="0" baseline="0">
                <a:ln>
                  <a:noFill/>
                </a:ln>
                <a:solidFill>
                  <a:srgbClr val="00B050"/>
                </a:solidFill>
                <a:effectLst/>
                <a:latin typeface="Verdana" panose="020B0604030504040204" pitchFamily="34" charset="0"/>
                <a:ea typeface="Times New Roman" panose="02020603050405020304" pitchFamily="18" charset="0"/>
                <a:cs typeface="Mangal" panose="02040503050203030202" pitchFamily="18"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4000669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F2CF85-38DE-BD76-6B07-8A88F3D4BB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think-cell data - do not delete" hidden="1">
                        <a:extLst>
                          <a:ext uri="{FF2B5EF4-FFF2-40B4-BE49-F238E27FC236}">
                            <a16:creationId xmlns:a16="http://schemas.microsoft.com/office/drawing/2014/main" id="{ACF2CF85-38DE-BD76-6B07-8A88F3D4BB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3">
            <a:extLst>
              <a:ext uri="{FF2B5EF4-FFF2-40B4-BE49-F238E27FC236}">
                <a16:creationId xmlns:a16="http://schemas.microsoft.com/office/drawing/2014/main" id="{05ACF71A-661D-9E04-9FAB-7A949E0A380E}"/>
              </a:ext>
            </a:extLst>
          </p:cNvPr>
          <p:cNvSpPr>
            <a:spLocks noGrp="1"/>
          </p:cNvSpPr>
          <p:nvPr>
            <p:ph type="title"/>
          </p:nvPr>
        </p:nvSpPr>
        <p:spPr/>
        <p:txBody>
          <a:bodyPr vert="horz" lIns="0" tIns="0" rIns="0" bIns="0" rtlCol="0" anchor="t" anchorCtr="0">
            <a:noAutofit/>
          </a:bodyPr>
          <a:lstStyle/>
          <a:p>
            <a:r>
              <a:rPr lang="en-US" altLang="en-US" sz="2400" b="1">
                <a:solidFill>
                  <a:schemeClr val="accent2"/>
                </a:solidFill>
              </a:rPr>
              <a:t>Indicative Wireframe for Portal….8/8</a:t>
            </a:r>
            <a:endParaRPr lang="en-IN" sz="2400" b="1">
              <a:solidFill>
                <a:schemeClr val="accent2"/>
              </a:solidFill>
            </a:endParaRPr>
          </a:p>
        </p:txBody>
      </p:sp>
      <p:sp>
        <p:nvSpPr>
          <p:cNvPr id="4" name="Rectangle 6">
            <a:extLst>
              <a:ext uri="{FF2B5EF4-FFF2-40B4-BE49-F238E27FC236}">
                <a16:creationId xmlns:a16="http://schemas.microsoft.com/office/drawing/2014/main" id="{F0D57C53-2410-56D9-3627-48B4BEE01CBA}"/>
              </a:ext>
            </a:extLst>
          </p:cNvPr>
          <p:cNvSpPr>
            <a:spLocks noChangeArrowheads="1"/>
          </p:cNvSpPr>
          <p:nvPr/>
        </p:nvSpPr>
        <p:spPr bwMode="auto">
          <a:xfrm>
            <a:off x="634474" y="647084"/>
            <a:ext cx="1231427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Rectangle 8">
            <a:extLst>
              <a:ext uri="{FF2B5EF4-FFF2-40B4-BE49-F238E27FC236}">
                <a16:creationId xmlns:a16="http://schemas.microsoft.com/office/drawing/2014/main" id="{450BD029-E99B-430A-3184-D15291DA3F25}"/>
              </a:ext>
            </a:extLst>
          </p:cNvPr>
          <p:cNvSpPr>
            <a:spLocks noChangeArrowheads="1"/>
          </p:cNvSpPr>
          <p:nvPr/>
        </p:nvSpPr>
        <p:spPr bwMode="auto">
          <a:xfrm>
            <a:off x="634474" y="1104284"/>
            <a:ext cx="1231427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1" i="0" u="none" strike="noStrike" cap="none" normalizeH="0" baseline="0">
              <a:ln>
                <a:noFill/>
              </a:ln>
              <a:solidFill>
                <a:srgbClr val="00B050"/>
              </a:solidFill>
              <a:effectLst/>
              <a:latin typeface="Verdana" panose="020B0604030504040204" pitchFamily="34" charset="0"/>
              <a:ea typeface="Times New Roman" panose="02020603050405020304" pitchFamily="18" charset="0"/>
              <a:cs typeface="Mangal" panose="02040503050203030202"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400" b="1" i="0" u="none" strike="noStrike" cap="none" normalizeH="0" baseline="0">
                <a:ln>
                  <a:noFill/>
                </a:ln>
                <a:solidFill>
                  <a:srgbClr val="00B050"/>
                </a:solidFill>
                <a:effectLst/>
                <a:latin typeface="Verdana" panose="020B0604030504040204" pitchFamily="34" charset="0"/>
                <a:ea typeface="Times New Roman" panose="02020603050405020304" pitchFamily="18" charset="0"/>
                <a:cs typeface="Mangal" panose="02040503050203030202" pitchFamily="18"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 name="Rectangle 13">
            <a:extLst>
              <a:ext uri="{FF2B5EF4-FFF2-40B4-BE49-F238E27FC236}">
                <a16:creationId xmlns:a16="http://schemas.microsoft.com/office/drawing/2014/main" id="{737B3248-1967-EBAF-B043-02D2655DFC5D}"/>
              </a:ext>
            </a:extLst>
          </p:cNvPr>
          <p:cNvSpPr/>
          <p:nvPr/>
        </p:nvSpPr>
        <p:spPr>
          <a:xfrm>
            <a:off x="9578951" y="205986"/>
            <a:ext cx="2109996" cy="506723"/>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IN" sz="1200" b="1" kern="100">
                <a:effectLst/>
                <a:latin typeface="Verdana" panose="020B0604030504040204" pitchFamily="34" charset="0"/>
                <a:ea typeface="Calibri" panose="020F0502020204030204" pitchFamily="34" charset="0"/>
                <a:cs typeface="Mangal" panose="02040503050203030202" pitchFamily="18" charset="0"/>
              </a:rPr>
              <a:t>ILLUSTRATIVE</a:t>
            </a:r>
            <a:endParaRPr lang="en-US" sz="1100" kern="100">
              <a:effectLst/>
              <a:ea typeface="Calibri" panose="020F0502020204030204" pitchFamily="34" charset="0"/>
              <a:cs typeface="Mangal" panose="02040503050203030202" pitchFamily="18" charset="0"/>
            </a:endParaRPr>
          </a:p>
        </p:txBody>
      </p:sp>
      <p:pic>
        <p:nvPicPr>
          <p:cNvPr id="2" name="Picture 1">
            <a:extLst>
              <a:ext uri="{FF2B5EF4-FFF2-40B4-BE49-F238E27FC236}">
                <a16:creationId xmlns:a16="http://schemas.microsoft.com/office/drawing/2014/main" id="{64FA8036-4410-938F-9A0D-5717BDF77F7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3698" y="1137334"/>
            <a:ext cx="10388418" cy="4928616"/>
          </a:xfrm>
          <a:prstGeom prst="rect">
            <a:avLst/>
          </a:prstGeom>
        </p:spPr>
      </p:pic>
    </p:spTree>
    <p:extLst>
      <p:ext uri="{BB962C8B-B14F-4D97-AF65-F5344CB8AC3E}">
        <p14:creationId xmlns:p14="http://schemas.microsoft.com/office/powerpoint/2010/main" val="238702345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38838-CDC7-A989-8D31-CDB319B2C65F}"/>
              </a:ext>
            </a:extLst>
          </p:cNvPr>
          <p:cNvSpPr>
            <a:spLocks noGrp="1"/>
          </p:cNvSpPr>
          <p:nvPr>
            <p:ph type="title"/>
          </p:nvPr>
        </p:nvSpPr>
        <p:spPr>
          <a:xfrm>
            <a:off x="469900" y="3163875"/>
            <a:ext cx="10418233" cy="387798"/>
          </a:xfrm>
        </p:spPr>
        <p:txBody>
          <a:bodyPr/>
          <a:lstStyle/>
          <a:p>
            <a:r>
              <a:rPr lang="en-US" sz="2800">
                <a:solidFill>
                  <a:prstClr val="white"/>
                </a:solidFill>
                <a:latin typeface="Calibri" panose="020F0502020204030204" pitchFamily="34" charset="0"/>
                <a:cs typeface="Calibri" panose="020F0502020204030204" pitchFamily="34" charset="0"/>
              </a:rPr>
              <a:t>Team Structure </a:t>
            </a:r>
          </a:p>
        </p:txBody>
      </p:sp>
    </p:spTree>
    <p:extLst>
      <p:ext uri="{BB962C8B-B14F-4D97-AF65-F5344CB8AC3E}">
        <p14:creationId xmlns:p14="http://schemas.microsoft.com/office/powerpoint/2010/main" val="32597213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93FE14-86F1-37A1-7145-00DE88BE6ABB}"/>
              </a:ext>
            </a:extLst>
          </p:cNvPr>
          <p:cNvGraphicFramePr>
            <a:graphicFrameLocks noChangeAspect="1"/>
          </p:cNvGraphicFramePr>
          <p:nvPr>
            <p:custDataLst>
              <p:tags r:id="rId3"/>
            </p:custDataLst>
            <p:extLst>
              <p:ext uri="{D42A27DB-BD31-4B8C-83A1-F6EECF244321}">
                <p14:modId xmlns:p14="http://schemas.microsoft.com/office/powerpoint/2010/main" val="875295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4" progId="TCLayout.ActiveDocument.1">
                  <p:embed/>
                </p:oleObj>
              </mc:Choice>
              <mc:Fallback>
                <p:oleObj name="think-cell Slide" r:id="rId5" imgW="484" imgH="484" progId="TCLayout.ActiveDocument.1">
                  <p:embed/>
                  <p:pic>
                    <p:nvPicPr>
                      <p:cNvPr id="5" name="Object 4" hidden="1">
                        <a:extLst>
                          <a:ext uri="{FF2B5EF4-FFF2-40B4-BE49-F238E27FC236}">
                            <a16:creationId xmlns:a16="http://schemas.microsoft.com/office/drawing/2014/main" id="{9193FE14-86F1-37A1-7145-00DE88BE6A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descr="A picture containing colorful, dark, outdoor object&#10;&#10;Description automatically generated">
            <a:extLst>
              <a:ext uri="{FF2B5EF4-FFF2-40B4-BE49-F238E27FC236}">
                <a16:creationId xmlns:a16="http://schemas.microsoft.com/office/drawing/2014/main" id="{CC285BFF-089F-AC84-07DD-C72CB07DA825}"/>
              </a:ext>
            </a:extLst>
          </p:cNvPr>
          <p:cNvPicPr>
            <a:picLocks noChangeAspect="1"/>
          </p:cNvPicPr>
          <p:nvPr/>
        </p:nvPicPr>
        <p:blipFill rotWithShape="1">
          <a:blip r:embed="rId7">
            <a:duotone>
              <a:prstClr val="black"/>
              <a:schemeClr val="accent2">
                <a:tint val="45000"/>
                <a:satMod val="400000"/>
              </a:schemeClr>
            </a:duotone>
            <a:alphaModFix amt="20000"/>
            <a:extLst>
              <a:ext uri="{28A0092B-C50C-407E-A947-70E740481C1C}">
                <a14:useLocalDpi xmlns:a14="http://schemas.microsoft.com/office/drawing/2010/main" val="0"/>
              </a:ext>
            </a:extLst>
          </a:blip>
          <a:srcRect l="12312" t="9270" r="22084" b="2440"/>
          <a:stretch/>
        </p:blipFill>
        <p:spPr>
          <a:xfrm flipH="1">
            <a:off x="0" y="0"/>
            <a:ext cx="5095876" cy="6858000"/>
          </a:xfrm>
          <a:prstGeom prst="rect">
            <a:avLst/>
          </a:prstGeom>
        </p:spPr>
      </p:pic>
      <p:sp>
        <p:nvSpPr>
          <p:cNvPr id="6" name="Rectangle 5">
            <a:extLst>
              <a:ext uri="{FF2B5EF4-FFF2-40B4-BE49-F238E27FC236}">
                <a16:creationId xmlns:a16="http://schemas.microsoft.com/office/drawing/2014/main" id="{BFDF6B25-94EE-584E-A2E4-EFD3702DF6D7}"/>
              </a:ext>
            </a:extLst>
          </p:cNvPr>
          <p:cNvSpPr/>
          <p:nvPr/>
        </p:nvSpPr>
        <p:spPr>
          <a:xfrm>
            <a:off x="9384050" y="3548241"/>
            <a:ext cx="1771312" cy="461665"/>
          </a:xfrm>
          <a:prstGeom prst="rect">
            <a:avLst/>
          </a:prstGeom>
          <a:blipFill>
            <a:blip r:embed="rId8"/>
            <a:stretch>
              <a:fillRect/>
            </a:stretch>
          </a:blipFill>
        </p:spPr>
        <p:txBody>
          <a:bodyPr wrap="square">
            <a:spAutoFit/>
          </a:bodyPr>
          <a:lstStyle/>
          <a:p>
            <a:pPr algn="ctr" defTabSz="1222218">
              <a:defRPr/>
            </a:pPr>
            <a:r>
              <a:rPr lang="en-US" sz="1200" b="1">
                <a:ea typeface="Open Sans" panose="020B0606030504020204" pitchFamily="34" charset="0"/>
                <a:cs typeface="Open Sans" panose="020B0606030504020204" pitchFamily="34" charset="0"/>
              </a:rPr>
              <a:t>Aritra Roy</a:t>
            </a:r>
          </a:p>
          <a:p>
            <a:pPr algn="ctr">
              <a:spcAft>
                <a:spcPts val="300"/>
              </a:spcAft>
            </a:pPr>
            <a:r>
              <a:rPr lang="en-US" sz="1200">
                <a:ea typeface="Open Sans" panose="020B0606030504020204" pitchFamily="34" charset="0"/>
                <a:cs typeface="Open Sans" panose="020B0606030504020204" pitchFamily="34" charset="0"/>
              </a:rPr>
              <a:t>Technical Lead</a:t>
            </a:r>
          </a:p>
        </p:txBody>
      </p:sp>
      <p:sp>
        <p:nvSpPr>
          <p:cNvPr id="16" name="Rectangle 15">
            <a:extLst>
              <a:ext uri="{FF2B5EF4-FFF2-40B4-BE49-F238E27FC236}">
                <a16:creationId xmlns:a16="http://schemas.microsoft.com/office/drawing/2014/main" id="{0BD33D05-47EE-3390-124C-90F629954DB1}"/>
              </a:ext>
            </a:extLst>
          </p:cNvPr>
          <p:cNvSpPr/>
          <p:nvPr/>
        </p:nvSpPr>
        <p:spPr>
          <a:xfrm>
            <a:off x="6423990" y="1347027"/>
            <a:ext cx="2147472" cy="646331"/>
          </a:xfrm>
          <a:prstGeom prst="rect">
            <a:avLst/>
          </a:prstGeom>
          <a:blipFill>
            <a:blip r:embed="rId8"/>
            <a:stretch>
              <a:fillRect/>
            </a:stretch>
          </a:blipFill>
        </p:spPr>
        <p:txBody>
          <a:bodyPr wrap="square" lIns="91440" tIns="45720" rIns="91440" bIns="45720" anchor="t">
            <a:spAutoFit/>
          </a:bodyPr>
          <a:lstStyle/>
          <a:p>
            <a:pPr algn="ctr" defTabSz="1222218">
              <a:spcAft>
                <a:spcPts val="300"/>
              </a:spcAft>
              <a:defRPr/>
            </a:pPr>
            <a:r>
              <a:rPr lang="en-US" sz="1200" b="1">
                <a:solidFill>
                  <a:srgbClr val="313131"/>
                </a:solidFill>
                <a:latin typeface="Calibri"/>
              </a:rPr>
              <a:t>Sombuddha Hazra Chaudhury </a:t>
            </a:r>
            <a:r>
              <a:rPr lang="en-US" sz="1200">
                <a:solidFill>
                  <a:srgbClr val="313131"/>
                </a:solidFill>
                <a:latin typeface="Calibri"/>
              </a:rPr>
              <a:t>Project Manager  &amp; Power Domain Expert</a:t>
            </a:r>
          </a:p>
        </p:txBody>
      </p:sp>
      <p:sp>
        <p:nvSpPr>
          <p:cNvPr id="19" name="Rectangle 18">
            <a:extLst>
              <a:ext uri="{FF2B5EF4-FFF2-40B4-BE49-F238E27FC236}">
                <a16:creationId xmlns:a16="http://schemas.microsoft.com/office/drawing/2014/main" id="{BF2332C5-6678-AB3D-2806-9C8B6FF7A299}"/>
              </a:ext>
            </a:extLst>
          </p:cNvPr>
          <p:cNvSpPr/>
          <p:nvPr/>
        </p:nvSpPr>
        <p:spPr>
          <a:xfrm>
            <a:off x="6423990" y="3552285"/>
            <a:ext cx="2259799" cy="461665"/>
          </a:xfrm>
          <a:prstGeom prst="rect">
            <a:avLst/>
          </a:prstGeom>
          <a:blipFill>
            <a:blip r:embed="rId8"/>
            <a:stretch>
              <a:fillRect/>
            </a:stretch>
          </a:blipFill>
        </p:spPr>
        <p:txBody>
          <a:bodyPr wrap="square">
            <a:spAutoFit/>
          </a:bodyPr>
          <a:lstStyle/>
          <a:p>
            <a:pPr algn="ctr" defTabSz="1222218">
              <a:defRPr/>
            </a:pPr>
            <a:r>
              <a:rPr lang="en-US" sz="1200" b="1">
                <a:ea typeface="Open Sans" panose="020B0606030504020204" pitchFamily="34" charset="0"/>
                <a:cs typeface="Open Sans" panose="020B0606030504020204" pitchFamily="34" charset="0"/>
              </a:rPr>
              <a:t>Priyanta Dutta</a:t>
            </a:r>
          </a:p>
          <a:p>
            <a:pPr algn="ctr">
              <a:spcAft>
                <a:spcPts val="300"/>
              </a:spcAft>
            </a:pPr>
            <a:r>
              <a:rPr lang="en-US" sz="1200">
                <a:ea typeface="Open Sans" panose="020B0606030504020204" pitchFamily="34" charset="0"/>
                <a:cs typeface="Open Sans" panose="020B0606030504020204" pitchFamily="34" charset="0"/>
              </a:rPr>
              <a:t>Software Development Engineer</a:t>
            </a:r>
          </a:p>
        </p:txBody>
      </p:sp>
      <p:sp>
        <p:nvSpPr>
          <p:cNvPr id="25" name="Rectangle 24">
            <a:extLst>
              <a:ext uri="{FF2B5EF4-FFF2-40B4-BE49-F238E27FC236}">
                <a16:creationId xmlns:a16="http://schemas.microsoft.com/office/drawing/2014/main" id="{C90FE2CE-DBFD-08DD-4FF2-0982C4789C64}"/>
              </a:ext>
            </a:extLst>
          </p:cNvPr>
          <p:cNvSpPr/>
          <p:nvPr/>
        </p:nvSpPr>
        <p:spPr>
          <a:xfrm>
            <a:off x="9387952" y="2343085"/>
            <a:ext cx="2196909" cy="461665"/>
          </a:xfrm>
          <a:prstGeom prst="rect">
            <a:avLst/>
          </a:prstGeom>
          <a:blipFill>
            <a:blip r:embed="rId8"/>
            <a:stretch>
              <a:fillRect/>
            </a:stretch>
          </a:blipFill>
        </p:spPr>
        <p:txBody>
          <a:bodyPr wrap="square">
            <a:spAutoFit/>
          </a:bodyPr>
          <a:lstStyle/>
          <a:p>
            <a:pPr algn="ctr"/>
            <a:r>
              <a:rPr lang="en-US" sz="1200" b="1">
                <a:ea typeface="Open Sans" panose="020B0606030504020204" pitchFamily="34" charset="0"/>
                <a:cs typeface="Open Sans" panose="020B0606030504020204" pitchFamily="34" charset="0"/>
              </a:rPr>
              <a:t>Tarun Sahu</a:t>
            </a:r>
          </a:p>
          <a:p>
            <a:pPr algn="ctr">
              <a:spcAft>
                <a:spcPts val="300"/>
              </a:spcAft>
            </a:pPr>
            <a:r>
              <a:rPr lang="en-US" sz="1200">
                <a:ea typeface="Open Sans" panose="020B0606030504020204" pitchFamily="34" charset="0"/>
                <a:cs typeface="Open Sans" panose="020B0606030504020204" pitchFamily="34" charset="0"/>
              </a:rPr>
              <a:t>QA Engineer</a:t>
            </a:r>
          </a:p>
        </p:txBody>
      </p:sp>
      <p:sp>
        <p:nvSpPr>
          <p:cNvPr id="27" name="Rectangle 26">
            <a:extLst>
              <a:ext uri="{FF2B5EF4-FFF2-40B4-BE49-F238E27FC236}">
                <a16:creationId xmlns:a16="http://schemas.microsoft.com/office/drawing/2014/main" id="{1ABD1C59-0F55-7F91-8DF8-96FAEA13CC77}"/>
              </a:ext>
            </a:extLst>
          </p:cNvPr>
          <p:cNvSpPr/>
          <p:nvPr/>
        </p:nvSpPr>
        <p:spPr>
          <a:xfrm>
            <a:off x="9371059" y="1358903"/>
            <a:ext cx="1841094" cy="500137"/>
          </a:xfrm>
          <a:prstGeom prst="rect">
            <a:avLst/>
          </a:prstGeom>
          <a:blipFill>
            <a:blip r:embed="rId8"/>
            <a:stretch>
              <a:fillRect/>
            </a:stretch>
          </a:blipFill>
        </p:spPr>
        <p:txBody>
          <a:bodyPr wrap="square" lIns="91440" tIns="45720" rIns="91440" bIns="45720" anchor="t">
            <a:spAutoFit/>
          </a:bodyPr>
          <a:lstStyle/>
          <a:p>
            <a:pPr algn="ctr" defTabSz="1222218">
              <a:spcAft>
                <a:spcPts val="300"/>
              </a:spcAft>
              <a:defRPr/>
            </a:pPr>
            <a:r>
              <a:rPr lang="en-US" sz="1200" b="1">
                <a:ea typeface="Open Sans" panose="020B0606030504020204" pitchFamily="34" charset="0"/>
                <a:cs typeface="Open Sans" panose="020B0606030504020204" pitchFamily="34" charset="0"/>
              </a:rPr>
              <a:t>Anish Mandal</a:t>
            </a:r>
          </a:p>
          <a:p>
            <a:pPr algn="ctr" defTabSz="1222218">
              <a:spcAft>
                <a:spcPts val="300"/>
              </a:spcAft>
              <a:defRPr/>
            </a:pPr>
            <a:r>
              <a:rPr lang="en-AU" sz="1200">
                <a:ea typeface="Open Sans" panose="020B0606030504020204" pitchFamily="34" charset="0"/>
                <a:cs typeface="Open Sans" panose="020B0606030504020204" pitchFamily="34" charset="0"/>
              </a:rPr>
              <a:t>Engagement Leader</a:t>
            </a:r>
            <a:endParaRPr lang="en-US" sz="1200">
              <a:ea typeface="Open Sans" panose="020B0606030504020204" pitchFamily="34" charset="0"/>
              <a:cs typeface="Open Sans" panose="020B0606030504020204" pitchFamily="34" charset="0"/>
            </a:endParaRPr>
          </a:p>
        </p:txBody>
      </p:sp>
      <p:sp>
        <p:nvSpPr>
          <p:cNvPr id="34" name="Rectangle 33">
            <a:extLst>
              <a:ext uri="{FF2B5EF4-FFF2-40B4-BE49-F238E27FC236}">
                <a16:creationId xmlns:a16="http://schemas.microsoft.com/office/drawing/2014/main" id="{33B44CED-47C5-5C08-C697-7C72954906BA}"/>
              </a:ext>
            </a:extLst>
          </p:cNvPr>
          <p:cNvSpPr/>
          <p:nvPr/>
        </p:nvSpPr>
        <p:spPr>
          <a:xfrm>
            <a:off x="9482036" y="4836445"/>
            <a:ext cx="1730117" cy="461665"/>
          </a:xfrm>
          <a:prstGeom prst="rect">
            <a:avLst/>
          </a:prstGeom>
          <a:blipFill>
            <a:blip r:embed="rId8"/>
            <a:stretch>
              <a:fillRect/>
            </a:stretch>
          </a:blipFill>
        </p:spPr>
        <p:txBody>
          <a:bodyPr wrap="square">
            <a:spAutoFit/>
          </a:bodyPr>
          <a:lstStyle/>
          <a:p>
            <a:pPr algn="ctr" defTabSz="1222218">
              <a:defRPr/>
            </a:pPr>
            <a:r>
              <a:rPr lang="en-US" sz="1200" b="1">
                <a:solidFill>
                  <a:srgbClr val="313131"/>
                </a:solidFill>
                <a:latin typeface="Calibri"/>
              </a:rPr>
              <a:t>Deepak Upadhyay</a:t>
            </a:r>
          </a:p>
          <a:p>
            <a:pPr algn="ctr" defTabSz="1222218">
              <a:defRPr/>
            </a:pPr>
            <a:r>
              <a:rPr lang="en-US" sz="1200">
                <a:ea typeface="Open Sans" panose="020B0606030504020204" pitchFamily="34" charset="0"/>
                <a:cs typeface="Open Sans" panose="020B0606030504020204" pitchFamily="34" charset="0"/>
              </a:rPr>
              <a:t>Resident Engineer</a:t>
            </a:r>
          </a:p>
        </p:txBody>
      </p:sp>
      <p:sp>
        <p:nvSpPr>
          <p:cNvPr id="36" name="Rectangle 35">
            <a:extLst>
              <a:ext uri="{FF2B5EF4-FFF2-40B4-BE49-F238E27FC236}">
                <a16:creationId xmlns:a16="http://schemas.microsoft.com/office/drawing/2014/main" id="{8DC08E0B-2095-292E-DB87-C96923329AB5}"/>
              </a:ext>
            </a:extLst>
          </p:cNvPr>
          <p:cNvSpPr/>
          <p:nvPr/>
        </p:nvSpPr>
        <p:spPr>
          <a:xfrm>
            <a:off x="6745309" y="4910017"/>
            <a:ext cx="1866551" cy="461665"/>
          </a:xfrm>
          <a:prstGeom prst="rect">
            <a:avLst/>
          </a:prstGeom>
          <a:blipFill>
            <a:blip r:embed="rId8"/>
            <a:stretch>
              <a:fillRect/>
            </a:stretch>
          </a:blipFill>
        </p:spPr>
        <p:txBody>
          <a:bodyPr wrap="square">
            <a:spAutoFit/>
          </a:bodyPr>
          <a:lstStyle/>
          <a:p>
            <a:pPr algn="ctr" defTabSz="1222218">
              <a:defRPr/>
            </a:pPr>
            <a:r>
              <a:rPr lang="en-US" sz="1200" b="1">
                <a:ea typeface="Open Sans" panose="020B0606030504020204" pitchFamily="34" charset="0"/>
                <a:cs typeface="Open Sans" panose="020B0606030504020204" pitchFamily="34" charset="0"/>
              </a:rPr>
              <a:t>Hariharan K</a:t>
            </a:r>
          </a:p>
          <a:p>
            <a:pPr algn="ctr" defTabSz="1222218">
              <a:defRPr/>
            </a:pPr>
            <a:r>
              <a:rPr lang="en-US" sz="1200">
                <a:ea typeface="Open Sans" panose="020B0606030504020204" pitchFamily="34" charset="0"/>
                <a:cs typeface="Open Sans" panose="020B0606030504020204" pitchFamily="34" charset="0"/>
              </a:rPr>
              <a:t>Database Administrator</a:t>
            </a:r>
          </a:p>
        </p:txBody>
      </p:sp>
      <p:sp>
        <p:nvSpPr>
          <p:cNvPr id="23" name="Rectangle 22">
            <a:extLst>
              <a:ext uri="{FF2B5EF4-FFF2-40B4-BE49-F238E27FC236}">
                <a16:creationId xmlns:a16="http://schemas.microsoft.com/office/drawing/2014/main" id="{7266DBFA-3C2F-476E-E3A9-D1B9058825CC}"/>
              </a:ext>
            </a:extLst>
          </p:cNvPr>
          <p:cNvSpPr/>
          <p:nvPr/>
        </p:nvSpPr>
        <p:spPr>
          <a:xfrm>
            <a:off x="6170141" y="2321971"/>
            <a:ext cx="2424183" cy="500137"/>
          </a:xfrm>
          <a:prstGeom prst="rect">
            <a:avLst/>
          </a:prstGeom>
          <a:blipFill>
            <a:blip r:embed="rId8"/>
            <a:stretch>
              <a:fillRect/>
            </a:stretch>
          </a:blipFill>
        </p:spPr>
        <p:txBody>
          <a:bodyPr wrap="square">
            <a:spAutoFit/>
          </a:bodyPr>
          <a:lstStyle/>
          <a:p>
            <a:pPr algn="ctr" defTabSz="1222218">
              <a:spcBef>
                <a:spcPts val="600"/>
              </a:spcBef>
              <a:spcAft>
                <a:spcPts val="300"/>
              </a:spcAft>
              <a:buSzPct val="100000"/>
              <a:defRPr/>
            </a:pPr>
            <a:r>
              <a:rPr lang="en-US" sz="1200" b="1">
                <a:ea typeface="Open Sans" panose="020B0606030504020204" pitchFamily="34" charset="0"/>
                <a:cs typeface="Open Sans" panose="020B0606030504020204" pitchFamily="34" charset="0"/>
              </a:rPr>
              <a:t>Aritro Roy</a:t>
            </a:r>
          </a:p>
          <a:p>
            <a:pPr algn="ctr" defTabSz="1222218">
              <a:spcAft>
                <a:spcPts val="300"/>
              </a:spcAft>
              <a:buSzPct val="100000"/>
              <a:defRPr/>
            </a:pPr>
            <a:r>
              <a:rPr lang="en-US" sz="1200">
                <a:ea typeface="Open Sans" panose="020B0606030504020204" pitchFamily="34" charset="0"/>
                <a:cs typeface="Open Sans" panose="020B0606030504020204" pitchFamily="34" charset="0"/>
              </a:rPr>
              <a:t>Solution Architect</a:t>
            </a:r>
          </a:p>
        </p:txBody>
      </p:sp>
      <p:sp>
        <p:nvSpPr>
          <p:cNvPr id="12" name="Title 3">
            <a:extLst>
              <a:ext uri="{FF2B5EF4-FFF2-40B4-BE49-F238E27FC236}">
                <a16:creationId xmlns:a16="http://schemas.microsoft.com/office/drawing/2014/main" id="{B2B25996-F00E-AA81-4977-03CDC3ECD64C}"/>
              </a:ext>
            </a:extLst>
          </p:cNvPr>
          <p:cNvSpPr>
            <a:spLocks noGrp="1"/>
          </p:cNvSpPr>
          <p:nvPr>
            <p:ph type="title"/>
          </p:nvPr>
        </p:nvSpPr>
        <p:spPr/>
        <p:txBody>
          <a:bodyPr vert="horz" lIns="0" tIns="0" rIns="0" bIns="0" rtlCol="0" anchor="t" anchorCtr="0">
            <a:noAutofit/>
          </a:bodyPr>
          <a:lstStyle/>
          <a:p>
            <a:r>
              <a:rPr lang="en-IN" sz="2400" b="1">
                <a:solidFill>
                  <a:schemeClr val="accent2"/>
                </a:solidFill>
              </a:rPr>
              <a:t>Our Engagement Team</a:t>
            </a:r>
          </a:p>
        </p:txBody>
      </p:sp>
    </p:spTree>
    <p:custDataLst>
      <p:custData r:id="rId1"/>
      <p:custData r:id="rId2"/>
    </p:custDataLst>
    <p:extLst>
      <p:ext uri="{BB962C8B-B14F-4D97-AF65-F5344CB8AC3E}">
        <p14:creationId xmlns:p14="http://schemas.microsoft.com/office/powerpoint/2010/main" val="58154494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vert="horz" lIns="0" tIns="0" rIns="0" bIns="0" rtlCol="0" anchor="t" anchorCtr="0">
            <a:noAutofit/>
          </a:bodyPr>
          <a:lstStyle/>
          <a:p>
            <a:pPr defTabSz="685800">
              <a:spcBef>
                <a:spcPct val="0"/>
              </a:spcBef>
            </a:pPr>
            <a:r>
              <a:rPr lang="en-US" sz="2400" b="1">
                <a:solidFill>
                  <a:schemeClr val="accent2"/>
                </a:solidFill>
                <a:latin typeface="+mj-lt"/>
                <a:cs typeface="Calibri Light" panose="020F0302020204030204" pitchFamily="34" charset="0"/>
              </a:rPr>
              <a:t>Project Governance Structure </a:t>
            </a:r>
          </a:p>
        </p:txBody>
      </p:sp>
      <p:grpSp>
        <p:nvGrpSpPr>
          <p:cNvPr id="21" name="Group 20">
            <a:extLst>
              <a:ext uri="{FF2B5EF4-FFF2-40B4-BE49-F238E27FC236}">
                <a16:creationId xmlns:a16="http://schemas.microsoft.com/office/drawing/2014/main" id="{EE266C59-9AAB-4906-9B4A-AB085FF510C8}"/>
              </a:ext>
            </a:extLst>
          </p:cNvPr>
          <p:cNvGrpSpPr/>
          <p:nvPr/>
        </p:nvGrpSpPr>
        <p:grpSpPr>
          <a:xfrm>
            <a:off x="5961445" y="1524886"/>
            <a:ext cx="6013888" cy="4644551"/>
            <a:chOff x="5837920" y="1483605"/>
            <a:chExt cx="6282463" cy="6297514"/>
          </a:xfrm>
        </p:grpSpPr>
        <p:sp>
          <p:nvSpPr>
            <p:cNvPr id="22" name="Text Placeholder 65">
              <a:extLst>
                <a:ext uri="{FF2B5EF4-FFF2-40B4-BE49-F238E27FC236}">
                  <a16:creationId xmlns:a16="http://schemas.microsoft.com/office/drawing/2014/main" id="{E5D5DD80-390B-4E30-B99C-5D7DF5E16339}"/>
                </a:ext>
              </a:extLst>
            </p:cNvPr>
            <p:cNvSpPr txBox="1">
              <a:spLocks/>
            </p:cNvSpPr>
            <p:nvPr/>
          </p:nvSpPr>
          <p:spPr bwMode="gray">
            <a:xfrm>
              <a:off x="7605759" y="1483605"/>
              <a:ext cx="4190397" cy="1341120"/>
            </a:xfrm>
            <a:prstGeom prst="rect">
              <a:avLst/>
            </a:prstGeom>
          </p:spPr>
          <p:txBody>
            <a:bodyPr vert="horz" lIns="0" tIns="0" rIns="0" bIns="0" rtlCol="0">
              <a:noAutofit/>
            </a:bodyPr>
            <a:lstStyle/>
            <a:p>
              <a:pPr marL="135463" lvl="1" indent="-135463">
                <a:spcAft>
                  <a:spcPts val="600"/>
                </a:spcAft>
                <a:buSzPct val="100000"/>
                <a:buFont typeface="Arial"/>
                <a:buChar char="•"/>
              </a:pPr>
              <a:r>
                <a:rPr lang="en-US" sz="1200">
                  <a:latin typeface="Aptos" panose="020B0004020202020204" pitchFamily="34" charset="0"/>
                </a:rPr>
                <a:t>Make key decisions, sign-off on major deliverables and act on recommendations</a:t>
              </a:r>
            </a:p>
            <a:p>
              <a:pPr marL="135463" lvl="1" indent="-135463">
                <a:spcAft>
                  <a:spcPts val="600"/>
                </a:spcAft>
                <a:buSzPct val="100000"/>
                <a:buFont typeface="Arial"/>
                <a:buChar char="•"/>
              </a:pPr>
              <a:r>
                <a:rPr lang="en-US" sz="1200">
                  <a:latin typeface="Aptos" panose="020B0004020202020204" pitchFamily="34" charset="0"/>
                </a:rPr>
                <a:t>Decision-making and escalation, project risks will be reviewed and mitigated jointly by the vendor and BEE’s designated representatives</a:t>
              </a:r>
            </a:p>
          </p:txBody>
        </p:sp>
        <p:sp>
          <p:nvSpPr>
            <p:cNvPr id="23" name="Text Placeholder 65">
              <a:extLst>
                <a:ext uri="{FF2B5EF4-FFF2-40B4-BE49-F238E27FC236}">
                  <a16:creationId xmlns:a16="http://schemas.microsoft.com/office/drawing/2014/main" id="{119C87C7-C3B5-48F4-AFD8-B3A8EA0A453B}"/>
                </a:ext>
              </a:extLst>
            </p:cNvPr>
            <p:cNvSpPr txBox="1">
              <a:spLocks/>
            </p:cNvSpPr>
            <p:nvPr/>
          </p:nvSpPr>
          <p:spPr bwMode="gray">
            <a:xfrm>
              <a:off x="7605761" y="2980275"/>
              <a:ext cx="4190396" cy="1341120"/>
            </a:xfrm>
            <a:prstGeom prst="rect">
              <a:avLst/>
            </a:prstGeom>
          </p:spPr>
          <p:txBody>
            <a:bodyPr vert="horz" lIns="0" tIns="0" rIns="0" bIns="0" rtlCol="0">
              <a:noAutofit/>
            </a:bodyPr>
            <a:lstStyle/>
            <a:p>
              <a:pPr marL="135463" lvl="1" indent="-135463">
                <a:spcAft>
                  <a:spcPts val="600"/>
                </a:spcAft>
                <a:buSzPct val="100000"/>
                <a:buFont typeface="Arial"/>
                <a:buChar char="•"/>
              </a:pPr>
              <a:r>
                <a:rPr lang="en-US" sz="1200">
                  <a:latin typeface="Aptos" panose="020B0004020202020204" pitchFamily="34" charset="0"/>
                </a:rPr>
                <a:t>Project Manager will ensure objectives are met within timing and scope outlined by the Steering Committee</a:t>
              </a:r>
            </a:p>
            <a:p>
              <a:pPr marL="135463" lvl="1" indent="-135463">
                <a:spcAft>
                  <a:spcPts val="600"/>
                </a:spcAft>
                <a:buSzPct val="100000"/>
                <a:buFont typeface="Arial"/>
                <a:buChar char="•"/>
              </a:pPr>
              <a:r>
                <a:rPr lang="en-US" sz="1200">
                  <a:solidFill>
                    <a:srgbClr val="001D35"/>
                  </a:solidFill>
                  <a:latin typeface="Google Sans"/>
                </a:rPr>
                <a:t>P</a:t>
              </a:r>
              <a:r>
                <a:rPr lang="en-US" sz="1200" b="0" i="0">
                  <a:solidFill>
                    <a:srgbClr val="001D35"/>
                  </a:solidFill>
                  <a:effectLst/>
                  <a:latin typeface="Google Sans"/>
                </a:rPr>
                <a:t>lans, organizes, and directs  for the completion of a project</a:t>
              </a:r>
              <a:endParaRPr lang="en-US" sz="1200">
                <a:latin typeface="Aptos" panose="020B0004020202020204" pitchFamily="34" charset="0"/>
              </a:endParaRPr>
            </a:p>
            <a:p>
              <a:pPr marL="135463" lvl="1" indent="-135463">
                <a:spcAft>
                  <a:spcPts val="600"/>
                </a:spcAft>
                <a:buSzPct val="100000"/>
                <a:buFont typeface="Arial"/>
                <a:buChar char="•"/>
              </a:pPr>
              <a:r>
                <a:rPr lang="en-US" sz="1200">
                  <a:latin typeface="Aptos" panose="020B0004020202020204" pitchFamily="34" charset="0"/>
                </a:rPr>
                <a:t>Manage day-to-day activities and Status update</a:t>
              </a:r>
            </a:p>
          </p:txBody>
        </p:sp>
        <p:sp>
          <p:nvSpPr>
            <p:cNvPr id="24" name="Text Placeholder 65">
              <a:extLst>
                <a:ext uri="{FF2B5EF4-FFF2-40B4-BE49-F238E27FC236}">
                  <a16:creationId xmlns:a16="http://schemas.microsoft.com/office/drawing/2014/main" id="{123355CD-7AF3-4BB6-9BB4-E2F8AF116347}"/>
                </a:ext>
              </a:extLst>
            </p:cNvPr>
            <p:cNvSpPr txBox="1">
              <a:spLocks/>
            </p:cNvSpPr>
            <p:nvPr/>
          </p:nvSpPr>
          <p:spPr bwMode="gray">
            <a:xfrm>
              <a:off x="7605760" y="4476944"/>
              <a:ext cx="3718560" cy="1341120"/>
            </a:xfrm>
            <a:prstGeom prst="rect">
              <a:avLst/>
            </a:prstGeom>
          </p:spPr>
          <p:txBody>
            <a:bodyPr vert="horz" lIns="0" tIns="0" rIns="0" bIns="0" rtlCol="0">
              <a:noAutofit/>
            </a:bodyPr>
            <a:lstStyle/>
            <a:p>
              <a:pPr marL="135463" lvl="1" indent="-135463">
                <a:spcAft>
                  <a:spcPts val="600"/>
                </a:spcAft>
                <a:buSzPct val="100000"/>
                <a:buFont typeface="Arial"/>
                <a:buChar char="•"/>
              </a:pPr>
              <a:r>
                <a:rPr lang="en-US" sz="1200">
                  <a:latin typeface="Aptos" panose="020B0004020202020204" pitchFamily="34" charset="0"/>
                </a:rPr>
                <a:t>Support Project team on need basis</a:t>
              </a:r>
            </a:p>
            <a:p>
              <a:pPr marL="135463" lvl="1" indent="-135463">
                <a:spcAft>
                  <a:spcPts val="600"/>
                </a:spcAft>
                <a:buSzPct val="100000"/>
                <a:buFont typeface="Arial"/>
                <a:buChar char="•"/>
              </a:pPr>
              <a:r>
                <a:rPr lang="en-US" sz="1200">
                  <a:latin typeface="Aptos" panose="020B0004020202020204" pitchFamily="34" charset="0"/>
                </a:rPr>
                <a:t>Trouble shooting and Problem resolution </a:t>
              </a:r>
            </a:p>
            <a:p>
              <a:pPr marL="135463" lvl="1" indent="-135463">
                <a:spcAft>
                  <a:spcPts val="600"/>
                </a:spcAft>
                <a:buSzPct val="100000"/>
                <a:buFont typeface="Arial"/>
                <a:buChar char="•"/>
              </a:pPr>
              <a:r>
                <a:rPr lang="en-US" sz="1200">
                  <a:latin typeface="Aptos" panose="020B0004020202020204" pitchFamily="34" charset="0"/>
                </a:rPr>
                <a:t>Validate architecture/code </a:t>
              </a:r>
            </a:p>
            <a:p>
              <a:pPr marL="135463" lvl="1" indent="-135463">
                <a:spcAft>
                  <a:spcPts val="600"/>
                </a:spcAft>
                <a:buSzPct val="100000"/>
                <a:buFont typeface="Arial"/>
                <a:buChar char="•"/>
              </a:pPr>
              <a:r>
                <a:rPr lang="en-US" sz="1200">
                  <a:latin typeface="Aptos" panose="020B0004020202020204" pitchFamily="34" charset="0"/>
                </a:rPr>
                <a:t>Training and Mentoring </a:t>
              </a:r>
            </a:p>
          </p:txBody>
        </p:sp>
        <p:sp>
          <p:nvSpPr>
            <p:cNvPr id="25" name="Rectangle 24">
              <a:extLst>
                <a:ext uri="{FF2B5EF4-FFF2-40B4-BE49-F238E27FC236}">
                  <a16:creationId xmlns:a16="http://schemas.microsoft.com/office/drawing/2014/main" id="{AE9DC48A-A9FF-4AE4-A4D3-2345BC61A16B}"/>
                </a:ext>
              </a:extLst>
            </p:cNvPr>
            <p:cNvSpPr/>
            <p:nvPr/>
          </p:nvSpPr>
          <p:spPr bwMode="gray">
            <a:xfrm>
              <a:off x="5837920" y="1483605"/>
              <a:ext cx="1584960" cy="13411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solidFill>
                    <a:schemeClr val="bg1"/>
                  </a:solidFill>
                  <a:latin typeface="Aptos" panose="020B0004020202020204" pitchFamily="34" charset="0"/>
                </a:rPr>
                <a:t>Steering committee</a:t>
              </a:r>
            </a:p>
          </p:txBody>
        </p:sp>
        <p:sp>
          <p:nvSpPr>
            <p:cNvPr id="26" name="Rectangle 25">
              <a:extLst>
                <a:ext uri="{FF2B5EF4-FFF2-40B4-BE49-F238E27FC236}">
                  <a16:creationId xmlns:a16="http://schemas.microsoft.com/office/drawing/2014/main" id="{079F0BEC-CBB1-4549-A342-30B02E6FCE36}"/>
                </a:ext>
              </a:extLst>
            </p:cNvPr>
            <p:cNvSpPr/>
            <p:nvPr/>
          </p:nvSpPr>
          <p:spPr bwMode="gray">
            <a:xfrm>
              <a:off x="5837920" y="2980275"/>
              <a:ext cx="1584960" cy="1341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solidFill>
                    <a:schemeClr val="bg1"/>
                  </a:solidFill>
                  <a:latin typeface="Aptos" panose="020B0004020202020204" pitchFamily="34" charset="0"/>
                </a:rPr>
                <a:t>Project management</a:t>
              </a:r>
            </a:p>
          </p:txBody>
        </p:sp>
        <p:sp>
          <p:nvSpPr>
            <p:cNvPr id="27" name="Rectangle 26">
              <a:extLst>
                <a:ext uri="{FF2B5EF4-FFF2-40B4-BE49-F238E27FC236}">
                  <a16:creationId xmlns:a16="http://schemas.microsoft.com/office/drawing/2014/main" id="{472FFBA1-AE74-4BB3-B2C4-EFBDBD47602A}"/>
                </a:ext>
              </a:extLst>
            </p:cNvPr>
            <p:cNvSpPr/>
            <p:nvPr/>
          </p:nvSpPr>
          <p:spPr bwMode="gray">
            <a:xfrm>
              <a:off x="5837920" y="4476944"/>
              <a:ext cx="1584960" cy="1341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solidFill>
                    <a:schemeClr val="bg1"/>
                  </a:solidFill>
                  <a:latin typeface="Aptos" panose="020B0004020202020204" pitchFamily="34" charset="0"/>
                </a:rPr>
                <a:t>Subject experts</a:t>
              </a:r>
            </a:p>
          </p:txBody>
        </p:sp>
        <p:sp>
          <p:nvSpPr>
            <p:cNvPr id="28" name="Rectangle 27">
              <a:extLst>
                <a:ext uri="{FF2B5EF4-FFF2-40B4-BE49-F238E27FC236}">
                  <a16:creationId xmlns:a16="http://schemas.microsoft.com/office/drawing/2014/main" id="{053E4F82-52AD-4861-8468-9BCB31DA3EB6}"/>
                </a:ext>
              </a:extLst>
            </p:cNvPr>
            <p:cNvSpPr/>
            <p:nvPr/>
          </p:nvSpPr>
          <p:spPr bwMode="gray">
            <a:xfrm>
              <a:off x="5837920" y="5973612"/>
              <a:ext cx="1584960" cy="180750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solidFill>
                    <a:schemeClr val="bg1"/>
                  </a:solidFill>
                  <a:latin typeface="Aptos" panose="020B0004020202020204" pitchFamily="34" charset="0"/>
                </a:rPr>
                <a:t>Project team</a:t>
              </a:r>
            </a:p>
          </p:txBody>
        </p:sp>
        <p:sp>
          <p:nvSpPr>
            <p:cNvPr id="29" name="Text Placeholder 65">
              <a:extLst>
                <a:ext uri="{FF2B5EF4-FFF2-40B4-BE49-F238E27FC236}">
                  <a16:creationId xmlns:a16="http://schemas.microsoft.com/office/drawing/2014/main" id="{E50AFB20-D968-45DC-B090-1192606AF821}"/>
                </a:ext>
              </a:extLst>
            </p:cNvPr>
            <p:cNvSpPr txBox="1">
              <a:spLocks/>
            </p:cNvSpPr>
            <p:nvPr/>
          </p:nvSpPr>
          <p:spPr bwMode="gray">
            <a:xfrm>
              <a:off x="7605760" y="5958674"/>
              <a:ext cx="4514623" cy="1807507"/>
            </a:xfrm>
            <a:prstGeom prst="rect">
              <a:avLst/>
            </a:prstGeom>
          </p:spPr>
          <p:txBody>
            <a:bodyPr vert="horz" lIns="0" tIns="0" rIns="0" bIns="0" rtlCol="0">
              <a:noAutofit/>
            </a:bodyPr>
            <a:lstStyle/>
            <a:p>
              <a:pPr marL="135463" lvl="1" indent="-135463">
                <a:spcAft>
                  <a:spcPts val="600"/>
                </a:spcAft>
                <a:buSzPct val="100000"/>
                <a:buFont typeface="Arial"/>
                <a:buChar char="•"/>
              </a:pPr>
              <a:r>
                <a:rPr lang="en-US" sz="1200">
                  <a:latin typeface="Aptos" panose="020B0004020202020204" pitchFamily="34" charset="0"/>
                </a:rPr>
                <a:t>Team responsible for deliverables</a:t>
              </a:r>
            </a:p>
            <a:p>
              <a:pPr marL="135463" lvl="1" indent="-135463">
                <a:spcAft>
                  <a:spcPts val="600"/>
                </a:spcAft>
                <a:buSzPct val="100000"/>
                <a:buFont typeface="Arial"/>
                <a:buChar char="•"/>
              </a:pPr>
              <a:r>
                <a:rPr lang="en-US" sz="1200" b="1">
                  <a:latin typeface="Aptos" panose="020B0004020202020204" pitchFamily="34" charset="0"/>
                </a:rPr>
                <a:t>Solution Architect </a:t>
              </a:r>
              <a:r>
                <a:rPr lang="en-US" sz="1200">
                  <a:latin typeface="Aptos" panose="020B0004020202020204" pitchFamily="34" charset="0"/>
                </a:rPr>
                <a:t>– Imran, </a:t>
              </a:r>
              <a:r>
                <a:rPr lang="en-US" sz="1200" b="1">
                  <a:latin typeface="Aptos" panose="020B0004020202020204" pitchFamily="34" charset="0"/>
                </a:rPr>
                <a:t>Tech. Lead</a:t>
              </a:r>
              <a:r>
                <a:rPr lang="en-US" sz="1200">
                  <a:latin typeface="Aptos" panose="020B0004020202020204" pitchFamily="34" charset="0"/>
                </a:rPr>
                <a:t>- Aritra Roy </a:t>
              </a:r>
            </a:p>
            <a:p>
              <a:pPr marL="135463" lvl="1" indent="-135463">
                <a:spcAft>
                  <a:spcPts val="600"/>
                </a:spcAft>
                <a:buSzPct val="100000"/>
                <a:buFont typeface="Arial"/>
                <a:buChar char="•"/>
              </a:pPr>
              <a:r>
                <a:rPr lang="en-US" sz="1200" b="1">
                  <a:latin typeface="Aptos" panose="020B0004020202020204" pitchFamily="34" charset="0"/>
                </a:rPr>
                <a:t>DBA Administrator </a:t>
              </a:r>
              <a:r>
                <a:rPr lang="en-US" sz="1200">
                  <a:latin typeface="Aptos" panose="020B0004020202020204" pitchFamily="34" charset="0"/>
                </a:rPr>
                <a:t>– Hariharan K </a:t>
              </a:r>
            </a:p>
            <a:p>
              <a:pPr marL="135463" lvl="1" indent="-135463">
                <a:spcAft>
                  <a:spcPts val="600"/>
                </a:spcAft>
                <a:buSzPct val="100000"/>
                <a:buFont typeface="Arial"/>
                <a:buChar char="•"/>
              </a:pPr>
              <a:r>
                <a:rPr lang="en-US" sz="1200">
                  <a:latin typeface="Aptos" panose="020B0004020202020204" pitchFamily="34" charset="0"/>
                </a:rPr>
                <a:t> </a:t>
              </a:r>
              <a:r>
                <a:rPr lang="en-US" sz="1200" b="1">
                  <a:latin typeface="Aptos" panose="020B0004020202020204" pitchFamily="34" charset="0"/>
                </a:rPr>
                <a:t>QA </a:t>
              </a:r>
              <a:r>
                <a:rPr lang="en-US" sz="1200" b="1" err="1">
                  <a:latin typeface="Aptos" panose="020B0004020202020204" pitchFamily="34" charset="0"/>
                </a:rPr>
                <a:t>Engg</a:t>
              </a:r>
              <a:r>
                <a:rPr lang="en-US" sz="1200">
                  <a:latin typeface="Aptos" panose="020B0004020202020204" pitchFamily="34" charset="0"/>
                </a:rPr>
                <a:t>. – Tarun Sahu, </a:t>
              </a:r>
              <a:r>
                <a:rPr lang="en-US" sz="1200" b="1">
                  <a:latin typeface="Aptos" panose="020B0004020202020204" pitchFamily="34" charset="0"/>
                </a:rPr>
                <a:t>Software Developer- </a:t>
              </a:r>
              <a:r>
                <a:rPr lang="en-US" sz="1200">
                  <a:latin typeface="Aptos" panose="020B0004020202020204" pitchFamily="34" charset="0"/>
                </a:rPr>
                <a:t>Priyanta Dutta</a:t>
              </a:r>
            </a:p>
            <a:p>
              <a:pPr marL="135463" lvl="1" indent="-135463">
                <a:spcAft>
                  <a:spcPts val="600"/>
                </a:spcAft>
                <a:buSzPct val="100000"/>
                <a:buFont typeface="Arial"/>
                <a:buChar char="•"/>
              </a:pPr>
              <a:r>
                <a:rPr lang="en-US" sz="1200" b="1">
                  <a:latin typeface="Aptos" panose="020B0004020202020204" pitchFamily="34" charset="0"/>
                </a:rPr>
                <a:t>Resident Engineer- </a:t>
              </a:r>
              <a:r>
                <a:rPr lang="en-US" sz="1200">
                  <a:latin typeface="Aptos" panose="020B0004020202020204" pitchFamily="34" charset="0"/>
                </a:rPr>
                <a:t>Deepak Upadhyay</a:t>
              </a:r>
            </a:p>
          </p:txBody>
        </p:sp>
      </p:grpSp>
      <p:sp>
        <p:nvSpPr>
          <p:cNvPr id="32" name="Rectangle 2">
            <a:extLst>
              <a:ext uri="{FF2B5EF4-FFF2-40B4-BE49-F238E27FC236}">
                <a16:creationId xmlns:a16="http://schemas.microsoft.com/office/drawing/2014/main" id="{7EF48C0A-DA93-42FE-94AA-BC6D66EF96E2}"/>
              </a:ext>
            </a:extLst>
          </p:cNvPr>
          <p:cNvSpPr txBox="1">
            <a:spLocks noChangeArrowheads="1"/>
          </p:cNvSpPr>
          <p:nvPr/>
        </p:nvSpPr>
        <p:spPr bwMode="gray">
          <a:xfrm>
            <a:off x="5961445" y="1246267"/>
            <a:ext cx="5486400" cy="200055"/>
          </a:xfrm>
          <a:prstGeom prst="rect">
            <a:avLst/>
          </a:prstGeom>
          <a:noFill/>
          <a:ln w="9525">
            <a:noFill/>
            <a:miter lim="800000"/>
            <a:headEnd/>
            <a:tailEnd/>
          </a:ln>
        </p:spPr>
        <p:txBody>
          <a:bodyPr wrap="square" lIns="0" tIns="0" rIns="0" bIns="0">
            <a:spAutoFit/>
          </a:bodyPr>
          <a:lstStyle/>
          <a:p>
            <a:pPr defTabSz="1358866"/>
            <a:r>
              <a:rPr lang="en-US" sz="1300" b="1">
                <a:latin typeface="Aptos" panose="020B0004020202020204" pitchFamily="34" charset="0"/>
              </a:rPr>
              <a:t>Responsibilities</a:t>
            </a:r>
          </a:p>
        </p:txBody>
      </p:sp>
      <p:sp>
        <p:nvSpPr>
          <p:cNvPr id="35" name="Rectangle 2">
            <a:extLst>
              <a:ext uri="{FF2B5EF4-FFF2-40B4-BE49-F238E27FC236}">
                <a16:creationId xmlns:a16="http://schemas.microsoft.com/office/drawing/2014/main" id="{F049F2A9-0570-4531-9967-B32F308AA02D}"/>
              </a:ext>
            </a:extLst>
          </p:cNvPr>
          <p:cNvSpPr txBox="1">
            <a:spLocks noChangeArrowheads="1"/>
          </p:cNvSpPr>
          <p:nvPr/>
        </p:nvSpPr>
        <p:spPr bwMode="gray">
          <a:xfrm>
            <a:off x="1806765" y="1253129"/>
            <a:ext cx="4048351" cy="200055"/>
          </a:xfrm>
          <a:prstGeom prst="rect">
            <a:avLst/>
          </a:prstGeom>
          <a:noFill/>
          <a:ln w="9525">
            <a:noFill/>
            <a:miter lim="800000"/>
            <a:headEnd/>
            <a:tailEnd/>
          </a:ln>
        </p:spPr>
        <p:txBody>
          <a:bodyPr wrap="square" lIns="0" tIns="0" rIns="0" bIns="0">
            <a:spAutoFit/>
          </a:bodyPr>
          <a:lstStyle/>
          <a:p>
            <a:pPr defTabSz="1358866"/>
            <a:r>
              <a:rPr lang="en-US" sz="1300" b="1">
                <a:latin typeface="Aptos" panose="020B0004020202020204" pitchFamily="34" charset="0"/>
              </a:rPr>
              <a:t>Roles</a:t>
            </a:r>
          </a:p>
        </p:txBody>
      </p:sp>
      <p:grpSp>
        <p:nvGrpSpPr>
          <p:cNvPr id="36" name="Group 35">
            <a:extLst>
              <a:ext uri="{FF2B5EF4-FFF2-40B4-BE49-F238E27FC236}">
                <a16:creationId xmlns:a16="http://schemas.microsoft.com/office/drawing/2014/main" id="{052C90C0-19F1-447A-854D-EE9DF951B61A}"/>
              </a:ext>
            </a:extLst>
          </p:cNvPr>
          <p:cNvGrpSpPr/>
          <p:nvPr/>
        </p:nvGrpSpPr>
        <p:grpSpPr>
          <a:xfrm>
            <a:off x="467889" y="1524882"/>
            <a:ext cx="4673994" cy="4644543"/>
            <a:chOff x="511957" y="1490133"/>
            <a:chExt cx="4576987" cy="5822679"/>
          </a:xfrm>
        </p:grpSpPr>
        <p:cxnSp>
          <p:nvCxnSpPr>
            <p:cNvPr id="37" name="Straight Connector 36">
              <a:extLst>
                <a:ext uri="{FF2B5EF4-FFF2-40B4-BE49-F238E27FC236}">
                  <a16:creationId xmlns:a16="http://schemas.microsoft.com/office/drawing/2014/main" id="{093116FC-53B1-4A3E-A809-C03A52FE5780}"/>
                </a:ext>
              </a:extLst>
            </p:cNvPr>
            <p:cNvCxnSpPr/>
            <p:nvPr/>
          </p:nvCxnSpPr>
          <p:spPr>
            <a:xfrm flipV="1">
              <a:off x="2556354" y="4919740"/>
              <a:ext cx="1488000" cy="3168"/>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EA5D629-B568-48D3-BD98-D1F481008BE8}"/>
                </a:ext>
              </a:extLst>
            </p:cNvPr>
            <p:cNvCxnSpPr/>
            <p:nvPr/>
          </p:nvCxnSpPr>
          <p:spPr bwMode="gray">
            <a:xfrm>
              <a:off x="4044353" y="2818306"/>
              <a:ext cx="0" cy="431385"/>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0139C2-E4F9-4053-B038-F240CA1F9575}"/>
                </a:ext>
              </a:extLst>
            </p:cNvPr>
            <p:cNvCxnSpPr>
              <a:cxnSpLocks/>
              <a:stCxn id="43" idx="2"/>
              <a:endCxn id="41" idx="0"/>
            </p:cNvCxnSpPr>
            <p:nvPr/>
          </p:nvCxnSpPr>
          <p:spPr bwMode="gray">
            <a:xfrm>
              <a:off x="4052624" y="4319475"/>
              <a:ext cx="0" cy="82548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D644CAC4-5A4B-40A5-8CEF-1F67AA3D8FF6}"/>
                </a:ext>
              </a:extLst>
            </p:cNvPr>
            <p:cNvSpPr/>
            <p:nvPr/>
          </p:nvSpPr>
          <p:spPr bwMode="gray">
            <a:xfrm>
              <a:off x="3016304" y="5144960"/>
              <a:ext cx="2072640" cy="216785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latin typeface="Aptos" panose="020B0004020202020204" pitchFamily="34" charset="0"/>
                </a:rPr>
                <a:t>Project team</a:t>
              </a:r>
            </a:p>
            <a:p>
              <a:endParaRPr lang="en-US" sz="700">
                <a:solidFill>
                  <a:schemeClr val="bg1"/>
                </a:solidFill>
                <a:latin typeface="Aptos" panose="020B0004020202020204" pitchFamily="34" charset="0"/>
              </a:endParaRPr>
            </a:p>
            <a:p>
              <a:r>
                <a:rPr lang="en-US" sz="1300">
                  <a:solidFill>
                    <a:schemeClr val="bg1"/>
                  </a:solidFill>
                  <a:latin typeface="Aptos" panose="020B0004020202020204" pitchFamily="34" charset="0"/>
                </a:rPr>
                <a:t>Imran Joya</a:t>
              </a:r>
            </a:p>
            <a:p>
              <a:r>
                <a:rPr lang="en-US" sz="1300">
                  <a:solidFill>
                    <a:schemeClr val="bg1"/>
                  </a:solidFill>
                  <a:latin typeface="Aptos" panose="020B0004020202020204" pitchFamily="34" charset="0"/>
                </a:rPr>
                <a:t>Aritra Roy </a:t>
              </a:r>
            </a:p>
            <a:p>
              <a:r>
                <a:rPr lang="en-US" sz="1300">
                  <a:solidFill>
                    <a:schemeClr val="bg1"/>
                  </a:solidFill>
                  <a:latin typeface="Aptos" panose="020B0004020202020204" pitchFamily="34" charset="0"/>
                </a:rPr>
                <a:t>Hariharan K</a:t>
              </a:r>
            </a:p>
            <a:p>
              <a:r>
                <a:rPr lang="en-US" sz="1300">
                  <a:solidFill>
                    <a:schemeClr val="bg1"/>
                  </a:solidFill>
                  <a:latin typeface="Aptos" panose="020B0004020202020204" pitchFamily="34" charset="0"/>
                </a:rPr>
                <a:t>Tarun Sahu </a:t>
              </a:r>
            </a:p>
            <a:p>
              <a:r>
                <a:rPr lang="en-US" sz="1300">
                  <a:solidFill>
                    <a:schemeClr val="bg1"/>
                  </a:solidFill>
                  <a:latin typeface="Aptos" panose="020B0004020202020204" pitchFamily="34" charset="0"/>
                </a:rPr>
                <a:t>Priyanta Dutta</a:t>
              </a:r>
            </a:p>
            <a:p>
              <a:r>
                <a:rPr lang="en-US" sz="1300">
                  <a:solidFill>
                    <a:schemeClr val="bg1"/>
                  </a:solidFill>
                  <a:latin typeface="Aptos" panose="020B0004020202020204" pitchFamily="34" charset="0"/>
                </a:rPr>
                <a:t>Deepak Upadhyay </a:t>
              </a:r>
            </a:p>
          </p:txBody>
        </p:sp>
        <p:sp>
          <p:nvSpPr>
            <p:cNvPr id="42" name="Rectangle 41">
              <a:extLst>
                <a:ext uri="{FF2B5EF4-FFF2-40B4-BE49-F238E27FC236}">
                  <a16:creationId xmlns:a16="http://schemas.microsoft.com/office/drawing/2014/main" id="{C4B7B984-7CB0-4DD5-84FC-FC193368C011}"/>
                </a:ext>
              </a:extLst>
            </p:cNvPr>
            <p:cNvSpPr/>
            <p:nvPr/>
          </p:nvSpPr>
          <p:spPr bwMode="gray">
            <a:xfrm>
              <a:off x="3008033" y="1490133"/>
              <a:ext cx="2072640" cy="1339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latin typeface="Aptos" panose="020B0004020202020204" pitchFamily="34" charset="0"/>
                </a:rPr>
                <a:t>Steering committee</a:t>
              </a:r>
            </a:p>
            <a:p>
              <a:endParaRPr lang="en-US" sz="600" b="1">
                <a:latin typeface="Aptos" panose="020B0004020202020204" pitchFamily="34" charset="0"/>
              </a:endParaRPr>
            </a:p>
            <a:p>
              <a:r>
                <a:rPr lang="en-US" sz="1300">
                  <a:solidFill>
                    <a:schemeClr val="bg1"/>
                  </a:solidFill>
                  <a:latin typeface="Aptos" panose="020B0004020202020204" pitchFamily="34" charset="0"/>
                </a:rPr>
                <a:t>Anujesh Dwivedi </a:t>
              </a:r>
            </a:p>
            <a:p>
              <a:r>
                <a:rPr lang="en-US" sz="1300">
                  <a:solidFill>
                    <a:schemeClr val="bg1"/>
                  </a:solidFill>
                  <a:latin typeface="Aptos" panose="020B0004020202020204" pitchFamily="34" charset="0"/>
                </a:rPr>
                <a:t>Sombuddha Hazra </a:t>
              </a:r>
            </a:p>
            <a:p>
              <a:r>
                <a:rPr lang="en-US" sz="1300">
                  <a:solidFill>
                    <a:schemeClr val="bg1"/>
                  </a:solidFill>
                  <a:latin typeface="Aptos" panose="020B0004020202020204" pitchFamily="34" charset="0"/>
                </a:rPr>
                <a:t>Nodal from Client </a:t>
              </a:r>
            </a:p>
          </p:txBody>
        </p:sp>
        <p:sp>
          <p:nvSpPr>
            <p:cNvPr id="43" name="Rectangle 42">
              <a:extLst>
                <a:ext uri="{FF2B5EF4-FFF2-40B4-BE49-F238E27FC236}">
                  <a16:creationId xmlns:a16="http://schemas.microsoft.com/office/drawing/2014/main" id="{5B36FB47-76AC-4C96-96DC-819383554496}"/>
                </a:ext>
              </a:extLst>
            </p:cNvPr>
            <p:cNvSpPr/>
            <p:nvPr/>
          </p:nvSpPr>
          <p:spPr bwMode="gray">
            <a:xfrm>
              <a:off x="3016304" y="2980275"/>
              <a:ext cx="2072640" cy="1339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latin typeface="Aptos" panose="020B0004020202020204" pitchFamily="34" charset="0"/>
                </a:rPr>
                <a:t>Project management</a:t>
              </a:r>
            </a:p>
            <a:p>
              <a:endParaRPr lang="en-US" sz="1000" b="1">
                <a:latin typeface="Aptos" panose="020B0004020202020204" pitchFamily="34" charset="0"/>
              </a:endParaRPr>
            </a:p>
            <a:p>
              <a:r>
                <a:rPr lang="en-US" sz="1300">
                  <a:solidFill>
                    <a:schemeClr val="bg1"/>
                  </a:solidFill>
                  <a:latin typeface="Aptos" panose="020B0004020202020204" pitchFamily="34" charset="0"/>
                </a:rPr>
                <a:t>Sombuddha Hazra Chaudhury</a:t>
              </a:r>
            </a:p>
          </p:txBody>
        </p:sp>
        <p:sp>
          <p:nvSpPr>
            <p:cNvPr id="44" name="Rectangle 43">
              <a:extLst>
                <a:ext uri="{FF2B5EF4-FFF2-40B4-BE49-F238E27FC236}">
                  <a16:creationId xmlns:a16="http://schemas.microsoft.com/office/drawing/2014/main" id="{5BA96750-F4E1-49F4-9EB8-991F4FAE0DC3}"/>
                </a:ext>
              </a:extLst>
            </p:cNvPr>
            <p:cNvSpPr/>
            <p:nvPr/>
          </p:nvSpPr>
          <p:spPr bwMode="gray">
            <a:xfrm>
              <a:off x="511957" y="4285502"/>
              <a:ext cx="2072640" cy="1339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latin typeface="Aptos" panose="020B0004020202020204" pitchFamily="34" charset="0"/>
                </a:rPr>
                <a:t>Subject experts</a:t>
              </a:r>
            </a:p>
            <a:p>
              <a:endParaRPr lang="en-US" sz="700" b="1">
                <a:latin typeface="Aptos" panose="020B0004020202020204" pitchFamily="34" charset="0"/>
              </a:endParaRPr>
            </a:p>
            <a:p>
              <a:r>
                <a:rPr lang="en-US" sz="1400">
                  <a:latin typeface="Aptos" panose="020B0004020202020204" pitchFamily="34" charset="0"/>
                </a:rPr>
                <a:t>Deloitte Backend Support </a:t>
              </a:r>
            </a:p>
          </p:txBody>
        </p:sp>
      </p:grpSp>
    </p:spTree>
    <p:extLst>
      <p:ext uri="{BB962C8B-B14F-4D97-AF65-F5344CB8AC3E}">
        <p14:creationId xmlns:p14="http://schemas.microsoft.com/office/powerpoint/2010/main" val="13133598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ooking up view of tall buildings&#10;&#10;Description automatically generated">
            <a:extLst>
              <a:ext uri="{FF2B5EF4-FFF2-40B4-BE49-F238E27FC236}">
                <a16:creationId xmlns:a16="http://schemas.microsoft.com/office/drawing/2014/main" id="{BDE0004F-CFE8-4017-5662-EEA2B1FCDF7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5711DB5E-D99E-5FB1-DB49-19A7BADA4E96}"/>
              </a:ext>
            </a:extLst>
          </p:cNvPr>
          <p:cNvSpPr/>
          <p:nvPr/>
        </p:nvSpPr>
        <p:spPr bwMode="auto">
          <a:xfrm>
            <a:off x="0" y="0"/>
            <a:ext cx="12192000" cy="6858000"/>
          </a:xfrm>
          <a:prstGeom prst="rect">
            <a:avLst/>
          </a:prstGeom>
          <a:solidFill>
            <a:srgbClr val="000000">
              <a:alpha val="45000"/>
            </a:srgbClr>
          </a:solidFill>
          <a:ln w="19050" algn="ctr">
            <a:noFill/>
            <a:miter lim="800000"/>
            <a:headEnd/>
            <a:tailEnd/>
          </a:ln>
        </p:spPr>
        <p:txBody>
          <a:bodyPr wrap="square" lIns="88900" tIns="88900" rIns="88900" bIns="88900" rtlCol="0" anchor="ctr">
            <a:noAutofit/>
          </a:bodyPr>
          <a:lstStyle/>
          <a:p>
            <a:pPr algn="ctr" defTabSz="1219170">
              <a:lnSpc>
                <a:spcPct val="106000"/>
              </a:lnSpc>
            </a:pPr>
            <a:endParaRPr lang="en-US" sz="1200" b="1" kern="0">
              <a:solidFill>
                <a:sysClr val="windowText" lastClr="000000"/>
              </a:solidFill>
              <a:latin typeface="Calibri" panose="020F0502020204030204" pitchFamily="34" charset="0"/>
              <a:cs typeface="Calibri" panose="020F0502020204030204" pitchFamily="34" charset="0"/>
            </a:endParaRPr>
          </a:p>
        </p:txBody>
      </p:sp>
      <p:pic>
        <p:nvPicPr>
          <p:cNvPr id="3" name="Graphic 2">
            <a:extLst>
              <a:ext uri="{FF2B5EF4-FFF2-40B4-BE49-F238E27FC236}">
                <a16:creationId xmlns:a16="http://schemas.microsoft.com/office/drawing/2014/main" id="{CE007B2E-9275-EF9B-0F45-764A3CBD3AF7}"/>
              </a:ext>
            </a:extLst>
          </p:cNvPr>
          <p:cNvPicPr>
            <a:picLocks noChangeAspect="1"/>
          </p:cNvPicPr>
          <p:nvPr/>
        </p:nvPicPr>
        <p:blipFill rotWithShape="1">
          <a:blip r:embed="rId3">
            <a:alphaModFix amt="55000"/>
            <a:extLst>
              <a:ext uri="{96DAC541-7B7A-43D3-8B79-37D633B846F1}">
                <asvg:svgBlip xmlns:asvg="http://schemas.microsoft.com/office/drawing/2016/SVG/main" r:embed="rId4"/>
              </a:ext>
            </a:extLst>
          </a:blip>
          <a:srcRect l="2985" t="20183" r="2345" b="41875"/>
          <a:stretch/>
        </p:blipFill>
        <p:spPr>
          <a:xfrm>
            <a:off x="-203200" y="-132080"/>
            <a:ext cx="12684196" cy="7020560"/>
          </a:xfrm>
          <a:prstGeom prst="rect">
            <a:avLst/>
          </a:prstGeom>
        </p:spPr>
      </p:pic>
      <p:sp>
        <p:nvSpPr>
          <p:cNvPr id="7" name="TextBox 6">
            <a:extLst>
              <a:ext uri="{FF2B5EF4-FFF2-40B4-BE49-F238E27FC236}">
                <a16:creationId xmlns:a16="http://schemas.microsoft.com/office/drawing/2014/main" id="{5D183748-F7F9-5231-F9D3-F2FE0A6616BA}"/>
              </a:ext>
            </a:extLst>
          </p:cNvPr>
          <p:cNvSpPr txBox="1"/>
          <p:nvPr/>
        </p:nvSpPr>
        <p:spPr>
          <a:xfrm>
            <a:off x="5856583" y="5023732"/>
            <a:ext cx="3253340" cy="1094511"/>
          </a:xfrm>
          <a:prstGeom prst="rect">
            <a:avLst/>
          </a:prstGeom>
          <a:noFill/>
        </p:spPr>
        <p:txBody>
          <a:bodyPr wrap="square">
            <a:spAutoFit/>
          </a:bodyPr>
          <a:lstStyle/>
          <a:p>
            <a:pPr algn="ctr"/>
            <a:r>
              <a:rPr lang="en-US" sz="6000" b="1" noProof="0">
                <a:solidFill>
                  <a:schemeClr val="bg1"/>
                </a:solidFill>
                <a:latin typeface="+mj-lt"/>
                <a:cs typeface="Calibri Light" panose="020F0302020204030204" pitchFamily="34" charset="0"/>
              </a:rPr>
              <a:t>About Us</a:t>
            </a:r>
          </a:p>
        </p:txBody>
      </p:sp>
    </p:spTree>
    <p:extLst>
      <p:ext uri="{BB962C8B-B14F-4D97-AF65-F5344CB8AC3E}">
        <p14:creationId xmlns:p14="http://schemas.microsoft.com/office/powerpoint/2010/main" val="2658398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8331B8-2A58-7F41-7341-B0BD43DDFC77}"/>
              </a:ext>
            </a:extLst>
          </p:cNvPr>
          <p:cNvSpPr>
            <a:spLocks noGrp="1"/>
          </p:cNvSpPr>
          <p:nvPr>
            <p:ph type="body" sz="quarter" idx="13"/>
          </p:nvPr>
        </p:nvSpPr>
        <p:spPr/>
        <p:txBody>
          <a:bodyPr/>
          <a:lstStyle/>
          <a:p>
            <a:pPr marL="0" indent="0">
              <a:spcAft>
                <a:spcPts val="600"/>
              </a:spcAft>
              <a:buNone/>
            </a:pPr>
            <a:r>
              <a:rPr lang="en-US"/>
              <a:t>Deloitte refers to one or more of Deloitte </a:t>
            </a:r>
            <a:r>
              <a:rPr lang="en-US" err="1"/>
              <a:t>Touche</a:t>
            </a:r>
            <a:r>
              <a:rPr lang="en-US"/>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about for a more detailed description of DTTL and its member firms.</a:t>
            </a:r>
          </a:p>
          <a:p>
            <a:pPr marL="0" indent="0">
              <a:spcAft>
                <a:spcPts val="600"/>
              </a:spcAft>
              <a:buNone/>
            </a:pPr>
            <a:r>
              <a:rPr lang="en-US"/>
              <a:t>Deloitte Asia Pacific Limited is a company limited by guarantee and a member firm of DTTL. Members of Deloitte Asia Pacific Limited and their related entities, each of which is a separate and independent legal entity, provide services from more than 100 cities across the region, including Auckland, Bangkok, Beijing, Bengaluru, Hanoi, Hong Kong, Jakarta, Kuala Lumpur, Manila, Melbourne, Mumbai, New Delhi, Osaka, Seoul, Shanghai, Singapore, Sydney, Taipei and Tokyo.</a:t>
            </a:r>
          </a:p>
          <a:p>
            <a:pPr marL="0" indent="0">
              <a:spcAft>
                <a:spcPts val="600"/>
              </a:spcAft>
              <a:buNone/>
            </a:pPr>
            <a:r>
              <a:rPr lang="en-US"/>
              <a:t>This material has been prepared by Deloitte </a:t>
            </a:r>
            <a:r>
              <a:rPr lang="en-US" err="1"/>
              <a:t>Touche</a:t>
            </a:r>
            <a:r>
              <a:rPr lang="en-US"/>
              <a:t> Tohmatsu India LLP (“DTTILLP”), a member of Deloitte </a:t>
            </a:r>
            <a:r>
              <a:rPr lang="en-US" err="1"/>
              <a:t>Touche</a:t>
            </a:r>
            <a:r>
              <a:rPr lang="en-US"/>
              <a:t> Tohmatsu Limited, on a specific request from you and contains proprietary and confidential information. This material may contain information and/or contents sourced from publicly available information and/or other third-party sources. Further, some of the information and/or contents provided in this material may have been generated by an artificial intelligence language model. While we strive for accuracy and quality, please note that the information and/or the contents provided are on as-is basis without any representations, warranties, undertakings or guarantees of accuracy or completeness and the same may not be entirely error-free or up-to-date. DTTILLP does not independently verify any such sources and is not responsible for any loss whatsoever caused due to reliance placed on information sourced from such sources. The information and/ or contents provided in this material is intended solely for you. Any disclosure, copying or further distribution of this material and/or its contents is strictly prohibited.</a:t>
            </a:r>
          </a:p>
          <a:p>
            <a:pPr marL="0" indent="0">
              <a:spcAft>
                <a:spcPts val="600"/>
              </a:spcAft>
              <a:buNone/>
            </a:pPr>
            <a:r>
              <a:rPr lang="en-US"/>
              <a:t>Nothing in this material creates any contractual relationship between DTTILLP and you. Any mutually binding legal obligations or rights may only be created between you and DTTILLP upon execution of a legally binding contract. By using this material and any information contained in it, the user accepts this entire notice and terms of use.</a:t>
            </a:r>
          </a:p>
          <a:p>
            <a:pPr marL="0" indent="0">
              <a:spcAft>
                <a:spcPts val="600"/>
              </a:spcAft>
              <a:buNone/>
            </a:pPr>
            <a:r>
              <a:rPr lang="en-US"/>
              <a:t>©2025 Deloitte </a:t>
            </a:r>
            <a:r>
              <a:rPr lang="en-US" err="1"/>
              <a:t>Touche</a:t>
            </a:r>
            <a:r>
              <a:rPr lang="en-US"/>
              <a:t> Tohmatsu India LLP. Member of Deloitte </a:t>
            </a:r>
            <a:r>
              <a:rPr lang="en-US" err="1"/>
              <a:t>Touche</a:t>
            </a:r>
            <a:r>
              <a:rPr lang="en-US"/>
              <a:t> Tohmatsu Limited</a:t>
            </a:r>
          </a:p>
        </p:txBody>
      </p:sp>
    </p:spTree>
    <p:extLst>
      <p:ext uri="{BB962C8B-B14F-4D97-AF65-F5344CB8AC3E}">
        <p14:creationId xmlns:p14="http://schemas.microsoft.com/office/powerpoint/2010/main" val="8617603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vert="horz" lIns="0" tIns="0" rIns="0" bIns="0" rtlCol="0" anchor="t" anchorCtr="0">
            <a:noAutofit/>
          </a:bodyPr>
          <a:lstStyle/>
          <a:p>
            <a:pPr defTabSz="685800">
              <a:spcBef>
                <a:spcPct val="0"/>
              </a:spcBef>
            </a:pPr>
            <a:r>
              <a:rPr lang="en-US" sz="2400" b="1">
                <a:solidFill>
                  <a:schemeClr val="accent2"/>
                </a:solidFill>
                <a:latin typeface="+mj-lt"/>
                <a:cs typeface="Calibri Light" panose="020F0302020204030204" pitchFamily="34" charset="0"/>
              </a:rPr>
              <a:t>Project Assumptions</a:t>
            </a:r>
          </a:p>
        </p:txBody>
      </p:sp>
      <p:graphicFrame>
        <p:nvGraphicFramePr>
          <p:cNvPr id="10" name="TextBox 2">
            <a:extLst>
              <a:ext uri="{FF2B5EF4-FFF2-40B4-BE49-F238E27FC236}">
                <a16:creationId xmlns:a16="http://schemas.microsoft.com/office/drawing/2014/main" id="{6E1F1F6A-B525-EF8B-F3DC-325DA3033E04}"/>
              </a:ext>
            </a:extLst>
          </p:cNvPr>
          <p:cNvGraphicFramePr/>
          <p:nvPr>
            <p:extLst>
              <p:ext uri="{D42A27DB-BD31-4B8C-83A1-F6EECF244321}">
                <p14:modId xmlns:p14="http://schemas.microsoft.com/office/powerpoint/2010/main" val="3954630372"/>
              </p:ext>
            </p:extLst>
          </p:nvPr>
        </p:nvGraphicFramePr>
        <p:xfrm>
          <a:off x="567559" y="687991"/>
          <a:ext cx="11304000" cy="58240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8926250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FA2F2BF-FAE6-68B7-3909-C1BF78FE213A}"/>
              </a:ext>
            </a:extLst>
          </p:cNvPr>
          <p:cNvGraphicFramePr>
            <a:graphicFrameLocks noChangeAspect="1"/>
          </p:cNvGraphicFramePr>
          <p:nvPr>
            <p:custDataLst>
              <p:tags r:id="rId1"/>
            </p:custDataLst>
            <p:extLst>
              <p:ext uri="{D42A27DB-BD31-4B8C-83A1-F6EECF244321}">
                <p14:modId xmlns:p14="http://schemas.microsoft.com/office/powerpoint/2010/main" val="2411131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think-cell data - do not delete" hidden="1">
                        <a:extLst>
                          <a:ext uri="{FF2B5EF4-FFF2-40B4-BE49-F238E27FC236}">
                            <a16:creationId xmlns:a16="http://schemas.microsoft.com/office/drawing/2014/main" id="{7FA2F2BF-FAE6-68B7-3909-C1BF78FE21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3" name="Graphic 52" descr="Disk with solid fill">
            <a:extLst>
              <a:ext uri="{FF2B5EF4-FFF2-40B4-BE49-F238E27FC236}">
                <a16:creationId xmlns:a16="http://schemas.microsoft.com/office/drawing/2014/main" id="{6BE110AF-5C82-9CE8-8AE9-98D8C48509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41639" y="3421142"/>
            <a:ext cx="356400" cy="356400"/>
          </a:xfrm>
          <a:prstGeom prst="rect">
            <a:avLst/>
          </a:prstGeom>
        </p:spPr>
      </p:pic>
      <p:sp>
        <p:nvSpPr>
          <p:cNvPr id="8" name="Title 3">
            <a:extLst>
              <a:ext uri="{FF2B5EF4-FFF2-40B4-BE49-F238E27FC236}">
                <a16:creationId xmlns:a16="http://schemas.microsoft.com/office/drawing/2014/main" id="{019B1566-B206-65AA-CC91-BBBC45954E22}"/>
              </a:ext>
            </a:extLst>
          </p:cNvPr>
          <p:cNvSpPr>
            <a:spLocks noGrp="1"/>
          </p:cNvSpPr>
          <p:nvPr>
            <p:ph type="title"/>
          </p:nvPr>
        </p:nvSpPr>
        <p:spPr/>
        <p:txBody>
          <a:bodyPr vert="horz" lIns="0" tIns="0" rIns="0" bIns="0" rtlCol="0" anchor="t" anchorCtr="0">
            <a:noAutofit/>
          </a:bodyPr>
          <a:lstStyle/>
          <a:p>
            <a:r>
              <a:rPr lang="en-US" altLang="en-US" sz="2400" b="1">
                <a:solidFill>
                  <a:schemeClr val="accent2"/>
                </a:solidFill>
              </a:rPr>
              <a:t>Our Proposed Solution </a:t>
            </a:r>
            <a:endParaRPr lang="en-IN" sz="2400" b="1">
              <a:solidFill>
                <a:schemeClr val="accent2"/>
              </a:solidFill>
            </a:endParaRPr>
          </a:p>
        </p:txBody>
      </p:sp>
      <p:sp>
        <p:nvSpPr>
          <p:cNvPr id="9" name="TextBox 8">
            <a:extLst>
              <a:ext uri="{FF2B5EF4-FFF2-40B4-BE49-F238E27FC236}">
                <a16:creationId xmlns:a16="http://schemas.microsoft.com/office/drawing/2014/main" id="{3D8B335F-FE50-D266-4C76-856AC731861C}"/>
              </a:ext>
            </a:extLst>
          </p:cNvPr>
          <p:cNvSpPr txBox="1"/>
          <p:nvPr/>
        </p:nvSpPr>
        <p:spPr>
          <a:xfrm>
            <a:off x="509653" y="734719"/>
            <a:ext cx="11233150" cy="553998"/>
          </a:xfrm>
          <a:prstGeom prst="rect">
            <a:avLst/>
          </a:prstGeom>
          <a:noFill/>
        </p:spPr>
        <p:txBody>
          <a:bodyPr wrap="square" lIns="0" tIns="0" rIns="0" bIns="0" rtlCol="0">
            <a:spAutoFit/>
          </a:bodyPr>
          <a:lstStyle/>
          <a:p>
            <a:pPr defTabSz="945677">
              <a:buSzPct val="100000"/>
              <a:defRPr/>
            </a:pPr>
            <a:r>
              <a:rPr lang="en-US">
                <a:solidFill>
                  <a:schemeClr val="bg1">
                    <a:lumMod val="50000"/>
                  </a:schemeClr>
                </a:solidFill>
              </a:rPr>
              <a:t>Our proposed solution ensures a comprehensive, user-friendly web portal that combines robust data management with modern development frameworks, delivering a seamless experience for users and stakeholders. </a:t>
            </a:r>
          </a:p>
        </p:txBody>
      </p:sp>
      <p:pic>
        <p:nvPicPr>
          <p:cNvPr id="2" name="Picture 1">
            <a:extLst>
              <a:ext uri="{FF2B5EF4-FFF2-40B4-BE49-F238E27FC236}">
                <a16:creationId xmlns:a16="http://schemas.microsoft.com/office/drawing/2014/main" id="{5E45A1EC-C3F7-3A0D-CAEB-FF887BEA8207}"/>
              </a:ext>
            </a:extLst>
          </p:cNvPr>
          <p:cNvPicPr>
            <a:picLocks noChangeAspect="1"/>
          </p:cNvPicPr>
          <p:nvPr/>
        </p:nvPicPr>
        <p:blipFill>
          <a:blip r:embed="rId8"/>
          <a:stretch>
            <a:fillRect/>
          </a:stretch>
        </p:blipFill>
        <p:spPr>
          <a:xfrm>
            <a:off x="509653" y="1371835"/>
            <a:ext cx="11233150" cy="5028965"/>
          </a:xfrm>
          <a:prstGeom prst="rect">
            <a:avLst/>
          </a:prstGeom>
          <a:ln w="3175">
            <a:solidFill>
              <a:schemeClr val="tx1"/>
            </a:solidFill>
          </a:ln>
        </p:spPr>
      </p:pic>
    </p:spTree>
    <p:extLst>
      <p:ext uri="{BB962C8B-B14F-4D97-AF65-F5344CB8AC3E}">
        <p14:creationId xmlns:p14="http://schemas.microsoft.com/office/powerpoint/2010/main" val="295632497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865545-AA83-960E-E637-221A5A659AFF}"/>
              </a:ext>
            </a:extLst>
          </p:cNvPr>
          <p:cNvSpPr>
            <a:spLocks noGrp="1"/>
          </p:cNvSpPr>
          <p:nvPr>
            <p:ph type="body" sz="quarter" idx="13"/>
          </p:nvPr>
        </p:nvSpPr>
        <p:spPr/>
        <p:txBody>
          <a:bodyPr/>
          <a:lstStyle/>
          <a:p>
            <a:r>
              <a:rPr lang="en-US"/>
              <a:t>Deloitte India has worked across ER&amp;I sector value chain in India on a range of assignments</a:t>
            </a:r>
          </a:p>
        </p:txBody>
      </p:sp>
      <p:sp>
        <p:nvSpPr>
          <p:cNvPr id="3" name="Title 2">
            <a:extLst>
              <a:ext uri="{FF2B5EF4-FFF2-40B4-BE49-F238E27FC236}">
                <a16:creationId xmlns:a16="http://schemas.microsoft.com/office/drawing/2014/main" id="{ED6A744D-69F2-B138-0CE5-4B5D23BA129D}"/>
              </a:ext>
            </a:extLst>
          </p:cNvPr>
          <p:cNvSpPr>
            <a:spLocks noGrp="1"/>
          </p:cNvSpPr>
          <p:nvPr>
            <p:ph type="title"/>
          </p:nvPr>
        </p:nvSpPr>
        <p:spPr/>
        <p:txBody>
          <a:bodyPr vert="horz" lIns="0" tIns="0" rIns="0" bIns="0" rtlCol="0" anchor="t" anchorCtr="0">
            <a:noAutofit/>
          </a:bodyPr>
          <a:lstStyle/>
          <a:p>
            <a:pPr defTabSz="685800"/>
            <a:r>
              <a:rPr lang="en-US" sz="2400" b="1">
                <a:solidFill>
                  <a:schemeClr val="accent2"/>
                </a:solidFill>
              </a:rPr>
              <a:t>ER&amp;I Sector Service Offerings</a:t>
            </a:r>
          </a:p>
        </p:txBody>
      </p:sp>
      <p:graphicFrame>
        <p:nvGraphicFramePr>
          <p:cNvPr id="27" name="Table 26">
            <a:extLst>
              <a:ext uri="{FF2B5EF4-FFF2-40B4-BE49-F238E27FC236}">
                <a16:creationId xmlns:a16="http://schemas.microsoft.com/office/drawing/2014/main" id="{6C4746D6-AA63-77B9-F3AD-C0B2828E3622}"/>
              </a:ext>
            </a:extLst>
          </p:cNvPr>
          <p:cNvGraphicFramePr>
            <a:graphicFrameLocks noGrp="1"/>
          </p:cNvGraphicFramePr>
          <p:nvPr>
            <p:extLst>
              <p:ext uri="{D42A27DB-BD31-4B8C-83A1-F6EECF244321}">
                <p14:modId xmlns:p14="http://schemas.microsoft.com/office/powerpoint/2010/main" val="2434598536"/>
              </p:ext>
            </p:extLst>
          </p:nvPr>
        </p:nvGraphicFramePr>
        <p:xfrm>
          <a:off x="509653" y="1374226"/>
          <a:ext cx="11252200" cy="3385499"/>
        </p:xfrm>
        <a:graphic>
          <a:graphicData uri="http://schemas.openxmlformats.org/drawingml/2006/table">
            <a:tbl>
              <a:tblPr firstCol="1" bandCol="1">
                <a:tableStyleId>{10A1B5D5-9B99-4C35-A422-299274C87663}</a:tableStyleId>
              </a:tblPr>
              <a:tblGrid>
                <a:gridCol w="796053">
                  <a:extLst>
                    <a:ext uri="{9D8B030D-6E8A-4147-A177-3AD203B41FA5}">
                      <a16:colId xmlns:a16="http://schemas.microsoft.com/office/drawing/2014/main" val="248904287"/>
                    </a:ext>
                  </a:extLst>
                </a:gridCol>
                <a:gridCol w="2096554">
                  <a:extLst>
                    <a:ext uri="{9D8B030D-6E8A-4147-A177-3AD203B41FA5}">
                      <a16:colId xmlns:a16="http://schemas.microsoft.com/office/drawing/2014/main" val="2981549055"/>
                    </a:ext>
                  </a:extLst>
                </a:gridCol>
                <a:gridCol w="3718976">
                  <a:extLst>
                    <a:ext uri="{9D8B030D-6E8A-4147-A177-3AD203B41FA5}">
                      <a16:colId xmlns:a16="http://schemas.microsoft.com/office/drawing/2014/main" val="3096722345"/>
                    </a:ext>
                  </a:extLst>
                </a:gridCol>
                <a:gridCol w="4640617">
                  <a:extLst>
                    <a:ext uri="{9D8B030D-6E8A-4147-A177-3AD203B41FA5}">
                      <a16:colId xmlns:a16="http://schemas.microsoft.com/office/drawing/2014/main" val="2259865407"/>
                    </a:ext>
                  </a:extLst>
                </a:gridCol>
              </a:tblGrid>
              <a:tr h="820704">
                <a:tc>
                  <a:txBody>
                    <a:bodyPr/>
                    <a:lstStyle/>
                    <a:p>
                      <a:pPr algn="ctr">
                        <a:lnSpc>
                          <a:spcPct val="107000"/>
                        </a:lnSpc>
                      </a:pPr>
                      <a:endParaRPr lang="en-IN" sz="1200" b="1">
                        <a:effectLst/>
                        <a:latin typeface="Calibri" panose="020F0502020204030204" pitchFamily="34" charset="0"/>
                        <a:cs typeface="Calibri" panose="020F0502020204030204" pitchFamily="34" charset="0"/>
                      </a:endParaRPr>
                    </a:p>
                  </a:txBody>
                  <a:tcPr marL="62318" marR="62318" marT="0" marB="0"/>
                </a:tc>
                <a:tc>
                  <a:txBody>
                    <a:bodyPr/>
                    <a:lstStyle/>
                    <a:p>
                      <a:pPr marL="0" marR="0" lvl="0" indent="0" algn="l" defTabSz="1219231" rtl="0" eaLnBrk="1" fontAlgn="auto" latinLnBrk="0" hangingPunct="1">
                        <a:lnSpc>
                          <a:spcPct val="107000"/>
                        </a:lnSpc>
                        <a:spcBef>
                          <a:spcPts val="0"/>
                        </a:spcBef>
                        <a:spcAft>
                          <a:spcPts val="0"/>
                        </a:spcAft>
                        <a:buClrTx/>
                        <a:buSzTx/>
                        <a:buFontTx/>
                        <a:buNone/>
                        <a:tabLst/>
                        <a:defRPr/>
                      </a:pPr>
                      <a:r>
                        <a:rPr lang="en-US" sz="1200" b="1">
                          <a:effectLst/>
                          <a:latin typeface="+mn-lt"/>
                          <a:cs typeface="Calibri" panose="020F0502020204030204" pitchFamily="34" charset="0"/>
                        </a:rPr>
                        <a:t>Policy and Regulatory Support</a:t>
                      </a:r>
                      <a:endParaRPr lang="en-IN" sz="1200" b="1">
                        <a:effectLst/>
                        <a:latin typeface="+mn-lt"/>
                        <a:cs typeface="Calibri" panose="020F0502020204030204" pitchFamily="34" charset="0"/>
                      </a:endParaRPr>
                    </a:p>
                  </a:txBody>
                  <a:tcPr marL="62318" marR="62318" marT="0" marB="0" anchor="ctr"/>
                </a:tc>
                <a:tc>
                  <a:txBody>
                    <a:bodyPr/>
                    <a:lstStyle/>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200">
                          <a:effectLst/>
                          <a:latin typeface="+mn-lt"/>
                          <a:cs typeface="Calibri" panose="020F0502020204030204" pitchFamily="34" charset="0"/>
                        </a:rPr>
                        <a:t>ARR and Tariff filings/ reviews</a:t>
                      </a:r>
                      <a:endParaRPr lang="en-IN" sz="1200">
                        <a:effectLst/>
                        <a:latin typeface="+mn-lt"/>
                        <a:cs typeface="Calibri" panose="020F0502020204030204" pitchFamily="34" charset="0"/>
                      </a:endParaRPr>
                    </a:p>
                    <a:p>
                      <a:pPr marL="342900" lvl="0" indent="-342900">
                        <a:lnSpc>
                          <a:spcPct val="107000"/>
                        </a:lnSpc>
                        <a:buFont typeface="Symbol" panose="05050102010706020507" pitchFamily="18" charset="2"/>
                        <a:buChar char=""/>
                      </a:pPr>
                      <a:r>
                        <a:rPr lang="en-IN" sz="1200">
                          <a:effectLst/>
                          <a:latin typeface="+mn-lt"/>
                          <a:cs typeface="Calibri" panose="020F0502020204030204" pitchFamily="34" charset="0"/>
                        </a:rPr>
                        <a:t>Policies &amp; Regulatory Studies </a:t>
                      </a:r>
                    </a:p>
                    <a:p>
                      <a:pPr marL="342900" marR="0" lvl="0" indent="-342900" algn="l" defTabSz="1219231"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200">
                          <a:effectLst/>
                          <a:latin typeface="+mn-lt"/>
                          <a:cs typeface="Calibri" panose="020F0502020204030204" pitchFamily="34" charset="0"/>
                        </a:rPr>
                        <a:t>Utility Performance Improvement &amp; Review</a:t>
                      </a:r>
                    </a:p>
                    <a:p>
                      <a:pPr marL="342900" marR="0" lvl="0" indent="-342900" algn="l" defTabSz="1219231"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200">
                          <a:effectLst/>
                          <a:latin typeface="+mn-lt"/>
                          <a:cs typeface="Calibri" panose="020F0502020204030204" pitchFamily="34" charset="0"/>
                        </a:rPr>
                        <a:t>Training &amp; Capacity Building in Electricity Regulations</a:t>
                      </a:r>
                      <a:endParaRPr lang="en-IN" sz="1200">
                        <a:effectLst/>
                        <a:latin typeface="+mn-lt"/>
                        <a:cs typeface="Calibri" panose="020F0502020204030204" pitchFamily="34" charset="0"/>
                      </a:endParaRPr>
                    </a:p>
                  </a:txBody>
                  <a:tcPr marL="62318" marR="62318" marT="0" marB="0" anchor="ctr"/>
                </a:tc>
                <a:tc>
                  <a:txBody>
                    <a:bodyPr/>
                    <a:lstStyle/>
                    <a:p>
                      <a:pPr marL="0" marR="0" lvl="0" indent="0" algn="l" defTabSz="1219231"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200">
                          <a:effectLst/>
                          <a:latin typeface="+mn-lt"/>
                          <a:cs typeface="Calibri" panose="020F0502020204030204" pitchFamily="34" charset="0"/>
                        </a:rPr>
                        <a:t>World Bank, PFC, USAID, MOP, MSPGCL, JBVNL, CERC, </a:t>
                      </a:r>
                      <a:r>
                        <a:rPr lang="en-US" sz="1200" err="1">
                          <a:effectLst/>
                          <a:latin typeface="+mn-lt"/>
                          <a:cs typeface="Calibri" panose="020F0502020204030204" pitchFamily="34" charset="0"/>
                        </a:rPr>
                        <a:t>FoR</a:t>
                      </a:r>
                      <a:r>
                        <a:rPr lang="en-US" sz="1200">
                          <a:effectLst/>
                          <a:latin typeface="+mn-lt"/>
                          <a:cs typeface="Calibri" panose="020F0502020204030204" pitchFamily="34" charset="0"/>
                        </a:rPr>
                        <a:t>, MERC, HPERC, AERC, BERC, PSPCL, </a:t>
                      </a:r>
                      <a:r>
                        <a:rPr lang="en-US" sz="1200" baseline="0">
                          <a:effectLst/>
                          <a:latin typeface="+mn-lt"/>
                          <a:cs typeface="Calibri" panose="020F0502020204030204" pitchFamily="34" charset="0"/>
                        </a:rPr>
                        <a:t>JVVNL, MSPGCL, HPGCL, EDP, CED, BSPCL, NBPDCL, SBPDCL, MSPDCL, TSECL, </a:t>
                      </a:r>
                      <a:r>
                        <a:rPr lang="en-US" sz="1200" err="1">
                          <a:effectLst/>
                          <a:latin typeface="+mn-lt"/>
                          <a:cs typeface="Calibri" panose="020F0502020204030204" pitchFamily="34" charset="0"/>
                        </a:rPr>
                        <a:t>Indiabulls</a:t>
                      </a:r>
                      <a:r>
                        <a:rPr lang="en-US" sz="1200">
                          <a:effectLst/>
                          <a:latin typeface="+mn-lt"/>
                          <a:cs typeface="Calibri" panose="020F0502020204030204" pitchFamily="34" charset="0"/>
                        </a:rPr>
                        <a:t>, Sterlite, </a:t>
                      </a:r>
                      <a:r>
                        <a:rPr lang="en-US" sz="1200" err="1">
                          <a:effectLst/>
                          <a:latin typeface="+mn-lt"/>
                          <a:cs typeface="Calibri" panose="020F0502020204030204" pitchFamily="34" charset="0"/>
                        </a:rPr>
                        <a:t>Lanco</a:t>
                      </a:r>
                      <a:r>
                        <a:rPr lang="en-US" sz="1200">
                          <a:effectLst/>
                          <a:latin typeface="+mn-lt"/>
                          <a:cs typeface="Calibri" panose="020F0502020204030204" pitchFamily="34" charset="0"/>
                        </a:rPr>
                        <a:t>, TPC, Renuka Sugar, Bhaskar </a:t>
                      </a:r>
                      <a:r>
                        <a:rPr lang="en-US" sz="1200" err="1">
                          <a:effectLst/>
                          <a:latin typeface="+mn-lt"/>
                          <a:cs typeface="Calibri" panose="020F0502020204030204" pitchFamily="34" charset="0"/>
                        </a:rPr>
                        <a:t>Shrachi</a:t>
                      </a:r>
                      <a:r>
                        <a:rPr lang="en-US" sz="1200">
                          <a:effectLst/>
                          <a:latin typeface="+mn-lt"/>
                          <a:cs typeface="Calibri" panose="020F0502020204030204" pitchFamily="34" charset="0"/>
                        </a:rPr>
                        <a:t> Alloys, Indian Tea Association, Pioneer Gas etc.</a:t>
                      </a:r>
                      <a:endParaRPr lang="en-IN" sz="1200">
                        <a:effectLst/>
                        <a:latin typeface="+mn-lt"/>
                        <a:cs typeface="Calibri" panose="020F0502020204030204" pitchFamily="34" charset="0"/>
                      </a:endParaRPr>
                    </a:p>
                  </a:txBody>
                  <a:tcPr marL="62318" marR="62318" marT="0" marB="0" anchor="ctr"/>
                </a:tc>
                <a:extLst>
                  <a:ext uri="{0D108BD9-81ED-4DB2-BD59-A6C34878D82A}">
                    <a16:rowId xmlns:a16="http://schemas.microsoft.com/office/drawing/2014/main" val="1724557567"/>
                  </a:ext>
                </a:extLst>
              </a:tr>
              <a:tr h="820704">
                <a:tc>
                  <a:txBody>
                    <a:bodyPr/>
                    <a:lstStyle/>
                    <a:p>
                      <a:pPr algn="ctr">
                        <a:lnSpc>
                          <a:spcPct val="107000"/>
                        </a:lnSpc>
                      </a:pPr>
                      <a:endParaRPr lang="en-IN" sz="1200" b="1">
                        <a:effectLst/>
                        <a:latin typeface="Calibri" panose="020F0502020204030204" pitchFamily="34" charset="0"/>
                        <a:cs typeface="Calibri" panose="020F0502020204030204" pitchFamily="34" charset="0"/>
                      </a:endParaRPr>
                    </a:p>
                  </a:txBody>
                  <a:tcPr marL="62318" marR="62318" marT="0" marB="0"/>
                </a:tc>
                <a:tc>
                  <a:txBody>
                    <a:bodyPr/>
                    <a:lstStyle/>
                    <a:p>
                      <a:pPr algn="l">
                        <a:lnSpc>
                          <a:spcPct val="107000"/>
                        </a:lnSpc>
                      </a:pPr>
                      <a:r>
                        <a:rPr lang="en-IN" sz="1200" b="1">
                          <a:effectLst/>
                          <a:latin typeface="+mn-lt"/>
                          <a:cs typeface="Calibri" panose="020F0502020204030204" pitchFamily="34" charset="0"/>
                        </a:rPr>
                        <a:t>Web</a:t>
                      </a:r>
                      <a:r>
                        <a:rPr lang="en-US" sz="1200" b="1">
                          <a:effectLst/>
                          <a:latin typeface="+mn-lt"/>
                          <a:cs typeface="Calibri" panose="020F0502020204030204" pitchFamily="34" charset="0"/>
                        </a:rPr>
                        <a:t>-Portal/ Application Development</a:t>
                      </a:r>
                      <a:endParaRPr lang="en-IN" sz="1200" b="1">
                        <a:effectLst/>
                        <a:latin typeface="+mn-lt"/>
                        <a:cs typeface="Calibri" panose="020F0502020204030204" pitchFamily="34" charset="0"/>
                      </a:endParaRPr>
                    </a:p>
                  </a:txBody>
                  <a:tcPr marL="62318" marR="62318" marT="0" marB="0" anchor="ctr"/>
                </a:tc>
                <a:tc>
                  <a:txBody>
                    <a:bodyPr/>
                    <a:lstStyle/>
                    <a:p>
                      <a:pPr marL="342900" lvl="0" indent="-342900">
                        <a:lnSpc>
                          <a:spcPct val="107000"/>
                        </a:lnSpc>
                        <a:buFont typeface="Symbol" panose="05050102010706020507" pitchFamily="18" charset="2"/>
                        <a:buChar char=""/>
                      </a:pPr>
                      <a:r>
                        <a:rPr lang="en-US" sz="1200">
                          <a:effectLst/>
                          <a:latin typeface="+mn-lt"/>
                          <a:cs typeface="Calibri" panose="020F0502020204030204" pitchFamily="34" charset="0"/>
                        </a:rPr>
                        <a:t>Portal/ Application development</a:t>
                      </a:r>
                    </a:p>
                    <a:p>
                      <a:pPr marL="342900" lvl="0" indent="-342900">
                        <a:lnSpc>
                          <a:spcPct val="107000"/>
                        </a:lnSpc>
                        <a:buFont typeface="Symbol" panose="05050102010706020507" pitchFamily="18" charset="2"/>
                        <a:buChar char=""/>
                      </a:pPr>
                      <a:r>
                        <a:rPr lang="en-US" sz="1200">
                          <a:effectLst/>
                          <a:latin typeface="+mn-lt"/>
                          <a:cs typeface="Calibri" panose="020F0502020204030204" pitchFamily="34" charset="0"/>
                        </a:rPr>
                        <a:t>Analytical Dashboard/ Power BI reporting</a:t>
                      </a:r>
                    </a:p>
                    <a:p>
                      <a:pPr marL="342900" lvl="0" indent="-342900">
                        <a:lnSpc>
                          <a:spcPct val="107000"/>
                        </a:lnSpc>
                        <a:buFont typeface="Symbol" panose="05050102010706020507" pitchFamily="18" charset="2"/>
                        <a:buChar char=""/>
                      </a:pPr>
                      <a:r>
                        <a:rPr lang="en-US" sz="1200">
                          <a:effectLst/>
                          <a:latin typeface="+mn-lt"/>
                          <a:cs typeface="Calibri" panose="020F0502020204030204" pitchFamily="34" charset="0"/>
                        </a:rPr>
                        <a:t>IMS</a:t>
                      </a:r>
                    </a:p>
                    <a:p>
                      <a:pPr marL="342900" lvl="0" indent="-342900">
                        <a:lnSpc>
                          <a:spcPct val="107000"/>
                        </a:lnSpc>
                        <a:buFont typeface="Symbol" panose="05050102010706020507" pitchFamily="18" charset="2"/>
                        <a:buChar char=""/>
                      </a:pPr>
                      <a:r>
                        <a:rPr lang="en-US" sz="1200">
                          <a:effectLst/>
                          <a:latin typeface="+mn-lt"/>
                          <a:cs typeface="Calibri" panose="020F0502020204030204" pitchFamily="34" charset="0"/>
                        </a:rPr>
                        <a:t>Software development</a:t>
                      </a:r>
                    </a:p>
                  </a:txBody>
                  <a:tcPr marL="62318" marR="62318" marT="0" marB="0" anchor="ctr"/>
                </a:tc>
                <a:tc>
                  <a:txBody>
                    <a:bodyPr/>
                    <a:lstStyle/>
                    <a:p>
                      <a:pPr marL="0" lvl="0" indent="0">
                        <a:lnSpc>
                          <a:spcPct val="107000"/>
                        </a:lnSpc>
                        <a:buFont typeface="Symbol" panose="05050102010706020507" pitchFamily="18" charset="2"/>
                        <a:buNone/>
                      </a:pPr>
                      <a:r>
                        <a:rPr lang="en-US" sz="1200">
                          <a:effectLst/>
                          <a:latin typeface="+mn-lt"/>
                          <a:cs typeface="Calibri" panose="020F0502020204030204" pitchFamily="34" charset="0"/>
                        </a:rPr>
                        <a:t>RECPDCL, BPCL, JBVNL, CEA, Durgapur Projects Limited, GRIDCO, MDoNER, BIS, Ministry of Defense, GIZ, and others</a:t>
                      </a:r>
                      <a:endParaRPr lang="en-IN" sz="1200">
                        <a:effectLst/>
                        <a:latin typeface="+mn-lt"/>
                        <a:cs typeface="Calibri" panose="020F0502020204030204" pitchFamily="34" charset="0"/>
                      </a:endParaRPr>
                    </a:p>
                  </a:txBody>
                  <a:tcPr marL="62318" marR="62318" marT="0" marB="0" anchor="ctr"/>
                </a:tc>
                <a:extLst>
                  <a:ext uri="{0D108BD9-81ED-4DB2-BD59-A6C34878D82A}">
                    <a16:rowId xmlns:a16="http://schemas.microsoft.com/office/drawing/2014/main" val="2980917954"/>
                  </a:ext>
                </a:extLst>
              </a:tr>
              <a:tr h="820704">
                <a:tc>
                  <a:txBody>
                    <a:bodyPr/>
                    <a:lstStyle/>
                    <a:p>
                      <a:pPr algn="ctr">
                        <a:lnSpc>
                          <a:spcPct val="107000"/>
                        </a:lnSpc>
                      </a:pPr>
                      <a:endParaRPr lang="en-IN" sz="1200" b="1">
                        <a:effectLst/>
                        <a:latin typeface="Calibri" panose="020F0502020204030204" pitchFamily="34" charset="0"/>
                        <a:cs typeface="Calibri" panose="020F0502020204030204" pitchFamily="34" charset="0"/>
                      </a:endParaRPr>
                    </a:p>
                  </a:txBody>
                  <a:tcPr marL="62318" marR="62318" marT="0" marB="0"/>
                </a:tc>
                <a:tc>
                  <a:txBody>
                    <a:bodyPr/>
                    <a:lstStyle/>
                    <a:p>
                      <a:pPr marL="0" marR="0" lvl="0" indent="0" algn="l" defTabSz="1219231" rtl="0" eaLnBrk="1" fontAlgn="auto" latinLnBrk="0" hangingPunct="1">
                        <a:lnSpc>
                          <a:spcPct val="107000"/>
                        </a:lnSpc>
                        <a:spcBef>
                          <a:spcPts val="0"/>
                        </a:spcBef>
                        <a:spcAft>
                          <a:spcPts val="0"/>
                        </a:spcAft>
                        <a:buClrTx/>
                        <a:buSzTx/>
                        <a:buFontTx/>
                        <a:buNone/>
                        <a:tabLst/>
                        <a:defRPr/>
                      </a:pPr>
                      <a:r>
                        <a:rPr lang="en-US" sz="1200" b="1">
                          <a:effectLst/>
                          <a:latin typeface="+mn-lt"/>
                          <a:cs typeface="Calibri" panose="020F0502020204030204" pitchFamily="34" charset="0"/>
                        </a:rPr>
                        <a:t>Renewable Energy</a:t>
                      </a:r>
                    </a:p>
                  </a:txBody>
                  <a:tcPr marL="62318" marR="62318" marT="0" marB="0" anchor="ctr"/>
                </a:tc>
                <a:tc>
                  <a:txBody>
                    <a:bodyPr/>
                    <a:lstStyle/>
                    <a:p>
                      <a:pPr marL="342900" marR="0" lvl="0" indent="-342900" algn="l" defTabSz="1219231"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200">
                          <a:effectLst/>
                          <a:latin typeface="+mn-lt"/>
                          <a:cs typeface="Calibri" panose="020F0502020204030204" pitchFamily="34" charset="0"/>
                        </a:rPr>
                        <a:t>Studies, project reviews, regulatory etc. Solar, Wind, SHP and other renewable projects</a:t>
                      </a:r>
                    </a:p>
                    <a:p>
                      <a:pPr marL="342900" marR="0" lvl="0" indent="-342900" algn="l" defTabSz="1219231"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200">
                          <a:effectLst/>
                          <a:latin typeface="+mn-lt"/>
                          <a:cs typeface="Calibri" panose="020F0502020204030204" pitchFamily="34" charset="0"/>
                        </a:rPr>
                        <a:t>Strategy Formulation &amp; Implementation Support</a:t>
                      </a:r>
                    </a:p>
                    <a:p>
                      <a:pPr marL="342900" marR="0" lvl="0" indent="-342900" algn="l" defTabSz="1219231"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200">
                          <a:effectLst/>
                          <a:latin typeface="+mn-lt"/>
                          <a:cs typeface="Calibri" panose="020F0502020204030204" pitchFamily="34" charset="0"/>
                        </a:rPr>
                        <a:t>Project Due Diligence</a:t>
                      </a:r>
                      <a:endParaRPr lang="en-IN" sz="1200">
                        <a:effectLst/>
                        <a:latin typeface="+mn-lt"/>
                        <a:cs typeface="Calibri" panose="020F0502020204030204" pitchFamily="34" charset="0"/>
                      </a:endParaRPr>
                    </a:p>
                  </a:txBody>
                  <a:tcPr marL="62318" marR="62318" marT="0" marB="0" anchor="ctr"/>
                </a:tc>
                <a:tc>
                  <a:txBody>
                    <a:bodyPr/>
                    <a:lstStyle/>
                    <a:p>
                      <a:pPr marL="0" lvl="0" indent="0">
                        <a:lnSpc>
                          <a:spcPct val="107000"/>
                        </a:lnSpc>
                        <a:buFont typeface="Symbol" panose="05050102010706020507" pitchFamily="18" charset="2"/>
                        <a:buNone/>
                      </a:pPr>
                      <a:r>
                        <a:rPr lang="en-US" sz="1200">
                          <a:effectLst/>
                          <a:latin typeface="+mn-lt"/>
                          <a:cs typeface="Calibri" panose="020F0502020204030204" pitchFamily="34" charset="0"/>
                        </a:rPr>
                        <a:t>Govt. of Gujarat/ IFC,</a:t>
                      </a:r>
                      <a:r>
                        <a:rPr lang="en-US" sz="1200" baseline="0">
                          <a:effectLst/>
                          <a:latin typeface="+mn-lt"/>
                          <a:cs typeface="Calibri" panose="020F0502020204030204" pitchFamily="34" charset="0"/>
                        </a:rPr>
                        <a:t> </a:t>
                      </a:r>
                      <a:r>
                        <a:rPr lang="en-US" sz="1200">
                          <a:effectLst/>
                          <a:latin typeface="+mn-lt"/>
                          <a:cs typeface="Calibri" panose="020F0502020204030204" pitchFamily="34" charset="0"/>
                        </a:rPr>
                        <a:t>World Bank, IREDA, JETRO</a:t>
                      </a:r>
                      <a:endParaRPr lang="en-IN" sz="1200">
                        <a:effectLst/>
                        <a:latin typeface="+mn-lt"/>
                        <a:cs typeface="Calibri" panose="020F0502020204030204" pitchFamily="34" charset="0"/>
                      </a:endParaRPr>
                    </a:p>
                    <a:p>
                      <a:pPr marL="0" lvl="0" indent="0">
                        <a:lnSpc>
                          <a:spcPct val="107000"/>
                        </a:lnSpc>
                        <a:buFont typeface="Symbol" panose="05050102010706020507" pitchFamily="18" charset="2"/>
                        <a:buNone/>
                      </a:pPr>
                      <a:r>
                        <a:rPr lang="en-US" sz="1200">
                          <a:effectLst/>
                          <a:latin typeface="+mn-lt"/>
                          <a:cs typeface="Calibri" panose="020F0502020204030204" pitchFamily="34" charset="0"/>
                        </a:rPr>
                        <a:t>Various private sector players.</a:t>
                      </a:r>
                      <a:endParaRPr lang="en-IN" sz="1200">
                        <a:effectLst/>
                        <a:latin typeface="+mn-lt"/>
                        <a:cs typeface="Calibri" panose="020F0502020204030204" pitchFamily="34" charset="0"/>
                      </a:endParaRPr>
                    </a:p>
                  </a:txBody>
                  <a:tcPr marL="62318" marR="62318" marT="0" marB="0" anchor="ctr"/>
                </a:tc>
                <a:extLst>
                  <a:ext uri="{0D108BD9-81ED-4DB2-BD59-A6C34878D82A}">
                    <a16:rowId xmlns:a16="http://schemas.microsoft.com/office/drawing/2014/main" val="2968307023"/>
                  </a:ext>
                </a:extLst>
              </a:tr>
              <a:tr h="653614">
                <a:tc>
                  <a:txBody>
                    <a:bodyPr/>
                    <a:lstStyle/>
                    <a:p>
                      <a:pPr algn="ctr">
                        <a:lnSpc>
                          <a:spcPct val="107000"/>
                        </a:lnSpc>
                      </a:pPr>
                      <a:endParaRPr lang="en-US" sz="1200" b="1">
                        <a:effectLst/>
                        <a:latin typeface="Calibri" panose="020F0502020204030204" pitchFamily="34" charset="0"/>
                        <a:cs typeface="Calibri" panose="020F0502020204030204" pitchFamily="34" charset="0"/>
                      </a:endParaRPr>
                    </a:p>
                  </a:txBody>
                  <a:tcPr marL="62318" marR="62318" marT="0" marB="0"/>
                </a:tc>
                <a:tc>
                  <a:txBody>
                    <a:bodyPr/>
                    <a:lstStyle/>
                    <a:p>
                      <a:pPr algn="l">
                        <a:lnSpc>
                          <a:spcPct val="107000"/>
                        </a:lnSpc>
                      </a:pPr>
                      <a:r>
                        <a:rPr lang="en-US" sz="1200" b="1">
                          <a:effectLst/>
                          <a:latin typeface="+mn-lt"/>
                          <a:cs typeface="Calibri" panose="020F0502020204030204" pitchFamily="34" charset="0"/>
                        </a:rPr>
                        <a:t>Utility Support</a:t>
                      </a:r>
                    </a:p>
                  </a:txBody>
                  <a:tcPr marL="62318" marR="62318" marT="0" marB="0" anchor="ctr"/>
                </a:tc>
                <a:tc>
                  <a:txBody>
                    <a:bodyPr/>
                    <a:lstStyle/>
                    <a:p>
                      <a:pPr marL="342900" lvl="0" indent="-342900">
                        <a:lnSpc>
                          <a:spcPct val="107000"/>
                        </a:lnSpc>
                        <a:buFont typeface="Symbol" panose="05050102010706020507" pitchFamily="18" charset="2"/>
                        <a:buChar char=""/>
                      </a:pPr>
                      <a:r>
                        <a:rPr lang="en-US" sz="1200">
                          <a:effectLst/>
                          <a:latin typeface="+mn-lt"/>
                          <a:cs typeface="Calibri" panose="020F0502020204030204" pitchFamily="34" charset="0"/>
                        </a:rPr>
                        <a:t>Financial restructuring &amp; Unbundling</a:t>
                      </a:r>
                      <a:endParaRPr lang="en-IN" sz="1200">
                        <a:effectLst/>
                        <a:latin typeface="+mn-lt"/>
                        <a:cs typeface="Calibri" panose="020F0502020204030204" pitchFamily="34" charset="0"/>
                      </a:endParaRPr>
                    </a:p>
                    <a:p>
                      <a:pPr marL="342900" lvl="0" indent="-342900">
                        <a:lnSpc>
                          <a:spcPct val="107000"/>
                        </a:lnSpc>
                        <a:buFont typeface="Symbol" panose="05050102010706020507" pitchFamily="18" charset="2"/>
                        <a:buChar char=""/>
                      </a:pPr>
                      <a:r>
                        <a:rPr lang="en-US" sz="1200">
                          <a:effectLst/>
                          <a:latin typeface="+mn-lt"/>
                          <a:cs typeface="Calibri" panose="020F0502020204030204" pitchFamily="34" charset="0"/>
                        </a:rPr>
                        <a:t>Business Process Improvements </a:t>
                      </a:r>
                    </a:p>
                    <a:p>
                      <a:pPr marL="342900" lvl="0" indent="-342900">
                        <a:lnSpc>
                          <a:spcPct val="107000"/>
                        </a:lnSpc>
                        <a:buFont typeface="Symbol" panose="05050102010706020507" pitchFamily="18" charset="2"/>
                        <a:buChar char=""/>
                      </a:pPr>
                      <a:r>
                        <a:rPr lang="en-US" sz="1200">
                          <a:effectLst/>
                          <a:latin typeface="+mn-lt"/>
                          <a:cs typeface="Calibri" panose="020F0502020204030204" pitchFamily="34" charset="0"/>
                        </a:rPr>
                        <a:t>Digital Transformation </a:t>
                      </a:r>
                    </a:p>
                    <a:p>
                      <a:pPr marL="342900" lvl="0" indent="-342900">
                        <a:lnSpc>
                          <a:spcPct val="107000"/>
                        </a:lnSpc>
                        <a:buFont typeface="Symbol" panose="05050102010706020507" pitchFamily="18" charset="2"/>
                        <a:buChar char=""/>
                      </a:pPr>
                      <a:r>
                        <a:rPr lang="en-IN" sz="1200">
                          <a:effectLst/>
                          <a:latin typeface="+mn-lt"/>
                          <a:cs typeface="Calibri" panose="020F0502020204030204" pitchFamily="34" charset="0"/>
                        </a:rPr>
                        <a:t>Resource adequacy &amp; planning, Energy Transition</a:t>
                      </a:r>
                    </a:p>
                  </a:txBody>
                  <a:tcPr marL="62318" marR="62318" marT="0" marB="0" anchor="ctr"/>
                </a:tc>
                <a:tc>
                  <a:txBody>
                    <a:bodyPr/>
                    <a:lstStyle/>
                    <a:p>
                      <a:pPr marL="0" lvl="0" indent="0">
                        <a:lnSpc>
                          <a:spcPct val="107000"/>
                        </a:lnSpc>
                        <a:buFont typeface="Symbol" panose="05050102010706020507" pitchFamily="18" charset="2"/>
                        <a:buNone/>
                      </a:pPr>
                      <a:r>
                        <a:rPr lang="en-US" sz="1200">
                          <a:effectLst/>
                          <a:latin typeface="+mn-lt"/>
                          <a:cs typeface="Calibri" panose="020F0502020204030204" pitchFamily="34" charset="0"/>
                        </a:rPr>
                        <a:t>USAID Nepal, KPLC, TANESCO, ZESCO, ESCOM, NPCL, YESC</a:t>
                      </a:r>
                      <a:r>
                        <a:rPr lang="en-US" sz="1200" baseline="0">
                          <a:effectLst/>
                          <a:latin typeface="+mn-lt"/>
                          <a:cs typeface="Calibri" panose="020F0502020204030204" pitchFamily="34" charset="0"/>
                        </a:rPr>
                        <a:t> and MESC, Myanmar, MSEDCL, </a:t>
                      </a:r>
                      <a:r>
                        <a:rPr lang="en-US" sz="1200" baseline="0" err="1">
                          <a:effectLst/>
                          <a:latin typeface="+mn-lt"/>
                          <a:cs typeface="Calibri" panose="020F0502020204030204" pitchFamily="34" charset="0"/>
                        </a:rPr>
                        <a:t>MahaGenco</a:t>
                      </a:r>
                      <a:r>
                        <a:rPr lang="en-US" sz="1200" baseline="0">
                          <a:effectLst/>
                          <a:latin typeface="+mn-lt"/>
                          <a:cs typeface="Calibri" panose="020F0502020204030204" pitchFamily="34" charset="0"/>
                        </a:rPr>
                        <a:t>, MSETCL, MSLDC, World Bank,</a:t>
                      </a:r>
                      <a:endParaRPr lang="en-US" sz="1200">
                        <a:effectLst/>
                        <a:latin typeface="+mn-lt"/>
                        <a:cs typeface="Calibri" panose="020F0502020204030204" pitchFamily="34" charset="0"/>
                      </a:endParaRPr>
                    </a:p>
                    <a:p>
                      <a:pPr marL="0" lvl="0" indent="0">
                        <a:lnSpc>
                          <a:spcPct val="107000"/>
                        </a:lnSpc>
                        <a:buFont typeface="Symbol" panose="05050102010706020507" pitchFamily="18" charset="2"/>
                        <a:buNone/>
                      </a:pPr>
                      <a:r>
                        <a:rPr lang="en-US" sz="1200">
                          <a:effectLst/>
                          <a:latin typeface="+mn-lt"/>
                          <a:cs typeface="Calibri" panose="020F0502020204030204" pitchFamily="34" charset="0"/>
                        </a:rPr>
                        <a:t>Maharashtra, Bihar, Jharkhand, Chhattisgarh, Himachal Pradesh, Assam</a:t>
                      </a:r>
                      <a:endParaRPr lang="en-IN" sz="1200">
                        <a:effectLst/>
                        <a:latin typeface="+mn-lt"/>
                        <a:cs typeface="Calibri" panose="020F0502020204030204" pitchFamily="34" charset="0"/>
                      </a:endParaRPr>
                    </a:p>
                  </a:txBody>
                  <a:tcPr marL="62318" marR="62318" marT="0" marB="0" anchor="ctr"/>
                </a:tc>
                <a:extLst>
                  <a:ext uri="{0D108BD9-81ED-4DB2-BD59-A6C34878D82A}">
                    <a16:rowId xmlns:a16="http://schemas.microsoft.com/office/drawing/2014/main" val="3890392335"/>
                  </a:ext>
                </a:extLst>
              </a:tr>
            </a:tbl>
          </a:graphicData>
        </a:graphic>
      </p:graphicFrame>
      <p:grpSp>
        <p:nvGrpSpPr>
          <p:cNvPr id="28" name="Group 27">
            <a:extLst>
              <a:ext uri="{FF2B5EF4-FFF2-40B4-BE49-F238E27FC236}">
                <a16:creationId xmlns:a16="http://schemas.microsoft.com/office/drawing/2014/main" id="{970481CF-9F3B-6298-2166-25F2D4D4FB5A}"/>
              </a:ext>
            </a:extLst>
          </p:cNvPr>
          <p:cNvGrpSpPr/>
          <p:nvPr/>
        </p:nvGrpSpPr>
        <p:grpSpPr>
          <a:xfrm>
            <a:off x="661864" y="4082743"/>
            <a:ext cx="540000" cy="540000"/>
            <a:chOff x="522572" y="4401611"/>
            <a:chExt cx="540000" cy="540000"/>
          </a:xfrm>
        </p:grpSpPr>
        <p:sp>
          <p:nvSpPr>
            <p:cNvPr id="29" name="Freeform 342">
              <a:extLst>
                <a:ext uri="{FF2B5EF4-FFF2-40B4-BE49-F238E27FC236}">
                  <a16:creationId xmlns:a16="http://schemas.microsoft.com/office/drawing/2014/main" id="{DE2EC4B5-A671-B2FC-BC12-C85C4017AF13}"/>
                </a:ext>
              </a:extLst>
            </p:cNvPr>
            <p:cNvSpPr>
              <a:spLocks noEditPoints="1"/>
            </p:cNvSpPr>
            <p:nvPr/>
          </p:nvSpPr>
          <p:spPr bwMode="auto">
            <a:xfrm>
              <a:off x="522572" y="4401611"/>
              <a:ext cx="540000" cy="540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343">
              <a:extLst>
                <a:ext uri="{FF2B5EF4-FFF2-40B4-BE49-F238E27FC236}">
                  <a16:creationId xmlns:a16="http://schemas.microsoft.com/office/drawing/2014/main" id="{796AB905-48BC-90AD-116D-BF1731E7B660}"/>
                </a:ext>
              </a:extLst>
            </p:cNvPr>
            <p:cNvSpPr>
              <a:spLocks noEditPoints="1"/>
            </p:cNvSpPr>
            <p:nvPr/>
          </p:nvSpPr>
          <p:spPr bwMode="auto">
            <a:xfrm>
              <a:off x="657175" y="4525493"/>
              <a:ext cx="270792" cy="292235"/>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31" name="Straight Arrow Connector 30">
            <a:extLst>
              <a:ext uri="{FF2B5EF4-FFF2-40B4-BE49-F238E27FC236}">
                <a16:creationId xmlns:a16="http://schemas.microsoft.com/office/drawing/2014/main" id="{B4AAB169-BAC1-B721-ED64-68A8B96105DA}"/>
              </a:ext>
            </a:extLst>
          </p:cNvPr>
          <p:cNvCxnSpPr>
            <a:cxnSpLocks/>
          </p:cNvCxnSpPr>
          <p:nvPr/>
        </p:nvCxnSpPr>
        <p:spPr>
          <a:xfrm flipV="1">
            <a:off x="475528" y="1175423"/>
            <a:ext cx="6651136" cy="2525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04B5BE0-8938-FCA2-A8A1-3DC6550FD6F5}"/>
              </a:ext>
            </a:extLst>
          </p:cNvPr>
          <p:cNvCxnSpPr>
            <a:cxnSpLocks/>
          </p:cNvCxnSpPr>
          <p:nvPr/>
        </p:nvCxnSpPr>
        <p:spPr>
          <a:xfrm>
            <a:off x="7194192" y="1178278"/>
            <a:ext cx="4567661" cy="2239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3" name="Picture 4" descr="Image result for handshake icon">
            <a:extLst>
              <a:ext uri="{FF2B5EF4-FFF2-40B4-BE49-F238E27FC236}">
                <a16:creationId xmlns:a16="http://schemas.microsoft.com/office/drawing/2014/main" id="{4BE79AE1-C4E4-218F-706E-014A37CF4C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7801" y="2516294"/>
            <a:ext cx="540000" cy="356399"/>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697">
            <a:extLst>
              <a:ext uri="{FF2B5EF4-FFF2-40B4-BE49-F238E27FC236}">
                <a16:creationId xmlns:a16="http://schemas.microsoft.com/office/drawing/2014/main" id="{06D98743-615F-A25D-116C-538455AEFA71}"/>
              </a:ext>
            </a:extLst>
          </p:cNvPr>
          <p:cNvSpPr>
            <a:spLocks noChangeAspect="1" noEditPoints="1"/>
          </p:cNvSpPr>
          <p:nvPr/>
        </p:nvSpPr>
        <p:spPr bwMode="auto">
          <a:xfrm>
            <a:off x="656876" y="3296227"/>
            <a:ext cx="540000" cy="540000"/>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940">
            <a:extLst>
              <a:ext uri="{FF2B5EF4-FFF2-40B4-BE49-F238E27FC236}">
                <a16:creationId xmlns:a16="http://schemas.microsoft.com/office/drawing/2014/main" id="{4217D009-3DC1-DA2A-80C2-8B043845438D}"/>
              </a:ext>
            </a:extLst>
          </p:cNvPr>
          <p:cNvSpPr>
            <a:spLocks noChangeAspect="1" noEditPoints="1"/>
          </p:cNvSpPr>
          <p:nvPr/>
        </p:nvSpPr>
        <p:spPr bwMode="auto">
          <a:xfrm>
            <a:off x="633507" y="1604193"/>
            <a:ext cx="540000" cy="540000"/>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6CCA891D-1E95-E95C-20D4-AA7B60E73CF2}"/>
              </a:ext>
            </a:extLst>
          </p:cNvPr>
          <p:cNvSpPr/>
          <p:nvPr/>
        </p:nvSpPr>
        <p:spPr bwMode="gray">
          <a:xfrm>
            <a:off x="2444935" y="1025844"/>
            <a:ext cx="2333297" cy="26160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86BC25"/>
                </a:solidFill>
                <a:effectLst/>
                <a:uLnTx/>
                <a:uFillTx/>
                <a:latin typeface="Calibri" panose="020F0502020204030204"/>
                <a:ea typeface="+mn-ea"/>
                <a:cs typeface="Calibri" panose="020F0502020204030204" pitchFamily="34" charset="0"/>
              </a:rPr>
              <a:t>Service offering</a:t>
            </a:r>
            <a:endParaRPr kumimoji="0" lang="en-IN" sz="1400" b="1" i="0" u="none" strike="noStrike" kern="1200" cap="none" spc="0" normalizeH="0" baseline="0" noProof="0">
              <a:ln>
                <a:noFill/>
              </a:ln>
              <a:solidFill>
                <a:srgbClr val="86BC25"/>
              </a:solidFill>
              <a:effectLst/>
              <a:uLnTx/>
              <a:uFillTx/>
              <a:latin typeface="Calibri" panose="020F0502020204030204"/>
              <a:ea typeface="+mn-ea"/>
              <a:cs typeface="Calibri" panose="020F0502020204030204" pitchFamily="34" charset="0"/>
            </a:endParaRPr>
          </a:p>
        </p:txBody>
      </p:sp>
      <p:sp>
        <p:nvSpPr>
          <p:cNvPr id="37" name="Rectangle 36">
            <a:extLst>
              <a:ext uri="{FF2B5EF4-FFF2-40B4-BE49-F238E27FC236}">
                <a16:creationId xmlns:a16="http://schemas.microsoft.com/office/drawing/2014/main" id="{BECB1AFD-28F3-7D39-6BBD-BF47DB2D08E2}"/>
              </a:ext>
            </a:extLst>
          </p:cNvPr>
          <p:cNvSpPr/>
          <p:nvPr/>
        </p:nvSpPr>
        <p:spPr bwMode="gray">
          <a:xfrm>
            <a:off x="8364517" y="1035548"/>
            <a:ext cx="2333297" cy="26160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86BC25"/>
                </a:solidFill>
                <a:effectLst/>
                <a:uLnTx/>
                <a:uFillTx/>
                <a:latin typeface="Calibri" panose="020F0502020204030204"/>
                <a:ea typeface="+mn-ea"/>
                <a:cs typeface="Calibri" panose="020F0502020204030204" pitchFamily="34" charset="0"/>
              </a:rPr>
              <a:t>Clientele</a:t>
            </a:r>
            <a:endParaRPr kumimoji="0" lang="en-IN" sz="1400" b="1" i="0" u="none" strike="noStrike" kern="1200" cap="none" spc="0" normalizeH="0" baseline="0" noProof="0">
              <a:ln>
                <a:noFill/>
              </a:ln>
              <a:solidFill>
                <a:srgbClr val="86BC25"/>
              </a:solidFill>
              <a:effectLst/>
              <a:uLnTx/>
              <a:uFillTx/>
              <a:latin typeface="Calibri" panose="020F0502020204030204"/>
              <a:ea typeface="+mn-ea"/>
              <a:cs typeface="Calibri" panose="020F0502020204030204" pitchFamily="34" charset="0"/>
            </a:endParaRPr>
          </a:p>
        </p:txBody>
      </p:sp>
      <p:pic>
        <p:nvPicPr>
          <p:cNvPr id="38" name="Picture 2">
            <a:hlinkClick r:id="" action="ppaction://noaction"/>
            <a:extLst>
              <a:ext uri="{FF2B5EF4-FFF2-40B4-BE49-F238E27FC236}">
                <a16:creationId xmlns:a16="http://schemas.microsoft.com/office/drawing/2014/main" id="{75347398-FF8B-0A40-FE3B-65EF9B776E6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581" b="26117"/>
          <a:stretch/>
        </p:blipFill>
        <p:spPr bwMode="auto">
          <a:xfrm>
            <a:off x="2402578" y="5319268"/>
            <a:ext cx="2132224" cy="560933"/>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D3E1890F-DEA3-F50D-A6DA-1FE8F04804DA}"/>
              </a:ext>
            </a:extLst>
          </p:cNvPr>
          <p:cNvSpPr/>
          <p:nvPr/>
        </p:nvSpPr>
        <p:spPr>
          <a:xfrm>
            <a:off x="500543" y="5324324"/>
            <a:ext cx="2023340" cy="5754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sz="1200" b="1">
                <a:solidFill>
                  <a:schemeClr val="tx1"/>
                </a:solidFill>
              </a:rPr>
              <a:t>National Feeder Monitoring System</a:t>
            </a:r>
          </a:p>
        </p:txBody>
      </p:sp>
      <p:pic>
        <p:nvPicPr>
          <p:cNvPr id="40" name="Picture 39" descr="A blue and yellow logo&#10;&#10;Description automatically generated">
            <a:hlinkClick r:id="" action="ppaction://noaction"/>
            <a:extLst>
              <a:ext uri="{FF2B5EF4-FFF2-40B4-BE49-F238E27FC236}">
                <a16:creationId xmlns:a16="http://schemas.microsoft.com/office/drawing/2014/main" id="{9F61B2DF-128D-28AA-EEB8-09C2949E4A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4192" y="5254124"/>
            <a:ext cx="705856" cy="714582"/>
          </a:xfrm>
          <a:prstGeom prst="rect">
            <a:avLst/>
          </a:prstGeom>
        </p:spPr>
      </p:pic>
      <p:sp>
        <p:nvSpPr>
          <p:cNvPr id="41" name="Rectangle 40">
            <a:extLst>
              <a:ext uri="{FF2B5EF4-FFF2-40B4-BE49-F238E27FC236}">
                <a16:creationId xmlns:a16="http://schemas.microsoft.com/office/drawing/2014/main" id="{3727A2C4-C57E-AEE2-B86E-0D8A2155571C}"/>
              </a:ext>
            </a:extLst>
          </p:cNvPr>
          <p:cNvSpPr/>
          <p:nvPr/>
        </p:nvSpPr>
        <p:spPr>
          <a:xfrm>
            <a:off x="4763081" y="5284210"/>
            <a:ext cx="2277188" cy="5754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sz="1200" b="1">
                <a:solidFill>
                  <a:schemeClr val="tx1"/>
                </a:solidFill>
              </a:rPr>
              <a:t>Technology Service Provider for Digital Transformation to BPCL</a:t>
            </a:r>
          </a:p>
        </p:txBody>
      </p:sp>
      <p:sp>
        <p:nvSpPr>
          <p:cNvPr id="42" name="Rectangle 41">
            <a:extLst>
              <a:ext uri="{FF2B5EF4-FFF2-40B4-BE49-F238E27FC236}">
                <a16:creationId xmlns:a16="http://schemas.microsoft.com/office/drawing/2014/main" id="{104761F3-456C-B6B1-A183-1CD45DF3776D}"/>
              </a:ext>
            </a:extLst>
          </p:cNvPr>
          <p:cNvSpPr/>
          <p:nvPr/>
        </p:nvSpPr>
        <p:spPr>
          <a:xfrm>
            <a:off x="8442298" y="5243943"/>
            <a:ext cx="2277188" cy="5754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sz="1200" b="1">
                <a:solidFill>
                  <a:schemeClr val="tx1"/>
                </a:solidFill>
              </a:rPr>
              <a:t>MIS Dashboard development for JBVNL</a:t>
            </a:r>
          </a:p>
        </p:txBody>
      </p:sp>
      <p:pic>
        <p:nvPicPr>
          <p:cNvPr id="43" name="Picture 4" descr="Jharkhand Bijli Vitran Nigam Limited - JBVNL | Ranchi">
            <a:hlinkClick r:id="" action="ppaction://noaction"/>
            <a:extLst>
              <a:ext uri="{FF2B5EF4-FFF2-40B4-BE49-F238E27FC236}">
                <a16:creationId xmlns:a16="http://schemas.microsoft.com/office/drawing/2014/main" id="{F7FB74C8-6AB2-66EC-EECE-602051EA8D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06741" y="5239868"/>
            <a:ext cx="705857" cy="626196"/>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9253645D-96D3-1E48-6788-EBC4CBBC1747}"/>
              </a:ext>
            </a:extLst>
          </p:cNvPr>
          <p:cNvSpPr/>
          <p:nvPr/>
        </p:nvSpPr>
        <p:spPr>
          <a:xfrm>
            <a:off x="501042" y="6022057"/>
            <a:ext cx="2023340" cy="5754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Implementation of Data Analytics Platform for Bureau of Indian Standards</a:t>
            </a:r>
            <a:endParaRPr lang="en-ZA" sz="1200" b="1">
              <a:solidFill>
                <a:schemeClr val="tx1"/>
              </a:solidFill>
            </a:endParaRPr>
          </a:p>
        </p:txBody>
      </p:sp>
      <p:pic>
        <p:nvPicPr>
          <p:cNvPr id="45" name="Picture 2" descr="logo">
            <a:hlinkClick r:id="" action="ppaction://noaction"/>
            <a:extLst>
              <a:ext uri="{FF2B5EF4-FFF2-40B4-BE49-F238E27FC236}">
                <a16:creationId xmlns:a16="http://schemas.microsoft.com/office/drawing/2014/main" id="{085FE902-4F0D-03AC-DD20-FCDCC34570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47012" y="6079696"/>
            <a:ext cx="1775156" cy="457514"/>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6BA801F2-4D67-855B-63EA-D41212DD4903}"/>
              </a:ext>
            </a:extLst>
          </p:cNvPr>
          <p:cNvSpPr/>
          <p:nvPr/>
        </p:nvSpPr>
        <p:spPr>
          <a:xfrm>
            <a:off x="4763081" y="6071162"/>
            <a:ext cx="2277188" cy="5754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P ERP Solutions for Power Trading and other modules</a:t>
            </a:r>
            <a:endParaRPr lang="en-ZA" sz="1200" b="1">
              <a:solidFill>
                <a:schemeClr val="tx1"/>
              </a:solidFill>
            </a:endParaRPr>
          </a:p>
        </p:txBody>
      </p:sp>
      <p:pic>
        <p:nvPicPr>
          <p:cNvPr id="47" name="Picture 2" descr="Guarantee For GRIDCO | Tathya">
            <a:hlinkClick r:id="" action="ppaction://noaction"/>
            <a:extLst>
              <a:ext uri="{FF2B5EF4-FFF2-40B4-BE49-F238E27FC236}">
                <a16:creationId xmlns:a16="http://schemas.microsoft.com/office/drawing/2014/main" id="{B4093221-8A91-6D6D-36D0-FD2CF2A301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41606" y="6021712"/>
            <a:ext cx="611029" cy="630382"/>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F9AEA52A-9C2E-FC1E-8559-7F1584494180}"/>
              </a:ext>
            </a:extLst>
          </p:cNvPr>
          <p:cNvSpPr/>
          <p:nvPr/>
        </p:nvSpPr>
        <p:spPr>
          <a:xfrm>
            <a:off x="8354703" y="6097199"/>
            <a:ext cx="2505467" cy="5754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err="1">
                <a:solidFill>
                  <a:schemeClr val="tx1"/>
                </a:solidFill>
              </a:rPr>
              <a:t>Himurja</a:t>
            </a:r>
            <a:r>
              <a:rPr lang="en-US" sz="1200" b="1">
                <a:solidFill>
                  <a:schemeClr val="tx1"/>
                </a:solidFill>
              </a:rPr>
              <a:t> Roof Top Solar Application (Single Window Clearance System)</a:t>
            </a:r>
            <a:endParaRPr lang="en-ZA" sz="1200" b="1">
              <a:solidFill>
                <a:schemeClr val="tx1"/>
              </a:solidFill>
            </a:endParaRPr>
          </a:p>
        </p:txBody>
      </p:sp>
      <p:pic>
        <p:nvPicPr>
          <p:cNvPr id="49" name="Picture 4" descr="Home - Himurja">
            <a:hlinkClick r:id="" action="ppaction://noaction"/>
            <a:extLst>
              <a:ext uri="{FF2B5EF4-FFF2-40B4-BE49-F238E27FC236}">
                <a16:creationId xmlns:a16="http://schemas.microsoft.com/office/drawing/2014/main" id="{EDA1E1BE-B68A-2AB8-CD4B-A1151786797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60170" y="6014407"/>
            <a:ext cx="779820" cy="569298"/>
          </a:xfrm>
          <a:prstGeom prst="rect">
            <a:avLst/>
          </a:prstGeom>
          <a:noFill/>
          <a:extLst>
            <a:ext uri="{909E8E84-426E-40DD-AFC4-6F175D3DCCD1}">
              <a14:hiddenFill xmlns:a14="http://schemas.microsoft.com/office/drawing/2010/main">
                <a:solidFill>
                  <a:srgbClr val="FFFFFF"/>
                </a:solidFill>
              </a14:hiddenFill>
            </a:ext>
          </a:extLst>
        </p:spPr>
      </p:pic>
      <p:cxnSp>
        <p:nvCxnSpPr>
          <p:cNvPr id="50" name="Straight Arrow Connector 49">
            <a:extLst>
              <a:ext uri="{FF2B5EF4-FFF2-40B4-BE49-F238E27FC236}">
                <a16:creationId xmlns:a16="http://schemas.microsoft.com/office/drawing/2014/main" id="{57F5FDF0-8206-74F5-5FCD-7FADF7950A06}"/>
              </a:ext>
            </a:extLst>
          </p:cNvPr>
          <p:cNvCxnSpPr/>
          <p:nvPr/>
        </p:nvCxnSpPr>
        <p:spPr>
          <a:xfrm>
            <a:off x="597839" y="4994704"/>
            <a:ext cx="1104215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60AAFE24-FEE8-E2CC-5B7A-69C0867D19C7}"/>
              </a:ext>
            </a:extLst>
          </p:cNvPr>
          <p:cNvSpPr/>
          <p:nvPr/>
        </p:nvSpPr>
        <p:spPr>
          <a:xfrm>
            <a:off x="2523883" y="4835432"/>
            <a:ext cx="7420480" cy="3501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sz="1400" b="1">
                <a:solidFill>
                  <a:srgbClr val="86BC25"/>
                </a:solidFill>
                <a:latin typeface="Calibri" panose="020F0502020204030204"/>
                <a:cs typeface="Calibri" panose="020F0502020204030204" pitchFamily="34" charset="0"/>
              </a:rPr>
              <a:t>Multiple Engagements for applications and software development in past three financial years</a:t>
            </a:r>
          </a:p>
        </p:txBody>
      </p:sp>
    </p:spTree>
    <p:extLst>
      <p:ext uri="{BB962C8B-B14F-4D97-AF65-F5344CB8AC3E}">
        <p14:creationId xmlns:p14="http://schemas.microsoft.com/office/powerpoint/2010/main" val="387834081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4" name="Group 173">
            <a:extLst>
              <a:ext uri="{FF2B5EF4-FFF2-40B4-BE49-F238E27FC236}">
                <a16:creationId xmlns:a16="http://schemas.microsoft.com/office/drawing/2014/main" id="{FE475AB7-4565-3E57-165F-AC45A23328CA}"/>
              </a:ext>
            </a:extLst>
          </p:cNvPr>
          <p:cNvGrpSpPr/>
          <p:nvPr/>
        </p:nvGrpSpPr>
        <p:grpSpPr>
          <a:xfrm>
            <a:off x="-424084" y="2637240"/>
            <a:ext cx="13040870" cy="2917474"/>
            <a:chOff x="-424084" y="2637240"/>
            <a:chExt cx="13040870" cy="2917474"/>
          </a:xfrm>
          <a:gradFill>
            <a:gsLst>
              <a:gs pos="5000">
                <a:schemeClr val="bg1">
                  <a:lumMod val="50000"/>
                </a:schemeClr>
              </a:gs>
              <a:gs pos="82000">
                <a:schemeClr val="bg1">
                  <a:lumMod val="85000"/>
                </a:schemeClr>
              </a:gs>
            </a:gsLst>
            <a:lin ang="16200000" scaled="1"/>
          </a:gradFill>
        </p:grpSpPr>
        <p:sp>
          <p:nvSpPr>
            <p:cNvPr id="8" name="Freeform: Shape 7">
              <a:extLst>
                <a:ext uri="{FF2B5EF4-FFF2-40B4-BE49-F238E27FC236}">
                  <a16:creationId xmlns:a16="http://schemas.microsoft.com/office/drawing/2014/main" id="{F47657B3-D692-5651-BE78-6A899B5D6D8E}"/>
                </a:ext>
              </a:extLst>
            </p:cNvPr>
            <p:cNvSpPr/>
            <p:nvPr/>
          </p:nvSpPr>
          <p:spPr>
            <a:xfrm>
              <a:off x="9626712" y="3543708"/>
              <a:ext cx="1176434" cy="616765"/>
            </a:xfrm>
            <a:custGeom>
              <a:avLst/>
              <a:gdLst>
                <a:gd name="connsiteX0" fmla="*/ 1141896 w 1176434"/>
                <a:gd name="connsiteY0" fmla="*/ 191726 h 616765"/>
                <a:gd name="connsiteX1" fmla="*/ 1176435 w 1176434"/>
                <a:gd name="connsiteY1" fmla="*/ 7049 h 616765"/>
                <a:gd name="connsiteX2" fmla="*/ 852898 w 1176434"/>
                <a:gd name="connsiteY2" fmla="*/ 705 h 616765"/>
                <a:gd name="connsiteX3" fmla="*/ 852192 w 1176434"/>
                <a:gd name="connsiteY3" fmla="*/ 0 h 616765"/>
                <a:gd name="connsiteX4" fmla="*/ 0 w 1176434"/>
                <a:gd name="connsiteY4" fmla="*/ 425039 h 616765"/>
                <a:gd name="connsiteX5" fmla="*/ 324242 w 1176434"/>
                <a:gd name="connsiteY5" fmla="*/ 431383 h 616765"/>
                <a:gd name="connsiteX6" fmla="*/ 289703 w 1176434"/>
                <a:gd name="connsiteY6" fmla="*/ 616765 h 616765"/>
                <a:gd name="connsiteX7" fmla="*/ 1142601 w 1176434"/>
                <a:gd name="connsiteY7" fmla="*/ 192431 h 616765"/>
                <a:gd name="connsiteX8" fmla="*/ 1141896 w 1176434"/>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6" y="191726"/>
                  </a:moveTo>
                  <a:lnTo>
                    <a:pt x="1176435" y="7049"/>
                  </a:lnTo>
                  <a:lnTo>
                    <a:pt x="852898" y="705"/>
                  </a:lnTo>
                  <a:lnTo>
                    <a:pt x="852192" y="0"/>
                  </a:lnTo>
                  <a:lnTo>
                    <a:pt x="0" y="425039"/>
                  </a:lnTo>
                  <a:lnTo>
                    <a:pt x="324242" y="431383"/>
                  </a:lnTo>
                  <a:lnTo>
                    <a:pt x="289703" y="616765"/>
                  </a:lnTo>
                  <a:lnTo>
                    <a:pt x="1142601" y="192431"/>
                  </a:lnTo>
                  <a:lnTo>
                    <a:pt x="1141896" y="191726"/>
                  </a:lnTo>
                  <a:close/>
                </a:path>
              </a:pathLst>
            </a:custGeom>
            <a:grpFill/>
            <a:ln w="7048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03029E92-F32C-E2A3-DD3C-2ABB8198611C}"/>
                </a:ext>
              </a:extLst>
            </p:cNvPr>
            <p:cNvSpPr/>
            <p:nvPr/>
          </p:nvSpPr>
          <p:spPr>
            <a:xfrm>
              <a:off x="8646232" y="4031481"/>
              <a:ext cx="1176434" cy="616765"/>
            </a:xfrm>
            <a:custGeom>
              <a:avLst/>
              <a:gdLst>
                <a:gd name="connsiteX0" fmla="*/ 1141897 w 1176434"/>
                <a:gd name="connsiteY0" fmla="*/ 191726 h 616765"/>
                <a:gd name="connsiteX1" fmla="*/ 1176435 w 1176434"/>
                <a:gd name="connsiteY1" fmla="*/ 6344 h 616765"/>
                <a:gd name="connsiteX2" fmla="*/ 852898 w 1176434"/>
                <a:gd name="connsiteY2" fmla="*/ 0 h 616765"/>
                <a:gd name="connsiteX3" fmla="*/ 852193 w 1176434"/>
                <a:gd name="connsiteY3" fmla="*/ 0 h 616765"/>
                <a:gd name="connsiteX4" fmla="*/ 0 w 1176434"/>
                <a:gd name="connsiteY4" fmla="*/ 424334 h 616765"/>
                <a:gd name="connsiteX5" fmla="*/ 324242 w 1176434"/>
                <a:gd name="connsiteY5" fmla="*/ 431383 h 616765"/>
                <a:gd name="connsiteX6" fmla="*/ 289703 w 1176434"/>
                <a:gd name="connsiteY6" fmla="*/ 616765 h 616765"/>
                <a:gd name="connsiteX7" fmla="*/ 1142601 w 1176434"/>
                <a:gd name="connsiteY7" fmla="*/ 191726 h 616765"/>
                <a:gd name="connsiteX8" fmla="*/ 1141897 w 1176434"/>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7" y="191726"/>
                  </a:moveTo>
                  <a:lnTo>
                    <a:pt x="1176435" y="6344"/>
                  </a:lnTo>
                  <a:lnTo>
                    <a:pt x="852898" y="0"/>
                  </a:lnTo>
                  <a:lnTo>
                    <a:pt x="852193" y="0"/>
                  </a:lnTo>
                  <a:lnTo>
                    <a:pt x="0" y="424334"/>
                  </a:lnTo>
                  <a:lnTo>
                    <a:pt x="324242" y="431383"/>
                  </a:lnTo>
                  <a:lnTo>
                    <a:pt x="289703" y="616765"/>
                  </a:lnTo>
                  <a:lnTo>
                    <a:pt x="1142601" y="191726"/>
                  </a:lnTo>
                  <a:lnTo>
                    <a:pt x="1141897" y="191726"/>
                  </a:lnTo>
                  <a:close/>
                </a:path>
              </a:pathLst>
            </a:custGeom>
            <a:grpFill/>
            <a:ln w="7048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123381D9-6F92-9D68-9226-44307CC9F6E2}"/>
                </a:ext>
              </a:extLst>
            </p:cNvPr>
            <p:cNvSpPr/>
            <p:nvPr/>
          </p:nvSpPr>
          <p:spPr>
            <a:xfrm>
              <a:off x="1390261" y="4031481"/>
              <a:ext cx="1176434" cy="616765"/>
            </a:xfrm>
            <a:custGeom>
              <a:avLst/>
              <a:gdLst>
                <a:gd name="connsiteX0" fmla="*/ 1141191 w 1176434"/>
                <a:gd name="connsiteY0" fmla="*/ 191726 h 616765"/>
                <a:gd name="connsiteX1" fmla="*/ 1176435 w 1176434"/>
                <a:gd name="connsiteY1" fmla="*/ 6344 h 616765"/>
                <a:gd name="connsiteX2" fmla="*/ 852193 w 1176434"/>
                <a:gd name="connsiteY2" fmla="*/ 0 h 616765"/>
                <a:gd name="connsiteX3" fmla="*/ 852193 w 1176434"/>
                <a:gd name="connsiteY3" fmla="*/ 0 h 616765"/>
                <a:gd name="connsiteX4" fmla="*/ 0 w 1176434"/>
                <a:gd name="connsiteY4" fmla="*/ 424334 h 616765"/>
                <a:gd name="connsiteX5" fmla="*/ 324242 w 1176434"/>
                <a:gd name="connsiteY5" fmla="*/ 431383 h 616765"/>
                <a:gd name="connsiteX6" fmla="*/ 289703 w 1176434"/>
                <a:gd name="connsiteY6" fmla="*/ 616765 h 616765"/>
                <a:gd name="connsiteX7" fmla="*/ 1141896 w 1176434"/>
                <a:gd name="connsiteY7" fmla="*/ 191726 h 616765"/>
                <a:gd name="connsiteX8" fmla="*/ 1141191 w 1176434"/>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191" y="191726"/>
                  </a:moveTo>
                  <a:lnTo>
                    <a:pt x="1176435" y="6344"/>
                  </a:lnTo>
                  <a:lnTo>
                    <a:pt x="852193" y="0"/>
                  </a:lnTo>
                  <a:lnTo>
                    <a:pt x="852193" y="0"/>
                  </a:lnTo>
                  <a:lnTo>
                    <a:pt x="0" y="424334"/>
                  </a:lnTo>
                  <a:lnTo>
                    <a:pt x="324242" y="431383"/>
                  </a:lnTo>
                  <a:lnTo>
                    <a:pt x="289703" y="616765"/>
                  </a:lnTo>
                  <a:lnTo>
                    <a:pt x="1141896" y="191726"/>
                  </a:lnTo>
                  <a:lnTo>
                    <a:pt x="1141191" y="191726"/>
                  </a:lnTo>
                  <a:close/>
                </a:path>
              </a:pathLst>
            </a:custGeom>
            <a:grpFill/>
            <a:ln w="7048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691ED548-0AA7-5F9B-C447-F32EF5393362}"/>
                </a:ext>
              </a:extLst>
            </p:cNvPr>
            <p:cNvSpPr/>
            <p:nvPr/>
          </p:nvSpPr>
          <p:spPr>
            <a:xfrm>
              <a:off x="2370036" y="3543708"/>
              <a:ext cx="1176434" cy="616765"/>
            </a:xfrm>
            <a:custGeom>
              <a:avLst/>
              <a:gdLst>
                <a:gd name="connsiteX0" fmla="*/ 1141896 w 1176434"/>
                <a:gd name="connsiteY0" fmla="*/ 191726 h 616765"/>
                <a:gd name="connsiteX1" fmla="*/ 1176435 w 1176434"/>
                <a:gd name="connsiteY1" fmla="*/ 7049 h 616765"/>
                <a:gd name="connsiteX2" fmla="*/ 852898 w 1176434"/>
                <a:gd name="connsiteY2" fmla="*/ 705 h 616765"/>
                <a:gd name="connsiteX3" fmla="*/ 852898 w 1176434"/>
                <a:gd name="connsiteY3" fmla="*/ 0 h 616765"/>
                <a:gd name="connsiteX4" fmla="*/ 0 w 1176434"/>
                <a:gd name="connsiteY4" fmla="*/ 425039 h 616765"/>
                <a:gd name="connsiteX5" fmla="*/ 324947 w 1176434"/>
                <a:gd name="connsiteY5" fmla="*/ 431383 h 616765"/>
                <a:gd name="connsiteX6" fmla="*/ 290408 w 1176434"/>
                <a:gd name="connsiteY6" fmla="*/ 616765 h 616765"/>
                <a:gd name="connsiteX7" fmla="*/ 1142601 w 1176434"/>
                <a:gd name="connsiteY7" fmla="*/ 192431 h 616765"/>
                <a:gd name="connsiteX8" fmla="*/ 1141896 w 1176434"/>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6" y="191726"/>
                  </a:moveTo>
                  <a:lnTo>
                    <a:pt x="1176435" y="7049"/>
                  </a:lnTo>
                  <a:lnTo>
                    <a:pt x="852898" y="705"/>
                  </a:lnTo>
                  <a:lnTo>
                    <a:pt x="852898" y="0"/>
                  </a:lnTo>
                  <a:lnTo>
                    <a:pt x="0" y="425039"/>
                  </a:lnTo>
                  <a:lnTo>
                    <a:pt x="324947" y="431383"/>
                  </a:lnTo>
                  <a:lnTo>
                    <a:pt x="290408" y="616765"/>
                  </a:lnTo>
                  <a:lnTo>
                    <a:pt x="1142601" y="192431"/>
                  </a:lnTo>
                  <a:lnTo>
                    <a:pt x="1141896" y="191726"/>
                  </a:lnTo>
                  <a:close/>
                </a:path>
              </a:pathLst>
            </a:custGeom>
            <a:grpFill/>
            <a:ln w="7048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3F80668-E499-7253-E819-348DCFEDF918}"/>
                </a:ext>
              </a:extLst>
            </p:cNvPr>
            <p:cNvSpPr/>
            <p:nvPr/>
          </p:nvSpPr>
          <p:spPr>
            <a:xfrm>
              <a:off x="-424084" y="4937950"/>
              <a:ext cx="1176434" cy="616764"/>
            </a:xfrm>
            <a:custGeom>
              <a:avLst/>
              <a:gdLst>
                <a:gd name="connsiteX0" fmla="*/ 1141896 w 1176434"/>
                <a:gd name="connsiteY0" fmla="*/ 191726 h 616764"/>
                <a:gd name="connsiteX1" fmla="*/ 1176435 w 1176434"/>
                <a:gd name="connsiteY1" fmla="*/ 7049 h 616764"/>
                <a:gd name="connsiteX2" fmla="*/ 852897 w 1176434"/>
                <a:gd name="connsiteY2" fmla="*/ 705 h 616764"/>
                <a:gd name="connsiteX3" fmla="*/ 852193 w 1176434"/>
                <a:gd name="connsiteY3" fmla="*/ 0 h 616764"/>
                <a:gd name="connsiteX4" fmla="*/ 0 w 1176434"/>
                <a:gd name="connsiteY4" fmla="*/ 425039 h 616764"/>
                <a:gd name="connsiteX5" fmla="*/ 324947 w 1176434"/>
                <a:gd name="connsiteY5" fmla="*/ 431383 h 616764"/>
                <a:gd name="connsiteX6" fmla="*/ 290408 w 1176434"/>
                <a:gd name="connsiteY6" fmla="*/ 616765 h 616764"/>
                <a:gd name="connsiteX7" fmla="*/ 1142601 w 1176434"/>
                <a:gd name="connsiteY7" fmla="*/ 192431 h 616764"/>
                <a:gd name="connsiteX8" fmla="*/ 1141896 w 1176434"/>
                <a:gd name="connsiteY8" fmla="*/ 191726 h 61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4">
                  <a:moveTo>
                    <a:pt x="1141896" y="191726"/>
                  </a:moveTo>
                  <a:lnTo>
                    <a:pt x="1176435" y="7049"/>
                  </a:lnTo>
                  <a:lnTo>
                    <a:pt x="852897" y="705"/>
                  </a:lnTo>
                  <a:lnTo>
                    <a:pt x="852193" y="0"/>
                  </a:lnTo>
                  <a:lnTo>
                    <a:pt x="0" y="425039"/>
                  </a:lnTo>
                  <a:lnTo>
                    <a:pt x="324947" y="431383"/>
                  </a:lnTo>
                  <a:lnTo>
                    <a:pt x="290408" y="616765"/>
                  </a:lnTo>
                  <a:lnTo>
                    <a:pt x="1142601" y="192431"/>
                  </a:lnTo>
                  <a:lnTo>
                    <a:pt x="1141896" y="191726"/>
                  </a:lnTo>
                  <a:close/>
                </a:path>
              </a:pathLst>
            </a:custGeom>
            <a:grpFill/>
            <a:ln w="7048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2AFD54AE-729E-79D5-4339-D561D1B00ACB}"/>
                </a:ext>
              </a:extLst>
            </p:cNvPr>
            <p:cNvSpPr/>
            <p:nvPr/>
          </p:nvSpPr>
          <p:spPr>
            <a:xfrm>
              <a:off x="556395" y="4450882"/>
              <a:ext cx="1176434" cy="616765"/>
            </a:xfrm>
            <a:custGeom>
              <a:avLst/>
              <a:gdLst>
                <a:gd name="connsiteX0" fmla="*/ 1141896 w 1176434"/>
                <a:gd name="connsiteY0" fmla="*/ 191726 h 616765"/>
                <a:gd name="connsiteX1" fmla="*/ 1176435 w 1176434"/>
                <a:gd name="connsiteY1" fmla="*/ 7049 h 616765"/>
                <a:gd name="connsiteX2" fmla="*/ 852897 w 1176434"/>
                <a:gd name="connsiteY2" fmla="*/ 0 h 616765"/>
                <a:gd name="connsiteX3" fmla="*/ 852193 w 1176434"/>
                <a:gd name="connsiteY3" fmla="*/ 0 h 616765"/>
                <a:gd name="connsiteX4" fmla="*/ 0 w 1176434"/>
                <a:gd name="connsiteY4" fmla="*/ 425039 h 616765"/>
                <a:gd name="connsiteX5" fmla="*/ 324242 w 1176434"/>
                <a:gd name="connsiteY5" fmla="*/ 431383 h 616765"/>
                <a:gd name="connsiteX6" fmla="*/ 289703 w 1176434"/>
                <a:gd name="connsiteY6" fmla="*/ 616765 h 616765"/>
                <a:gd name="connsiteX7" fmla="*/ 1142601 w 1176434"/>
                <a:gd name="connsiteY7" fmla="*/ 192431 h 616765"/>
                <a:gd name="connsiteX8" fmla="*/ 1141896 w 1176434"/>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6" y="191726"/>
                  </a:moveTo>
                  <a:lnTo>
                    <a:pt x="1176435" y="7049"/>
                  </a:lnTo>
                  <a:lnTo>
                    <a:pt x="852897" y="0"/>
                  </a:lnTo>
                  <a:lnTo>
                    <a:pt x="852193" y="0"/>
                  </a:lnTo>
                  <a:lnTo>
                    <a:pt x="0" y="425039"/>
                  </a:lnTo>
                  <a:lnTo>
                    <a:pt x="324242" y="431383"/>
                  </a:lnTo>
                  <a:lnTo>
                    <a:pt x="289703" y="616765"/>
                  </a:lnTo>
                  <a:lnTo>
                    <a:pt x="1142601" y="192431"/>
                  </a:lnTo>
                  <a:lnTo>
                    <a:pt x="1141896" y="191726"/>
                  </a:lnTo>
                  <a:close/>
                </a:path>
              </a:pathLst>
            </a:custGeom>
            <a:grpFill/>
            <a:ln w="7048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B40E1771-61D5-A8AB-C367-582BB1904F82}"/>
                </a:ext>
              </a:extLst>
            </p:cNvPr>
            <p:cNvSpPr/>
            <p:nvPr/>
          </p:nvSpPr>
          <p:spPr>
            <a:xfrm>
              <a:off x="5018247" y="4031481"/>
              <a:ext cx="1176434" cy="616765"/>
            </a:xfrm>
            <a:custGeom>
              <a:avLst/>
              <a:gdLst>
                <a:gd name="connsiteX0" fmla="*/ 1141896 w 1176434"/>
                <a:gd name="connsiteY0" fmla="*/ 191726 h 616765"/>
                <a:gd name="connsiteX1" fmla="*/ 1176435 w 1176434"/>
                <a:gd name="connsiteY1" fmla="*/ 6344 h 616765"/>
                <a:gd name="connsiteX2" fmla="*/ 852897 w 1176434"/>
                <a:gd name="connsiteY2" fmla="*/ 0 h 616765"/>
                <a:gd name="connsiteX3" fmla="*/ 852193 w 1176434"/>
                <a:gd name="connsiteY3" fmla="*/ 0 h 616765"/>
                <a:gd name="connsiteX4" fmla="*/ 0 w 1176434"/>
                <a:gd name="connsiteY4" fmla="*/ 424334 h 616765"/>
                <a:gd name="connsiteX5" fmla="*/ 324242 w 1176434"/>
                <a:gd name="connsiteY5" fmla="*/ 431383 h 616765"/>
                <a:gd name="connsiteX6" fmla="*/ 289703 w 1176434"/>
                <a:gd name="connsiteY6" fmla="*/ 616765 h 616765"/>
                <a:gd name="connsiteX7" fmla="*/ 1142601 w 1176434"/>
                <a:gd name="connsiteY7" fmla="*/ 191726 h 616765"/>
                <a:gd name="connsiteX8" fmla="*/ 1141896 w 1176434"/>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6" y="191726"/>
                  </a:moveTo>
                  <a:lnTo>
                    <a:pt x="1176435" y="6344"/>
                  </a:lnTo>
                  <a:lnTo>
                    <a:pt x="852897" y="0"/>
                  </a:lnTo>
                  <a:lnTo>
                    <a:pt x="852193" y="0"/>
                  </a:lnTo>
                  <a:lnTo>
                    <a:pt x="0" y="424334"/>
                  </a:lnTo>
                  <a:lnTo>
                    <a:pt x="324242" y="431383"/>
                  </a:lnTo>
                  <a:lnTo>
                    <a:pt x="289703" y="616765"/>
                  </a:lnTo>
                  <a:lnTo>
                    <a:pt x="1142601" y="191726"/>
                  </a:lnTo>
                  <a:lnTo>
                    <a:pt x="1141896" y="191726"/>
                  </a:lnTo>
                  <a:close/>
                </a:path>
              </a:pathLst>
            </a:custGeom>
            <a:grpFill/>
            <a:ln w="7048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A83572B2-0E98-DD1E-EB18-6C77AD92C7B7}"/>
                </a:ext>
              </a:extLst>
            </p:cNvPr>
            <p:cNvSpPr/>
            <p:nvPr/>
          </p:nvSpPr>
          <p:spPr>
            <a:xfrm>
              <a:off x="5998727" y="3543708"/>
              <a:ext cx="1176434" cy="616765"/>
            </a:xfrm>
            <a:custGeom>
              <a:avLst/>
              <a:gdLst>
                <a:gd name="connsiteX0" fmla="*/ 1141191 w 1176434"/>
                <a:gd name="connsiteY0" fmla="*/ 191726 h 616765"/>
                <a:gd name="connsiteX1" fmla="*/ 1176434 w 1176434"/>
                <a:gd name="connsiteY1" fmla="*/ 7049 h 616765"/>
                <a:gd name="connsiteX2" fmla="*/ 852192 w 1176434"/>
                <a:gd name="connsiteY2" fmla="*/ 705 h 616765"/>
                <a:gd name="connsiteX3" fmla="*/ 852192 w 1176434"/>
                <a:gd name="connsiteY3" fmla="*/ 0 h 616765"/>
                <a:gd name="connsiteX4" fmla="*/ 0 w 1176434"/>
                <a:gd name="connsiteY4" fmla="*/ 425039 h 616765"/>
                <a:gd name="connsiteX5" fmla="*/ 324242 w 1176434"/>
                <a:gd name="connsiteY5" fmla="*/ 431383 h 616765"/>
                <a:gd name="connsiteX6" fmla="*/ 289703 w 1176434"/>
                <a:gd name="connsiteY6" fmla="*/ 616765 h 616765"/>
                <a:gd name="connsiteX7" fmla="*/ 1141896 w 1176434"/>
                <a:gd name="connsiteY7" fmla="*/ 192431 h 616765"/>
                <a:gd name="connsiteX8" fmla="*/ 1141191 w 1176434"/>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191" y="191726"/>
                  </a:moveTo>
                  <a:lnTo>
                    <a:pt x="1176434" y="7049"/>
                  </a:lnTo>
                  <a:lnTo>
                    <a:pt x="852192" y="705"/>
                  </a:lnTo>
                  <a:lnTo>
                    <a:pt x="852192" y="0"/>
                  </a:lnTo>
                  <a:lnTo>
                    <a:pt x="0" y="425039"/>
                  </a:lnTo>
                  <a:lnTo>
                    <a:pt x="324242" y="431383"/>
                  </a:lnTo>
                  <a:lnTo>
                    <a:pt x="289703" y="616765"/>
                  </a:lnTo>
                  <a:lnTo>
                    <a:pt x="1141896" y="192431"/>
                  </a:lnTo>
                  <a:lnTo>
                    <a:pt x="1141191" y="191726"/>
                  </a:lnTo>
                  <a:close/>
                </a:path>
              </a:pathLst>
            </a:custGeom>
            <a:grpFill/>
            <a:ln w="7048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786EFBF-1D57-0180-7D78-8245915ED2C0}"/>
                </a:ext>
              </a:extLst>
            </p:cNvPr>
            <p:cNvSpPr/>
            <p:nvPr/>
          </p:nvSpPr>
          <p:spPr>
            <a:xfrm>
              <a:off x="8646232" y="4031481"/>
              <a:ext cx="1176434" cy="616765"/>
            </a:xfrm>
            <a:custGeom>
              <a:avLst/>
              <a:gdLst>
                <a:gd name="connsiteX0" fmla="*/ 1141897 w 1176434"/>
                <a:gd name="connsiteY0" fmla="*/ 191726 h 616765"/>
                <a:gd name="connsiteX1" fmla="*/ 1176435 w 1176434"/>
                <a:gd name="connsiteY1" fmla="*/ 6344 h 616765"/>
                <a:gd name="connsiteX2" fmla="*/ 852898 w 1176434"/>
                <a:gd name="connsiteY2" fmla="*/ 0 h 616765"/>
                <a:gd name="connsiteX3" fmla="*/ 852193 w 1176434"/>
                <a:gd name="connsiteY3" fmla="*/ 0 h 616765"/>
                <a:gd name="connsiteX4" fmla="*/ 0 w 1176434"/>
                <a:gd name="connsiteY4" fmla="*/ 424334 h 616765"/>
                <a:gd name="connsiteX5" fmla="*/ 324242 w 1176434"/>
                <a:gd name="connsiteY5" fmla="*/ 431383 h 616765"/>
                <a:gd name="connsiteX6" fmla="*/ 289703 w 1176434"/>
                <a:gd name="connsiteY6" fmla="*/ 616765 h 616765"/>
                <a:gd name="connsiteX7" fmla="*/ 1142601 w 1176434"/>
                <a:gd name="connsiteY7" fmla="*/ 191726 h 616765"/>
                <a:gd name="connsiteX8" fmla="*/ 1141897 w 1176434"/>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7" y="191726"/>
                  </a:moveTo>
                  <a:lnTo>
                    <a:pt x="1176435" y="6344"/>
                  </a:lnTo>
                  <a:lnTo>
                    <a:pt x="852898" y="0"/>
                  </a:lnTo>
                  <a:lnTo>
                    <a:pt x="852193" y="0"/>
                  </a:lnTo>
                  <a:lnTo>
                    <a:pt x="0" y="424334"/>
                  </a:lnTo>
                  <a:lnTo>
                    <a:pt x="324242" y="431383"/>
                  </a:lnTo>
                  <a:lnTo>
                    <a:pt x="289703" y="616765"/>
                  </a:lnTo>
                  <a:lnTo>
                    <a:pt x="1142601" y="191726"/>
                  </a:lnTo>
                  <a:lnTo>
                    <a:pt x="1141897" y="191726"/>
                  </a:lnTo>
                  <a:close/>
                </a:path>
              </a:pathLst>
            </a:custGeom>
            <a:grpFill/>
            <a:ln w="7048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127C9BB8-8321-00C8-5E60-033B9FA2B49B}"/>
                </a:ext>
              </a:extLst>
            </p:cNvPr>
            <p:cNvSpPr/>
            <p:nvPr/>
          </p:nvSpPr>
          <p:spPr>
            <a:xfrm>
              <a:off x="9626712" y="3543708"/>
              <a:ext cx="1176434" cy="616765"/>
            </a:xfrm>
            <a:custGeom>
              <a:avLst/>
              <a:gdLst>
                <a:gd name="connsiteX0" fmla="*/ 1141896 w 1176434"/>
                <a:gd name="connsiteY0" fmla="*/ 191726 h 616765"/>
                <a:gd name="connsiteX1" fmla="*/ 1176435 w 1176434"/>
                <a:gd name="connsiteY1" fmla="*/ 7049 h 616765"/>
                <a:gd name="connsiteX2" fmla="*/ 852898 w 1176434"/>
                <a:gd name="connsiteY2" fmla="*/ 705 h 616765"/>
                <a:gd name="connsiteX3" fmla="*/ 852192 w 1176434"/>
                <a:gd name="connsiteY3" fmla="*/ 0 h 616765"/>
                <a:gd name="connsiteX4" fmla="*/ 0 w 1176434"/>
                <a:gd name="connsiteY4" fmla="*/ 425039 h 616765"/>
                <a:gd name="connsiteX5" fmla="*/ 324242 w 1176434"/>
                <a:gd name="connsiteY5" fmla="*/ 431383 h 616765"/>
                <a:gd name="connsiteX6" fmla="*/ 289703 w 1176434"/>
                <a:gd name="connsiteY6" fmla="*/ 616765 h 616765"/>
                <a:gd name="connsiteX7" fmla="*/ 1142601 w 1176434"/>
                <a:gd name="connsiteY7" fmla="*/ 192431 h 616765"/>
                <a:gd name="connsiteX8" fmla="*/ 1141896 w 1176434"/>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6" y="191726"/>
                  </a:moveTo>
                  <a:lnTo>
                    <a:pt x="1176435" y="7049"/>
                  </a:lnTo>
                  <a:lnTo>
                    <a:pt x="852898" y="705"/>
                  </a:lnTo>
                  <a:lnTo>
                    <a:pt x="852192" y="0"/>
                  </a:lnTo>
                  <a:lnTo>
                    <a:pt x="0" y="425039"/>
                  </a:lnTo>
                  <a:lnTo>
                    <a:pt x="324242" y="431383"/>
                  </a:lnTo>
                  <a:lnTo>
                    <a:pt x="289703" y="616765"/>
                  </a:lnTo>
                  <a:lnTo>
                    <a:pt x="1142601" y="192431"/>
                  </a:lnTo>
                  <a:lnTo>
                    <a:pt x="1141896" y="191726"/>
                  </a:lnTo>
                  <a:close/>
                </a:path>
              </a:pathLst>
            </a:custGeom>
            <a:grpFill/>
            <a:ln w="7048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DBE35314-117D-A118-5639-34D04501FB95}"/>
                </a:ext>
              </a:extLst>
            </p:cNvPr>
            <p:cNvSpPr/>
            <p:nvPr/>
          </p:nvSpPr>
          <p:spPr>
            <a:xfrm>
              <a:off x="2995964" y="3459828"/>
              <a:ext cx="1176434" cy="616765"/>
            </a:xfrm>
            <a:custGeom>
              <a:avLst/>
              <a:gdLst>
                <a:gd name="connsiteX0" fmla="*/ 1141896 w 1176434"/>
                <a:gd name="connsiteY0" fmla="*/ 425039 h 616765"/>
                <a:gd name="connsiteX1" fmla="*/ 1176434 w 1176434"/>
                <a:gd name="connsiteY1" fmla="*/ 610421 h 616765"/>
                <a:gd name="connsiteX2" fmla="*/ 852897 w 1176434"/>
                <a:gd name="connsiteY2" fmla="*/ 616765 h 616765"/>
                <a:gd name="connsiteX3" fmla="*/ 852193 w 1176434"/>
                <a:gd name="connsiteY3" fmla="*/ 616765 h 616765"/>
                <a:gd name="connsiteX4" fmla="*/ 0 w 1176434"/>
                <a:gd name="connsiteY4" fmla="*/ 192431 h 616765"/>
                <a:gd name="connsiteX5" fmla="*/ 324242 w 1176434"/>
                <a:gd name="connsiteY5" fmla="*/ 185382 h 616765"/>
                <a:gd name="connsiteX6" fmla="*/ 289703 w 1176434"/>
                <a:gd name="connsiteY6" fmla="*/ 0 h 616765"/>
                <a:gd name="connsiteX7" fmla="*/ 1142601 w 1176434"/>
                <a:gd name="connsiteY7" fmla="*/ 425039 h 616765"/>
                <a:gd name="connsiteX8" fmla="*/ 1141896 w 1176434"/>
                <a:gd name="connsiteY8" fmla="*/ 425039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6" y="425039"/>
                  </a:moveTo>
                  <a:lnTo>
                    <a:pt x="1176434" y="610421"/>
                  </a:lnTo>
                  <a:lnTo>
                    <a:pt x="852897" y="616765"/>
                  </a:lnTo>
                  <a:lnTo>
                    <a:pt x="852193" y="616765"/>
                  </a:lnTo>
                  <a:lnTo>
                    <a:pt x="0" y="192431"/>
                  </a:lnTo>
                  <a:lnTo>
                    <a:pt x="324242" y="185382"/>
                  </a:lnTo>
                  <a:lnTo>
                    <a:pt x="289703" y="0"/>
                  </a:lnTo>
                  <a:lnTo>
                    <a:pt x="1142601" y="425039"/>
                  </a:lnTo>
                  <a:lnTo>
                    <a:pt x="1141896" y="425039"/>
                  </a:lnTo>
                  <a:close/>
                </a:path>
              </a:pathLst>
            </a:custGeom>
            <a:grpFill/>
            <a:ln w="7048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D7DDA28-856F-857E-99F6-7C0E8772D83C}"/>
                </a:ext>
              </a:extLst>
            </p:cNvPr>
            <p:cNvSpPr/>
            <p:nvPr/>
          </p:nvSpPr>
          <p:spPr>
            <a:xfrm>
              <a:off x="3976443" y="3947601"/>
              <a:ext cx="1176434" cy="616765"/>
            </a:xfrm>
            <a:custGeom>
              <a:avLst/>
              <a:gdLst>
                <a:gd name="connsiteX0" fmla="*/ 1141896 w 1176434"/>
                <a:gd name="connsiteY0" fmla="*/ 425039 h 616765"/>
                <a:gd name="connsiteX1" fmla="*/ 1176435 w 1176434"/>
                <a:gd name="connsiteY1" fmla="*/ 609716 h 616765"/>
                <a:gd name="connsiteX2" fmla="*/ 852897 w 1176434"/>
                <a:gd name="connsiteY2" fmla="*/ 616060 h 616765"/>
                <a:gd name="connsiteX3" fmla="*/ 852192 w 1176434"/>
                <a:gd name="connsiteY3" fmla="*/ 616765 h 616765"/>
                <a:gd name="connsiteX4" fmla="*/ 0 w 1176434"/>
                <a:gd name="connsiteY4" fmla="*/ 191726 h 616765"/>
                <a:gd name="connsiteX5" fmla="*/ 324242 w 1176434"/>
                <a:gd name="connsiteY5" fmla="*/ 185382 h 616765"/>
                <a:gd name="connsiteX6" fmla="*/ 289703 w 1176434"/>
                <a:gd name="connsiteY6" fmla="*/ 0 h 616765"/>
                <a:gd name="connsiteX7" fmla="*/ 1142601 w 1176434"/>
                <a:gd name="connsiteY7" fmla="*/ 424334 h 616765"/>
                <a:gd name="connsiteX8" fmla="*/ 1141896 w 1176434"/>
                <a:gd name="connsiteY8" fmla="*/ 425039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6" y="425039"/>
                  </a:moveTo>
                  <a:lnTo>
                    <a:pt x="1176435" y="609716"/>
                  </a:lnTo>
                  <a:lnTo>
                    <a:pt x="852897" y="616060"/>
                  </a:lnTo>
                  <a:lnTo>
                    <a:pt x="852192" y="616765"/>
                  </a:lnTo>
                  <a:lnTo>
                    <a:pt x="0" y="191726"/>
                  </a:lnTo>
                  <a:lnTo>
                    <a:pt x="324242" y="185382"/>
                  </a:lnTo>
                  <a:lnTo>
                    <a:pt x="289703" y="0"/>
                  </a:lnTo>
                  <a:lnTo>
                    <a:pt x="1142601" y="424334"/>
                  </a:lnTo>
                  <a:lnTo>
                    <a:pt x="1141896" y="425039"/>
                  </a:lnTo>
                  <a:close/>
                </a:path>
              </a:pathLst>
            </a:custGeom>
            <a:grpFill/>
            <a:ln w="7048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EED029F3-D7AD-190F-53D3-C77931FEA3E0}"/>
                </a:ext>
              </a:extLst>
            </p:cNvPr>
            <p:cNvSpPr/>
            <p:nvPr/>
          </p:nvSpPr>
          <p:spPr>
            <a:xfrm>
              <a:off x="8646232" y="4031481"/>
              <a:ext cx="1176434" cy="616765"/>
            </a:xfrm>
            <a:custGeom>
              <a:avLst/>
              <a:gdLst>
                <a:gd name="connsiteX0" fmla="*/ 1141897 w 1176434"/>
                <a:gd name="connsiteY0" fmla="*/ 191726 h 616765"/>
                <a:gd name="connsiteX1" fmla="*/ 1176435 w 1176434"/>
                <a:gd name="connsiteY1" fmla="*/ 6344 h 616765"/>
                <a:gd name="connsiteX2" fmla="*/ 852898 w 1176434"/>
                <a:gd name="connsiteY2" fmla="*/ 0 h 616765"/>
                <a:gd name="connsiteX3" fmla="*/ 852193 w 1176434"/>
                <a:gd name="connsiteY3" fmla="*/ 0 h 616765"/>
                <a:gd name="connsiteX4" fmla="*/ 0 w 1176434"/>
                <a:gd name="connsiteY4" fmla="*/ 424334 h 616765"/>
                <a:gd name="connsiteX5" fmla="*/ 324242 w 1176434"/>
                <a:gd name="connsiteY5" fmla="*/ 431383 h 616765"/>
                <a:gd name="connsiteX6" fmla="*/ 289703 w 1176434"/>
                <a:gd name="connsiteY6" fmla="*/ 616765 h 616765"/>
                <a:gd name="connsiteX7" fmla="*/ 1142601 w 1176434"/>
                <a:gd name="connsiteY7" fmla="*/ 191726 h 616765"/>
                <a:gd name="connsiteX8" fmla="*/ 1141897 w 1176434"/>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7" y="191726"/>
                  </a:moveTo>
                  <a:lnTo>
                    <a:pt x="1176435" y="6344"/>
                  </a:lnTo>
                  <a:lnTo>
                    <a:pt x="852898" y="0"/>
                  </a:lnTo>
                  <a:lnTo>
                    <a:pt x="852193" y="0"/>
                  </a:lnTo>
                  <a:lnTo>
                    <a:pt x="0" y="424334"/>
                  </a:lnTo>
                  <a:lnTo>
                    <a:pt x="324242" y="431383"/>
                  </a:lnTo>
                  <a:lnTo>
                    <a:pt x="289703" y="616765"/>
                  </a:lnTo>
                  <a:lnTo>
                    <a:pt x="1142601" y="191726"/>
                  </a:lnTo>
                  <a:lnTo>
                    <a:pt x="1141897" y="191726"/>
                  </a:lnTo>
                  <a:close/>
                </a:path>
              </a:pathLst>
            </a:custGeom>
            <a:grpFill/>
            <a:ln w="7048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B0F977E2-4576-A93E-A690-B568CD860340}"/>
                </a:ext>
              </a:extLst>
            </p:cNvPr>
            <p:cNvSpPr/>
            <p:nvPr/>
          </p:nvSpPr>
          <p:spPr>
            <a:xfrm>
              <a:off x="6623949" y="3459828"/>
              <a:ext cx="1176434" cy="616765"/>
            </a:xfrm>
            <a:custGeom>
              <a:avLst/>
              <a:gdLst>
                <a:gd name="connsiteX0" fmla="*/ 1141896 w 1176434"/>
                <a:gd name="connsiteY0" fmla="*/ 425039 h 616765"/>
                <a:gd name="connsiteX1" fmla="*/ 1176435 w 1176434"/>
                <a:gd name="connsiteY1" fmla="*/ 610421 h 616765"/>
                <a:gd name="connsiteX2" fmla="*/ 852897 w 1176434"/>
                <a:gd name="connsiteY2" fmla="*/ 616765 h 616765"/>
                <a:gd name="connsiteX3" fmla="*/ 852193 w 1176434"/>
                <a:gd name="connsiteY3" fmla="*/ 616765 h 616765"/>
                <a:gd name="connsiteX4" fmla="*/ 0 w 1176434"/>
                <a:gd name="connsiteY4" fmla="*/ 192431 h 616765"/>
                <a:gd name="connsiteX5" fmla="*/ 324947 w 1176434"/>
                <a:gd name="connsiteY5" fmla="*/ 185382 h 616765"/>
                <a:gd name="connsiteX6" fmla="*/ 290408 w 1176434"/>
                <a:gd name="connsiteY6" fmla="*/ 0 h 616765"/>
                <a:gd name="connsiteX7" fmla="*/ 1142601 w 1176434"/>
                <a:gd name="connsiteY7" fmla="*/ 425039 h 616765"/>
                <a:gd name="connsiteX8" fmla="*/ 1141896 w 1176434"/>
                <a:gd name="connsiteY8" fmla="*/ 425039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6" y="425039"/>
                  </a:moveTo>
                  <a:lnTo>
                    <a:pt x="1176435" y="610421"/>
                  </a:lnTo>
                  <a:lnTo>
                    <a:pt x="852897" y="616765"/>
                  </a:lnTo>
                  <a:lnTo>
                    <a:pt x="852193" y="616765"/>
                  </a:lnTo>
                  <a:lnTo>
                    <a:pt x="0" y="192431"/>
                  </a:lnTo>
                  <a:lnTo>
                    <a:pt x="324947" y="185382"/>
                  </a:lnTo>
                  <a:lnTo>
                    <a:pt x="290408" y="0"/>
                  </a:lnTo>
                  <a:lnTo>
                    <a:pt x="1142601" y="425039"/>
                  </a:lnTo>
                  <a:lnTo>
                    <a:pt x="1141896" y="425039"/>
                  </a:lnTo>
                  <a:close/>
                </a:path>
              </a:pathLst>
            </a:custGeom>
            <a:grpFill/>
            <a:ln w="7048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7AA4ACBC-9DAA-F5BC-BFC6-82656656BD33}"/>
                </a:ext>
              </a:extLst>
            </p:cNvPr>
            <p:cNvSpPr/>
            <p:nvPr/>
          </p:nvSpPr>
          <p:spPr>
            <a:xfrm>
              <a:off x="7604429" y="3947601"/>
              <a:ext cx="1176434" cy="616765"/>
            </a:xfrm>
            <a:custGeom>
              <a:avLst/>
              <a:gdLst>
                <a:gd name="connsiteX0" fmla="*/ 1141896 w 1176434"/>
                <a:gd name="connsiteY0" fmla="*/ 425039 h 616765"/>
                <a:gd name="connsiteX1" fmla="*/ 1176434 w 1176434"/>
                <a:gd name="connsiteY1" fmla="*/ 609716 h 616765"/>
                <a:gd name="connsiteX2" fmla="*/ 852897 w 1176434"/>
                <a:gd name="connsiteY2" fmla="*/ 616060 h 616765"/>
                <a:gd name="connsiteX3" fmla="*/ 852192 w 1176434"/>
                <a:gd name="connsiteY3" fmla="*/ 616765 h 616765"/>
                <a:gd name="connsiteX4" fmla="*/ 0 w 1176434"/>
                <a:gd name="connsiteY4" fmla="*/ 191726 h 616765"/>
                <a:gd name="connsiteX5" fmla="*/ 324242 w 1176434"/>
                <a:gd name="connsiteY5" fmla="*/ 185382 h 616765"/>
                <a:gd name="connsiteX6" fmla="*/ 290408 w 1176434"/>
                <a:gd name="connsiteY6" fmla="*/ 0 h 616765"/>
                <a:gd name="connsiteX7" fmla="*/ 1142601 w 1176434"/>
                <a:gd name="connsiteY7" fmla="*/ 424334 h 616765"/>
                <a:gd name="connsiteX8" fmla="*/ 1141896 w 1176434"/>
                <a:gd name="connsiteY8" fmla="*/ 425039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6" y="425039"/>
                  </a:moveTo>
                  <a:lnTo>
                    <a:pt x="1176434" y="609716"/>
                  </a:lnTo>
                  <a:lnTo>
                    <a:pt x="852897" y="616060"/>
                  </a:lnTo>
                  <a:lnTo>
                    <a:pt x="852192" y="616765"/>
                  </a:lnTo>
                  <a:lnTo>
                    <a:pt x="0" y="191726"/>
                  </a:lnTo>
                  <a:lnTo>
                    <a:pt x="324242" y="185382"/>
                  </a:lnTo>
                  <a:lnTo>
                    <a:pt x="290408" y="0"/>
                  </a:lnTo>
                  <a:lnTo>
                    <a:pt x="1142601" y="424334"/>
                  </a:lnTo>
                  <a:lnTo>
                    <a:pt x="1141896" y="425039"/>
                  </a:lnTo>
                  <a:close/>
                </a:path>
              </a:pathLst>
            </a:custGeom>
            <a:grpFill/>
            <a:ln w="7048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9167EF4-73BC-486C-F2A8-5453FA4180E2}"/>
                </a:ext>
              </a:extLst>
            </p:cNvPr>
            <p:cNvSpPr/>
            <p:nvPr/>
          </p:nvSpPr>
          <p:spPr>
            <a:xfrm>
              <a:off x="10459874" y="3124308"/>
              <a:ext cx="1176434" cy="616765"/>
            </a:xfrm>
            <a:custGeom>
              <a:avLst/>
              <a:gdLst>
                <a:gd name="connsiteX0" fmla="*/ 1141896 w 1176434"/>
                <a:gd name="connsiteY0" fmla="*/ 191726 h 616765"/>
                <a:gd name="connsiteX1" fmla="*/ 1176435 w 1176434"/>
                <a:gd name="connsiteY1" fmla="*/ 7049 h 616765"/>
                <a:gd name="connsiteX2" fmla="*/ 852897 w 1176434"/>
                <a:gd name="connsiteY2" fmla="*/ 0 h 616765"/>
                <a:gd name="connsiteX3" fmla="*/ 852897 w 1176434"/>
                <a:gd name="connsiteY3" fmla="*/ 0 h 616765"/>
                <a:gd name="connsiteX4" fmla="*/ 0 w 1176434"/>
                <a:gd name="connsiteY4" fmla="*/ 424335 h 616765"/>
                <a:gd name="connsiteX5" fmla="*/ 324947 w 1176434"/>
                <a:gd name="connsiteY5" fmla="*/ 431383 h 616765"/>
                <a:gd name="connsiteX6" fmla="*/ 290408 w 1176434"/>
                <a:gd name="connsiteY6" fmla="*/ 616765 h 616765"/>
                <a:gd name="connsiteX7" fmla="*/ 1142600 w 1176434"/>
                <a:gd name="connsiteY7" fmla="*/ 192431 h 616765"/>
                <a:gd name="connsiteX8" fmla="*/ 1141896 w 1176434"/>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4" h="616765">
                  <a:moveTo>
                    <a:pt x="1141896" y="191726"/>
                  </a:moveTo>
                  <a:lnTo>
                    <a:pt x="1176435" y="7049"/>
                  </a:lnTo>
                  <a:lnTo>
                    <a:pt x="852897" y="0"/>
                  </a:lnTo>
                  <a:lnTo>
                    <a:pt x="852897" y="0"/>
                  </a:lnTo>
                  <a:lnTo>
                    <a:pt x="0" y="424335"/>
                  </a:lnTo>
                  <a:lnTo>
                    <a:pt x="324947" y="431383"/>
                  </a:lnTo>
                  <a:lnTo>
                    <a:pt x="290408" y="616765"/>
                  </a:lnTo>
                  <a:lnTo>
                    <a:pt x="1142600" y="192431"/>
                  </a:lnTo>
                  <a:lnTo>
                    <a:pt x="1141896" y="191726"/>
                  </a:lnTo>
                  <a:close/>
                </a:path>
              </a:pathLst>
            </a:custGeom>
            <a:grpFill/>
            <a:ln w="7048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495159A2-0F04-B86E-EE33-D543FE5A1BE5}"/>
                </a:ext>
              </a:extLst>
            </p:cNvPr>
            <p:cNvSpPr/>
            <p:nvPr/>
          </p:nvSpPr>
          <p:spPr>
            <a:xfrm>
              <a:off x="11440353" y="2637240"/>
              <a:ext cx="1176433" cy="616765"/>
            </a:xfrm>
            <a:custGeom>
              <a:avLst/>
              <a:gdLst>
                <a:gd name="connsiteX0" fmla="*/ 1141896 w 1176433"/>
                <a:gd name="connsiteY0" fmla="*/ 191726 h 616765"/>
                <a:gd name="connsiteX1" fmla="*/ 1176434 w 1176433"/>
                <a:gd name="connsiteY1" fmla="*/ 6344 h 616765"/>
                <a:gd name="connsiteX2" fmla="*/ 852897 w 1176433"/>
                <a:gd name="connsiteY2" fmla="*/ 0 h 616765"/>
                <a:gd name="connsiteX3" fmla="*/ 852897 w 1176433"/>
                <a:gd name="connsiteY3" fmla="*/ 0 h 616765"/>
                <a:gd name="connsiteX4" fmla="*/ 0 w 1176433"/>
                <a:gd name="connsiteY4" fmla="*/ 424334 h 616765"/>
                <a:gd name="connsiteX5" fmla="*/ 324946 w 1176433"/>
                <a:gd name="connsiteY5" fmla="*/ 430678 h 616765"/>
                <a:gd name="connsiteX6" fmla="*/ 290408 w 1176433"/>
                <a:gd name="connsiteY6" fmla="*/ 616765 h 616765"/>
                <a:gd name="connsiteX7" fmla="*/ 1142600 w 1176433"/>
                <a:gd name="connsiteY7" fmla="*/ 191726 h 616765"/>
                <a:gd name="connsiteX8" fmla="*/ 1141896 w 1176433"/>
                <a:gd name="connsiteY8" fmla="*/ 191726 h 61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6433" h="616765">
                  <a:moveTo>
                    <a:pt x="1141896" y="191726"/>
                  </a:moveTo>
                  <a:lnTo>
                    <a:pt x="1176434" y="6344"/>
                  </a:lnTo>
                  <a:lnTo>
                    <a:pt x="852897" y="0"/>
                  </a:lnTo>
                  <a:lnTo>
                    <a:pt x="852897" y="0"/>
                  </a:lnTo>
                  <a:lnTo>
                    <a:pt x="0" y="424334"/>
                  </a:lnTo>
                  <a:lnTo>
                    <a:pt x="324946" y="430678"/>
                  </a:lnTo>
                  <a:lnTo>
                    <a:pt x="290408" y="616765"/>
                  </a:lnTo>
                  <a:lnTo>
                    <a:pt x="1142600" y="191726"/>
                  </a:lnTo>
                  <a:lnTo>
                    <a:pt x="1141896" y="191726"/>
                  </a:lnTo>
                  <a:close/>
                </a:path>
              </a:pathLst>
            </a:custGeom>
            <a:grpFill/>
            <a:ln w="70485" cap="flat">
              <a:noFill/>
              <a:prstDash val="solid"/>
              <a:miter/>
            </a:ln>
          </p:spPr>
          <p:txBody>
            <a:bodyPr rtlCol="0" anchor="ctr"/>
            <a:lstStyle/>
            <a:p>
              <a:endParaRPr lang="en-US"/>
            </a:p>
          </p:txBody>
        </p:sp>
      </p:grpSp>
      <p:sp>
        <p:nvSpPr>
          <p:cNvPr id="2" name="Text Placeholder 1">
            <a:extLst>
              <a:ext uri="{FF2B5EF4-FFF2-40B4-BE49-F238E27FC236}">
                <a16:creationId xmlns:a16="http://schemas.microsoft.com/office/drawing/2014/main" id="{5CB43354-C621-7D04-C678-8A706753EABC}"/>
              </a:ext>
            </a:extLst>
          </p:cNvPr>
          <p:cNvSpPr>
            <a:spLocks noGrp="1"/>
          </p:cNvSpPr>
          <p:nvPr>
            <p:ph type="body" sz="quarter" idx="13"/>
          </p:nvPr>
        </p:nvSpPr>
        <p:spPr>
          <a:xfrm>
            <a:off x="501650" y="618943"/>
            <a:ext cx="11195049" cy="757255"/>
          </a:xfrm>
        </p:spPr>
        <p:txBody>
          <a:bodyPr/>
          <a:lstStyle/>
          <a:p>
            <a:r>
              <a:rPr lang="en-US"/>
              <a:t>Our Industry Focus</a:t>
            </a:r>
          </a:p>
        </p:txBody>
      </p:sp>
      <p:sp>
        <p:nvSpPr>
          <p:cNvPr id="3" name="Title 2">
            <a:extLst>
              <a:ext uri="{FF2B5EF4-FFF2-40B4-BE49-F238E27FC236}">
                <a16:creationId xmlns:a16="http://schemas.microsoft.com/office/drawing/2014/main" id="{5E8B0614-AC94-CD43-CA45-666CF4305516}"/>
              </a:ext>
            </a:extLst>
          </p:cNvPr>
          <p:cNvSpPr>
            <a:spLocks noGrp="1"/>
          </p:cNvSpPr>
          <p:nvPr>
            <p:ph type="title"/>
          </p:nvPr>
        </p:nvSpPr>
        <p:spPr/>
        <p:txBody>
          <a:bodyPr/>
          <a:lstStyle/>
          <a:p>
            <a:r>
              <a:rPr lang="en-US"/>
              <a:t>Industry</a:t>
            </a:r>
          </a:p>
        </p:txBody>
      </p:sp>
      <p:sp>
        <p:nvSpPr>
          <p:cNvPr id="67" name="Rectangle 66">
            <a:extLst>
              <a:ext uri="{FF2B5EF4-FFF2-40B4-BE49-F238E27FC236}">
                <a16:creationId xmlns:a16="http://schemas.microsoft.com/office/drawing/2014/main" id="{B8D46CCB-A6B6-7586-BCC2-0B7FB9CA3354}"/>
              </a:ext>
            </a:extLst>
          </p:cNvPr>
          <p:cNvSpPr/>
          <p:nvPr/>
        </p:nvSpPr>
        <p:spPr bwMode="gray">
          <a:xfrm>
            <a:off x="4178937" y="4995784"/>
            <a:ext cx="2258642" cy="403439"/>
          </a:xfrm>
          <a:prstGeom prst="rect">
            <a:avLst/>
          </a:prstGeom>
          <a:noFill/>
          <a:ln w="19050" algn="ctr">
            <a:noFill/>
            <a:miter lim="800000"/>
            <a:headEnd/>
            <a:tailEnd/>
          </a:ln>
        </p:spPr>
        <p:txBody>
          <a:bodyPr wrap="square" lIns="50006" tIns="50006" rIns="50006" bIns="50006" rtlCol="0" anchor="ctr">
            <a:noAutofit/>
          </a:bodyPr>
          <a:lstStyle/>
          <a:p>
            <a:pPr marL="0" marR="0" lvl="0" indent="0" algn="ctr" defTabSz="685784" eaLnBrk="1" fontAlgn="auto" latinLnBrk="0" hangingPunct="1">
              <a:lnSpc>
                <a:spcPct val="106000"/>
              </a:lnSpc>
              <a:spcBef>
                <a:spcPts val="0"/>
              </a:spcBef>
              <a:spcAft>
                <a:spcPts val="0"/>
              </a:spcAft>
              <a:buClrTx/>
              <a:buSzTx/>
              <a:buFontTx/>
              <a:buNone/>
              <a:tabLst/>
              <a:defRPr/>
            </a:pPr>
            <a:r>
              <a:rPr kumimoji="0" lang="en-GB" sz="1400" b="1" i="0" u="none" strike="noStrike" kern="0" cap="none" spc="0" normalizeH="0" baseline="0" noProof="0">
                <a:ln>
                  <a:noFill/>
                </a:ln>
                <a:effectLst/>
                <a:uLnTx/>
                <a:uFillTx/>
                <a:latin typeface="+mj-lt"/>
                <a:ea typeface="Verdana" panose="020B0604030504040204" pitchFamily="34" charset="0"/>
              </a:rPr>
              <a:t>Consumer</a:t>
            </a:r>
          </a:p>
        </p:txBody>
      </p:sp>
      <p:sp>
        <p:nvSpPr>
          <p:cNvPr id="82" name="Rectangle 81">
            <a:extLst>
              <a:ext uri="{FF2B5EF4-FFF2-40B4-BE49-F238E27FC236}">
                <a16:creationId xmlns:a16="http://schemas.microsoft.com/office/drawing/2014/main" id="{E25AE045-AF3D-7D01-8276-71C0CCF17C1D}"/>
              </a:ext>
            </a:extLst>
          </p:cNvPr>
          <p:cNvSpPr/>
          <p:nvPr/>
        </p:nvSpPr>
        <p:spPr bwMode="gray">
          <a:xfrm>
            <a:off x="4107019" y="5397463"/>
            <a:ext cx="2413798" cy="1056254"/>
          </a:xfrm>
          <a:prstGeom prst="rect">
            <a:avLst/>
          </a:prstGeom>
          <a:noFill/>
          <a:ln w="19050" algn="ctr">
            <a:noFill/>
            <a:miter lim="800000"/>
            <a:headEnd/>
            <a:tailEnd/>
          </a:ln>
        </p:spPr>
        <p:txBody>
          <a:bodyPr wrap="square" lIns="0" tIns="0" rIns="0" bIns="0" rtlCol="0" anchor="t">
            <a:noAutofit/>
          </a:bodyPr>
          <a:lstStyle/>
          <a:p>
            <a:pPr marL="182880" marR="0" lvl="0" indent="-182880" defTabSz="68461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Consumer Products</a:t>
            </a:r>
          </a:p>
          <a:p>
            <a:pPr marL="182880" marR="0" lvl="0" indent="-182880" defTabSz="68461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Retail, Wholesale &amp; Distribution </a:t>
            </a:r>
          </a:p>
          <a:p>
            <a:pPr marL="182880" marR="0" lvl="0" indent="-182880" defTabSz="68461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Automotive</a:t>
            </a:r>
          </a:p>
          <a:p>
            <a:pPr marL="182880" marR="0" lvl="0" indent="-182880" defTabSz="68461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Transportation, Hospitality &amp; Services</a:t>
            </a:r>
          </a:p>
        </p:txBody>
      </p:sp>
      <p:sp>
        <p:nvSpPr>
          <p:cNvPr id="68" name="Rectangle 67">
            <a:extLst>
              <a:ext uri="{FF2B5EF4-FFF2-40B4-BE49-F238E27FC236}">
                <a16:creationId xmlns:a16="http://schemas.microsoft.com/office/drawing/2014/main" id="{3C462071-BBA0-BFF1-1328-5B1D3A42DFC3}"/>
              </a:ext>
            </a:extLst>
          </p:cNvPr>
          <p:cNvSpPr/>
          <p:nvPr/>
        </p:nvSpPr>
        <p:spPr bwMode="gray">
          <a:xfrm>
            <a:off x="2604399" y="2562439"/>
            <a:ext cx="1620982" cy="218714"/>
          </a:xfrm>
          <a:prstGeom prst="rect">
            <a:avLst/>
          </a:prstGeom>
          <a:noFill/>
          <a:ln w="19050" algn="ctr">
            <a:noFill/>
            <a:miter lim="800000"/>
            <a:headEnd/>
            <a:tailEnd/>
          </a:ln>
        </p:spPr>
        <p:txBody>
          <a:bodyPr wrap="square" lIns="0" tIns="0" rIns="0" bIns="0" rtlCol="0" anchor="ctr">
            <a:noAutofit/>
          </a:bodyPr>
          <a:lstStyle/>
          <a:p>
            <a:pPr marL="0" marR="0" lvl="0" indent="0" algn="ctr" defTabSz="685784" eaLnBrk="1" fontAlgn="auto" latinLnBrk="0" hangingPunct="1">
              <a:lnSpc>
                <a:spcPct val="106000"/>
              </a:lnSpc>
              <a:spcBef>
                <a:spcPts val="0"/>
              </a:spcBef>
              <a:spcAft>
                <a:spcPts val="0"/>
              </a:spcAft>
              <a:buClrTx/>
              <a:buSzTx/>
              <a:buFontTx/>
              <a:buNone/>
              <a:tabLst/>
              <a:defRPr/>
            </a:pPr>
            <a:r>
              <a:rPr kumimoji="0" lang="en-GB" sz="1400" b="1" i="0" u="none" strike="noStrike" kern="0" cap="none" spc="0" normalizeH="0" baseline="0" noProof="0">
                <a:ln>
                  <a:noFill/>
                </a:ln>
                <a:effectLst/>
                <a:uLnTx/>
                <a:uFillTx/>
                <a:latin typeface="+mj-lt"/>
                <a:ea typeface="Verdana" panose="020B0604030504040204" pitchFamily="34" charset="0"/>
              </a:rPr>
              <a:t>Financial Services</a:t>
            </a:r>
          </a:p>
        </p:txBody>
      </p:sp>
      <p:sp>
        <p:nvSpPr>
          <p:cNvPr id="83" name="Rectangle 82">
            <a:extLst>
              <a:ext uri="{FF2B5EF4-FFF2-40B4-BE49-F238E27FC236}">
                <a16:creationId xmlns:a16="http://schemas.microsoft.com/office/drawing/2014/main" id="{5F71EB9A-4366-58F9-C04C-093A78B11D03}"/>
              </a:ext>
            </a:extLst>
          </p:cNvPr>
          <p:cNvSpPr/>
          <p:nvPr/>
        </p:nvSpPr>
        <p:spPr bwMode="gray">
          <a:xfrm>
            <a:off x="2450145" y="1678807"/>
            <a:ext cx="1929491" cy="815608"/>
          </a:xfrm>
          <a:prstGeom prst="rect">
            <a:avLst/>
          </a:prstGeom>
          <a:noFill/>
          <a:ln w="19050" algn="ctr">
            <a:noFill/>
            <a:miter lim="800000"/>
            <a:headEnd/>
            <a:tailEnd/>
          </a:ln>
        </p:spPr>
        <p:txBody>
          <a:bodyPr wrap="square" lIns="0" tIns="0" rIns="0" bIns="0" rtlCol="0" anchor="t">
            <a:noAutofit/>
          </a:bodyPr>
          <a:lstStyle/>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Banking &amp; Capital Markets</a:t>
            </a:r>
          </a:p>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Insurance</a:t>
            </a:r>
          </a:p>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Investment Management</a:t>
            </a:r>
          </a:p>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Real Estate </a:t>
            </a:r>
          </a:p>
        </p:txBody>
      </p:sp>
      <p:sp>
        <p:nvSpPr>
          <p:cNvPr id="72" name="Rectangle 71">
            <a:extLst>
              <a:ext uri="{FF2B5EF4-FFF2-40B4-BE49-F238E27FC236}">
                <a16:creationId xmlns:a16="http://schemas.microsoft.com/office/drawing/2014/main" id="{DF4A6DDE-8FC2-BEEB-795F-F010008087C0}"/>
              </a:ext>
            </a:extLst>
          </p:cNvPr>
          <p:cNvSpPr/>
          <p:nvPr/>
        </p:nvSpPr>
        <p:spPr bwMode="gray">
          <a:xfrm>
            <a:off x="7474293" y="4995784"/>
            <a:ext cx="2484506" cy="403439"/>
          </a:xfrm>
          <a:prstGeom prst="rect">
            <a:avLst/>
          </a:prstGeom>
          <a:noFill/>
          <a:ln w="19050" algn="ctr">
            <a:noFill/>
            <a:miter lim="800000"/>
            <a:headEnd/>
            <a:tailEnd/>
          </a:ln>
        </p:spPr>
        <p:txBody>
          <a:bodyPr wrap="square" lIns="50006" tIns="50006" rIns="50006" bIns="50006" rtlCol="0" anchor="ctr">
            <a:noAutofit/>
          </a:bodyPr>
          <a:lstStyle/>
          <a:p>
            <a:pPr marL="0" marR="0" lvl="0" indent="0" algn="ctr" defTabSz="685784" eaLnBrk="1" fontAlgn="auto" latinLnBrk="0" hangingPunct="1">
              <a:lnSpc>
                <a:spcPct val="106000"/>
              </a:lnSpc>
              <a:spcBef>
                <a:spcPts val="0"/>
              </a:spcBef>
              <a:spcAft>
                <a:spcPts val="0"/>
              </a:spcAft>
              <a:buClrTx/>
              <a:buSzTx/>
              <a:buFontTx/>
              <a:buNone/>
              <a:tabLst/>
              <a:defRPr/>
            </a:pPr>
            <a:r>
              <a:rPr kumimoji="0" lang="en-GB" sz="1400" b="1" i="0" u="none" strike="noStrike" kern="0" cap="none" spc="0" normalizeH="0" baseline="0" noProof="0">
                <a:ln>
                  <a:noFill/>
                </a:ln>
                <a:effectLst/>
                <a:uLnTx/>
                <a:uFillTx/>
                <a:latin typeface="+mj-lt"/>
                <a:ea typeface="Verdana" panose="020B0604030504040204" pitchFamily="34" charset="0"/>
              </a:rPr>
              <a:t>Government &amp; Public Services</a:t>
            </a:r>
          </a:p>
        </p:txBody>
      </p:sp>
      <p:sp>
        <p:nvSpPr>
          <p:cNvPr id="85" name="Rectangle 84">
            <a:extLst>
              <a:ext uri="{FF2B5EF4-FFF2-40B4-BE49-F238E27FC236}">
                <a16:creationId xmlns:a16="http://schemas.microsoft.com/office/drawing/2014/main" id="{9AF81B54-900B-6588-B80F-1CA51F7C6C60}"/>
              </a:ext>
            </a:extLst>
          </p:cNvPr>
          <p:cNvSpPr/>
          <p:nvPr/>
        </p:nvSpPr>
        <p:spPr bwMode="gray">
          <a:xfrm>
            <a:off x="7449201" y="5397463"/>
            <a:ext cx="2413798" cy="1056254"/>
          </a:xfrm>
          <a:prstGeom prst="rect">
            <a:avLst/>
          </a:prstGeom>
          <a:noFill/>
          <a:ln w="19050" algn="ctr">
            <a:noFill/>
            <a:miter lim="800000"/>
            <a:headEnd/>
            <a:tailEnd/>
          </a:ln>
        </p:spPr>
        <p:txBody>
          <a:bodyPr wrap="square" lIns="0" tIns="0" rIns="0" bIns="0" rtlCol="0" anchor="t">
            <a:noAutofit/>
          </a:bodyPr>
          <a:lstStyle/>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mj-lt"/>
                <a:ea typeface="Verdana" panose="020B0604030504040204" pitchFamily="34" charset="0"/>
              </a:rPr>
              <a:t>Health &amp; Human Services</a:t>
            </a:r>
          </a:p>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sz="1200" b="0" i="0" u="none" strike="noStrike" kern="0" cap="none" spc="0" normalizeH="0" baseline="0" noProof="0" err="1">
                <a:ln>
                  <a:noFill/>
                </a:ln>
                <a:effectLst/>
                <a:uLnTx/>
                <a:uFillTx/>
                <a:latin typeface="+mj-lt"/>
                <a:ea typeface="Verdana" panose="020B0604030504040204" pitchFamily="34" charset="0"/>
              </a:rPr>
              <a:t>Defence</a:t>
            </a:r>
            <a:r>
              <a:rPr kumimoji="0" lang="en-US" sz="1200" b="0" i="0" u="none" strike="noStrike" kern="0" cap="none" spc="0" normalizeH="0" baseline="0" noProof="0">
                <a:ln>
                  <a:noFill/>
                </a:ln>
                <a:effectLst/>
                <a:uLnTx/>
                <a:uFillTx/>
                <a:latin typeface="+mj-lt"/>
                <a:ea typeface="Verdana" panose="020B0604030504040204" pitchFamily="34" charset="0"/>
              </a:rPr>
              <a:t>, Security &amp; Justice</a:t>
            </a:r>
          </a:p>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mj-lt"/>
                <a:ea typeface="Verdana" panose="020B0604030504040204" pitchFamily="34" charset="0"/>
              </a:rPr>
              <a:t>Central Government</a:t>
            </a:r>
          </a:p>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mj-lt"/>
                <a:ea typeface="Verdana" panose="020B0604030504040204" pitchFamily="34" charset="0"/>
              </a:rPr>
              <a:t>Infrastructure, Transport, and Regional Government</a:t>
            </a:r>
          </a:p>
        </p:txBody>
      </p:sp>
      <p:sp>
        <p:nvSpPr>
          <p:cNvPr id="75" name="Rectangle 74">
            <a:extLst>
              <a:ext uri="{FF2B5EF4-FFF2-40B4-BE49-F238E27FC236}">
                <a16:creationId xmlns:a16="http://schemas.microsoft.com/office/drawing/2014/main" id="{7ECD98C2-5EBD-2925-8527-FEF8D7B892F2}"/>
              </a:ext>
            </a:extLst>
          </p:cNvPr>
          <p:cNvSpPr/>
          <p:nvPr/>
        </p:nvSpPr>
        <p:spPr bwMode="gray">
          <a:xfrm>
            <a:off x="9590382" y="2334043"/>
            <a:ext cx="1783081" cy="447110"/>
          </a:xfrm>
          <a:prstGeom prst="rect">
            <a:avLst/>
          </a:prstGeom>
          <a:noFill/>
          <a:ln w="19050" algn="ctr">
            <a:noFill/>
            <a:miter lim="800000"/>
            <a:headEnd/>
            <a:tailEnd/>
          </a:ln>
        </p:spPr>
        <p:txBody>
          <a:bodyPr wrap="square" lIns="0" tIns="0" rIns="0" bIns="0" rtlCol="0" anchor="ctr">
            <a:noAutofit/>
          </a:bodyPr>
          <a:lstStyle/>
          <a:p>
            <a:pPr marL="0" marR="0" lvl="0" indent="0" algn="ctr" defTabSz="685784" eaLnBrk="1" fontAlgn="auto" latinLnBrk="0" hangingPunct="1">
              <a:lnSpc>
                <a:spcPct val="106000"/>
              </a:lnSpc>
              <a:spcBef>
                <a:spcPts val="0"/>
              </a:spcBef>
              <a:spcAft>
                <a:spcPts val="0"/>
              </a:spcAft>
              <a:buClrTx/>
              <a:buSzTx/>
              <a:buFontTx/>
              <a:buNone/>
              <a:tabLst/>
              <a:defRPr/>
            </a:pPr>
            <a:r>
              <a:rPr kumimoji="0" lang="en-GB" sz="1400" b="1" i="0" u="none" strike="noStrike" kern="0" cap="none" spc="0" normalizeH="0" baseline="0" noProof="0">
                <a:ln>
                  <a:noFill/>
                </a:ln>
                <a:effectLst/>
                <a:uLnTx/>
                <a:uFillTx/>
                <a:latin typeface="+mj-lt"/>
                <a:ea typeface="Verdana" panose="020B0604030504040204" pitchFamily="34" charset="0"/>
              </a:rPr>
              <a:t>Technology, Media &amp; Telecommunications</a:t>
            </a:r>
          </a:p>
        </p:txBody>
      </p:sp>
      <p:sp>
        <p:nvSpPr>
          <p:cNvPr id="86" name="Rectangle 85">
            <a:extLst>
              <a:ext uri="{FF2B5EF4-FFF2-40B4-BE49-F238E27FC236}">
                <a16:creationId xmlns:a16="http://schemas.microsoft.com/office/drawing/2014/main" id="{823C1CEE-275A-7CFB-0E41-7A58F17CE0A1}"/>
              </a:ext>
            </a:extLst>
          </p:cNvPr>
          <p:cNvSpPr/>
          <p:nvPr/>
        </p:nvSpPr>
        <p:spPr bwMode="gray">
          <a:xfrm>
            <a:off x="9671432" y="1429099"/>
            <a:ext cx="1620981" cy="579646"/>
          </a:xfrm>
          <a:prstGeom prst="rect">
            <a:avLst/>
          </a:prstGeom>
          <a:noFill/>
          <a:ln w="19050" algn="ctr">
            <a:noFill/>
            <a:miter lim="800000"/>
            <a:headEnd/>
            <a:tailEnd/>
          </a:ln>
        </p:spPr>
        <p:txBody>
          <a:bodyPr wrap="square" lIns="0" tIns="0" rIns="0" bIns="0" rtlCol="0" anchor="t">
            <a:noAutofit/>
          </a:bodyPr>
          <a:lstStyle/>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IN" altLang="en-US" sz="1200" b="0" i="0" u="none" strike="noStrike" kern="0" cap="none" spc="0" normalizeH="0" baseline="0" noProof="0">
                <a:ln>
                  <a:noFill/>
                </a:ln>
                <a:effectLst/>
                <a:uLnTx/>
                <a:uFillTx/>
                <a:latin typeface="+mj-lt"/>
                <a:ea typeface="Verdana" panose="020B0604030504040204" pitchFamily="34" charset="0"/>
              </a:rPr>
              <a:t>Telecommunication</a:t>
            </a:r>
          </a:p>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IN" altLang="en-US" sz="1200" b="0" i="0" u="none" strike="noStrike" kern="0" cap="none" spc="0" normalizeH="0" baseline="0" noProof="0">
                <a:ln>
                  <a:noFill/>
                </a:ln>
                <a:effectLst/>
                <a:uLnTx/>
                <a:uFillTx/>
                <a:latin typeface="+mj-lt"/>
                <a:ea typeface="Verdana" panose="020B0604030504040204" pitchFamily="34" charset="0"/>
              </a:rPr>
              <a:t>Media &amp; Entertainment</a:t>
            </a:r>
          </a:p>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IN" altLang="en-US" sz="1200" b="0" i="0" u="none" strike="noStrike" kern="0" cap="none" spc="0" normalizeH="0" baseline="0" noProof="0">
                <a:ln>
                  <a:noFill/>
                </a:ln>
                <a:effectLst/>
                <a:uLnTx/>
                <a:uFillTx/>
                <a:latin typeface="+mj-lt"/>
                <a:ea typeface="Verdana" panose="020B0604030504040204" pitchFamily="34" charset="0"/>
              </a:rPr>
              <a:t>Technology</a:t>
            </a:r>
          </a:p>
        </p:txBody>
      </p:sp>
      <p:sp>
        <p:nvSpPr>
          <p:cNvPr id="69" name="Rectangle 68">
            <a:extLst>
              <a:ext uri="{FF2B5EF4-FFF2-40B4-BE49-F238E27FC236}">
                <a16:creationId xmlns:a16="http://schemas.microsoft.com/office/drawing/2014/main" id="{CF772A03-3434-708C-750D-825A4A05320D}"/>
              </a:ext>
            </a:extLst>
          </p:cNvPr>
          <p:cNvSpPr/>
          <p:nvPr/>
        </p:nvSpPr>
        <p:spPr bwMode="gray">
          <a:xfrm>
            <a:off x="6248199" y="2334043"/>
            <a:ext cx="1473620" cy="447110"/>
          </a:xfrm>
          <a:prstGeom prst="rect">
            <a:avLst/>
          </a:prstGeom>
          <a:noFill/>
          <a:ln w="19050" algn="ctr">
            <a:noFill/>
            <a:miter lim="800000"/>
            <a:headEnd/>
            <a:tailEnd/>
          </a:ln>
        </p:spPr>
        <p:txBody>
          <a:bodyPr wrap="square" lIns="0" tIns="0" rIns="0" bIns="0" rtlCol="0" anchor="ctr">
            <a:noAutofit/>
          </a:bodyPr>
          <a:lstStyle/>
          <a:p>
            <a:pPr marL="0" marR="0" lvl="0" indent="0" algn="ctr" defTabSz="685784" eaLnBrk="1" fontAlgn="auto" latinLnBrk="0" hangingPunct="1">
              <a:lnSpc>
                <a:spcPct val="106000"/>
              </a:lnSpc>
              <a:spcBef>
                <a:spcPts val="0"/>
              </a:spcBef>
              <a:spcAft>
                <a:spcPts val="0"/>
              </a:spcAft>
              <a:buClrTx/>
              <a:buSzTx/>
              <a:buFontTx/>
              <a:buNone/>
              <a:tabLst/>
              <a:defRPr/>
            </a:pPr>
            <a:r>
              <a:rPr kumimoji="0" lang="en-GB" sz="1400" b="1" i="0" u="none" strike="noStrike" kern="0" cap="none" spc="0" normalizeH="0" baseline="0" noProof="0">
                <a:ln>
                  <a:noFill/>
                </a:ln>
                <a:effectLst/>
                <a:uLnTx/>
                <a:uFillTx/>
                <a:latin typeface="+mj-lt"/>
                <a:ea typeface="Verdana" panose="020B0604030504040204" pitchFamily="34" charset="0"/>
              </a:rPr>
              <a:t>Life Sciences &amp; Health Care</a:t>
            </a:r>
          </a:p>
        </p:txBody>
      </p:sp>
      <p:sp>
        <p:nvSpPr>
          <p:cNvPr id="84" name="Rectangle 83">
            <a:extLst>
              <a:ext uri="{FF2B5EF4-FFF2-40B4-BE49-F238E27FC236}">
                <a16:creationId xmlns:a16="http://schemas.microsoft.com/office/drawing/2014/main" id="{CD4A3D7B-E166-90ED-149F-375582E6CAAE}"/>
              </a:ext>
            </a:extLst>
          </p:cNvPr>
          <p:cNvSpPr/>
          <p:nvPr/>
        </p:nvSpPr>
        <p:spPr bwMode="gray">
          <a:xfrm>
            <a:off x="6376076" y="1678807"/>
            <a:ext cx="1217867" cy="394980"/>
          </a:xfrm>
          <a:prstGeom prst="rect">
            <a:avLst/>
          </a:prstGeom>
          <a:noFill/>
          <a:ln w="19050" algn="ctr">
            <a:noFill/>
            <a:miter lim="800000"/>
            <a:headEnd/>
            <a:tailEnd/>
          </a:ln>
        </p:spPr>
        <p:txBody>
          <a:bodyPr wrap="square" lIns="0" tIns="0" rIns="0" bIns="0" rtlCol="0" anchor="t">
            <a:noAutofit/>
          </a:bodyPr>
          <a:lstStyle/>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Health Care</a:t>
            </a:r>
          </a:p>
          <a:p>
            <a:pPr marL="182880" marR="0" lvl="0" indent="-182880" defTabSz="68580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Life Sciences (Pharma)</a:t>
            </a:r>
          </a:p>
        </p:txBody>
      </p:sp>
      <p:sp>
        <p:nvSpPr>
          <p:cNvPr id="66" name="Rectangle 65">
            <a:extLst>
              <a:ext uri="{FF2B5EF4-FFF2-40B4-BE49-F238E27FC236}">
                <a16:creationId xmlns:a16="http://schemas.microsoft.com/office/drawing/2014/main" id="{7DDB9352-7AAC-5E44-C7ED-A6F875118830}"/>
              </a:ext>
            </a:extLst>
          </p:cNvPr>
          <p:cNvSpPr/>
          <p:nvPr/>
        </p:nvSpPr>
        <p:spPr bwMode="gray">
          <a:xfrm>
            <a:off x="966227" y="4995784"/>
            <a:ext cx="2484506" cy="403439"/>
          </a:xfrm>
          <a:prstGeom prst="rect">
            <a:avLst/>
          </a:prstGeom>
          <a:noFill/>
          <a:ln w="19050" algn="ctr">
            <a:noFill/>
            <a:miter lim="800000"/>
            <a:headEnd/>
            <a:tailEnd/>
          </a:ln>
        </p:spPr>
        <p:txBody>
          <a:bodyPr wrap="square" lIns="50006" tIns="50006" rIns="50006" bIns="50006" rtlCol="0" anchor="ctr">
            <a:noAutofit/>
          </a:bodyPr>
          <a:lstStyle/>
          <a:p>
            <a:pPr marL="0" marR="0" lvl="0" indent="0" algn="ctr" defTabSz="685784" eaLnBrk="1" fontAlgn="auto" latinLnBrk="0" hangingPunct="1">
              <a:lnSpc>
                <a:spcPct val="106000"/>
              </a:lnSpc>
              <a:spcBef>
                <a:spcPts val="0"/>
              </a:spcBef>
              <a:spcAft>
                <a:spcPts val="0"/>
              </a:spcAft>
              <a:buClrTx/>
              <a:buSzTx/>
              <a:buFontTx/>
              <a:buNone/>
              <a:tabLst/>
              <a:defRPr/>
            </a:pPr>
            <a:r>
              <a:rPr kumimoji="0" lang="en-GB" sz="1400" b="1" i="0" u="none" strike="noStrike" kern="0" cap="none" spc="0" normalizeH="0" baseline="0" noProof="0">
                <a:ln>
                  <a:noFill/>
                </a:ln>
                <a:effectLst/>
                <a:uLnTx/>
                <a:uFillTx/>
                <a:latin typeface="+mj-lt"/>
                <a:ea typeface="Verdana" panose="020B0604030504040204" pitchFamily="34" charset="0"/>
              </a:rPr>
              <a:t>Energy, Resources &amp; Industrials</a:t>
            </a:r>
          </a:p>
        </p:txBody>
      </p:sp>
      <p:sp>
        <p:nvSpPr>
          <p:cNvPr id="81" name="Rectangle 80">
            <a:extLst>
              <a:ext uri="{FF2B5EF4-FFF2-40B4-BE49-F238E27FC236}">
                <a16:creationId xmlns:a16="http://schemas.microsoft.com/office/drawing/2014/main" id="{72BF5B50-8675-4A5D-3344-2ADB2C2DEA06}"/>
              </a:ext>
            </a:extLst>
          </p:cNvPr>
          <p:cNvSpPr/>
          <p:nvPr/>
        </p:nvSpPr>
        <p:spPr bwMode="gray">
          <a:xfrm>
            <a:off x="970260" y="5397463"/>
            <a:ext cx="2413798" cy="1056254"/>
          </a:xfrm>
          <a:prstGeom prst="rect">
            <a:avLst/>
          </a:prstGeom>
          <a:noFill/>
          <a:ln w="19050" algn="ctr">
            <a:noFill/>
            <a:miter lim="800000"/>
            <a:headEnd/>
            <a:tailEnd/>
          </a:ln>
        </p:spPr>
        <p:txBody>
          <a:bodyPr wrap="square" lIns="0" tIns="0" rIns="0" bIns="0" rtlCol="0" anchor="t">
            <a:noAutofit/>
          </a:bodyPr>
          <a:lstStyle/>
          <a:p>
            <a:pPr marL="182880" marR="0" lvl="0" indent="-182880" defTabSz="68461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Industrial Products &amp; Construction</a:t>
            </a:r>
          </a:p>
          <a:p>
            <a:pPr marL="182880" marR="0" lvl="0" indent="-182880" defTabSz="68461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Power &amp; Utilities</a:t>
            </a:r>
          </a:p>
          <a:p>
            <a:pPr marL="182880" marR="0" lvl="0" indent="-182880" defTabSz="68461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Mining &amp; Metals</a:t>
            </a:r>
          </a:p>
          <a:p>
            <a:pPr marL="182880" marR="0" lvl="0" indent="-182880" defTabSz="684610" eaLnBrk="1" fontAlgn="base" latinLnBrk="0" hangingPunct="1">
              <a:lnSpc>
                <a:spcPct val="100000"/>
              </a:lnSpc>
              <a:spcBef>
                <a:spcPts val="100"/>
              </a:spcBef>
              <a:spcAft>
                <a:spcPts val="100"/>
              </a:spcAft>
              <a:buClrTx/>
              <a:buSzTx/>
              <a:buFont typeface="Arial" panose="020B0604020202020204" pitchFamily="34" charset="0"/>
              <a:buChar char="•"/>
              <a:tabLst/>
              <a:defRPr/>
            </a:pPr>
            <a:r>
              <a:rPr kumimoji="0" lang="en-US" altLang="en-US" sz="1200" b="0" i="0" u="none" strike="noStrike" kern="0" cap="none" spc="0" normalizeH="0" baseline="0" noProof="0">
                <a:ln>
                  <a:noFill/>
                </a:ln>
                <a:effectLst/>
                <a:uLnTx/>
                <a:uFillTx/>
                <a:latin typeface="+mj-lt"/>
                <a:ea typeface="Verdana" panose="020B0604030504040204" pitchFamily="34" charset="0"/>
              </a:rPr>
              <a:t>Energy &amp; Chemicals</a:t>
            </a:r>
          </a:p>
        </p:txBody>
      </p:sp>
      <p:sp>
        <p:nvSpPr>
          <p:cNvPr id="20" name="Freeform: Shape 19">
            <a:extLst>
              <a:ext uri="{FF2B5EF4-FFF2-40B4-BE49-F238E27FC236}">
                <a16:creationId xmlns:a16="http://schemas.microsoft.com/office/drawing/2014/main" id="{05146A70-C813-240A-6A81-FE5DC6FBB495}"/>
              </a:ext>
            </a:extLst>
          </p:cNvPr>
          <p:cNvSpPr/>
          <p:nvPr/>
        </p:nvSpPr>
        <p:spPr>
          <a:xfrm>
            <a:off x="720631" y="3931389"/>
            <a:ext cx="1624029" cy="1011494"/>
          </a:xfrm>
          <a:custGeom>
            <a:avLst/>
            <a:gdLst>
              <a:gd name="connsiteX0" fmla="*/ 1624029 w 1624029"/>
              <a:gd name="connsiteY0" fmla="*/ 406008 h 1011494"/>
              <a:gd name="connsiteX1" fmla="*/ 1563410 w 1624029"/>
              <a:gd name="connsiteY1" fmla="*/ 332701 h 1011494"/>
              <a:gd name="connsiteX2" fmla="*/ 958629 w 1624029"/>
              <a:gd name="connsiteY2" fmla="*/ 30310 h 1011494"/>
              <a:gd name="connsiteX3" fmla="*/ 812015 w 1624029"/>
              <a:gd name="connsiteY3" fmla="*/ 0 h 1011494"/>
              <a:gd name="connsiteX4" fmla="*/ 665401 w 1624029"/>
              <a:gd name="connsiteY4" fmla="*/ 30310 h 1011494"/>
              <a:gd name="connsiteX5" fmla="*/ 60619 w 1624029"/>
              <a:gd name="connsiteY5" fmla="*/ 332701 h 1011494"/>
              <a:gd name="connsiteX6" fmla="*/ 0 w 1624029"/>
              <a:gd name="connsiteY6" fmla="*/ 406008 h 1011494"/>
              <a:gd name="connsiteX7" fmla="*/ 0 w 1624029"/>
              <a:gd name="connsiteY7" fmla="*/ 605487 h 1011494"/>
              <a:gd name="connsiteX8" fmla="*/ 60619 w 1624029"/>
              <a:gd name="connsiteY8" fmla="*/ 678794 h 1011494"/>
              <a:gd name="connsiteX9" fmla="*/ 665401 w 1624029"/>
              <a:gd name="connsiteY9" fmla="*/ 981185 h 1011494"/>
              <a:gd name="connsiteX10" fmla="*/ 812015 w 1624029"/>
              <a:gd name="connsiteY10" fmla="*/ 1011495 h 1011494"/>
              <a:gd name="connsiteX11" fmla="*/ 958629 w 1624029"/>
              <a:gd name="connsiteY11" fmla="*/ 981185 h 1011494"/>
              <a:gd name="connsiteX12" fmla="*/ 1563410 w 1624029"/>
              <a:gd name="connsiteY12" fmla="*/ 678794 h 1011494"/>
              <a:gd name="connsiteX13" fmla="*/ 1624029 w 1624029"/>
              <a:gd name="connsiteY13" fmla="*/ 605487 h 1011494"/>
              <a:gd name="connsiteX14" fmla="*/ 1624029 w 1624029"/>
              <a:gd name="connsiteY14" fmla="*/ 406008 h 101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4029" h="1011494">
                <a:moveTo>
                  <a:pt x="1624029" y="406008"/>
                </a:moveTo>
                <a:cubicBezTo>
                  <a:pt x="1624029" y="379222"/>
                  <a:pt x="1603588" y="353142"/>
                  <a:pt x="1563410" y="332701"/>
                </a:cubicBezTo>
                <a:lnTo>
                  <a:pt x="958629" y="30310"/>
                </a:lnTo>
                <a:cubicBezTo>
                  <a:pt x="918451" y="9868"/>
                  <a:pt x="865585" y="0"/>
                  <a:pt x="812015" y="0"/>
                </a:cubicBezTo>
                <a:cubicBezTo>
                  <a:pt x="758444" y="0"/>
                  <a:pt x="706284" y="9868"/>
                  <a:pt x="665401" y="30310"/>
                </a:cubicBezTo>
                <a:lnTo>
                  <a:pt x="60619" y="332701"/>
                </a:lnTo>
                <a:cubicBezTo>
                  <a:pt x="20441" y="353142"/>
                  <a:pt x="0" y="379222"/>
                  <a:pt x="0" y="406008"/>
                </a:cubicBezTo>
                <a:lnTo>
                  <a:pt x="0" y="605487"/>
                </a:lnTo>
                <a:cubicBezTo>
                  <a:pt x="0" y="632272"/>
                  <a:pt x="20441" y="658353"/>
                  <a:pt x="60619" y="678794"/>
                </a:cubicBezTo>
                <a:lnTo>
                  <a:pt x="665401" y="981185"/>
                </a:lnTo>
                <a:cubicBezTo>
                  <a:pt x="705579" y="1001627"/>
                  <a:pt x="758444" y="1011495"/>
                  <a:pt x="812015" y="1011495"/>
                </a:cubicBezTo>
                <a:cubicBezTo>
                  <a:pt x="865585" y="1011495"/>
                  <a:pt x="917746" y="1001627"/>
                  <a:pt x="958629" y="981185"/>
                </a:cubicBezTo>
                <a:lnTo>
                  <a:pt x="1563410" y="678794"/>
                </a:lnTo>
                <a:cubicBezTo>
                  <a:pt x="1603588" y="658353"/>
                  <a:pt x="1624029" y="632272"/>
                  <a:pt x="1624029" y="605487"/>
                </a:cubicBezTo>
                <a:lnTo>
                  <a:pt x="1624029" y="406008"/>
                </a:lnTo>
                <a:close/>
              </a:path>
            </a:pathLst>
          </a:custGeom>
          <a:gradFill flip="none" rotWithShape="1">
            <a:gsLst>
              <a:gs pos="5000">
                <a:srgbClr val="005587"/>
              </a:gs>
              <a:gs pos="17000">
                <a:srgbClr val="006092"/>
              </a:gs>
              <a:gs pos="82000">
                <a:schemeClr val="accent6">
                  <a:lumMod val="60000"/>
                  <a:lumOff val="40000"/>
                </a:schemeClr>
              </a:gs>
            </a:gsLst>
            <a:lin ang="16200000" scaled="1"/>
            <a:tileRect/>
          </a:gradFill>
          <a:ln w="7048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8EC648F-77D0-6B64-00B0-51FB5AE8406F}"/>
              </a:ext>
            </a:extLst>
          </p:cNvPr>
          <p:cNvSpPr/>
          <p:nvPr/>
        </p:nvSpPr>
        <p:spPr>
          <a:xfrm>
            <a:off x="781250" y="4410704"/>
            <a:ext cx="1502790" cy="346093"/>
          </a:xfrm>
          <a:custGeom>
            <a:avLst/>
            <a:gdLst>
              <a:gd name="connsiteX0" fmla="*/ 898009 w 1502790"/>
              <a:gd name="connsiteY0" fmla="*/ 302391 h 346093"/>
              <a:gd name="connsiteX1" fmla="*/ 751396 w 1502790"/>
              <a:gd name="connsiteY1" fmla="*/ 332701 h 346093"/>
              <a:gd name="connsiteX2" fmla="*/ 604782 w 1502790"/>
              <a:gd name="connsiteY2" fmla="*/ 302391 h 346093"/>
              <a:gd name="connsiteX3" fmla="*/ 0 w 1502790"/>
              <a:gd name="connsiteY3" fmla="*/ 0 h 346093"/>
              <a:gd name="connsiteX4" fmla="*/ 604782 w 1502790"/>
              <a:gd name="connsiteY4" fmla="*/ 315784 h 346093"/>
              <a:gd name="connsiteX5" fmla="*/ 751396 w 1502790"/>
              <a:gd name="connsiteY5" fmla="*/ 346093 h 346093"/>
              <a:gd name="connsiteX6" fmla="*/ 898009 w 1502790"/>
              <a:gd name="connsiteY6" fmla="*/ 315784 h 346093"/>
              <a:gd name="connsiteX7" fmla="*/ 1502791 w 1502790"/>
              <a:gd name="connsiteY7" fmla="*/ 0 h 346093"/>
              <a:gd name="connsiteX8" fmla="*/ 898009 w 1502790"/>
              <a:gd name="connsiteY8" fmla="*/ 302391 h 34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790" h="346093">
                <a:moveTo>
                  <a:pt x="898009" y="302391"/>
                </a:moveTo>
                <a:cubicBezTo>
                  <a:pt x="857832" y="322832"/>
                  <a:pt x="804966" y="332701"/>
                  <a:pt x="751396" y="332701"/>
                </a:cubicBezTo>
                <a:cubicBezTo>
                  <a:pt x="697825" y="332701"/>
                  <a:pt x="645665" y="322832"/>
                  <a:pt x="604782" y="302391"/>
                </a:cubicBezTo>
                <a:lnTo>
                  <a:pt x="0" y="0"/>
                </a:lnTo>
                <a:lnTo>
                  <a:pt x="604782" y="315784"/>
                </a:lnTo>
                <a:cubicBezTo>
                  <a:pt x="644960" y="336225"/>
                  <a:pt x="697825" y="346093"/>
                  <a:pt x="751396" y="346093"/>
                </a:cubicBezTo>
                <a:cubicBezTo>
                  <a:pt x="804966" y="346093"/>
                  <a:pt x="857127" y="336225"/>
                  <a:pt x="898009" y="315784"/>
                </a:cubicBezTo>
                <a:lnTo>
                  <a:pt x="1502791" y="0"/>
                </a:lnTo>
                <a:lnTo>
                  <a:pt x="898009" y="302391"/>
                </a:lnTo>
                <a:close/>
              </a:path>
            </a:pathLst>
          </a:custGeom>
          <a:solidFill>
            <a:srgbClr val="FFFFFF"/>
          </a:solidFill>
          <a:ln w="7048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06446371-45F1-5ACB-DC5F-570881E09399}"/>
              </a:ext>
            </a:extLst>
          </p:cNvPr>
          <p:cNvSpPr/>
          <p:nvPr/>
        </p:nvSpPr>
        <p:spPr>
          <a:xfrm>
            <a:off x="2534976" y="3024216"/>
            <a:ext cx="1624029" cy="1011494"/>
          </a:xfrm>
          <a:custGeom>
            <a:avLst/>
            <a:gdLst>
              <a:gd name="connsiteX0" fmla="*/ 1624029 w 1624029"/>
              <a:gd name="connsiteY0" fmla="*/ 406008 h 1011494"/>
              <a:gd name="connsiteX1" fmla="*/ 1563411 w 1624029"/>
              <a:gd name="connsiteY1" fmla="*/ 332701 h 1011494"/>
              <a:gd name="connsiteX2" fmla="*/ 958629 w 1624029"/>
              <a:gd name="connsiteY2" fmla="*/ 30310 h 1011494"/>
              <a:gd name="connsiteX3" fmla="*/ 812015 w 1624029"/>
              <a:gd name="connsiteY3" fmla="*/ 0 h 1011494"/>
              <a:gd name="connsiteX4" fmla="*/ 665401 w 1624029"/>
              <a:gd name="connsiteY4" fmla="*/ 30310 h 1011494"/>
              <a:gd name="connsiteX5" fmla="*/ 60619 w 1624029"/>
              <a:gd name="connsiteY5" fmla="*/ 332701 h 1011494"/>
              <a:gd name="connsiteX6" fmla="*/ 0 w 1624029"/>
              <a:gd name="connsiteY6" fmla="*/ 406008 h 1011494"/>
              <a:gd name="connsiteX7" fmla="*/ 0 w 1624029"/>
              <a:gd name="connsiteY7" fmla="*/ 605487 h 1011494"/>
              <a:gd name="connsiteX8" fmla="*/ 60619 w 1624029"/>
              <a:gd name="connsiteY8" fmla="*/ 678794 h 1011494"/>
              <a:gd name="connsiteX9" fmla="*/ 665401 w 1624029"/>
              <a:gd name="connsiteY9" fmla="*/ 981185 h 1011494"/>
              <a:gd name="connsiteX10" fmla="*/ 812015 w 1624029"/>
              <a:gd name="connsiteY10" fmla="*/ 1011495 h 1011494"/>
              <a:gd name="connsiteX11" fmla="*/ 958629 w 1624029"/>
              <a:gd name="connsiteY11" fmla="*/ 981185 h 1011494"/>
              <a:gd name="connsiteX12" fmla="*/ 1563411 w 1624029"/>
              <a:gd name="connsiteY12" fmla="*/ 678794 h 1011494"/>
              <a:gd name="connsiteX13" fmla="*/ 1624029 w 1624029"/>
              <a:gd name="connsiteY13" fmla="*/ 605487 h 1011494"/>
              <a:gd name="connsiteX14" fmla="*/ 1624029 w 1624029"/>
              <a:gd name="connsiteY14" fmla="*/ 406008 h 101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4029" h="1011494">
                <a:moveTo>
                  <a:pt x="1624029" y="406008"/>
                </a:moveTo>
                <a:cubicBezTo>
                  <a:pt x="1624029" y="379222"/>
                  <a:pt x="1603588" y="353142"/>
                  <a:pt x="1563411" y="332701"/>
                </a:cubicBezTo>
                <a:lnTo>
                  <a:pt x="958629" y="30310"/>
                </a:lnTo>
                <a:cubicBezTo>
                  <a:pt x="918451" y="9868"/>
                  <a:pt x="865585" y="0"/>
                  <a:pt x="812015" y="0"/>
                </a:cubicBezTo>
                <a:cubicBezTo>
                  <a:pt x="758444" y="0"/>
                  <a:pt x="706284" y="9868"/>
                  <a:pt x="665401" y="30310"/>
                </a:cubicBezTo>
                <a:lnTo>
                  <a:pt x="60619" y="332701"/>
                </a:lnTo>
                <a:cubicBezTo>
                  <a:pt x="20441" y="353142"/>
                  <a:pt x="0" y="379222"/>
                  <a:pt x="0" y="406008"/>
                </a:cubicBezTo>
                <a:lnTo>
                  <a:pt x="0" y="605487"/>
                </a:lnTo>
                <a:cubicBezTo>
                  <a:pt x="0" y="632272"/>
                  <a:pt x="20441" y="658353"/>
                  <a:pt x="60619" y="678794"/>
                </a:cubicBezTo>
                <a:lnTo>
                  <a:pt x="665401" y="981185"/>
                </a:lnTo>
                <a:cubicBezTo>
                  <a:pt x="705579" y="1001626"/>
                  <a:pt x="758444" y="1011495"/>
                  <a:pt x="812015" y="1011495"/>
                </a:cubicBezTo>
                <a:cubicBezTo>
                  <a:pt x="865585" y="1011495"/>
                  <a:pt x="917746" y="1001626"/>
                  <a:pt x="958629" y="981185"/>
                </a:cubicBezTo>
                <a:lnTo>
                  <a:pt x="1563411" y="678794"/>
                </a:lnTo>
                <a:cubicBezTo>
                  <a:pt x="1603588" y="658353"/>
                  <a:pt x="1624029" y="632272"/>
                  <a:pt x="1624029" y="605487"/>
                </a:cubicBezTo>
                <a:lnTo>
                  <a:pt x="1624029" y="406008"/>
                </a:lnTo>
                <a:close/>
              </a:path>
            </a:pathLst>
          </a:custGeom>
          <a:gradFill flip="none" rotWithShape="1">
            <a:gsLst>
              <a:gs pos="35000">
                <a:srgbClr val="00ABAB"/>
              </a:gs>
              <a:gs pos="100000">
                <a:srgbClr val="007680"/>
              </a:gs>
            </a:gsLst>
            <a:lin ang="5400000" scaled="1"/>
            <a:tileRect/>
          </a:gradFill>
          <a:ln w="7048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323F048-EEEC-2108-F0A6-4C6C8EF981BD}"/>
              </a:ext>
            </a:extLst>
          </p:cNvPr>
          <p:cNvSpPr/>
          <p:nvPr/>
        </p:nvSpPr>
        <p:spPr>
          <a:xfrm>
            <a:off x="2595595" y="3503530"/>
            <a:ext cx="1502791" cy="346093"/>
          </a:xfrm>
          <a:custGeom>
            <a:avLst/>
            <a:gdLst>
              <a:gd name="connsiteX0" fmla="*/ 898009 w 1502791"/>
              <a:gd name="connsiteY0" fmla="*/ 302391 h 346093"/>
              <a:gd name="connsiteX1" fmla="*/ 751396 w 1502791"/>
              <a:gd name="connsiteY1" fmla="*/ 332701 h 346093"/>
              <a:gd name="connsiteX2" fmla="*/ 604782 w 1502791"/>
              <a:gd name="connsiteY2" fmla="*/ 302391 h 346093"/>
              <a:gd name="connsiteX3" fmla="*/ 0 w 1502791"/>
              <a:gd name="connsiteY3" fmla="*/ 0 h 346093"/>
              <a:gd name="connsiteX4" fmla="*/ 604782 w 1502791"/>
              <a:gd name="connsiteY4" fmla="*/ 315784 h 346093"/>
              <a:gd name="connsiteX5" fmla="*/ 751396 w 1502791"/>
              <a:gd name="connsiteY5" fmla="*/ 346093 h 346093"/>
              <a:gd name="connsiteX6" fmla="*/ 898009 w 1502791"/>
              <a:gd name="connsiteY6" fmla="*/ 315784 h 346093"/>
              <a:gd name="connsiteX7" fmla="*/ 1502791 w 1502791"/>
              <a:gd name="connsiteY7" fmla="*/ 0 h 346093"/>
              <a:gd name="connsiteX8" fmla="*/ 898009 w 1502791"/>
              <a:gd name="connsiteY8" fmla="*/ 302391 h 34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791" h="346093">
                <a:moveTo>
                  <a:pt x="898009" y="302391"/>
                </a:moveTo>
                <a:cubicBezTo>
                  <a:pt x="857831" y="322833"/>
                  <a:pt x="804966" y="332701"/>
                  <a:pt x="751396" y="332701"/>
                </a:cubicBezTo>
                <a:cubicBezTo>
                  <a:pt x="697825" y="332701"/>
                  <a:pt x="645665" y="322833"/>
                  <a:pt x="604782" y="302391"/>
                </a:cubicBezTo>
                <a:lnTo>
                  <a:pt x="0" y="0"/>
                </a:lnTo>
                <a:lnTo>
                  <a:pt x="604782" y="315784"/>
                </a:lnTo>
                <a:cubicBezTo>
                  <a:pt x="644960" y="336225"/>
                  <a:pt x="697825" y="346093"/>
                  <a:pt x="751396" y="346093"/>
                </a:cubicBezTo>
                <a:cubicBezTo>
                  <a:pt x="804966" y="346093"/>
                  <a:pt x="857127" y="336225"/>
                  <a:pt x="898009" y="315784"/>
                </a:cubicBezTo>
                <a:lnTo>
                  <a:pt x="1502791" y="0"/>
                </a:lnTo>
                <a:lnTo>
                  <a:pt x="898009" y="302391"/>
                </a:lnTo>
                <a:close/>
              </a:path>
            </a:pathLst>
          </a:custGeom>
          <a:solidFill>
            <a:srgbClr val="FFFFFF"/>
          </a:solidFill>
          <a:ln w="7048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5B1042C1-D96D-F33F-8E04-5520B2C64156}"/>
              </a:ext>
            </a:extLst>
          </p:cNvPr>
          <p:cNvSpPr/>
          <p:nvPr/>
        </p:nvSpPr>
        <p:spPr>
          <a:xfrm>
            <a:off x="4348617" y="3931389"/>
            <a:ext cx="1624029" cy="1011494"/>
          </a:xfrm>
          <a:custGeom>
            <a:avLst/>
            <a:gdLst>
              <a:gd name="connsiteX0" fmla="*/ 1624030 w 1624029"/>
              <a:gd name="connsiteY0" fmla="*/ 406008 h 1011494"/>
              <a:gd name="connsiteX1" fmla="*/ 1563410 w 1624029"/>
              <a:gd name="connsiteY1" fmla="*/ 332701 h 1011494"/>
              <a:gd name="connsiteX2" fmla="*/ 958628 w 1624029"/>
              <a:gd name="connsiteY2" fmla="*/ 30310 h 1011494"/>
              <a:gd name="connsiteX3" fmla="*/ 812015 w 1624029"/>
              <a:gd name="connsiteY3" fmla="*/ 0 h 1011494"/>
              <a:gd name="connsiteX4" fmla="*/ 665401 w 1624029"/>
              <a:gd name="connsiteY4" fmla="*/ 30310 h 1011494"/>
              <a:gd name="connsiteX5" fmla="*/ 60619 w 1624029"/>
              <a:gd name="connsiteY5" fmla="*/ 332701 h 1011494"/>
              <a:gd name="connsiteX6" fmla="*/ 0 w 1624029"/>
              <a:gd name="connsiteY6" fmla="*/ 406008 h 1011494"/>
              <a:gd name="connsiteX7" fmla="*/ 0 w 1624029"/>
              <a:gd name="connsiteY7" fmla="*/ 605487 h 1011494"/>
              <a:gd name="connsiteX8" fmla="*/ 60619 w 1624029"/>
              <a:gd name="connsiteY8" fmla="*/ 678794 h 1011494"/>
              <a:gd name="connsiteX9" fmla="*/ 665401 w 1624029"/>
              <a:gd name="connsiteY9" fmla="*/ 981185 h 1011494"/>
              <a:gd name="connsiteX10" fmla="*/ 812015 w 1624029"/>
              <a:gd name="connsiteY10" fmla="*/ 1011495 h 1011494"/>
              <a:gd name="connsiteX11" fmla="*/ 958628 w 1624029"/>
              <a:gd name="connsiteY11" fmla="*/ 981185 h 1011494"/>
              <a:gd name="connsiteX12" fmla="*/ 1563410 w 1624029"/>
              <a:gd name="connsiteY12" fmla="*/ 678794 h 1011494"/>
              <a:gd name="connsiteX13" fmla="*/ 1624030 w 1624029"/>
              <a:gd name="connsiteY13" fmla="*/ 605487 h 1011494"/>
              <a:gd name="connsiteX14" fmla="*/ 1624030 w 1624029"/>
              <a:gd name="connsiteY14" fmla="*/ 406008 h 101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4029" h="1011494">
                <a:moveTo>
                  <a:pt x="1624030" y="406008"/>
                </a:moveTo>
                <a:cubicBezTo>
                  <a:pt x="1624030" y="379222"/>
                  <a:pt x="1603588" y="353142"/>
                  <a:pt x="1563410" y="332701"/>
                </a:cubicBezTo>
                <a:lnTo>
                  <a:pt x="958628" y="30310"/>
                </a:lnTo>
                <a:cubicBezTo>
                  <a:pt x="918451" y="9868"/>
                  <a:pt x="865585" y="0"/>
                  <a:pt x="812015" y="0"/>
                </a:cubicBezTo>
                <a:cubicBezTo>
                  <a:pt x="758444" y="0"/>
                  <a:pt x="706284" y="9868"/>
                  <a:pt x="665401" y="30310"/>
                </a:cubicBezTo>
                <a:lnTo>
                  <a:pt x="60619" y="332701"/>
                </a:lnTo>
                <a:cubicBezTo>
                  <a:pt x="20441" y="353142"/>
                  <a:pt x="0" y="379222"/>
                  <a:pt x="0" y="406008"/>
                </a:cubicBezTo>
                <a:lnTo>
                  <a:pt x="0" y="605487"/>
                </a:lnTo>
                <a:cubicBezTo>
                  <a:pt x="0" y="632272"/>
                  <a:pt x="20441" y="658353"/>
                  <a:pt x="60619" y="678794"/>
                </a:cubicBezTo>
                <a:lnTo>
                  <a:pt x="665401" y="981185"/>
                </a:lnTo>
                <a:cubicBezTo>
                  <a:pt x="705579" y="1001627"/>
                  <a:pt x="758444" y="1011495"/>
                  <a:pt x="812015" y="1011495"/>
                </a:cubicBezTo>
                <a:cubicBezTo>
                  <a:pt x="865585" y="1011495"/>
                  <a:pt x="917746" y="1001627"/>
                  <a:pt x="958628" y="981185"/>
                </a:cubicBezTo>
                <a:lnTo>
                  <a:pt x="1563410" y="678794"/>
                </a:lnTo>
                <a:cubicBezTo>
                  <a:pt x="1603588" y="658353"/>
                  <a:pt x="1624030" y="632272"/>
                  <a:pt x="1624030" y="605487"/>
                </a:cubicBezTo>
                <a:lnTo>
                  <a:pt x="1624030" y="406008"/>
                </a:lnTo>
                <a:close/>
              </a:path>
            </a:pathLst>
          </a:custGeom>
          <a:gradFill flip="none" rotWithShape="1">
            <a:gsLst>
              <a:gs pos="5000">
                <a:srgbClr val="005587"/>
              </a:gs>
              <a:gs pos="17000">
                <a:srgbClr val="006092"/>
              </a:gs>
              <a:gs pos="82000">
                <a:schemeClr val="accent6">
                  <a:lumMod val="60000"/>
                  <a:lumOff val="40000"/>
                </a:schemeClr>
              </a:gs>
            </a:gsLst>
            <a:lin ang="16200000" scaled="1"/>
            <a:tileRect/>
          </a:gradFill>
          <a:ln w="7048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6CA7D428-1C77-9CBA-6D39-2B9A95915CEE}"/>
              </a:ext>
            </a:extLst>
          </p:cNvPr>
          <p:cNvSpPr/>
          <p:nvPr/>
        </p:nvSpPr>
        <p:spPr>
          <a:xfrm>
            <a:off x="4409236" y="4410704"/>
            <a:ext cx="1502791" cy="346093"/>
          </a:xfrm>
          <a:custGeom>
            <a:avLst/>
            <a:gdLst>
              <a:gd name="connsiteX0" fmla="*/ 898009 w 1502791"/>
              <a:gd name="connsiteY0" fmla="*/ 302391 h 346093"/>
              <a:gd name="connsiteX1" fmla="*/ 751395 w 1502791"/>
              <a:gd name="connsiteY1" fmla="*/ 332701 h 346093"/>
              <a:gd name="connsiteX2" fmla="*/ 604782 w 1502791"/>
              <a:gd name="connsiteY2" fmla="*/ 302391 h 346093"/>
              <a:gd name="connsiteX3" fmla="*/ 0 w 1502791"/>
              <a:gd name="connsiteY3" fmla="*/ 0 h 346093"/>
              <a:gd name="connsiteX4" fmla="*/ 604782 w 1502791"/>
              <a:gd name="connsiteY4" fmla="*/ 315784 h 346093"/>
              <a:gd name="connsiteX5" fmla="*/ 751395 w 1502791"/>
              <a:gd name="connsiteY5" fmla="*/ 346093 h 346093"/>
              <a:gd name="connsiteX6" fmla="*/ 898009 w 1502791"/>
              <a:gd name="connsiteY6" fmla="*/ 315784 h 346093"/>
              <a:gd name="connsiteX7" fmla="*/ 1502791 w 1502791"/>
              <a:gd name="connsiteY7" fmla="*/ 0 h 346093"/>
              <a:gd name="connsiteX8" fmla="*/ 898009 w 1502791"/>
              <a:gd name="connsiteY8" fmla="*/ 302391 h 34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791" h="346093">
                <a:moveTo>
                  <a:pt x="898009" y="302391"/>
                </a:moveTo>
                <a:cubicBezTo>
                  <a:pt x="857831" y="322832"/>
                  <a:pt x="804966" y="332701"/>
                  <a:pt x="751395" y="332701"/>
                </a:cubicBezTo>
                <a:cubicBezTo>
                  <a:pt x="697825" y="332701"/>
                  <a:pt x="645664" y="322832"/>
                  <a:pt x="604782" y="302391"/>
                </a:cubicBezTo>
                <a:lnTo>
                  <a:pt x="0" y="0"/>
                </a:lnTo>
                <a:lnTo>
                  <a:pt x="604782" y="315784"/>
                </a:lnTo>
                <a:cubicBezTo>
                  <a:pt x="644960" y="336225"/>
                  <a:pt x="697825" y="346093"/>
                  <a:pt x="751395" y="346093"/>
                </a:cubicBezTo>
                <a:cubicBezTo>
                  <a:pt x="804966" y="346093"/>
                  <a:pt x="857126" y="336225"/>
                  <a:pt x="898009" y="315784"/>
                </a:cubicBezTo>
                <a:lnTo>
                  <a:pt x="1502791" y="0"/>
                </a:lnTo>
                <a:lnTo>
                  <a:pt x="898009" y="302391"/>
                </a:lnTo>
                <a:close/>
              </a:path>
            </a:pathLst>
          </a:custGeom>
          <a:solidFill>
            <a:srgbClr val="FFFFFF"/>
          </a:solidFill>
          <a:ln w="7048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E43AD947-A946-FB3F-1559-53015C03BC8B}"/>
              </a:ext>
            </a:extLst>
          </p:cNvPr>
          <p:cNvSpPr/>
          <p:nvPr/>
        </p:nvSpPr>
        <p:spPr>
          <a:xfrm>
            <a:off x="7977308" y="3931389"/>
            <a:ext cx="1624028" cy="1011494"/>
          </a:xfrm>
          <a:custGeom>
            <a:avLst/>
            <a:gdLst>
              <a:gd name="connsiteX0" fmla="*/ 1624029 w 1624028"/>
              <a:gd name="connsiteY0" fmla="*/ 406008 h 1011494"/>
              <a:gd name="connsiteX1" fmla="*/ 1563410 w 1624028"/>
              <a:gd name="connsiteY1" fmla="*/ 332701 h 1011494"/>
              <a:gd name="connsiteX2" fmla="*/ 958628 w 1624028"/>
              <a:gd name="connsiteY2" fmla="*/ 30310 h 1011494"/>
              <a:gd name="connsiteX3" fmla="*/ 812015 w 1624028"/>
              <a:gd name="connsiteY3" fmla="*/ 0 h 1011494"/>
              <a:gd name="connsiteX4" fmla="*/ 665401 w 1624028"/>
              <a:gd name="connsiteY4" fmla="*/ 30310 h 1011494"/>
              <a:gd name="connsiteX5" fmla="*/ 60619 w 1624028"/>
              <a:gd name="connsiteY5" fmla="*/ 332701 h 1011494"/>
              <a:gd name="connsiteX6" fmla="*/ 0 w 1624028"/>
              <a:gd name="connsiteY6" fmla="*/ 406008 h 1011494"/>
              <a:gd name="connsiteX7" fmla="*/ 0 w 1624028"/>
              <a:gd name="connsiteY7" fmla="*/ 605487 h 1011494"/>
              <a:gd name="connsiteX8" fmla="*/ 60619 w 1624028"/>
              <a:gd name="connsiteY8" fmla="*/ 678794 h 1011494"/>
              <a:gd name="connsiteX9" fmla="*/ 665401 w 1624028"/>
              <a:gd name="connsiteY9" fmla="*/ 981185 h 1011494"/>
              <a:gd name="connsiteX10" fmla="*/ 812015 w 1624028"/>
              <a:gd name="connsiteY10" fmla="*/ 1011495 h 1011494"/>
              <a:gd name="connsiteX11" fmla="*/ 958628 w 1624028"/>
              <a:gd name="connsiteY11" fmla="*/ 981185 h 1011494"/>
              <a:gd name="connsiteX12" fmla="*/ 1563410 w 1624028"/>
              <a:gd name="connsiteY12" fmla="*/ 678794 h 1011494"/>
              <a:gd name="connsiteX13" fmla="*/ 1624029 w 1624028"/>
              <a:gd name="connsiteY13" fmla="*/ 605487 h 1011494"/>
              <a:gd name="connsiteX14" fmla="*/ 1624029 w 1624028"/>
              <a:gd name="connsiteY14" fmla="*/ 406008 h 101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4028" h="1011494">
                <a:moveTo>
                  <a:pt x="1624029" y="406008"/>
                </a:moveTo>
                <a:cubicBezTo>
                  <a:pt x="1624029" y="379222"/>
                  <a:pt x="1603588" y="353142"/>
                  <a:pt x="1563410" y="332701"/>
                </a:cubicBezTo>
                <a:lnTo>
                  <a:pt x="958628" y="30310"/>
                </a:lnTo>
                <a:cubicBezTo>
                  <a:pt x="918451" y="9868"/>
                  <a:pt x="865585" y="0"/>
                  <a:pt x="812015" y="0"/>
                </a:cubicBezTo>
                <a:cubicBezTo>
                  <a:pt x="758444" y="0"/>
                  <a:pt x="706284" y="9868"/>
                  <a:pt x="665401" y="30310"/>
                </a:cubicBezTo>
                <a:lnTo>
                  <a:pt x="60619" y="332701"/>
                </a:lnTo>
                <a:cubicBezTo>
                  <a:pt x="20441" y="353142"/>
                  <a:pt x="0" y="379222"/>
                  <a:pt x="0" y="406008"/>
                </a:cubicBezTo>
                <a:lnTo>
                  <a:pt x="0" y="605487"/>
                </a:lnTo>
                <a:cubicBezTo>
                  <a:pt x="0" y="632272"/>
                  <a:pt x="20441" y="658353"/>
                  <a:pt x="60619" y="678794"/>
                </a:cubicBezTo>
                <a:lnTo>
                  <a:pt x="665401" y="981185"/>
                </a:lnTo>
                <a:cubicBezTo>
                  <a:pt x="705578" y="1001627"/>
                  <a:pt x="758444" y="1011495"/>
                  <a:pt x="812015" y="1011495"/>
                </a:cubicBezTo>
                <a:cubicBezTo>
                  <a:pt x="865585" y="1011495"/>
                  <a:pt x="917746" y="1001627"/>
                  <a:pt x="958628" y="981185"/>
                </a:cubicBezTo>
                <a:lnTo>
                  <a:pt x="1563410" y="678794"/>
                </a:lnTo>
                <a:cubicBezTo>
                  <a:pt x="1603588" y="658353"/>
                  <a:pt x="1624029" y="632272"/>
                  <a:pt x="1624029" y="605487"/>
                </a:cubicBezTo>
                <a:lnTo>
                  <a:pt x="1624029" y="406008"/>
                </a:lnTo>
                <a:close/>
              </a:path>
            </a:pathLst>
          </a:custGeom>
          <a:gradFill flip="none" rotWithShape="1">
            <a:gsLst>
              <a:gs pos="5000">
                <a:srgbClr val="005587"/>
              </a:gs>
              <a:gs pos="17000">
                <a:srgbClr val="006092"/>
              </a:gs>
              <a:gs pos="82000">
                <a:schemeClr val="accent6">
                  <a:lumMod val="60000"/>
                  <a:lumOff val="40000"/>
                </a:schemeClr>
              </a:gs>
            </a:gsLst>
            <a:lin ang="16200000" scaled="1"/>
            <a:tileRect/>
          </a:gradFill>
          <a:ln w="7048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9DD42E28-E4AB-7335-CF0F-D2844CFF7DD4}"/>
              </a:ext>
            </a:extLst>
          </p:cNvPr>
          <p:cNvSpPr/>
          <p:nvPr/>
        </p:nvSpPr>
        <p:spPr>
          <a:xfrm>
            <a:off x="8037927" y="4410704"/>
            <a:ext cx="1502790" cy="346093"/>
          </a:xfrm>
          <a:custGeom>
            <a:avLst/>
            <a:gdLst>
              <a:gd name="connsiteX0" fmla="*/ 898009 w 1502790"/>
              <a:gd name="connsiteY0" fmla="*/ 302391 h 346093"/>
              <a:gd name="connsiteX1" fmla="*/ 751396 w 1502790"/>
              <a:gd name="connsiteY1" fmla="*/ 332701 h 346093"/>
              <a:gd name="connsiteX2" fmla="*/ 604782 w 1502790"/>
              <a:gd name="connsiteY2" fmla="*/ 302391 h 346093"/>
              <a:gd name="connsiteX3" fmla="*/ 0 w 1502790"/>
              <a:gd name="connsiteY3" fmla="*/ 0 h 346093"/>
              <a:gd name="connsiteX4" fmla="*/ 604782 w 1502790"/>
              <a:gd name="connsiteY4" fmla="*/ 315784 h 346093"/>
              <a:gd name="connsiteX5" fmla="*/ 751396 w 1502790"/>
              <a:gd name="connsiteY5" fmla="*/ 346093 h 346093"/>
              <a:gd name="connsiteX6" fmla="*/ 898009 w 1502790"/>
              <a:gd name="connsiteY6" fmla="*/ 315784 h 346093"/>
              <a:gd name="connsiteX7" fmla="*/ 1502791 w 1502790"/>
              <a:gd name="connsiteY7" fmla="*/ 0 h 346093"/>
              <a:gd name="connsiteX8" fmla="*/ 898009 w 1502790"/>
              <a:gd name="connsiteY8" fmla="*/ 302391 h 34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790" h="346093">
                <a:moveTo>
                  <a:pt x="898009" y="302391"/>
                </a:moveTo>
                <a:cubicBezTo>
                  <a:pt x="857831" y="322832"/>
                  <a:pt x="804966" y="332701"/>
                  <a:pt x="751396" y="332701"/>
                </a:cubicBezTo>
                <a:cubicBezTo>
                  <a:pt x="697825" y="332701"/>
                  <a:pt x="645665" y="322832"/>
                  <a:pt x="604782" y="302391"/>
                </a:cubicBezTo>
                <a:lnTo>
                  <a:pt x="0" y="0"/>
                </a:lnTo>
                <a:lnTo>
                  <a:pt x="604782" y="315784"/>
                </a:lnTo>
                <a:cubicBezTo>
                  <a:pt x="644959" y="336225"/>
                  <a:pt x="697825" y="346093"/>
                  <a:pt x="751396" y="346093"/>
                </a:cubicBezTo>
                <a:cubicBezTo>
                  <a:pt x="804966" y="346093"/>
                  <a:pt x="857127" y="336225"/>
                  <a:pt x="898009" y="315784"/>
                </a:cubicBezTo>
                <a:lnTo>
                  <a:pt x="1502791" y="0"/>
                </a:lnTo>
                <a:lnTo>
                  <a:pt x="898009" y="302391"/>
                </a:lnTo>
                <a:close/>
              </a:path>
            </a:pathLst>
          </a:custGeom>
          <a:solidFill>
            <a:srgbClr val="FFFFFF"/>
          </a:solidFill>
          <a:ln w="7048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3470453D-1D6F-600C-D0ED-11FC5E069221}"/>
              </a:ext>
            </a:extLst>
          </p:cNvPr>
          <p:cNvSpPr/>
          <p:nvPr/>
        </p:nvSpPr>
        <p:spPr>
          <a:xfrm>
            <a:off x="6162962" y="3024216"/>
            <a:ext cx="1624029" cy="1011494"/>
          </a:xfrm>
          <a:custGeom>
            <a:avLst/>
            <a:gdLst>
              <a:gd name="connsiteX0" fmla="*/ 1624030 w 1624029"/>
              <a:gd name="connsiteY0" fmla="*/ 406008 h 1011494"/>
              <a:gd name="connsiteX1" fmla="*/ 1563410 w 1624029"/>
              <a:gd name="connsiteY1" fmla="*/ 332701 h 1011494"/>
              <a:gd name="connsiteX2" fmla="*/ 958629 w 1624029"/>
              <a:gd name="connsiteY2" fmla="*/ 30310 h 1011494"/>
              <a:gd name="connsiteX3" fmla="*/ 812015 w 1624029"/>
              <a:gd name="connsiteY3" fmla="*/ 0 h 1011494"/>
              <a:gd name="connsiteX4" fmla="*/ 665401 w 1624029"/>
              <a:gd name="connsiteY4" fmla="*/ 30310 h 1011494"/>
              <a:gd name="connsiteX5" fmla="*/ 60619 w 1624029"/>
              <a:gd name="connsiteY5" fmla="*/ 332701 h 1011494"/>
              <a:gd name="connsiteX6" fmla="*/ 0 w 1624029"/>
              <a:gd name="connsiteY6" fmla="*/ 406008 h 1011494"/>
              <a:gd name="connsiteX7" fmla="*/ 0 w 1624029"/>
              <a:gd name="connsiteY7" fmla="*/ 605487 h 1011494"/>
              <a:gd name="connsiteX8" fmla="*/ 60619 w 1624029"/>
              <a:gd name="connsiteY8" fmla="*/ 678794 h 1011494"/>
              <a:gd name="connsiteX9" fmla="*/ 665401 w 1624029"/>
              <a:gd name="connsiteY9" fmla="*/ 981185 h 1011494"/>
              <a:gd name="connsiteX10" fmla="*/ 812015 w 1624029"/>
              <a:gd name="connsiteY10" fmla="*/ 1011495 h 1011494"/>
              <a:gd name="connsiteX11" fmla="*/ 958629 w 1624029"/>
              <a:gd name="connsiteY11" fmla="*/ 981185 h 1011494"/>
              <a:gd name="connsiteX12" fmla="*/ 1563410 w 1624029"/>
              <a:gd name="connsiteY12" fmla="*/ 678794 h 1011494"/>
              <a:gd name="connsiteX13" fmla="*/ 1624030 w 1624029"/>
              <a:gd name="connsiteY13" fmla="*/ 605487 h 1011494"/>
              <a:gd name="connsiteX14" fmla="*/ 1624030 w 1624029"/>
              <a:gd name="connsiteY14" fmla="*/ 406008 h 101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4029" h="1011494">
                <a:moveTo>
                  <a:pt x="1624030" y="406008"/>
                </a:moveTo>
                <a:cubicBezTo>
                  <a:pt x="1624030" y="379222"/>
                  <a:pt x="1603588" y="353142"/>
                  <a:pt x="1563410" y="332701"/>
                </a:cubicBezTo>
                <a:lnTo>
                  <a:pt x="958629" y="30310"/>
                </a:lnTo>
                <a:cubicBezTo>
                  <a:pt x="918451" y="9868"/>
                  <a:pt x="865586" y="0"/>
                  <a:pt x="812015" y="0"/>
                </a:cubicBezTo>
                <a:cubicBezTo>
                  <a:pt x="758444" y="0"/>
                  <a:pt x="706284" y="9868"/>
                  <a:pt x="665401" y="30310"/>
                </a:cubicBezTo>
                <a:lnTo>
                  <a:pt x="60619" y="332701"/>
                </a:lnTo>
                <a:cubicBezTo>
                  <a:pt x="20441" y="353142"/>
                  <a:pt x="0" y="379222"/>
                  <a:pt x="0" y="406008"/>
                </a:cubicBezTo>
                <a:lnTo>
                  <a:pt x="0" y="605487"/>
                </a:lnTo>
                <a:cubicBezTo>
                  <a:pt x="0" y="632272"/>
                  <a:pt x="20441" y="658353"/>
                  <a:pt x="60619" y="678794"/>
                </a:cubicBezTo>
                <a:lnTo>
                  <a:pt x="665401" y="981185"/>
                </a:lnTo>
                <a:cubicBezTo>
                  <a:pt x="705579" y="1001626"/>
                  <a:pt x="758444" y="1011495"/>
                  <a:pt x="812015" y="1011495"/>
                </a:cubicBezTo>
                <a:cubicBezTo>
                  <a:pt x="865586" y="1011495"/>
                  <a:pt x="917746" y="1001626"/>
                  <a:pt x="958629" y="981185"/>
                </a:cubicBezTo>
                <a:lnTo>
                  <a:pt x="1563410" y="678794"/>
                </a:lnTo>
                <a:cubicBezTo>
                  <a:pt x="1603588" y="658353"/>
                  <a:pt x="1624030" y="632272"/>
                  <a:pt x="1624030" y="605487"/>
                </a:cubicBezTo>
                <a:lnTo>
                  <a:pt x="1624030" y="406008"/>
                </a:lnTo>
                <a:close/>
              </a:path>
            </a:pathLst>
          </a:custGeom>
          <a:gradFill flip="none" rotWithShape="1">
            <a:gsLst>
              <a:gs pos="35000">
                <a:srgbClr val="00ABAB"/>
              </a:gs>
              <a:gs pos="100000">
                <a:srgbClr val="007680"/>
              </a:gs>
            </a:gsLst>
            <a:lin ang="5400000" scaled="1"/>
            <a:tileRect/>
          </a:gradFill>
          <a:ln w="7048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F5E83F2E-2DB9-7022-9CAB-09A710486C35}"/>
              </a:ext>
            </a:extLst>
          </p:cNvPr>
          <p:cNvSpPr/>
          <p:nvPr/>
        </p:nvSpPr>
        <p:spPr>
          <a:xfrm>
            <a:off x="6223581" y="3503530"/>
            <a:ext cx="1502791" cy="346093"/>
          </a:xfrm>
          <a:custGeom>
            <a:avLst/>
            <a:gdLst>
              <a:gd name="connsiteX0" fmla="*/ 898010 w 1502791"/>
              <a:gd name="connsiteY0" fmla="*/ 302391 h 346093"/>
              <a:gd name="connsiteX1" fmla="*/ 751396 w 1502791"/>
              <a:gd name="connsiteY1" fmla="*/ 332701 h 346093"/>
              <a:gd name="connsiteX2" fmla="*/ 604782 w 1502791"/>
              <a:gd name="connsiteY2" fmla="*/ 302391 h 346093"/>
              <a:gd name="connsiteX3" fmla="*/ 0 w 1502791"/>
              <a:gd name="connsiteY3" fmla="*/ 0 h 346093"/>
              <a:gd name="connsiteX4" fmla="*/ 604782 w 1502791"/>
              <a:gd name="connsiteY4" fmla="*/ 315784 h 346093"/>
              <a:gd name="connsiteX5" fmla="*/ 751396 w 1502791"/>
              <a:gd name="connsiteY5" fmla="*/ 346093 h 346093"/>
              <a:gd name="connsiteX6" fmla="*/ 898010 w 1502791"/>
              <a:gd name="connsiteY6" fmla="*/ 315784 h 346093"/>
              <a:gd name="connsiteX7" fmla="*/ 1502791 w 1502791"/>
              <a:gd name="connsiteY7" fmla="*/ 0 h 346093"/>
              <a:gd name="connsiteX8" fmla="*/ 898010 w 1502791"/>
              <a:gd name="connsiteY8" fmla="*/ 302391 h 34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791" h="346093">
                <a:moveTo>
                  <a:pt x="898010" y="302391"/>
                </a:moveTo>
                <a:cubicBezTo>
                  <a:pt x="857832" y="322833"/>
                  <a:pt x="804966" y="332701"/>
                  <a:pt x="751396" y="332701"/>
                </a:cubicBezTo>
                <a:cubicBezTo>
                  <a:pt x="697825" y="332701"/>
                  <a:pt x="645665" y="322833"/>
                  <a:pt x="604782" y="302391"/>
                </a:cubicBezTo>
                <a:lnTo>
                  <a:pt x="0" y="0"/>
                </a:lnTo>
                <a:lnTo>
                  <a:pt x="604782" y="315784"/>
                </a:lnTo>
                <a:cubicBezTo>
                  <a:pt x="644960" y="336225"/>
                  <a:pt x="697825" y="346093"/>
                  <a:pt x="751396" y="346093"/>
                </a:cubicBezTo>
                <a:cubicBezTo>
                  <a:pt x="804966" y="346093"/>
                  <a:pt x="857127" y="336225"/>
                  <a:pt x="898010" y="315784"/>
                </a:cubicBezTo>
                <a:lnTo>
                  <a:pt x="1502791" y="0"/>
                </a:lnTo>
                <a:lnTo>
                  <a:pt x="898010" y="302391"/>
                </a:lnTo>
                <a:close/>
              </a:path>
            </a:pathLst>
          </a:custGeom>
          <a:solidFill>
            <a:srgbClr val="FFFFFF"/>
          </a:solidFill>
          <a:ln w="7048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49E71D2E-89DB-3A59-9496-EAF51B449A25}"/>
              </a:ext>
            </a:extLst>
          </p:cNvPr>
          <p:cNvSpPr/>
          <p:nvPr/>
        </p:nvSpPr>
        <p:spPr>
          <a:xfrm>
            <a:off x="9790948" y="3024216"/>
            <a:ext cx="1624030" cy="1011494"/>
          </a:xfrm>
          <a:custGeom>
            <a:avLst/>
            <a:gdLst>
              <a:gd name="connsiteX0" fmla="*/ 1624030 w 1624030"/>
              <a:gd name="connsiteY0" fmla="*/ 406008 h 1011494"/>
              <a:gd name="connsiteX1" fmla="*/ 1563411 w 1624030"/>
              <a:gd name="connsiteY1" fmla="*/ 332701 h 1011494"/>
              <a:gd name="connsiteX2" fmla="*/ 958629 w 1624030"/>
              <a:gd name="connsiteY2" fmla="*/ 30310 h 1011494"/>
              <a:gd name="connsiteX3" fmla="*/ 812015 w 1624030"/>
              <a:gd name="connsiteY3" fmla="*/ 0 h 1011494"/>
              <a:gd name="connsiteX4" fmla="*/ 665401 w 1624030"/>
              <a:gd name="connsiteY4" fmla="*/ 30310 h 1011494"/>
              <a:gd name="connsiteX5" fmla="*/ 60619 w 1624030"/>
              <a:gd name="connsiteY5" fmla="*/ 332701 h 1011494"/>
              <a:gd name="connsiteX6" fmla="*/ 0 w 1624030"/>
              <a:gd name="connsiteY6" fmla="*/ 406008 h 1011494"/>
              <a:gd name="connsiteX7" fmla="*/ 0 w 1624030"/>
              <a:gd name="connsiteY7" fmla="*/ 605487 h 1011494"/>
              <a:gd name="connsiteX8" fmla="*/ 60619 w 1624030"/>
              <a:gd name="connsiteY8" fmla="*/ 678794 h 1011494"/>
              <a:gd name="connsiteX9" fmla="*/ 665401 w 1624030"/>
              <a:gd name="connsiteY9" fmla="*/ 981185 h 1011494"/>
              <a:gd name="connsiteX10" fmla="*/ 812015 w 1624030"/>
              <a:gd name="connsiteY10" fmla="*/ 1011495 h 1011494"/>
              <a:gd name="connsiteX11" fmla="*/ 958629 w 1624030"/>
              <a:gd name="connsiteY11" fmla="*/ 981185 h 1011494"/>
              <a:gd name="connsiteX12" fmla="*/ 1563411 w 1624030"/>
              <a:gd name="connsiteY12" fmla="*/ 678794 h 1011494"/>
              <a:gd name="connsiteX13" fmla="*/ 1624030 w 1624030"/>
              <a:gd name="connsiteY13" fmla="*/ 605487 h 1011494"/>
              <a:gd name="connsiteX14" fmla="*/ 1624030 w 1624030"/>
              <a:gd name="connsiteY14" fmla="*/ 406008 h 101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4030" h="1011494">
                <a:moveTo>
                  <a:pt x="1624030" y="406008"/>
                </a:moveTo>
                <a:cubicBezTo>
                  <a:pt x="1624030" y="379222"/>
                  <a:pt x="1603588" y="353142"/>
                  <a:pt x="1563411" y="332701"/>
                </a:cubicBezTo>
                <a:lnTo>
                  <a:pt x="958629" y="30310"/>
                </a:lnTo>
                <a:cubicBezTo>
                  <a:pt x="918451" y="9868"/>
                  <a:pt x="865585" y="0"/>
                  <a:pt x="812015" y="0"/>
                </a:cubicBezTo>
                <a:cubicBezTo>
                  <a:pt x="758444" y="0"/>
                  <a:pt x="706284" y="9868"/>
                  <a:pt x="665401" y="30310"/>
                </a:cubicBezTo>
                <a:lnTo>
                  <a:pt x="60619" y="332701"/>
                </a:lnTo>
                <a:cubicBezTo>
                  <a:pt x="20442" y="353142"/>
                  <a:pt x="0" y="379222"/>
                  <a:pt x="0" y="406008"/>
                </a:cubicBezTo>
                <a:lnTo>
                  <a:pt x="0" y="605487"/>
                </a:lnTo>
                <a:cubicBezTo>
                  <a:pt x="0" y="632272"/>
                  <a:pt x="20442" y="658353"/>
                  <a:pt x="60619" y="678794"/>
                </a:cubicBezTo>
                <a:lnTo>
                  <a:pt x="665401" y="981185"/>
                </a:lnTo>
                <a:cubicBezTo>
                  <a:pt x="705578" y="1001626"/>
                  <a:pt x="758444" y="1011495"/>
                  <a:pt x="812015" y="1011495"/>
                </a:cubicBezTo>
                <a:cubicBezTo>
                  <a:pt x="865585" y="1011495"/>
                  <a:pt x="917746" y="1001626"/>
                  <a:pt x="958629" y="981185"/>
                </a:cubicBezTo>
                <a:lnTo>
                  <a:pt x="1563411" y="678794"/>
                </a:lnTo>
                <a:cubicBezTo>
                  <a:pt x="1603588" y="658353"/>
                  <a:pt x="1624030" y="632272"/>
                  <a:pt x="1624030" y="605487"/>
                </a:cubicBezTo>
                <a:lnTo>
                  <a:pt x="1624030" y="406008"/>
                </a:lnTo>
                <a:close/>
              </a:path>
            </a:pathLst>
          </a:custGeom>
          <a:gradFill flip="none" rotWithShape="1">
            <a:gsLst>
              <a:gs pos="35000">
                <a:srgbClr val="00ABAB"/>
              </a:gs>
              <a:gs pos="100000">
                <a:srgbClr val="007680"/>
              </a:gs>
            </a:gsLst>
            <a:lin ang="5400000" scaled="1"/>
            <a:tileRect/>
          </a:gradFill>
          <a:ln w="70485"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A80D770F-0F25-FA27-ADB5-C05A5489966C}"/>
              </a:ext>
            </a:extLst>
          </p:cNvPr>
          <p:cNvSpPr/>
          <p:nvPr/>
        </p:nvSpPr>
        <p:spPr>
          <a:xfrm>
            <a:off x="9851568" y="3503530"/>
            <a:ext cx="1502791" cy="346093"/>
          </a:xfrm>
          <a:custGeom>
            <a:avLst/>
            <a:gdLst>
              <a:gd name="connsiteX0" fmla="*/ 898010 w 1502791"/>
              <a:gd name="connsiteY0" fmla="*/ 302391 h 346093"/>
              <a:gd name="connsiteX1" fmla="*/ 751396 w 1502791"/>
              <a:gd name="connsiteY1" fmla="*/ 332701 h 346093"/>
              <a:gd name="connsiteX2" fmla="*/ 604782 w 1502791"/>
              <a:gd name="connsiteY2" fmla="*/ 302391 h 346093"/>
              <a:gd name="connsiteX3" fmla="*/ 0 w 1502791"/>
              <a:gd name="connsiteY3" fmla="*/ 0 h 346093"/>
              <a:gd name="connsiteX4" fmla="*/ 604782 w 1502791"/>
              <a:gd name="connsiteY4" fmla="*/ 315784 h 346093"/>
              <a:gd name="connsiteX5" fmla="*/ 751396 w 1502791"/>
              <a:gd name="connsiteY5" fmla="*/ 346093 h 346093"/>
              <a:gd name="connsiteX6" fmla="*/ 898010 w 1502791"/>
              <a:gd name="connsiteY6" fmla="*/ 315784 h 346093"/>
              <a:gd name="connsiteX7" fmla="*/ 1502791 w 1502791"/>
              <a:gd name="connsiteY7" fmla="*/ 0 h 346093"/>
              <a:gd name="connsiteX8" fmla="*/ 898010 w 1502791"/>
              <a:gd name="connsiteY8" fmla="*/ 302391 h 34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791" h="346093">
                <a:moveTo>
                  <a:pt x="898010" y="302391"/>
                </a:moveTo>
                <a:cubicBezTo>
                  <a:pt x="857832" y="322833"/>
                  <a:pt x="804966" y="332701"/>
                  <a:pt x="751396" y="332701"/>
                </a:cubicBezTo>
                <a:cubicBezTo>
                  <a:pt x="697825" y="332701"/>
                  <a:pt x="645665" y="322833"/>
                  <a:pt x="604782" y="302391"/>
                </a:cubicBezTo>
                <a:lnTo>
                  <a:pt x="0" y="0"/>
                </a:lnTo>
                <a:lnTo>
                  <a:pt x="604782" y="315784"/>
                </a:lnTo>
                <a:cubicBezTo>
                  <a:pt x="644960" y="336225"/>
                  <a:pt x="697825" y="346093"/>
                  <a:pt x="751396" y="346093"/>
                </a:cubicBezTo>
                <a:cubicBezTo>
                  <a:pt x="804966" y="346093"/>
                  <a:pt x="857127" y="336225"/>
                  <a:pt x="898010" y="315784"/>
                </a:cubicBezTo>
                <a:lnTo>
                  <a:pt x="1502791" y="0"/>
                </a:lnTo>
                <a:lnTo>
                  <a:pt x="898010" y="302391"/>
                </a:lnTo>
                <a:close/>
              </a:path>
            </a:pathLst>
          </a:custGeom>
          <a:solidFill>
            <a:srgbClr val="FFFFFF"/>
          </a:solidFill>
          <a:ln w="70485" cap="flat">
            <a:noFill/>
            <a:prstDash val="solid"/>
            <a:miter/>
          </a:ln>
        </p:spPr>
        <p:txBody>
          <a:bodyPr rtlCol="0" anchor="ctr"/>
          <a:lstStyle/>
          <a:p>
            <a:endParaRPr lang="en-US"/>
          </a:p>
        </p:txBody>
      </p:sp>
      <p:grpSp>
        <p:nvGrpSpPr>
          <p:cNvPr id="52" name="Group 51">
            <a:extLst>
              <a:ext uri="{FF2B5EF4-FFF2-40B4-BE49-F238E27FC236}">
                <a16:creationId xmlns:a16="http://schemas.microsoft.com/office/drawing/2014/main" id="{C4DB727D-385F-E051-CA49-F84A27CFEE25}"/>
              </a:ext>
            </a:extLst>
          </p:cNvPr>
          <p:cNvGrpSpPr>
            <a:grpSpLocks noChangeAspect="1"/>
          </p:cNvGrpSpPr>
          <p:nvPr/>
        </p:nvGrpSpPr>
        <p:grpSpPr>
          <a:xfrm>
            <a:off x="3063972" y="3130257"/>
            <a:ext cx="566036" cy="566036"/>
            <a:chOff x="4928380" y="2075976"/>
            <a:chExt cx="467798" cy="467798"/>
          </a:xfrm>
          <a:solidFill>
            <a:schemeClr val="bg1"/>
          </a:solidFill>
        </p:grpSpPr>
        <p:sp>
          <p:nvSpPr>
            <p:cNvPr id="53" name="Freeform 914">
              <a:extLst>
                <a:ext uri="{FF2B5EF4-FFF2-40B4-BE49-F238E27FC236}">
                  <a16:creationId xmlns:a16="http://schemas.microsoft.com/office/drawing/2014/main" id="{3DB47705-5EF4-4D7C-E4BF-BDC0394086F9}"/>
                </a:ext>
              </a:extLst>
            </p:cNvPr>
            <p:cNvSpPr>
              <a:spLocks noEditPoints="1"/>
            </p:cNvSpPr>
            <p:nvPr/>
          </p:nvSpPr>
          <p:spPr bwMode="auto">
            <a:xfrm>
              <a:off x="4928380" y="2075976"/>
              <a:ext cx="467798" cy="46779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sp>
          <p:nvSpPr>
            <p:cNvPr id="54" name="Freeform 915">
              <a:extLst>
                <a:ext uri="{FF2B5EF4-FFF2-40B4-BE49-F238E27FC236}">
                  <a16:creationId xmlns:a16="http://schemas.microsoft.com/office/drawing/2014/main" id="{5CC6FF3B-545E-32BF-8B9E-8FD48109B0F1}"/>
                </a:ext>
              </a:extLst>
            </p:cNvPr>
            <p:cNvSpPr>
              <a:spLocks noEditPoints="1"/>
            </p:cNvSpPr>
            <p:nvPr/>
          </p:nvSpPr>
          <p:spPr bwMode="auto">
            <a:xfrm>
              <a:off x="5045330" y="2150273"/>
              <a:ext cx="233899" cy="286182"/>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grpSp>
      <p:grpSp>
        <p:nvGrpSpPr>
          <p:cNvPr id="48" name="Group 47">
            <a:extLst>
              <a:ext uri="{FF2B5EF4-FFF2-40B4-BE49-F238E27FC236}">
                <a16:creationId xmlns:a16="http://schemas.microsoft.com/office/drawing/2014/main" id="{58826932-DCE5-D22A-9D10-AF161AC4E744}"/>
              </a:ext>
            </a:extLst>
          </p:cNvPr>
          <p:cNvGrpSpPr>
            <a:grpSpLocks noChangeAspect="1"/>
          </p:cNvGrpSpPr>
          <p:nvPr/>
        </p:nvGrpSpPr>
        <p:grpSpPr>
          <a:xfrm>
            <a:off x="6691943" y="3130257"/>
            <a:ext cx="566035" cy="566036"/>
            <a:chOff x="6782376" y="2049385"/>
            <a:chExt cx="467798" cy="466344"/>
          </a:xfrm>
          <a:solidFill>
            <a:schemeClr val="bg1"/>
          </a:solidFill>
        </p:grpSpPr>
        <p:sp>
          <p:nvSpPr>
            <p:cNvPr id="49" name="Freeform 352">
              <a:extLst>
                <a:ext uri="{FF2B5EF4-FFF2-40B4-BE49-F238E27FC236}">
                  <a16:creationId xmlns:a16="http://schemas.microsoft.com/office/drawing/2014/main" id="{9CA34584-AE22-D230-915A-989B25AC1FCD}"/>
                </a:ext>
              </a:extLst>
            </p:cNvPr>
            <p:cNvSpPr>
              <a:spLocks noEditPoints="1"/>
            </p:cNvSpPr>
            <p:nvPr/>
          </p:nvSpPr>
          <p:spPr bwMode="auto">
            <a:xfrm>
              <a:off x="6870432" y="2181560"/>
              <a:ext cx="291686" cy="265790"/>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sp>
          <p:nvSpPr>
            <p:cNvPr id="50" name="Freeform 353">
              <a:extLst>
                <a:ext uri="{FF2B5EF4-FFF2-40B4-BE49-F238E27FC236}">
                  <a16:creationId xmlns:a16="http://schemas.microsoft.com/office/drawing/2014/main" id="{373840B2-2172-6B28-5564-7FFCE23C37F6}"/>
                </a:ext>
              </a:extLst>
            </p:cNvPr>
            <p:cNvSpPr>
              <a:spLocks noEditPoints="1"/>
            </p:cNvSpPr>
            <p:nvPr/>
          </p:nvSpPr>
          <p:spPr bwMode="auto">
            <a:xfrm>
              <a:off x="6782376" y="2049385"/>
              <a:ext cx="467798" cy="46634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grpSp>
      <p:grpSp>
        <p:nvGrpSpPr>
          <p:cNvPr id="106" name="Group 105">
            <a:extLst>
              <a:ext uri="{FF2B5EF4-FFF2-40B4-BE49-F238E27FC236}">
                <a16:creationId xmlns:a16="http://schemas.microsoft.com/office/drawing/2014/main" id="{1C2FEC36-A253-82CB-4AA4-01CF097BD07D}"/>
              </a:ext>
            </a:extLst>
          </p:cNvPr>
          <p:cNvGrpSpPr>
            <a:grpSpLocks noChangeAspect="1"/>
          </p:cNvGrpSpPr>
          <p:nvPr/>
        </p:nvGrpSpPr>
        <p:grpSpPr>
          <a:xfrm>
            <a:off x="8506304" y="4049234"/>
            <a:ext cx="566036" cy="566036"/>
            <a:chOff x="8688827" y="6671886"/>
            <a:chExt cx="467798" cy="467798"/>
          </a:xfrm>
          <a:solidFill>
            <a:schemeClr val="bg1"/>
          </a:solidFill>
        </p:grpSpPr>
        <p:sp>
          <p:nvSpPr>
            <p:cNvPr id="45" name="Freeform 527">
              <a:extLst>
                <a:ext uri="{FF2B5EF4-FFF2-40B4-BE49-F238E27FC236}">
                  <a16:creationId xmlns:a16="http://schemas.microsoft.com/office/drawing/2014/main" id="{83CD147D-A594-442E-434F-608DC98448C9}"/>
                </a:ext>
              </a:extLst>
            </p:cNvPr>
            <p:cNvSpPr>
              <a:spLocks noEditPoints="1"/>
            </p:cNvSpPr>
            <p:nvPr/>
          </p:nvSpPr>
          <p:spPr bwMode="auto">
            <a:xfrm>
              <a:off x="8688827" y="6671886"/>
              <a:ext cx="467798" cy="46779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sp>
          <p:nvSpPr>
            <p:cNvPr id="46" name="Freeform 528">
              <a:extLst>
                <a:ext uri="{FF2B5EF4-FFF2-40B4-BE49-F238E27FC236}">
                  <a16:creationId xmlns:a16="http://schemas.microsoft.com/office/drawing/2014/main" id="{FE36869E-AFBC-5081-E98A-1CBC34133D64}"/>
                </a:ext>
              </a:extLst>
            </p:cNvPr>
            <p:cNvSpPr>
              <a:spLocks noEditPoints="1"/>
            </p:cNvSpPr>
            <p:nvPr/>
          </p:nvSpPr>
          <p:spPr bwMode="auto">
            <a:xfrm>
              <a:off x="8795458" y="6768885"/>
              <a:ext cx="254537" cy="273800"/>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grpSp>
      <p:grpSp>
        <p:nvGrpSpPr>
          <p:cNvPr id="107" name="Group 106">
            <a:extLst>
              <a:ext uri="{FF2B5EF4-FFF2-40B4-BE49-F238E27FC236}">
                <a16:creationId xmlns:a16="http://schemas.microsoft.com/office/drawing/2014/main" id="{9E8990F1-5C59-1F88-7175-8F1A142EC8CD}"/>
              </a:ext>
            </a:extLst>
          </p:cNvPr>
          <p:cNvGrpSpPr>
            <a:grpSpLocks noChangeAspect="1"/>
          </p:cNvGrpSpPr>
          <p:nvPr/>
        </p:nvGrpSpPr>
        <p:grpSpPr>
          <a:xfrm>
            <a:off x="10319900" y="3130215"/>
            <a:ext cx="566034" cy="566033"/>
            <a:chOff x="10571209" y="6671886"/>
            <a:chExt cx="467798" cy="467798"/>
          </a:xfrm>
          <a:solidFill>
            <a:schemeClr val="bg1"/>
          </a:solidFill>
        </p:grpSpPr>
        <p:sp>
          <p:nvSpPr>
            <p:cNvPr id="40" name="Freeform 433">
              <a:extLst>
                <a:ext uri="{FF2B5EF4-FFF2-40B4-BE49-F238E27FC236}">
                  <a16:creationId xmlns:a16="http://schemas.microsoft.com/office/drawing/2014/main" id="{4EAC6125-11F6-AB74-17D4-25E7CCAB5763}"/>
                </a:ext>
              </a:extLst>
            </p:cNvPr>
            <p:cNvSpPr>
              <a:spLocks noEditPoints="1"/>
            </p:cNvSpPr>
            <p:nvPr/>
          </p:nvSpPr>
          <p:spPr bwMode="auto">
            <a:xfrm>
              <a:off x="10776217" y="6836992"/>
              <a:ext cx="57787" cy="5916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sp>
          <p:nvSpPr>
            <p:cNvPr id="41" name="Freeform 434">
              <a:extLst>
                <a:ext uri="{FF2B5EF4-FFF2-40B4-BE49-F238E27FC236}">
                  <a16:creationId xmlns:a16="http://schemas.microsoft.com/office/drawing/2014/main" id="{CC6DBC88-ABF7-1BBD-E796-AF92C3F9D364}"/>
                </a:ext>
              </a:extLst>
            </p:cNvPr>
            <p:cNvSpPr>
              <a:spLocks/>
            </p:cNvSpPr>
            <p:nvPr/>
          </p:nvSpPr>
          <p:spPr bwMode="auto">
            <a:xfrm>
              <a:off x="10659265" y="6759943"/>
              <a:ext cx="291686" cy="253161"/>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sp>
          <p:nvSpPr>
            <p:cNvPr id="42" name="Freeform 435">
              <a:extLst>
                <a:ext uri="{FF2B5EF4-FFF2-40B4-BE49-F238E27FC236}">
                  <a16:creationId xmlns:a16="http://schemas.microsoft.com/office/drawing/2014/main" id="{D8878978-9309-4EED-7B05-AD3CCB6C4CF8}"/>
                </a:ext>
              </a:extLst>
            </p:cNvPr>
            <p:cNvSpPr>
              <a:spLocks noEditPoints="1"/>
            </p:cNvSpPr>
            <p:nvPr/>
          </p:nvSpPr>
          <p:spPr bwMode="auto">
            <a:xfrm>
              <a:off x="10765210" y="6905785"/>
              <a:ext cx="78425" cy="136212"/>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sp>
          <p:nvSpPr>
            <p:cNvPr id="43" name="Freeform 437">
              <a:extLst>
                <a:ext uri="{FF2B5EF4-FFF2-40B4-BE49-F238E27FC236}">
                  <a16:creationId xmlns:a16="http://schemas.microsoft.com/office/drawing/2014/main" id="{57F2FF51-F600-D739-6836-CA0118247624}"/>
                </a:ext>
              </a:extLst>
            </p:cNvPr>
            <p:cNvSpPr>
              <a:spLocks noEditPoints="1"/>
            </p:cNvSpPr>
            <p:nvPr/>
          </p:nvSpPr>
          <p:spPr bwMode="auto">
            <a:xfrm>
              <a:off x="10571209" y="6671886"/>
              <a:ext cx="467798" cy="46779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grpSp>
      <p:grpSp>
        <p:nvGrpSpPr>
          <p:cNvPr id="37" name="Group 682">
            <a:extLst>
              <a:ext uri="{FF2B5EF4-FFF2-40B4-BE49-F238E27FC236}">
                <a16:creationId xmlns:a16="http://schemas.microsoft.com/office/drawing/2014/main" id="{AEEEE1D0-B8BF-BACC-AC51-FC1E30C30944}"/>
              </a:ext>
            </a:extLst>
          </p:cNvPr>
          <p:cNvGrpSpPr>
            <a:grpSpLocks noChangeAspect="1"/>
          </p:cNvGrpSpPr>
          <p:nvPr/>
        </p:nvGrpSpPr>
        <p:grpSpPr bwMode="auto">
          <a:xfrm>
            <a:off x="4877966" y="4049234"/>
            <a:ext cx="566036" cy="566036"/>
            <a:chOff x="1144" y="2344"/>
            <a:chExt cx="340" cy="340"/>
          </a:xfrm>
          <a:solidFill>
            <a:schemeClr val="bg1"/>
          </a:solidFill>
        </p:grpSpPr>
        <p:sp>
          <p:nvSpPr>
            <p:cNvPr id="38" name="Freeform 683">
              <a:extLst>
                <a:ext uri="{FF2B5EF4-FFF2-40B4-BE49-F238E27FC236}">
                  <a16:creationId xmlns:a16="http://schemas.microsoft.com/office/drawing/2014/main" id="{AB22A14C-E1D7-0E3C-71F8-F7CC1DEBAAEE}"/>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sp>
          <p:nvSpPr>
            <p:cNvPr id="39" name="Freeform 684">
              <a:extLst>
                <a:ext uri="{FF2B5EF4-FFF2-40B4-BE49-F238E27FC236}">
                  <a16:creationId xmlns:a16="http://schemas.microsoft.com/office/drawing/2014/main" id="{5EA2A2A9-CF51-C9B5-95E8-407C62278235}"/>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grpSp>
      <p:grpSp>
        <p:nvGrpSpPr>
          <p:cNvPr id="56" name="Group 55">
            <a:extLst>
              <a:ext uri="{FF2B5EF4-FFF2-40B4-BE49-F238E27FC236}">
                <a16:creationId xmlns:a16="http://schemas.microsoft.com/office/drawing/2014/main" id="{CDBF4FCC-6D82-8525-CA8A-985C11F19FB2}"/>
              </a:ext>
            </a:extLst>
          </p:cNvPr>
          <p:cNvGrpSpPr>
            <a:grpSpLocks noChangeAspect="1"/>
          </p:cNvGrpSpPr>
          <p:nvPr/>
        </p:nvGrpSpPr>
        <p:grpSpPr bwMode="auto">
          <a:xfrm>
            <a:off x="1249627" y="4049234"/>
            <a:ext cx="566036" cy="566036"/>
            <a:chOff x="4263" y="0"/>
            <a:chExt cx="340" cy="340"/>
          </a:xfrm>
          <a:solidFill>
            <a:schemeClr val="bg1"/>
          </a:solidFill>
        </p:grpSpPr>
        <p:sp>
          <p:nvSpPr>
            <p:cNvPr id="57" name="Freeform 56">
              <a:extLst>
                <a:ext uri="{FF2B5EF4-FFF2-40B4-BE49-F238E27FC236}">
                  <a16:creationId xmlns:a16="http://schemas.microsoft.com/office/drawing/2014/main" id="{B0BD8B91-CFB3-6665-F870-BF2594B600C9}"/>
                </a:ext>
              </a:extLst>
            </p:cNvPr>
            <p:cNvSpPr>
              <a:spLocks noEditPoints="1"/>
            </p:cNvSpPr>
            <p:nvPr/>
          </p:nvSpPr>
          <p:spPr bwMode="auto">
            <a:xfrm>
              <a:off x="4263" y="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sp>
          <p:nvSpPr>
            <p:cNvPr id="58" name="Freeform 57">
              <a:extLst>
                <a:ext uri="{FF2B5EF4-FFF2-40B4-BE49-F238E27FC236}">
                  <a16:creationId xmlns:a16="http://schemas.microsoft.com/office/drawing/2014/main" id="{8CC1D4C4-D565-DDC2-B192-A10E99FC332F}"/>
                </a:ext>
              </a:extLst>
            </p:cNvPr>
            <p:cNvSpPr>
              <a:spLocks noEditPoints="1"/>
            </p:cNvSpPr>
            <p:nvPr/>
          </p:nvSpPr>
          <p:spPr bwMode="auto">
            <a:xfrm>
              <a:off x="4341" y="70"/>
              <a:ext cx="188" cy="192"/>
            </a:xfrm>
            <a:custGeom>
              <a:avLst/>
              <a:gdLst>
                <a:gd name="T0" fmla="*/ 267 w 283"/>
                <a:gd name="T1" fmla="*/ 268 h 289"/>
                <a:gd name="T2" fmla="*/ 267 w 283"/>
                <a:gd name="T3" fmla="*/ 135 h 289"/>
                <a:gd name="T4" fmla="*/ 264 w 283"/>
                <a:gd name="T5" fmla="*/ 63 h 289"/>
                <a:gd name="T6" fmla="*/ 264 w 283"/>
                <a:gd name="T7" fmla="*/ 63 h 289"/>
                <a:gd name="T8" fmla="*/ 243 w 283"/>
                <a:gd name="T9" fmla="*/ 20 h 289"/>
                <a:gd name="T10" fmla="*/ 196 w 283"/>
                <a:gd name="T11" fmla="*/ 9 h 289"/>
                <a:gd name="T12" fmla="*/ 176 w 283"/>
                <a:gd name="T13" fmla="*/ 53 h 289"/>
                <a:gd name="T14" fmla="*/ 189 w 283"/>
                <a:gd name="T15" fmla="*/ 82 h 289"/>
                <a:gd name="T16" fmla="*/ 27 w 283"/>
                <a:gd name="T17" fmla="*/ 173 h 289"/>
                <a:gd name="T18" fmla="*/ 21 w 283"/>
                <a:gd name="T19" fmla="*/ 183 h 289"/>
                <a:gd name="T20" fmla="*/ 21 w 283"/>
                <a:gd name="T21" fmla="*/ 215 h 289"/>
                <a:gd name="T22" fmla="*/ 11 w 283"/>
                <a:gd name="T23" fmla="*/ 215 h 289"/>
                <a:gd name="T24" fmla="*/ 0 w 283"/>
                <a:gd name="T25" fmla="*/ 225 h 289"/>
                <a:gd name="T26" fmla="*/ 0 w 283"/>
                <a:gd name="T27" fmla="*/ 279 h 289"/>
                <a:gd name="T28" fmla="*/ 11 w 283"/>
                <a:gd name="T29" fmla="*/ 289 h 289"/>
                <a:gd name="T30" fmla="*/ 53 w 283"/>
                <a:gd name="T31" fmla="*/ 289 h 289"/>
                <a:gd name="T32" fmla="*/ 267 w 283"/>
                <a:gd name="T33" fmla="*/ 289 h 289"/>
                <a:gd name="T34" fmla="*/ 277 w 283"/>
                <a:gd name="T35" fmla="*/ 279 h 289"/>
                <a:gd name="T36" fmla="*/ 267 w 283"/>
                <a:gd name="T37" fmla="*/ 268 h 289"/>
                <a:gd name="T38" fmla="*/ 179 w 283"/>
                <a:gd name="T39" fmla="*/ 268 h 289"/>
                <a:gd name="T40" fmla="*/ 149 w 283"/>
                <a:gd name="T41" fmla="*/ 129 h 289"/>
                <a:gd name="T42" fmla="*/ 200 w 283"/>
                <a:gd name="T43" fmla="*/ 100 h 289"/>
                <a:gd name="T44" fmla="*/ 245 w 283"/>
                <a:gd name="T45" fmla="*/ 141 h 289"/>
                <a:gd name="T46" fmla="*/ 245 w 283"/>
                <a:gd name="T47" fmla="*/ 268 h 289"/>
                <a:gd name="T48" fmla="*/ 179 w 283"/>
                <a:gd name="T49" fmla="*/ 268 h 289"/>
                <a:gd name="T50" fmla="*/ 157 w 283"/>
                <a:gd name="T51" fmla="*/ 268 h 289"/>
                <a:gd name="T52" fmla="*/ 120 w 283"/>
                <a:gd name="T53" fmla="*/ 268 h 289"/>
                <a:gd name="T54" fmla="*/ 139 w 283"/>
                <a:gd name="T55" fmla="*/ 180 h 289"/>
                <a:gd name="T56" fmla="*/ 157 w 283"/>
                <a:gd name="T57" fmla="*/ 268 h 289"/>
                <a:gd name="T58" fmla="*/ 205 w 283"/>
                <a:gd name="T59" fmla="*/ 28 h 289"/>
                <a:gd name="T60" fmla="*/ 214 w 283"/>
                <a:gd name="T61" fmla="*/ 26 h 289"/>
                <a:gd name="T62" fmla="*/ 226 w 283"/>
                <a:gd name="T63" fmla="*/ 34 h 289"/>
                <a:gd name="T64" fmla="*/ 244 w 283"/>
                <a:gd name="T65" fmla="*/ 70 h 289"/>
                <a:gd name="T66" fmla="*/ 251 w 283"/>
                <a:gd name="T67" fmla="*/ 120 h 289"/>
                <a:gd name="T68" fmla="*/ 216 w 283"/>
                <a:gd name="T69" fmla="*/ 85 h 289"/>
                <a:gd name="T70" fmla="*/ 197 w 283"/>
                <a:gd name="T71" fmla="*/ 48 h 289"/>
                <a:gd name="T72" fmla="*/ 205 w 283"/>
                <a:gd name="T73" fmla="*/ 28 h 289"/>
                <a:gd name="T74" fmla="*/ 43 w 283"/>
                <a:gd name="T75" fmla="*/ 189 h 289"/>
                <a:gd name="T76" fmla="*/ 125 w 283"/>
                <a:gd name="T77" fmla="*/ 143 h 289"/>
                <a:gd name="T78" fmla="*/ 98 w 283"/>
                <a:gd name="T79" fmla="*/ 268 h 289"/>
                <a:gd name="T80" fmla="*/ 64 w 283"/>
                <a:gd name="T81" fmla="*/ 268 h 289"/>
                <a:gd name="T82" fmla="*/ 64 w 283"/>
                <a:gd name="T83" fmla="*/ 225 h 289"/>
                <a:gd name="T84" fmla="*/ 53 w 283"/>
                <a:gd name="T85" fmla="*/ 215 h 289"/>
                <a:gd name="T86" fmla="*/ 43 w 283"/>
                <a:gd name="T87" fmla="*/ 215 h 289"/>
                <a:gd name="T88" fmla="*/ 43 w 283"/>
                <a:gd name="T89" fmla="*/ 189 h 289"/>
                <a:gd name="T90" fmla="*/ 21 w 283"/>
                <a:gd name="T91" fmla="*/ 236 h 289"/>
                <a:gd name="T92" fmla="*/ 43 w 283"/>
                <a:gd name="T93" fmla="*/ 236 h 289"/>
                <a:gd name="T94" fmla="*/ 43 w 283"/>
                <a:gd name="T95" fmla="*/ 268 h 289"/>
                <a:gd name="T96" fmla="*/ 21 w 283"/>
                <a:gd name="T97" fmla="*/ 268 h 289"/>
                <a:gd name="T98" fmla="*/ 21 w 283"/>
                <a:gd name="T99"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89">
                  <a:moveTo>
                    <a:pt x="267" y="268"/>
                  </a:moveTo>
                  <a:cubicBezTo>
                    <a:pt x="267" y="135"/>
                    <a:pt x="267" y="135"/>
                    <a:pt x="267" y="135"/>
                  </a:cubicBezTo>
                  <a:cubicBezTo>
                    <a:pt x="283" y="121"/>
                    <a:pt x="275" y="92"/>
                    <a:pt x="264" y="63"/>
                  </a:cubicBezTo>
                  <a:cubicBezTo>
                    <a:pt x="264" y="63"/>
                    <a:pt x="264" y="63"/>
                    <a:pt x="264" y="63"/>
                  </a:cubicBezTo>
                  <a:cubicBezTo>
                    <a:pt x="261" y="53"/>
                    <a:pt x="251" y="30"/>
                    <a:pt x="243" y="20"/>
                  </a:cubicBezTo>
                  <a:cubicBezTo>
                    <a:pt x="229" y="4"/>
                    <a:pt x="214" y="0"/>
                    <a:pt x="196" y="9"/>
                  </a:cubicBezTo>
                  <a:cubicBezTo>
                    <a:pt x="178" y="18"/>
                    <a:pt x="171" y="33"/>
                    <a:pt x="176" y="53"/>
                  </a:cubicBezTo>
                  <a:cubicBezTo>
                    <a:pt x="178" y="59"/>
                    <a:pt x="182" y="69"/>
                    <a:pt x="189" y="82"/>
                  </a:cubicBezTo>
                  <a:cubicBezTo>
                    <a:pt x="27" y="173"/>
                    <a:pt x="27" y="173"/>
                    <a:pt x="27" y="173"/>
                  </a:cubicBezTo>
                  <a:cubicBezTo>
                    <a:pt x="23" y="175"/>
                    <a:pt x="21" y="179"/>
                    <a:pt x="21" y="183"/>
                  </a:cubicBezTo>
                  <a:cubicBezTo>
                    <a:pt x="21" y="215"/>
                    <a:pt x="21" y="215"/>
                    <a:pt x="21" y="215"/>
                  </a:cubicBezTo>
                  <a:cubicBezTo>
                    <a:pt x="11" y="215"/>
                    <a:pt x="11" y="215"/>
                    <a:pt x="11" y="215"/>
                  </a:cubicBezTo>
                  <a:cubicBezTo>
                    <a:pt x="5" y="215"/>
                    <a:pt x="0" y="219"/>
                    <a:pt x="0" y="225"/>
                  </a:cubicBezTo>
                  <a:cubicBezTo>
                    <a:pt x="0" y="279"/>
                    <a:pt x="0" y="279"/>
                    <a:pt x="0" y="279"/>
                  </a:cubicBezTo>
                  <a:cubicBezTo>
                    <a:pt x="0" y="285"/>
                    <a:pt x="5" y="289"/>
                    <a:pt x="11" y="289"/>
                  </a:cubicBezTo>
                  <a:cubicBezTo>
                    <a:pt x="53" y="289"/>
                    <a:pt x="53" y="289"/>
                    <a:pt x="53" y="289"/>
                  </a:cubicBezTo>
                  <a:cubicBezTo>
                    <a:pt x="267" y="289"/>
                    <a:pt x="267" y="289"/>
                    <a:pt x="267" y="289"/>
                  </a:cubicBezTo>
                  <a:cubicBezTo>
                    <a:pt x="273" y="289"/>
                    <a:pt x="277" y="285"/>
                    <a:pt x="277" y="279"/>
                  </a:cubicBezTo>
                  <a:cubicBezTo>
                    <a:pt x="277" y="273"/>
                    <a:pt x="273" y="268"/>
                    <a:pt x="267" y="268"/>
                  </a:cubicBezTo>
                  <a:close/>
                  <a:moveTo>
                    <a:pt x="179" y="268"/>
                  </a:moveTo>
                  <a:cubicBezTo>
                    <a:pt x="149" y="129"/>
                    <a:pt x="149" y="129"/>
                    <a:pt x="149" y="129"/>
                  </a:cubicBezTo>
                  <a:cubicBezTo>
                    <a:pt x="200" y="100"/>
                    <a:pt x="200" y="100"/>
                    <a:pt x="200" y="100"/>
                  </a:cubicBezTo>
                  <a:cubicBezTo>
                    <a:pt x="216" y="125"/>
                    <a:pt x="231" y="139"/>
                    <a:pt x="245" y="141"/>
                  </a:cubicBezTo>
                  <a:cubicBezTo>
                    <a:pt x="245" y="268"/>
                    <a:pt x="245" y="268"/>
                    <a:pt x="245" y="268"/>
                  </a:cubicBezTo>
                  <a:lnTo>
                    <a:pt x="179" y="268"/>
                  </a:lnTo>
                  <a:close/>
                  <a:moveTo>
                    <a:pt x="157" y="268"/>
                  </a:moveTo>
                  <a:cubicBezTo>
                    <a:pt x="120" y="268"/>
                    <a:pt x="120" y="268"/>
                    <a:pt x="120" y="268"/>
                  </a:cubicBezTo>
                  <a:cubicBezTo>
                    <a:pt x="139" y="180"/>
                    <a:pt x="139" y="180"/>
                    <a:pt x="139" y="180"/>
                  </a:cubicBezTo>
                  <a:lnTo>
                    <a:pt x="157" y="268"/>
                  </a:lnTo>
                  <a:close/>
                  <a:moveTo>
                    <a:pt x="205" y="28"/>
                  </a:moveTo>
                  <a:cubicBezTo>
                    <a:pt x="208" y="27"/>
                    <a:pt x="211" y="26"/>
                    <a:pt x="214" y="26"/>
                  </a:cubicBezTo>
                  <a:cubicBezTo>
                    <a:pt x="217" y="26"/>
                    <a:pt x="221" y="28"/>
                    <a:pt x="226" y="34"/>
                  </a:cubicBezTo>
                  <a:cubicBezTo>
                    <a:pt x="231" y="39"/>
                    <a:pt x="240" y="58"/>
                    <a:pt x="244" y="70"/>
                  </a:cubicBezTo>
                  <a:cubicBezTo>
                    <a:pt x="259" y="110"/>
                    <a:pt x="255" y="118"/>
                    <a:pt x="251" y="120"/>
                  </a:cubicBezTo>
                  <a:cubicBezTo>
                    <a:pt x="247" y="122"/>
                    <a:pt x="235" y="117"/>
                    <a:pt x="216" y="85"/>
                  </a:cubicBezTo>
                  <a:cubicBezTo>
                    <a:pt x="201" y="61"/>
                    <a:pt x="198" y="52"/>
                    <a:pt x="197" y="48"/>
                  </a:cubicBezTo>
                  <a:cubicBezTo>
                    <a:pt x="194" y="35"/>
                    <a:pt x="199" y="32"/>
                    <a:pt x="205" y="28"/>
                  </a:cubicBezTo>
                  <a:close/>
                  <a:moveTo>
                    <a:pt x="43" y="189"/>
                  </a:moveTo>
                  <a:cubicBezTo>
                    <a:pt x="125" y="143"/>
                    <a:pt x="125" y="143"/>
                    <a:pt x="125" y="143"/>
                  </a:cubicBezTo>
                  <a:cubicBezTo>
                    <a:pt x="98" y="268"/>
                    <a:pt x="98" y="268"/>
                    <a:pt x="98" y="268"/>
                  </a:cubicBezTo>
                  <a:cubicBezTo>
                    <a:pt x="64" y="268"/>
                    <a:pt x="64" y="268"/>
                    <a:pt x="64" y="268"/>
                  </a:cubicBezTo>
                  <a:cubicBezTo>
                    <a:pt x="64" y="225"/>
                    <a:pt x="64" y="225"/>
                    <a:pt x="64" y="225"/>
                  </a:cubicBezTo>
                  <a:cubicBezTo>
                    <a:pt x="64" y="219"/>
                    <a:pt x="59" y="215"/>
                    <a:pt x="53" y="215"/>
                  </a:cubicBezTo>
                  <a:cubicBezTo>
                    <a:pt x="43" y="215"/>
                    <a:pt x="43" y="215"/>
                    <a:pt x="43" y="215"/>
                  </a:cubicBezTo>
                  <a:lnTo>
                    <a:pt x="43" y="189"/>
                  </a:lnTo>
                  <a:close/>
                  <a:moveTo>
                    <a:pt x="21" y="236"/>
                  </a:moveTo>
                  <a:cubicBezTo>
                    <a:pt x="43" y="236"/>
                    <a:pt x="43" y="236"/>
                    <a:pt x="43" y="236"/>
                  </a:cubicBezTo>
                  <a:cubicBezTo>
                    <a:pt x="43" y="268"/>
                    <a:pt x="43" y="268"/>
                    <a:pt x="43" y="268"/>
                  </a:cubicBezTo>
                  <a:cubicBezTo>
                    <a:pt x="21" y="268"/>
                    <a:pt x="21" y="268"/>
                    <a:pt x="21" y="268"/>
                  </a:cubicBezTo>
                  <a:lnTo>
                    <a:pt x="21" y="2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defTabSz="685784"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mj-lt"/>
                <a:ea typeface="Verdana" panose="020B0604030504040204" pitchFamily="34" charset="0"/>
              </a:endParaRPr>
            </a:p>
          </p:txBody>
        </p:sp>
      </p:grpSp>
    </p:spTree>
    <p:extLst>
      <p:ext uri="{BB962C8B-B14F-4D97-AF65-F5344CB8AC3E}">
        <p14:creationId xmlns:p14="http://schemas.microsoft.com/office/powerpoint/2010/main" val="56160309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7">
            <a:extLst>
              <a:ext uri="{FF2B5EF4-FFF2-40B4-BE49-F238E27FC236}">
                <a16:creationId xmlns:a16="http://schemas.microsoft.com/office/drawing/2014/main" id="{CEDFAAB5-A673-D039-63E7-1FFCF7629F2E}"/>
              </a:ext>
            </a:extLst>
          </p:cNvPr>
          <p:cNvSpPr txBox="1">
            <a:spLocks/>
          </p:cNvSpPr>
          <p:nvPr/>
        </p:nvSpPr>
        <p:spPr>
          <a:xfrm>
            <a:off x="392798" y="1035115"/>
            <a:ext cx="5548998" cy="1044290"/>
          </a:xfrm>
          <a:prstGeom prst="rect">
            <a:avLst/>
          </a:prstGeom>
        </p:spPr>
        <p:txBody>
          <a:bodyPr/>
          <a:lst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166412" marR="0" lvl="0" indent="-166412" algn="just"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ommitted to being </a:t>
            </a:r>
            <a:r>
              <a:rPr kumimoji="0" lang="en-IN" sz="1400" b="1" i="0" u="none" strike="noStrike" kern="1200" cap="none" spc="0" normalizeH="0" baseline="0" noProof="0">
                <a:ln>
                  <a:noFill/>
                </a:ln>
                <a:solidFill>
                  <a:srgbClr val="37A76F"/>
                </a:solidFill>
                <a:effectLst/>
                <a:uLnTx/>
                <a:uFillTx/>
                <a:latin typeface="Calibri" panose="020F0502020204030204" pitchFamily="34" charset="0"/>
                <a:ea typeface="+mn-ea"/>
                <a:cs typeface="Calibri" panose="020F0502020204030204" pitchFamily="34" charset="0"/>
              </a:rPr>
              <a:t>the best</a:t>
            </a: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raising the bar higher and setting the pace for others to follow</a:t>
            </a:r>
          </a:p>
          <a:p>
            <a:pPr marL="166412" marR="0" lvl="0" indent="-166412" algn="just"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elivers against a broad and deep multidisciplinary portfolio of business capabilities that is </a:t>
            </a:r>
            <a:r>
              <a:rPr kumimoji="0" lang="en-IN" sz="1400" b="1" i="0" u="none" strike="noStrike" kern="1200" cap="none" spc="0" normalizeH="0" baseline="0" noProof="0">
                <a:ln>
                  <a:noFill/>
                </a:ln>
                <a:solidFill>
                  <a:srgbClr val="37A76F"/>
                </a:solidFill>
                <a:effectLst/>
                <a:uLnTx/>
                <a:uFillTx/>
                <a:latin typeface="Calibri" panose="020F0502020204030204" pitchFamily="34" charset="0"/>
                <a:ea typeface="+mn-ea"/>
                <a:cs typeface="Calibri" panose="020F0502020204030204" pitchFamily="34" charset="0"/>
              </a:rPr>
              <a:t>distinctive in our profession</a:t>
            </a:r>
          </a:p>
        </p:txBody>
      </p:sp>
      <p:sp>
        <p:nvSpPr>
          <p:cNvPr id="6" name="TextBox 5">
            <a:extLst>
              <a:ext uri="{FF2B5EF4-FFF2-40B4-BE49-F238E27FC236}">
                <a16:creationId xmlns:a16="http://schemas.microsoft.com/office/drawing/2014/main" id="{DB3D8D5D-F7DF-0D1A-EB68-4E3445A784B1}"/>
              </a:ext>
            </a:extLst>
          </p:cNvPr>
          <p:cNvSpPr txBox="1"/>
          <p:nvPr/>
        </p:nvSpPr>
        <p:spPr>
          <a:xfrm>
            <a:off x="6096000" y="1058406"/>
            <a:ext cx="5548997" cy="1120820"/>
          </a:xfrm>
          <a:prstGeom prst="rect">
            <a:avLst/>
          </a:prstGeom>
          <a:noFill/>
        </p:spPr>
        <p:txBody>
          <a:bodyPr wrap="square">
            <a:spAutoFit/>
          </a:bodyPr>
          <a:lstStyle/>
          <a:p>
            <a:pPr marL="166412" marR="0" lvl="0" indent="-166412" algn="just"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cognised as </a:t>
            </a:r>
            <a:r>
              <a:rPr kumimoji="0" lang="en-IN" sz="1400" b="1" i="0" u="none" strike="noStrike" kern="1200" cap="none" spc="0" normalizeH="0" baseline="0" noProof="0">
                <a:ln>
                  <a:noFill/>
                </a:ln>
                <a:solidFill>
                  <a:srgbClr val="37A76F"/>
                </a:solidFill>
                <a:effectLst/>
                <a:uLnTx/>
                <a:uFillTx/>
                <a:latin typeface="Calibri" panose="020F0502020204030204" pitchFamily="34" charset="0"/>
                <a:ea typeface="+mn-ea"/>
                <a:cs typeface="Calibri" panose="020F0502020204030204" pitchFamily="34" charset="0"/>
              </a:rPr>
              <a:t>a leader</a:t>
            </a:r>
            <a:r>
              <a:rPr kumimoji="0" lang="en-IN" sz="1400" b="1" i="0" u="none" strike="noStrike" kern="1200" cap="none" spc="0" normalizeH="0" baseline="0" noProof="0">
                <a:ln>
                  <a:noFill/>
                </a:ln>
                <a:solidFill>
                  <a:srgbClr val="99CB38"/>
                </a:solidFill>
                <a:effectLst/>
                <a:uLnTx/>
                <a:uFillTx/>
                <a:latin typeface="Calibri" panose="020F0502020204030204" pitchFamily="34" charset="0"/>
                <a:ea typeface="+mn-ea"/>
                <a:cs typeface="Calibri" panose="020F0502020204030204" pitchFamily="34" charset="0"/>
              </a:rPr>
              <a:t> </a:t>
            </a: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by independent experts across most capabilities and industries of any professional services provider</a:t>
            </a:r>
          </a:p>
          <a:p>
            <a:pPr marL="166412" marR="0" lvl="0" indent="-166412" algn="just"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defining how our professionals serve clients and the public interest by </a:t>
            </a:r>
            <a:r>
              <a:rPr kumimoji="0" lang="en-IN" sz="1400" b="1" i="0" u="none" strike="noStrike" kern="1200" cap="none" spc="0" normalizeH="0" baseline="0" noProof="0">
                <a:ln>
                  <a:noFill/>
                </a:ln>
                <a:solidFill>
                  <a:srgbClr val="37A76F"/>
                </a:solidFill>
                <a:effectLst/>
                <a:uLnTx/>
                <a:uFillTx/>
                <a:latin typeface="Calibri" panose="020F0502020204030204" pitchFamily="34" charset="0"/>
                <a:ea typeface="+mn-ea"/>
                <a:cs typeface="Calibri" panose="020F0502020204030204" pitchFamily="34" charset="0"/>
              </a:rPr>
              <a:t>making an impact that matters</a:t>
            </a:r>
          </a:p>
        </p:txBody>
      </p:sp>
      <p:sp>
        <p:nvSpPr>
          <p:cNvPr id="14" name="Title 9">
            <a:extLst>
              <a:ext uri="{FF2B5EF4-FFF2-40B4-BE49-F238E27FC236}">
                <a16:creationId xmlns:a16="http://schemas.microsoft.com/office/drawing/2014/main" id="{052A01E2-29EE-4BED-773D-3E6D916A2932}"/>
              </a:ext>
            </a:extLst>
          </p:cNvPr>
          <p:cNvSpPr txBox="1">
            <a:spLocks/>
          </p:cNvSpPr>
          <p:nvPr/>
        </p:nvSpPr>
        <p:spPr>
          <a:xfrm>
            <a:off x="392797" y="293017"/>
            <a:ext cx="11252200" cy="334102"/>
          </a:xfrm>
          <a:prstGeom prst="rect">
            <a:avLst/>
          </a:prstGeom>
        </p:spPr>
        <p:txBody>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2000" b="1">
                <a:solidFill>
                  <a:prstClr val="black"/>
                </a:solidFill>
                <a:latin typeface="Calibri"/>
                <a:cs typeface="+mj-cs"/>
              </a:rPr>
              <a:t>About Deloitte</a:t>
            </a:r>
            <a:endParaRPr lang="en-US" b="1"/>
          </a:p>
        </p:txBody>
      </p:sp>
      <p:sp>
        <p:nvSpPr>
          <p:cNvPr id="15" name="Text Placeholder 1">
            <a:extLst>
              <a:ext uri="{FF2B5EF4-FFF2-40B4-BE49-F238E27FC236}">
                <a16:creationId xmlns:a16="http://schemas.microsoft.com/office/drawing/2014/main" id="{6FA5951A-04C9-8107-F52B-9933ECA94E62}"/>
              </a:ext>
            </a:extLst>
          </p:cNvPr>
          <p:cNvSpPr txBox="1">
            <a:spLocks/>
          </p:cNvSpPr>
          <p:nvPr/>
        </p:nvSpPr>
        <p:spPr>
          <a:xfrm>
            <a:off x="392797" y="627118"/>
            <a:ext cx="11252200" cy="364399"/>
          </a:xfrm>
          <a:prstGeom prst="rect">
            <a:avLst/>
          </a:prstGeom>
        </p:spPr>
        <p:txBody>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just"/>
            <a:r>
              <a:rPr lang="en-US" sz="1800">
                <a:solidFill>
                  <a:srgbClr val="575757"/>
                </a:solidFill>
                <a:cs typeface="+mn-cs"/>
              </a:rPr>
              <a:t>Deloitte is one of the world’s largest and most diversified professional services organizations</a:t>
            </a:r>
          </a:p>
        </p:txBody>
      </p:sp>
      <p:sp>
        <p:nvSpPr>
          <p:cNvPr id="3" name="Rectangle 30">
            <a:extLst>
              <a:ext uri="{FF2B5EF4-FFF2-40B4-BE49-F238E27FC236}">
                <a16:creationId xmlns:a16="http://schemas.microsoft.com/office/drawing/2014/main" id="{5932262A-B5F0-6D50-9E8D-EE5DB1E2AAD6}"/>
              </a:ext>
            </a:extLst>
          </p:cNvPr>
          <p:cNvSpPr>
            <a:spLocks noChangeArrowheads="1"/>
          </p:cNvSpPr>
          <p:nvPr/>
        </p:nvSpPr>
        <p:spPr bwMode="auto">
          <a:xfrm>
            <a:off x="1524" y="2232596"/>
            <a:ext cx="12188952" cy="353153"/>
          </a:xfrm>
          <a:prstGeom prst="rect">
            <a:avLst/>
          </a:prstGeom>
          <a:solidFill>
            <a:srgbClr val="00ABAB"/>
          </a:solidFill>
          <a:ln w="12700" algn="ctr">
            <a:noFill/>
            <a:miter lim="800000"/>
            <a:headEnd/>
            <a:tailEnd/>
          </a:ln>
          <a:effectLst/>
        </p:spPr>
        <p:txBody>
          <a:bodyPr wrap="square" lIns="88900" tIns="88900" rIns="88900" bIns="88900" rtlCol="0" anchor="ctr"/>
          <a:lstStyle/>
          <a:p>
            <a:pPr algn="ctr">
              <a:lnSpc>
                <a:spcPct val="106000"/>
              </a:lnSpc>
            </a:pPr>
            <a:r>
              <a:rPr lang="en-US" sz="1400" b="1">
                <a:solidFill>
                  <a:schemeClr val="bg1"/>
                </a:solidFill>
                <a:latin typeface="Aptos" panose="020B0004020202020204" pitchFamily="34" charset="0"/>
              </a:rPr>
              <a:t>Deloitte member firms serve 75% of the 2024 Fortune 500 companies</a:t>
            </a:r>
          </a:p>
        </p:txBody>
      </p:sp>
      <p:grpSp>
        <p:nvGrpSpPr>
          <p:cNvPr id="4" name="Graphic 2062">
            <a:extLst>
              <a:ext uri="{FF2B5EF4-FFF2-40B4-BE49-F238E27FC236}">
                <a16:creationId xmlns:a16="http://schemas.microsoft.com/office/drawing/2014/main" id="{5F35927B-4EB6-F893-AC40-CEC41FF6E307}"/>
              </a:ext>
            </a:extLst>
          </p:cNvPr>
          <p:cNvGrpSpPr/>
          <p:nvPr/>
        </p:nvGrpSpPr>
        <p:grpSpPr>
          <a:xfrm>
            <a:off x="1" y="2656829"/>
            <a:ext cx="6085792" cy="448351"/>
            <a:chOff x="521067" y="2116931"/>
            <a:chExt cx="5564725" cy="448351"/>
          </a:xfrm>
        </p:grpSpPr>
        <p:sp>
          <p:nvSpPr>
            <p:cNvPr id="8" name="Freeform: Shape 7">
              <a:extLst>
                <a:ext uri="{FF2B5EF4-FFF2-40B4-BE49-F238E27FC236}">
                  <a16:creationId xmlns:a16="http://schemas.microsoft.com/office/drawing/2014/main" id="{58987D67-3DA9-BA81-C597-9ED64A3A1095}"/>
                </a:ext>
              </a:extLst>
            </p:cNvPr>
            <p:cNvSpPr/>
            <p:nvPr/>
          </p:nvSpPr>
          <p:spPr>
            <a:xfrm rot="10800000">
              <a:off x="521067" y="2116931"/>
              <a:ext cx="5564725" cy="448351"/>
            </a:xfrm>
            <a:custGeom>
              <a:avLst/>
              <a:gdLst>
                <a:gd name="connsiteX0" fmla="*/ 0 w 5564725"/>
                <a:gd name="connsiteY0" fmla="*/ 0 h 448351"/>
                <a:gd name="connsiteX1" fmla="*/ 5564726 w 5564725"/>
                <a:gd name="connsiteY1" fmla="*/ 0 h 448351"/>
                <a:gd name="connsiteX2" fmla="*/ 5564726 w 5564725"/>
                <a:gd name="connsiteY2" fmla="*/ 448351 h 448351"/>
                <a:gd name="connsiteX3" fmla="*/ 0 w 5564725"/>
                <a:gd name="connsiteY3" fmla="*/ 448351 h 448351"/>
              </a:gdLst>
              <a:ahLst/>
              <a:cxnLst>
                <a:cxn ang="0">
                  <a:pos x="connsiteX0" y="connsiteY0"/>
                </a:cxn>
                <a:cxn ang="0">
                  <a:pos x="connsiteX1" y="connsiteY1"/>
                </a:cxn>
                <a:cxn ang="0">
                  <a:pos x="connsiteX2" y="connsiteY2"/>
                </a:cxn>
                <a:cxn ang="0">
                  <a:pos x="connsiteX3" y="connsiteY3"/>
                </a:cxn>
              </a:cxnLst>
              <a:rect l="l" t="t" r="r" b="b"/>
              <a:pathLst>
                <a:path w="5564725" h="448351">
                  <a:moveTo>
                    <a:pt x="0" y="0"/>
                  </a:moveTo>
                  <a:lnTo>
                    <a:pt x="5564726" y="0"/>
                  </a:lnTo>
                  <a:lnTo>
                    <a:pt x="5564726" y="448351"/>
                  </a:lnTo>
                  <a:lnTo>
                    <a:pt x="0" y="448351"/>
                  </a:lnTo>
                  <a:close/>
                </a:path>
              </a:pathLst>
            </a:custGeom>
            <a:gradFill flip="none" rotWithShape="1">
              <a:gsLst>
                <a:gs pos="22000">
                  <a:srgbClr val="0076A8"/>
                </a:gs>
                <a:gs pos="100000">
                  <a:srgbClr val="0076A8"/>
                </a:gs>
                <a:gs pos="82000">
                  <a:srgbClr val="00A3E0"/>
                </a:gs>
              </a:gsLst>
              <a:lin ang="10800000" scaled="1"/>
              <a:tileRect/>
            </a:gradFill>
            <a:ln w="78481" cap="flat">
              <a:noFill/>
              <a:prstDash val="solid"/>
              <a:miter/>
            </a:ln>
          </p:spPr>
          <p:txBody>
            <a:bodyPr rtlCol="0" anchor="ctr"/>
            <a:lstStyle/>
            <a:p>
              <a:endParaRPr lang="en-US">
                <a:latin typeface="Aptos" panose="020B0004020202020204" pitchFamily="34" charset="0"/>
              </a:endParaRPr>
            </a:p>
          </p:txBody>
        </p:sp>
        <p:sp>
          <p:nvSpPr>
            <p:cNvPr id="9" name="Freeform: Shape 8">
              <a:extLst>
                <a:ext uri="{FF2B5EF4-FFF2-40B4-BE49-F238E27FC236}">
                  <a16:creationId xmlns:a16="http://schemas.microsoft.com/office/drawing/2014/main" id="{6BB951B5-643D-45BA-0C0A-A73C531E101B}"/>
                </a:ext>
              </a:extLst>
            </p:cNvPr>
            <p:cNvSpPr/>
            <p:nvPr/>
          </p:nvSpPr>
          <p:spPr>
            <a:xfrm rot="10800000">
              <a:off x="521067" y="2340714"/>
              <a:ext cx="5564725" cy="224568"/>
            </a:xfrm>
            <a:custGeom>
              <a:avLst/>
              <a:gdLst>
                <a:gd name="connsiteX0" fmla="*/ 0 w 5564725"/>
                <a:gd name="connsiteY0" fmla="*/ 0 h 224568"/>
                <a:gd name="connsiteX1" fmla="*/ 5564726 w 5564725"/>
                <a:gd name="connsiteY1" fmla="*/ 0 h 224568"/>
                <a:gd name="connsiteX2" fmla="*/ 5564726 w 5564725"/>
                <a:gd name="connsiteY2" fmla="*/ 224568 h 224568"/>
                <a:gd name="connsiteX3" fmla="*/ 0 w 5564725"/>
                <a:gd name="connsiteY3" fmla="*/ 224568 h 224568"/>
              </a:gdLst>
              <a:ahLst/>
              <a:cxnLst>
                <a:cxn ang="0">
                  <a:pos x="connsiteX0" y="connsiteY0"/>
                </a:cxn>
                <a:cxn ang="0">
                  <a:pos x="connsiteX1" y="connsiteY1"/>
                </a:cxn>
                <a:cxn ang="0">
                  <a:pos x="connsiteX2" y="connsiteY2"/>
                </a:cxn>
                <a:cxn ang="0">
                  <a:pos x="connsiteX3" y="connsiteY3"/>
                </a:cxn>
              </a:cxnLst>
              <a:rect l="l" t="t" r="r" b="b"/>
              <a:pathLst>
                <a:path w="5564725" h="224568">
                  <a:moveTo>
                    <a:pt x="0" y="0"/>
                  </a:moveTo>
                  <a:lnTo>
                    <a:pt x="5564726" y="0"/>
                  </a:lnTo>
                  <a:lnTo>
                    <a:pt x="5564726" y="224568"/>
                  </a:lnTo>
                  <a:lnTo>
                    <a:pt x="0" y="224568"/>
                  </a:lnTo>
                  <a:close/>
                </a:path>
              </a:pathLst>
            </a:custGeom>
            <a:solidFill>
              <a:srgbClr val="000000">
                <a:alpha val="20000"/>
              </a:srgbClr>
            </a:solidFill>
            <a:ln w="78481" cap="flat">
              <a:noFill/>
              <a:prstDash val="solid"/>
              <a:miter/>
            </a:ln>
          </p:spPr>
          <p:txBody>
            <a:bodyPr rtlCol="0" anchor="ctr"/>
            <a:lstStyle/>
            <a:p>
              <a:endParaRPr lang="en-US">
                <a:latin typeface="Aptos" panose="020B0004020202020204" pitchFamily="34" charset="0"/>
              </a:endParaRPr>
            </a:p>
          </p:txBody>
        </p:sp>
      </p:grpSp>
      <p:grpSp>
        <p:nvGrpSpPr>
          <p:cNvPr id="10" name="Group 9">
            <a:extLst>
              <a:ext uri="{FF2B5EF4-FFF2-40B4-BE49-F238E27FC236}">
                <a16:creationId xmlns:a16="http://schemas.microsoft.com/office/drawing/2014/main" id="{079B4ED2-4C5F-3E80-129E-9C3AC9FF227B}"/>
              </a:ext>
            </a:extLst>
          </p:cNvPr>
          <p:cNvGrpSpPr/>
          <p:nvPr/>
        </p:nvGrpSpPr>
        <p:grpSpPr>
          <a:xfrm>
            <a:off x="4233741" y="2655856"/>
            <a:ext cx="3724518" cy="3724524"/>
            <a:chOff x="4312261" y="2122666"/>
            <a:chExt cx="3546279" cy="3546285"/>
          </a:xfrm>
        </p:grpSpPr>
        <p:sp>
          <p:nvSpPr>
            <p:cNvPr id="11" name="Freeform: Shape 10">
              <a:extLst>
                <a:ext uri="{FF2B5EF4-FFF2-40B4-BE49-F238E27FC236}">
                  <a16:creationId xmlns:a16="http://schemas.microsoft.com/office/drawing/2014/main" id="{3905F25F-CFF1-1C52-5AD4-D54B8B24E2C4}"/>
                </a:ext>
              </a:extLst>
            </p:cNvPr>
            <p:cNvSpPr/>
            <p:nvPr/>
          </p:nvSpPr>
          <p:spPr>
            <a:xfrm>
              <a:off x="4312261" y="2122666"/>
              <a:ext cx="3546279" cy="3546285"/>
            </a:xfrm>
            <a:custGeom>
              <a:avLst/>
              <a:gdLst>
                <a:gd name="connsiteX0" fmla="*/ 1773524 w 3546279"/>
                <a:gd name="connsiteY0" fmla="*/ 424461 h 3546285"/>
                <a:gd name="connsiteX1" fmla="*/ 1640232 w 3546279"/>
                <a:gd name="connsiteY1" fmla="*/ 430958 h 3546285"/>
                <a:gd name="connsiteX2" fmla="*/ 820603 w 3546279"/>
                <a:gd name="connsiteY2" fmla="*/ 819118 h 3546285"/>
                <a:gd name="connsiteX3" fmla="*/ 819860 w 3546279"/>
                <a:gd name="connsiteY3" fmla="*/ 819862 h 3546285"/>
                <a:gd name="connsiteX4" fmla="*/ 425168 w 3546279"/>
                <a:gd name="connsiteY4" fmla="*/ 1773516 h 3546285"/>
                <a:gd name="connsiteX5" fmla="*/ 424461 w 3546279"/>
                <a:gd name="connsiteY5" fmla="*/ 1773516 h 3546285"/>
                <a:gd name="connsiteX6" fmla="*/ 430957 w 3546279"/>
                <a:gd name="connsiteY6" fmla="*/ 1906795 h 3546285"/>
                <a:gd name="connsiteX7" fmla="*/ 819116 w 3546279"/>
                <a:gd name="connsiteY7" fmla="*/ 2726425 h 3546285"/>
                <a:gd name="connsiteX8" fmla="*/ 1772768 w 3546279"/>
                <a:gd name="connsiteY8" fmla="*/ 3121118 h 3546285"/>
                <a:gd name="connsiteX9" fmla="*/ 2726420 w 3546279"/>
                <a:gd name="connsiteY9" fmla="*/ 2726425 h 3546285"/>
                <a:gd name="connsiteX10" fmla="*/ 3121112 w 3546279"/>
                <a:gd name="connsiteY10" fmla="*/ 1772772 h 3546285"/>
                <a:gd name="connsiteX11" fmla="*/ 2726420 w 3546279"/>
                <a:gd name="connsiteY11" fmla="*/ 819117 h 3546285"/>
                <a:gd name="connsiteX12" fmla="*/ 1906792 w 3546279"/>
                <a:gd name="connsiteY12" fmla="*/ 430927 h 3546285"/>
                <a:gd name="connsiteX13" fmla="*/ 1772768 w 3546279"/>
                <a:gd name="connsiteY13" fmla="*/ 0 h 3546285"/>
                <a:gd name="connsiteX14" fmla="*/ 1773526 w 3546279"/>
                <a:gd name="connsiteY14" fmla="*/ 37 h 3546285"/>
                <a:gd name="connsiteX15" fmla="*/ 1774255 w 3546279"/>
                <a:gd name="connsiteY15" fmla="*/ 1 h 3546285"/>
                <a:gd name="connsiteX16" fmla="*/ 1774255 w 3546279"/>
                <a:gd name="connsiteY16" fmla="*/ 73 h 3546285"/>
                <a:gd name="connsiteX17" fmla="*/ 1950800 w 3546279"/>
                <a:gd name="connsiteY17" fmla="*/ 8769 h 3546285"/>
                <a:gd name="connsiteX18" fmla="*/ 2463292 w 3546279"/>
                <a:gd name="connsiteY18" fmla="*/ 139740 h 3546285"/>
                <a:gd name="connsiteX19" fmla="*/ 3026713 w 3546279"/>
                <a:gd name="connsiteY19" fmla="*/ 519567 h 3546285"/>
                <a:gd name="connsiteX20" fmla="*/ 3406538 w 3546279"/>
                <a:gd name="connsiteY20" fmla="*/ 1082989 h 3546285"/>
                <a:gd name="connsiteX21" fmla="*/ 3546279 w 3546279"/>
                <a:gd name="connsiteY21" fmla="*/ 1773515 h 3546285"/>
                <a:gd name="connsiteX22" fmla="*/ 3406538 w 3546279"/>
                <a:gd name="connsiteY22" fmla="*/ 2464040 h 3546285"/>
                <a:gd name="connsiteX23" fmla="*/ 3407282 w 3546279"/>
                <a:gd name="connsiteY23" fmla="*/ 2463297 h 3546285"/>
                <a:gd name="connsiteX24" fmla="*/ 3027456 w 3546279"/>
                <a:gd name="connsiteY24" fmla="*/ 3026719 h 3546285"/>
                <a:gd name="connsiteX25" fmla="*/ 2464036 w 3546279"/>
                <a:gd name="connsiteY25" fmla="*/ 3406545 h 3546285"/>
                <a:gd name="connsiteX26" fmla="*/ 1773511 w 3546279"/>
                <a:gd name="connsiteY26" fmla="*/ 3546285 h 3546285"/>
                <a:gd name="connsiteX27" fmla="*/ 1082987 w 3546279"/>
                <a:gd name="connsiteY27" fmla="*/ 3406545 h 3546285"/>
                <a:gd name="connsiteX28" fmla="*/ 519566 w 3546279"/>
                <a:gd name="connsiteY28" fmla="*/ 3026719 h 3546285"/>
                <a:gd name="connsiteX29" fmla="*/ 139740 w 3546279"/>
                <a:gd name="connsiteY29" fmla="*/ 2463297 h 3546285"/>
                <a:gd name="connsiteX30" fmla="*/ 0 w 3546279"/>
                <a:gd name="connsiteY30" fmla="*/ 1772772 h 3546285"/>
                <a:gd name="connsiteX31" fmla="*/ 781 w 3546279"/>
                <a:gd name="connsiteY31" fmla="*/ 1772772 h 3546285"/>
                <a:gd name="connsiteX32" fmla="*/ 9513 w 3546279"/>
                <a:gd name="connsiteY32" fmla="*/ 1595484 h 3546285"/>
                <a:gd name="connsiteX33" fmla="*/ 140484 w 3546279"/>
                <a:gd name="connsiteY33" fmla="*/ 1082990 h 3546285"/>
                <a:gd name="connsiteX34" fmla="*/ 520310 w 3546279"/>
                <a:gd name="connsiteY34" fmla="*/ 519568 h 3546285"/>
                <a:gd name="connsiteX35" fmla="*/ 1083730 w 3546279"/>
                <a:gd name="connsiteY35" fmla="*/ 139741 h 3546285"/>
                <a:gd name="connsiteX36" fmla="*/ 1596119 w 3546279"/>
                <a:gd name="connsiteY36" fmla="*/ 8874 h 3546285"/>
                <a:gd name="connsiteX37" fmla="*/ 1772768 w 3546279"/>
                <a:gd name="connsiteY37" fmla="*/ 75 h 3546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46279" h="3546285">
                  <a:moveTo>
                    <a:pt x="1773524" y="424461"/>
                  </a:moveTo>
                  <a:lnTo>
                    <a:pt x="1640232" y="430958"/>
                  </a:lnTo>
                  <a:cubicBezTo>
                    <a:pt x="1330506" y="461323"/>
                    <a:pt x="1043685" y="596686"/>
                    <a:pt x="820603" y="819118"/>
                  </a:cubicBezTo>
                  <a:lnTo>
                    <a:pt x="819860" y="819862"/>
                  </a:lnTo>
                  <a:cubicBezTo>
                    <a:pt x="564908" y="1074813"/>
                    <a:pt x="425168" y="1413015"/>
                    <a:pt x="425168" y="1773516"/>
                  </a:cubicBezTo>
                  <a:lnTo>
                    <a:pt x="424461" y="1773516"/>
                  </a:lnTo>
                  <a:lnTo>
                    <a:pt x="430957" y="1906795"/>
                  </a:lnTo>
                  <a:cubicBezTo>
                    <a:pt x="461322" y="2216521"/>
                    <a:pt x="596684" y="2503342"/>
                    <a:pt x="819116" y="2726425"/>
                  </a:cubicBezTo>
                  <a:cubicBezTo>
                    <a:pt x="1074067" y="2981378"/>
                    <a:pt x="1412268" y="3121118"/>
                    <a:pt x="1772768" y="3121118"/>
                  </a:cubicBezTo>
                  <a:cubicBezTo>
                    <a:pt x="2133268" y="3121118"/>
                    <a:pt x="2471469" y="2980634"/>
                    <a:pt x="2726420" y="2726425"/>
                  </a:cubicBezTo>
                  <a:cubicBezTo>
                    <a:pt x="2981372" y="2471473"/>
                    <a:pt x="3121112" y="2133271"/>
                    <a:pt x="3121112" y="1772772"/>
                  </a:cubicBezTo>
                  <a:cubicBezTo>
                    <a:pt x="3121112" y="1412271"/>
                    <a:pt x="2980628" y="1074069"/>
                    <a:pt x="2726420" y="819117"/>
                  </a:cubicBezTo>
                  <a:cubicBezTo>
                    <a:pt x="2503338" y="596034"/>
                    <a:pt x="2216518" y="461160"/>
                    <a:pt x="1906792" y="430927"/>
                  </a:cubicBezTo>
                  <a:close/>
                  <a:moveTo>
                    <a:pt x="1772768" y="0"/>
                  </a:moveTo>
                  <a:lnTo>
                    <a:pt x="1773526" y="37"/>
                  </a:lnTo>
                  <a:lnTo>
                    <a:pt x="1774255" y="1"/>
                  </a:lnTo>
                  <a:lnTo>
                    <a:pt x="1774255" y="73"/>
                  </a:lnTo>
                  <a:lnTo>
                    <a:pt x="1950800" y="8769"/>
                  </a:lnTo>
                  <a:cubicBezTo>
                    <a:pt x="2127275" y="26294"/>
                    <a:pt x="2298837" y="70056"/>
                    <a:pt x="2463292" y="139740"/>
                  </a:cubicBezTo>
                  <a:cubicBezTo>
                    <a:pt x="2674389" y="228937"/>
                    <a:pt x="2863930" y="356784"/>
                    <a:pt x="3026713" y="519567"/>
                  </a:cubicBezTo>
                  <a:cubicBezTo>
                    <a:pt x="3189495" y="682350"/>
                    <a:pt x="3317342" y="871891"/>
                    <a:pt x="3406538" y="1082989"/>
                  </a:cubicBezTo>
                  <a:cubicBezTo>
                    <a:pt x="3498708" y="1301518"/>
                    <a:pt x="3546279" y="1534172"/>
                    <a:pt x="3546279" y="1773515"/>
                  </a:cubicBezTo>
                  <a:cubicBezTo>
                    <a:pt x="3546279" y="2012857"/>
                    <a:pt x="3499451" y="2244767"/>
                    <a:pt x="3406538" y="2464040"/>
                  </a:cubicBezTo>
                  <a:lnTo>
                    <a:pt x="3407282" y="2463297"/>
                  </a:lnTo>
                  <a:cubicBezTo>
                    <a:pt x="3318086" y="2674394"/>
                    <a:pt x="3190239" y="2863935"/>
                    <a:pt x="3027456" y="3026719"/>
                  </a:cubicBezTo>
                  <a:cubicBezTo>
                    <a:pt x="2864674" y="3189501"/>
                    <a:pt x="2675133" y="3317349"/>
                    <a:pt x="2464036" y="3406545"/>
                  </a:cubicBezTo>
                  <a:cubicBezTo>
                    <a:pt x="2245506" y="3498714"/>
                    <a:pt x="2012853" y="3546285"/>
                    <a:pt x="1773511" y="3546285"/>
                  </a:cubicBezTo>
                  <a:cubicBezTo>
                    <a:pt x="1534169" y="3546285"/>
                    <a:pt x="1302260" y="3499457"/>
                    <a:pt x="1082987" y="3406545"/>
                  </a:cubicBezTo>
                  <a:cubicBezTo>
                    <a:pt x="871890" y="3317349"/>
                    <a:pt x="682348" y="3189501"/>
                    <a:pt x="519566" y="3026719"/>
                  </a:cubicBezTo>
                  <a:cubicBezTo>
                    <a:pt x="356784" y="2863935"/>
                    <a:pt x="228936" y="2674394"/>
                    <a:pt x="139740" y="2463297"/>
                  </a:cubicBezTo>
                  <a:cubicBezTo>
                    <a:pt x="47571" y="2244767"/>
                    <a:pt x="0" y="2012114"/>
                    <a:pt x="0" y="1772772"/>
                  </a:cubicBezTo>
                  <a:lnTo>
                    <a:pt x="781" y="1772772"/>
                  </a:lnTo>
                  <a:lnTo>
                    <a:pt x="9513" y="1595484"/>
                  </a:lnTo>
                  <a:cubicBezTo>
                    <a:pt x="27039" y="1419008"/>
                    <a:pt x="70800" y="1247445"/>
                    <a:pt x="140484" y="1082990"/>
                  </a:cubicBezTo>
                  <a:cubicBezTo>
                    <a:pt x="229680" y="871893"/>
                    <a:pt x="357528" y="682351"/>
                    <a:pt x="520310" y="519568"/>
                  </a:cubicBezTo>
                  <a:cubicBezTo>
                    <a:pt x="683092" y="356786"/>
                    <a:pt x="872634" y="228938"/>
                    <a:pt x="1083730" y="139741"/>
                  </a:cubicBezTo>
                  <a:cubicBezTo>
                    <a:pt x="1247627" y="70615"/>
                    <a:pt x="1419469" y="26574"/>
                    <a:pt x="1596119" y="8874"/>
                  </a:cubicBezTo>
                  <a:lnTo>
                    <a:pt x="1772768" y="75"/>
                  </a:lnTo>
                  <a:close/>
                </a:path>
              </a:pathLst>
            </a:custGeom>
            <a:gradFill flip="none" rotWithShape="1">
              <a:gsLst>
                <a:gs pos="22000">
                  <a:srgbClr val="0076A8"/>
                </a:gs>
                <a:gs pos="100000">
                  <a:srgbClr val="00A3E0"/>
                </a:gs>
              </a:gsLst>
              <a:lin ang="16200000" scaled="1"/>
              <a:tileRect/>
            </a:gradFill>
            <a:ln w="78481" cap="flat">
              <a:noFill/>
              <a:prstDash val="solid"/>
              <a:miter/>
            </a:ln>
          </p:spPr>
          <p:txBody>
            <a:bodyPr rtlCol="0" anchor="ctr"/>
            <a:lstStyle/>
            <a:p>
              <a:endParaRPr lang="en-US">
                <a:latin typeface="Aptos" panose="020B0004020202020204" pitchFamily="34" charset="0"/>
              </a:endParaRPr>
            </a:p>
          </p:txBody>
        </p:sp>
        <p:sp>
          <p:nvSpPr>
            <p:cNvPr id="12" name="Freeform: Shape 11">
              <a:extLst>
                <a:ext uri="{FF2B5EF4-FFF2-40B4-BE49-F238E27FC236}">
                  <a16:creationId xmlns:a16="http://schemas.microsoft.com/office/drawing/2014/main" id="{C817E1D7-32D7-49B7-A3D2-27C4C611108F}"/>
                </a:ext>
              </a:extLst>
            </p:cNvPr>
            <p:cNvSpPr/>
            <p:nvPr/>
          </p:nvSpPr>
          <p:spPr>
            <a:xfrm>
              <a:off x="4524844" y="2334506"/>
              <a:ext cx="3121855" cy="3121860"/>
            </a:xfrm>
            <a:custGeom>
              <a:avLst/>
              <a:gdLst>
                <a:gd name="connsiteX0" fmla="*/ 1648924 w 3297848"/>
                <a:gd name="connsiteY0" fmla="*/ 3297855 h 3297854"/>
                <a:gd name="connsiteX1" fmla="*/ 0 w 3297848"/>
                <a:gd name="connsiteY1" fmla="*/ 1648928 h 3297854"/>
                <a:gd name="connsiteX2" fmla="*/ 224568 w 3297848"/>
                <a:gd name="connsiteY2" fmla="*/ 1648928 h 3297854"/>
                <a:gd name="connsiteX3" fmla="*/ 641510 w 3297848"/>
                <a:gd name="connsiteY3" fmla="*/ 2656344 h 3297854"/>
                <a:gd name="connsiteX4" fmla="*/ 1648924 w 3297848"/>
                <a:gd name="connsiteY4" fmla="*/ 3073287 h 3297854"/>
                <a:gd name="connsiteX5" fmla="*/ 2656338 w 3297848"/>
                <a:gd name="connsiteY5" fmla="*/ 2656344 h 3297854"/>
                <a:gd name="connsiteX6" fmla="*/ 3073281 w 3297848"/>
                <a:gd name="connsiteY6" fmla="*/ 1648928 h 3297854"/>
                <a:gd name="connsiteX7" fmla="*/ 2656338 w 3297848"/>
                <a:gd name="connsiteY7" fmla="*/ 641511 h 3297854"/>
                <a:gd name="connsiteX8" fmla="*/ 1648924 w 3297848"/>
                <a:gd name="connsiteY8" fmla="*/ 224568 h 3297854"/>
                <a:gd name="connsiteX9" fmla="*/ 1648924 w 3297848"/>
                <a:gd name="connsiteY9" fmla="*/ 0 h 3297854"/>
                <a:gd name="connsiteX10" fmla="*/ 3297848 w 3297848"/>
                <a:gd name="connsiteY10" fmla="*/ 1648928 h 3297854"/>
                <a:gd name="connsiteX11" fmla="*/ 1648924 w 3297848"/>
                <a:gd name="connsiteY11" fmla="*/ 3297855 h 3297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7848" h="3297854">
                  <a:moveTo>
                    <a:pt x="1648924" y="3297855"/>
                  </a:moveTo>
                  <a:cubicBezTo>
                    <a:pt x="738090" y="3297855"/>
                    <a:pt x="0" y="2559764"/>
                    <a:pt x="0" y="1648928"/>
                  </a:cubicBezTo>
                  <a:lnTo>
                    <a:pt x="224568" y="1648928"/>
                  </a:lnTo>
                  <a:cubicBezTo>
                    <a:pt x="224568" y="2029751"/>
                    <a:pt x="372971" y="2387019"/>
                    <a:pt x="641510" y="2656344"/>
                  </a:cubicBezTo>
                  <a:cubicBezTo>
                    <a:pt x="910834" y="2925669"/>
                    <a:pt x="1268101" y="3073287"/>
                    <a:pt x="1648924" y="3073287"/>
                  </a:cubicBezTo>
                  <a:cubicBezTo>
                    <a:pt x="2029747" y="3073287"/>
                    <a:pt x="2387014" y="2924883"/>
                    <a:pt x="2656338" y="2656344"/>
                  </a:cubicBezTo>
                  <a:cubicBezTo>
                    <a:pt x="2925662" y="2387019"/>
                    <a:pt x="3073281" y="2029751"/>
                    <a:pt x="3073281" y="1648928"/>
                  </a:cubicBezTo>
                  <a:cubicBezTo>
                    <a:pt x="3073281" y="1268104"/>
                    <a:pt x="2924878" y="910836"/>
                    <a:pt x="2656338" y="641511"/>
                  </a:cubicBezTo>
                  <a:cubicBezTo>
                    <a:pt x="2387014" y="372187"/>
                    <a:pt x="2029747" y="224568"/>
                    <a:pt x="1648924" y="224568"/>
                  </a:cubicBezTo>
                  <a:lnTo>
                    <a:pt x="1648924" y="0"/>
                  </a:lnTo>
                  <a:cubicBezTo>
                    <a:pt x="2559759" y="0"/>
                    <a:pt x="3297848" y="738091"/>
                    <a:pt x="3297848" y="1648928"/>
                  </a:cubicBezTo>
                  <a:cubicBezTo>
                    <a:pt x="3297848" y="2559764"/>
                    <a:pt x="2559759" y="3297855"/>
                    <a:pt x="1648924" y="3297855"/>
                  </a:cubicBezTo>
                  <a:close/>
                </a:path>
              </a:pathLst>
            </a:custGeom>
            <a:solidFill>
              <a:srgbClr val="000000">
                <a:alpha val="20000"/>
              </a:srgbClr>
            </a:solidFill>
            <a:ln w="78481" cap="flat">
              <a:noFill/>
              <a:prstDash val="solid"/>
              <a:miter/>
            </a:ln>
          </p:spPr>
          <p:txBody>
            <a:bodyPr rtlCol="0" anchor="ctr"/>
            <a:lstStyle/>
            <a:p>
              <a:endParaRPr lang="en-US">
                <a:latin typeface="Aptos" panose="020B0004020202020204" pitchFamily="34" charset="0"/>
              </a:endParaRPr>
            </a:p>
          </p:txBody>
        </p:sp>
        <p:sp>
          <p:nvSpPr>
            <p:cNvPr id="13" name="Freeform: Shape 12">
              <a:extLst>
                <a:ext uri="{FF2B5EF4-FFF2-40B4-BE49-F238E27FC236}">
                  <a16:creationId xmlns:a16="http://schemas.microsoft.com/office/drawing/2014/main" id="{762264B9-A699-C9FB-5DC2-B5D76325473A}"/>
                </a:ext>
              </a:extLst>
            </p:cNvPr>
            <p:cNvSpPr/>
            <p:nvPr/>
          </p:nvSpPr>
          <p:spPr>
            <a:xfrm>
              <a:off x="4524844" y="2334507"/>
              <a:ext cx="1560927" cy="1560930"/>
            </a:xfrm>
            <a:custGeom>
              <a:avLst/>
              <a:gdLst>
                <a:gd name="connsiteX0" fmla="*/ 1648924 w 1648924"/>
                <a:gd name="connsiteY0" fmla="*/ 224568 h 1648927"/>
                <a:gd name="connsiteX1" fmla="*/ 641510 w 1648924"/>
                <a:gd name="connsiteY1" fmla="*/ 641511 h 1648927"/>
                <a:gd name="connsiteX2" fmla="*/ 224568 w 1648924"/>
                <a:gd name="connsiteY2" fmla="*/ 1648928 h 1648927"/>
                <a:gd name="connsiteX3" fmla="*/ 0 w 1648924"/>
                <a:gd name="connsiteY3" fmla="*/ 1648928 h 1648927"/>
                <a:gd name="connsiteX4" fmla="*/ 1648924 w 1648924"/>
                <a:gd name="connsiteY4" fmla="*/ 0 h 1648927"/>
                <a:gd name="connsiteX5" fmla="*/ 1648924 w 1648924"/>
                <a:gd name="connsiteY5" fmla="*/ 224568 h 1648927"/>
                <a:gd name="connsiteX6" fmla="*/ 1648924 w 1648924"/>
                <a:gd name="connsiteY6" fmla="*/ 224568 h 164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924" h="1648927">
                  <a:moveTo>
                    <a:pt x="1648924" y="224568"/>
                  </a:moveTo>
                  <a:cubicBezTo>
                    <a:pt x="1268101" y="224568"/>
                    <a:pt x="910834" y="372972"/>
                    <a:pt x="641510" y="641511"/>
                  </a:cubicBezTo>
                  <a:cubicBezTo>
                    <a:pt x="372186" y="910836"/>
                    <a:pt x="224568" y="1268104"/>
                    <a:pt x="224568" y="1648928"/>
                  </a:cubicBezTo>
                  <a:lnTo>
                    <a:pt x="0" y="1648928"/>
                  </a:lnTo>
                  <a:cubicBezTo>
                    <a:pt x="0" y="738091"/>
                    <a:pt x="738090" y="0"/>
                    <a:pt x="1648924" y="0"/>
                  </a:cubicBezTo>
                  <a:lnTo>
                    <a:pt x="1648924" y="224568"/>
                  </a:lnTo>
                  <a:lnTo>
                    <a:pt x="1648924" y="224568"/>
                  </a:lnTo>
                  <a:close/>
                </a:path>
              </a:pathLst>
            </a:custGeom>
            <a:solidFill>
              <a:srgbClr val="000000">
                <a:alpha val="20000"/>
              </a:srgbClr>
            </a:solidFill>
            <a:ln w="78481" cap="flat">
              <a:noFill/>
              <a:prstDash val="solid"/>
              <a:miter/>
            </a:ln>
          </p:spPr>
          <p:txBody>
            <a:bodyPr rtlCol="0" anchor="ctr"/>
            <a:lstStyle/>
            <a:p>
              <a:endParaRPr lang="en-US">
                <a:latin typeface="Aptos" panose="020B0004020202020204" pitchFamily="34" charset="0"/>
              </a:endParaRPr>
            </a:p>
          </p:txBody>
        </p:sp>
      </p:grpSp>
      <p:grpSp>
        <p:nvGrpSpPr>
          <p:cNvPr id="16" name="Graphic 2062">
            <a:extLst>
              <a:ext uri="{FF2B5EF4-FFF2-40B4-BE49-F238E27FC236}">
                <a16:creationId xmlns:a16="http://schemas.microsoft.com/office/drawing/2014/main" id="{FBE5A852-51E6-4220-FBFB-FEAF14735ED0}"/>
              </a:ext>
            </a:extLst>
          </p:cNvPr>
          <p:cNvGrpSpPr/>
          <p:nvPr/>
        </p:nvGrpSpPr>
        <p:grpSpPr>
          <a:xfrm>
            <a:off x="6057900" y="2656829"/>
            <a:ext cx="6132576" cy="448351"/>
            <a:chOff x="6085792" y="2116931"/>
            <a:chExt cx="5564725" cy="448351"/>
          </a:xfrm>
        </p:grpSpPr>
        <p:sp>
          <p:nvSpPr>
            <p:cNvPr id="17" name="Freeform: Shape 16">
              <a:extLst>
                <a:ext uri="{FF2B5EF4-FFF2-40B4-BE49-F238E27FC236}">
                  <a16:creationId xmlns:a16="http://schemas.microsoft.com/office/drawing/2014/main" id="{57C900E9-889A-2CC9-ADD3-582E7E3C71CF}"/>
                </a:ext>
              </a:extLst>
            </p:cNvPr>
            <p:cNvSpPr/>
            <p:nvPr/>
          </p:nvSpPr>
          <p:spPr>
            <a:xfrm rot="10800000">
              <a:off x="6085792" y="2116931"/>
              <a:ext cx="5564725" cy="448351"/>
            </a:xfrm>
            <a:custGeom>
              <a:avLst/>
              <a:gdLst>
                <a:gd name="connsiteX0" fmla="*/ 0 w 5564725"/>
                <a:gd name="connsiteY0" fmla="*/ 0 h 448351"/>
                <a:gd name="connsiteX1" fmla="*/ 5564726 w 5564725"/>
                <a:gd name="connsiteY1" fmla="*/ 0 h 448351"/>
                <a:gd name="connsiteX2" fmla="*/ 5564726 w 5564725"/>
                <a:gd name="connsiteY2" fmla="*/ 448351 h 448351"/>
                <a:gd name="connsiteX3" fmla="*/ -1 w 5564725"/>
                <a:gd name="connsiteY3" fmla="*/ 448351 h 448351"/>
              </a:gdLst>
              <a:ahLst/>
              <a:cxnLst>
                <a:cxn ang="0">
                  <a:pos x="connsiteX0" y="connsiteY0"/>
                </a:cxn>
                <a:cxn ang="0">
                  <a:pos x="connsiteX1" y="connsiteY1"/>
                </a:cxn>
                <a:cxn ang="0">
                  <a:pos x="connsiteX2" y="connsiteY2"/>
                </a:cxn>
                <a:cxn ang="0">
                  <a:pos x="connsiteX3" y="connsiteY3"/>
                </a:cxn>
              </a:cxnLst>
              <a:rect l="l" t="t" r="r" b="b"/>
              <a:pathLst>
                <a:path w="5564725" h="448351">
                  <a:moveTo>
                    <a:pt x="0" y="0"/>
                  </a:moveTo>
                  <a:lnTo>
                    <a:pt x="5564726" y="0"/>
                  </a:lnTo>
                  <a:lnTo>
                    <a:pt x="5564726" y="448351"/>
                  </a:lnTo>
                  <a:lnTo>
                    <a:pt x="-1" y="448351"/>
                  </a:lnTo>
                  <a:close/>
                </a:path>
              </a:pathLst>
            </a:custGeom>
            <a:gradFill flip="none" rotWithShape="1">
              <a:gsLst>
                <a:gs pos="22000">
                  <a:srgbClr val="0076A8"/>
                </a:gs>
                <a:gs pos="100000">
                  <a:srgbClr val="00A3E0"/>
                </a:gs>
              </a:gsLst>
              <a:lin ang="0" scaled="1"/>
              <a:tileRect/>
            </a:gradFill>
            <a:ln w="78481" cap="flat">
              <a:noFill/>
              <a:prstDash val="solid"/>
              <a:miter/>
            </a:ln>
          </p:spPr>
          <p:txBody>
            <a:bodyPr rtlCol="0" anchor="ctr"/>
            <a:lstStyle/>
            <a:p>
              <a:endParaRPr lang="en-US">
                <a:latin typeface="Aptos" panose="020B0004020202020204" pitchFamily="34" charset="0"/>
              </a:endParaRPr>
            </a:p>
          </p:txBody>
        </p:sp>
        <p:sp>
          <p:nvSpPr>
            <p:cNvPr id="18" name="Freeform: Shape 17">
              <a:extLst>
                <a:ext uri="{FF2B5EF4-FFF2-40B4-BE49-F238E27FC236}">
                  <a16:creationId xmlns:a16="http://schemas.microsoft.com/office/drawing/2014/main" id="{3B067A2C-66E5-60A0-5010-28FA33E73922}"/>
                </a:ext>
              </a:extLst>
            </p:cNvPr>
            <p:cNvSpPr/>
            <p:nvPr/>
          </p:nvSpPr>
          <p:spPr>
            <a:xfrm rot="10800000">
              <a:off x="6085792" y="2340714"/>
              <a:ext cx="5564725" cy="224568"/>
            </a:xfrm>
            <a:custGeom>
              <a:avLst/>
              <a:gdLst>
                <a:gd name="connsiteX0" fmla="*/ 0 w 5564725"/>
                <a:gd name="connsiteY0" fmla="*/ 0 h 224568"/>
                <a:gd name="connsiteX1" fmla="*/ 5564726 w 5564725"/>
                <a:gd name="connsiteY1" fmla="*/ 0 h 224568"/>
                <a:gd name="connsiteX2" fmla="*/ 5564726 w 5564725"/>
                <a:gd name="connsiteY2" fmla="*/ 224568 h 224568"/>
                <a:gd name="connsiteX3" fmla="*/ -1 w 5564725"/>
                <a:gd name="connsiteY3" fmla="*/ 224568 h 224568"/>
              </a:gdLst>
              <a:ahLst/>
              <a:cxnLst>
                <a:cxn ang="0">
                  <a:pos x="connsiteX0" y="connsiteY0"/>
                </a:cxn>
                <a:cxn ang="0">
                  <a:pos x="connsiteX1" y="connsiteY1"/>
                </a:cxn>
                <a:cxn ang="0">
                  <a:pos x="connsiteX2" y="connsiteY2"/>
                </a:cxn>
                <a:cxn ang="0">
                  <a:pos x="connsiteX3" y="connsiteY3"/>
                </a:cxn>
              </a:cxnLst>
              <a:rect l="l" t="t" r="r" b="b"/>
              <a:pathLst>
                <a:path w="5564725" h="224568">
                  <a:moveTo>
                    <a:pt x="0" y="0"/>
                  </a:moveTo>
                  <a:lnTo>
                    <a:pt x="5564726" y="0"/>
                  </a:lnTo>
                  <a:lnTo>
                    <a:pt x="5564726" y="224568"/>
                  </a:lnTo>
                  <a:lnTo>
                    <a:pt x="-1" y="224568"/>
                  </a:lnTo>
                  <a:close/>
                </a:path>
              </a:pathLst>
            </a:custGeom>
            <a:solidFill>
              <a:srgbClr val="000000">
                <a:alpha val="20000"/>
              </a:srgbClr>
            </a:solidFill>
            <a:ln w="78481" cap="flat">
              <a:noFill/>
              <a:prstDash val="solid"/>
              <a:miter/>
            </a:ln>
          </p:spPr>
          <p:txBody>
            <a:bodyPr rtlCol="0" anchor="ctr"/>
            <a:lstStyle/>
            <a:p>
              <a:endParaRPr lang="en-US">
                <a:latin typeface="Aptos" panose="020B0004020202020204" pitchFamily="34" charset="0"/>
              </a:endParaRPr>
            </a:p>
          </p:txBody>
        </p:sp>
      </p:grpSp>
      <p:sp>
        <p:nvSpPr>
          <p:cNvPr id="19" name="Freeform: Shape 18">
            <a:extLst>
              <a:ext uri="{FF2B5EF4-FFF2-40B4-BE49-F238E27FC236}">
                <a16:creationId xmlns:a16="http://schemas.microsoft.com/office/drawing/2014/main" id="{A3D1C3C9-4724-2D54-860F-A3675CD714CA}"/>
              </a:ext>
            </a:extLst>
          </p:cNvPr>
          <p:cNvSpPr/>
          <p:nvPr/>
        </p:nvSpPr>
        <p:spPr>
          <a:xfrm>
            <a:off x="4614061" y="3649991"/>
            <a:ext cx="2963878" cy="2721434"/>
          </a:xfrm>
          <a:custGeom>
            <a:avLst/>
            <a:gdLst>
              <a:gd name="connsiteX0" fmla="*/ 2251610 w 2442090"/>
              <a:gd name="connsiteY0" fmla="*/ 788496 h 2242329"/>
              <a:gd name="connsiteX1" fmla="*/ 2406995 w 2442090"/>
              <a:gd name="connsiteY1" fmla="*/ 835070 h 2242329"/>
              <a:gd name="connsiteX2" fmla="*/ 2417283 w 2442090"/>
              <a:gd name="connsiteY2" fmla="*/ 875082 h 2242329"/>
              <a:gd name="connsiteX3" fmla="*/ 2442090 w 2442090"/>
              <a:gd name="connsiteY3" fmla="*/ 1121165 h 2242329"/>
              <a:gd name="connsiteX4" fmla="*/ 2294717 w 2442090"/>
              <a:gd name="connsiteY4" fmla="*/ 1703188 h 2242329"/>
              <a:gd name="connsiteX5" fmla="*/ 2251610 w 2442090"/>
              <a:gd name="connsiteY5" fmla="*/ 1774144 h 2242329"/>
              <a:gd name="connsiteX6" fmla="*/ 849448 w 2442090"/>
              <a:gd name="connsiteY6" fmla="*/ 0 h 2242329"/>
              <a:gd name="connsiteX7" fmla="*/ 849448 w 2442090"/>
              <a:gd name="connsiteY7" fmla="*/ 3 h 2242329"/>
              <a:gd name="connsiteX8" fmla="*/ 862187 w 2442090"/>
              <a:gd name="connsiteY8" fmla="*/ 38222 h 2242329"/>
              <a:gd name="connsiteX9" fmla="*/ 862187 w 2442090"/>
              <a:gd name="connsiteY9" fmla="*/ 249148 h 2242329"/>
              <a:gd name="connsiteX10" fmla="*/ 907486 w 2442090"/>
              <a:gd name="connsiteY10" fmla="*/ 274629 h 2242329"/>
              <a:gd name="connsiteX11" fmla="*/ 971190 w 2442090"/>
              <a:gd name="connsiteY11" fmla="*/ 402034 h 2242329"/>
              <a:gd name="connsiteX12" fmla="*/ 1029938 w 2442090"/>
              <a:gd name="connsiteY12" fmla="*/ 432469 h 2242329"/>
              <a:gd name="connsiteX13" fmla="*/ 1029938 w 2442090"/>
              <a:gd name="connsiteY13" fmla="*/ 464321 h 2242329"/>
              <a:gd name="connsiteX14" fmla="*/ 1063205 w 2442090"/>
              <a:gd name="connsiteY14" fmla="*/ 481308 h 2242329"/>
              <a:gd name="connsiteX15" fmla="*/ 1063205 w 2442090"/>
              <a:gd name="connsiteY15" fmla="*/ 649072 h 2242329"/>
              <a:gd name="connsiteX16" fmla="*/ 1204057 w 2442090"/>
              <a:gd name="connsiteY16" fmla="*/ 578986 h 2242329"/>
              <a:gd name="connsiteX17" fmla="*/ 1204057 w 2442090"/>
              <a:gd name="connsiteY17" fmla="*/ 1178864 h 2242329"/>
              <a:gd name="connsiteX18" fmla="*/ 1204058 w 2442090"/>
              <a:gd name="connsiteY18" fmla="*/ 1178863 h 2242329"/>
              <a:gd name="connsiteX19" fmla="*/ 1204058 w 2442090"/>
              <a:gd name="connsiteY19" fmla="*/ 578986 h 2242329"/>
              <a:gd name="connsiteX20" fmla="*/ 1496381 w 2442090"/>
              <a:gd name="connsiteY20" fmla="*/ 724794 h 2242329"/>
              <a:gd name="connsiteX21" fmla="*/ 1496381 w 2442090"/>
              <a:gd name="connsiteY21" fmla="*/ 1091872 h 2242329"/>
              <a:gd name="connsiteX22" fmla="*/ 1609630 w 2442090"/>
              <a:gd name="connsiteY22" fmla="*/ 1058171 h 2242329"/>
              <a:gd name="connsiteX23" fmla="*/ 1610338 w 2442090"/>
              <a:gd name="connsiteY23" fmla="*/ 1058381 h 2242329"/>
              <a:gd name="connsiteX24" fmla="*/ 1610338 w 2442090"/>
              <a:gd name="connsiteY24" fmla="*/ 879804 h 2242329"/>
              <a:gd name="connsiteX25" fmla="*/ 1633696 w 2442090"/>
              <a:gd name="connsiteY25" fmla="*/ 872899 h 2242329"/>
              <a:gd name="connsiteX26" fmla="*/ 1633696 w 2442090"/>
              <a:gd name="connsiteY26" fmla="*/ 849368 h 2242329"/>
              <a:gd name="connsiteX27" fmla="*/ 1671918 w 2442090"/>
              <a:gd name="connsiteY27" fmla="*/ 837336 h 2242329"/>
              <a:gd name="connsiteX28" fmla="*/ 1671918 w 2442090"/>
              <a:gd name="connsiteY28" fmla="*/ 787082 h 2242329"/>
              <a:gd name="connsiteX29" fmla="*/ 1834712 w 2442090"/>
              <a:gd name="connsiteY29" fmla="*/ 735636 h 2242329"/>
              <a:gd name="connsiteX30" fmla="*/ 1834712 w 2442090"/>
              <a:gd name="connsiteY30" fmla="*/ 735411 h 2242329"/>
              <a:gd name="connsiteX31" fmla="*/ 1835067 w 2442090"/>
              <a:gd name="connsiteY31" fmla="*/ 735523 h 2242329"/>
              <a:gd name="connsiteX32" fmla="*/ 1835421 w 2442090"/>
              <a:gd name="connsiteY32" fmla="*/ 735411 h 2242329"/>
              <a:gd name="connsiteX33" fmla="*/ 1835421 w 2442090"/>
              <a:gd name="connsiteY33" fmla="*/ 735636 h 2242329"/>
              <a:gd name="connsiteX34" fmla="*/ 1998217 w 2442090"/>
              <a:gd name="connsiteY34" fmla="*/ 787081 h 2242329"/>
              <a:gd name="connsiteX35" fmla="*/ 1998217 w 2442090"/>
              <a:gd name="connsiteY35" fmla="*/ 837336 h 2242329"/>
              <a:gd name="connsiteX36" fmla="*/ 2036438 w 2442090"/>
              <a:gd name="connsiteY36" fmla="*/ 849368 h 2242329"/>
              <a:gd name="connsiteX37" fmla="*/ 2036438 w 2442090"/>
              <a:gd name="connsiteY37" fmla="*/ 853210 h 2242329"/>
              <a:gd name="connsiteX38" fmla="*/ 2251609 w 2442090"/>
              <a:gd name="connsiteY38" fmla="*/ 788496 h 2242329"/>
              <a:gd name="connsiteX39" fmla="*/ 2251609 w 2442090"/>
              <a:gd name="connsiteY39" fmla="*/ 1774146 h 2242329"/>
              <a:gd name="connsiteX40" fmla="*/ 2233555 w 2442090"/>
              <a:gd name="connsiteY40" fmla="*/ 1803863 h 2242329"/>
              <a:gd name="connsiteX41" fmla="*/ 2084454 w 2442090"/>
              <a:gd name="connsiteY41" fmla="*/ 1984575 h 2242329"/>
              <a:gd name="connsiteX42" fmla="*/ 2082277 w 2442090"/>
              <a:gd name="connsiteY42" fmla="*/ 1986554 h 2242329"/>
              <a:gd name="connsiteX43" fmla="*/ 2078906 w 2442090"/>
              <a:gd name="connsiteY43" fmla="*/ 1985844 h 2242329"/>
              <a:gd name="connsiteX44" fmla="*/ 2078906 w 2442090"/>
              <a:gd name="connsiteY44" fmla="*/ 1989618 h 2242329"/>
              <a:gd name="connsiteX45" fmla="*/ 1997743 w 2442090"/>
              <a:gd name="connsiteY45" fmla="*/ 2063383 h 2242329"/>
              <a:gd name="connsiteX46" fmla="*/ 1976712 w 2442090"/>
              <a:gd name="connsiteY46" fmla="*/ 2079110 h 2242329"/>
              <a:gd name="connsiteX47" fmla="*/ 1609630 w 2442090"/>
              <a:gd name="connsiteY47" fmla="*/ 2153855 h 2242329"/>
              <a:gd name="connsiteX48" fmla="*/ 1496381 w 2442090"/>
              <a:gd name="connsiteY48" fmla="*/ 2130760 h 2242329"/>
              <a:gd name="connsiteX49" fmla="*/ 1496381 w 2442090"/>
              <a:gd name="connsiteY49" fmla="*/ 2181457 h 2242329"/>
              <a:gd name="connsiteX50" fmla="*/ 1204058 w 2442090"/>
              <a:gd name="connsiteY50" fmla="*/ 2242329 h 2242329"/>
              <a:gd name="connsiteX51" fmla="*/ 1204058 w 2442090"/>
              <a:gd name="connsiteY51" fmla="*/ 2075836 h 2242329"/>
              <a:gd name="connsiteX52" fmla="*/ 1204057 w 2442090"/>
              <a:gd name="connsiteY52" fmla="*/ 2075836 h 2242329"/>
              <a:gd name="connsiteX53" fmla="*/ 1204057 w 2442090"/>
              <a:gd name="connsiteY53" fmla="*/ 2242329 h 2242329"/>
              <a:gd name="connsiteX54" fmla="*/ 911026 w 2442090"/>
              <a:gd name="connsiteY54" fmla="*/ 2181457 h 2242329"/>
              <a:gd name="connsiteX55" fmla="*/ 911026 w 2442090"/>
              <a:gd name="connsiteY55" fmla="*/ 2137286 h 2242329"/>
              <a:gd name="connsiteX56" fmla="*/ 808394 w 2442090"/>
              <a:gd name="connsiteY56" fmla="*/ 2158808 h 2242329"/>
              <a:gd name="connsiteX57" fmla="*/ 479811 w 2442090"/>
              <a:gd name="connsiteY57" fmla="*/ 2089902 h 2242329"/>
              <a:gd name="connsiteX58" fmla="*/ 444347 w 2442090"/>
              <a:gd name="connsiteY58" fmla="*/ 2063383 h 2242329"/>
              <a:gd name="connsiteX59" fmla="*/ 0 w 2442090"/>
              <a:gd name="connsiteY59" fmla="*/ 1121165 h 2242329"/>
              <a:gd name="connsiteX60" fmla="*/ 95956 w 2442090"/>
              <a:gd name="connsiteY60" fmla="*/ 645879 h 2242329"/>
              <a:gd name="connsiteX61" fmla="*/ 113742 w 2442090"/>
              <a:gd name="connsiteY61" fmla="*/ 608958 h 2242329"/>
              <a:gd name="connsiteX62" fmla="*/ 162875 w 2442090"/>
              <a:gd name="connsiteY62" fmla="*/ 583598 h 2242329"/>
              <a:gd name="connsiteX63" fmla="*/ 162875 w 2442090"/>
              <a:gd name="connsiteY63" fmla="*/ 583233 h 2242329"/>
              <a:gd name="connsiteX64" fmla="*/ 163229 w 2442090"/>
              <a:gd name="connsiteY64" fmla="*/ 583416 h 2242329"/>
              <a:gd name="connsiteX65" fmla="*/ 163582 w 2442090"/>
              <a:gd name="connsiteY65" fmla="*/ 583233 h 2242329"/>
              <a:gd name="connsiteX66" fmla="*/ 163582 w 2442090"/>
              <a:gd name="connsiteY66" fmla="*/ 583598 h 2242329"/>
              <a:gd name="connsiteX67" fmla="*/ 294527 w 2442090"/>
              <a:gd name="connsiteY67" fmla="*/ 651183 h 2242329"/>
              <a:gd name="connsiteX68" fmla="*/ 294527 w 2442090"/>
              <a:gd name="connsiteY68" fmla="*/ 716300 h 2242329"/>
              <a:gd name="connsiteX69" fmla="*/ 324962 w 2442090"/>
              <a:gd name="connsiteY69" fmla="*/ 732580 h 2242329"/>
              <a:gd name="connsiteX70" fmla="*/ 324962 w 2442090"/>
              <a:gd name="connsiteY70" fmla="*/ 763668 h 2242329"/>
              <a:gd name="connsiteX71" fmla="*/ 343845 w 2442090"/>
              <a:gd name="connsiteY71" fmla="*/ 772815 h 2242329"/>
              <a:gd name="connsiteX72" fmla="*/ 344073 w 2442090"/>
              <a:gd name="connsiteY72" fmla="*/ 772925 h 2242329"/>
              <a:gd name="connsiteX73" fmla="*/ 344073 w 2442090"/>
              <a:gd name="connsiteY73" fmla="*/ 772926 h 2242329"/>
              <a:gd name="connsiteX74" fmla="*/ 344073 w 2442090"/>
              <a:gd name="connsiteY74" fmla="*/ 993132 h 2242329"/>
              <a:gd name="connsiteX75" fmla="*/ 564201 w 2442090"/>
              <a:gd name="connsiteY75" fmla="*/ 1059587 h 2242329"/>
              <a:gd name="connsiteX76" fmla="*/ 564201 w 2442090"/>
              <a:gd name="connsiteY76" fmla="*/ 1162953 h 2242329"/>
              <a:gd name="connsiteX77" fmla="*/ 634982 w 2442090"/>
              <a:gd name="connsiteY77" fmla="*/ 1141608 h 2242329"/>
              <a:gd name="connsiteX78" fmla="*/ 634982 w 2442090"/>
              <a:gd name="connsiteY78" fmla="*/ 481308 h 2242329"/>
              <a:gd name="connsiteX79" fmla="*/ 849447 w 2442090"/>
              <a:gd name="connsiteY79" fmla="*/ 373722 h 2242329"/>
              <a:gd name="connsiteX80" fmla="*/ 668250 w 2442090"/>
              <a:gd name="connsiteY80" fmla="*/ 464321 h 2242329"/>
              <a:gd name="connsiteX81" fmla="*/ 668250 w 2442090"/>
              <a:gd name="connsiteY81" fmla="*/ 432469 h 2242329"/>
              <a:gd name="connsiteX82" fmla="*/ 726997 w 2442090"/>
              <a:gd name="connsiteY82" fmla="*/ 402034 h 2242329"/>
              <a:gd name="connsiteX83" fmla="*/ 791407 w 2442090"/>
              <a:gd name="connsiteY83" fmla="*/ 274629 h 2242329"/>
              <a:gd name="connsiteX84" fmla="*/ 836707 w 2442090"/>
              <a:gd name="connsiteY84" fmla="*/ 249148 h 2242329"/>
              <a:gd name="connsiteX85" fmla="*/ 836707 w 2442090"/>
              <a:gd name="connsiteY85" fmla="*/ 38222 h 2242329"/>
              <a:gd name="connsiteX86" fmla="*/ 849447 w 2442090"/>
              <a:gd name="connsiteY86" fmla="*/ 3 h 2242329"/>
              <a:gd name="connsiteX87" fmla="*/ 849447 w 2442090"/>
              <a:gd name="connsiteY87" fmla="*/ 1 h 224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442090" h="2242329">
                <a:moveTo>
                  <a:pt x="2251610" y="788496"/>
                </a:moveTo>
                <a:lnTo>
                  <a:pt x="2406995" y="835070"/>
                </a:lnTo>
                <a:lnTo>
                  <a:pt x="2417283" y="875082"/>
                </a:lnTo>
                <a:cubicBezTo>
                  <a:pt x="2433548" y="954569"/>
                  <a:pt x="2442090" y="1036870"/>
                  <a:pt x="2442090" y="1121165"/>
                </a:cubicBezTo>
                <a:cubicBezTo>
                  <a:pt x="2442090" y="1331904"/>
                  <a:pt x="2388703" y="1530174"/>
                  <a:pt x="2294717" y="1703188"/>
                </a:cubicBezTo>
                <a:lnTo>
                  <a:pt x="2251610" y="1774144"/>
                </a:lnTo>
                <a:close/>
                <a:moveTo>
                  <a:pt x="849448" y="0"/>
                </a:moveTo>
                <a:lnTo>
                  <a:pt x="849448" y="3"/>
                </a:lnTo>
                <a:lnTo>
                  <a:pt x="862187" y="38222"/>
                </a:lnTo>
                <a:lnTo>
                  <a:pt x="862187" y="249148"/>
                </a:lnTo>
                <a:lnTo>
                  <a:pt x="907486" y="274629"/>
                </a:lnTo>
                <a:lnTo>
                  <a:pt x="971190" y="402034"/>
                </a:lnTo>
                <a:lnTo>
                  <a:pt x="1029938" y="432469"/>
                </a:lnTo>
                <a:lnTo>
                  <a:pt x="1029938" y="464321"/>
                </a:lnTo>
                <a:lnTo>
                  <a:pt x="1063205" y="481308"/>
                </a:lnTo>
                <a:lnTo>
                  <a:pt x="1063205" y="649072"/>
                </a:lnTo>
                <a:lnTo>
                  <a:pt x="1204057" y="578986"/>
                </a:lnTo>
                <a:lnTo>
                  <a:pt x="1204057" y="1178864"/>
                </a:lnTo>
                <a:lnTo>
                  <a:pt x="1204058" y="1178863"/>
                </a:lnTo>
                <a:lnTo>
                  <a:pt x="1204058" y="578986"/>
                </a:lnTo>
                <a:lnTo>
                  <a:pt x="1496381" y="724794"/>
                </a:lnTo>
                <a:lnTo>
                  <a:pt x="1496381" y="1091872"/>
                </a:lnTo>
                <a:lnTo>
                  <a:pt x="1609630" y="1058171"/>
                </a:lnTo>
                <a:lnTo>
                  <a:pt x="1610338" y="1058381"/>
                </a:lnTo>
                <a:lnTo>
                  <a:pt x="1610338" y="879804"/>
                </a:lnTo>
                <a:lnTo>
                  <a:pt x="1633696" y="872899"/>
                </a:lnTo>
                <a:lnTo>
                  <a:pt x="1633696" y="849368"/>
                </a:lnTo>
                <a:lnTo>
                  <a:pt x="1671918" y="837336"/>
                </a:lnTo>
                <a:lnTo>
                  <a:pt x="1671918" y="787082"/>
                </a:lnTo>
                <a:lnTo>
                  <a:pt x="1834712" y="735636"/>
                </a:lnTo>
                <a:lnTo>
                  <a:pt x="1834712" y="735411"/>
                </a:lnTo>
                <a:lnTo>
                  <a:pt x="1835067" y="735523"/>
                </a:lnTo>
                <a:lnTo>
                  <a:pt x="1835421" y="735411"/>
                </a:lnTo>
                <a:lnTo>
                  <a:pt x="1835421" y="735636"/>
                </a:lnTo>
                <a:lnTo>
                  <a:pt x="1998217" y="787081"/>
                </a:lnTo>
                <a:lnTo>
                  <a:pt x="1998217" y="837336"/>
                </a:lnTo>
                <a:lnTo>
                  <a:pt x="2036438" y="849368"/>
                </a:lnTo>
                <a:lnTo>
                  <a:pt x="2036438" y="853210"/>
                </a:lnTo>
                <a:lnTo>
                  <a:pt x="2251609" y="788496"/>
                </a:lnTo>
                <a:lnTo>
                  <a:pt x="2251609" y="1774146"/>
                </a:lnTo>
                <a:lnTo>
                  <a:pt x="2233555" y="1803863"/>
                </a:lnTo>
                <a:cubicBezTo>
                  <a:pt x="2189669" y="1868823"/>
                  <a:pt x="2139696" y="1929333"/>
                  <a:pt x="2084454" y="1984575"/>
                </a:cubicBezTo>
                <a:lnTo>
                  <a:pt x="2082277" y="1986554"/>
                </a:lnTo>
                <a:lnTo>
                  <a:pt x="2078906" y="1985844"/>
                </a:lnTo>
                <a:lnTo>
                  <a:pt x="2078906" y="1989618"/>
                </a:lnTo>
                <a:lnTo>
                  <a:pt x="1997743" y="2063383"/>
                </a:lnTo>
                <a:lnTo>
                  <a:pt x="1976712" y="2079110"/>
                </a:lnTo>
                <a:lnTo>
                  <a:pt x="1609630" y="2153855"/>
                </a:lnTo>
                <a:lnTo>
                  <a:pt x="1496381" y="2130760"/>
                </a:lnTo>
                <a:lnTo>
                  <a:pt x="1496381" y="2181457"/>
                </a:lnTo>
                <a:lnTo>
                  <a:pt x="1204058" y="2242329"/>
                </a:lnTo>
                <a:lnTo>
                  <a:pt x="1204058" y="2075836"/>
                </a:lnTo>
                <a:lnTo>
                  <a:pt x="1204057" y="2075836"/>
                </a:lnTo>
                <a:lnTo>
                  <a:pt x="1204057" y="2242329"/>
                </a:lnTo>
                <a:lnTo>
                  <a:pt x="911026" y="2181457"/>
                </a:lnTo>
                <a:lnTo>
                  <a:pt x="911026" y="2137286"/>
                </a:lnTo>
                <a:lnTo>
                  <a:pt x="808394" y="2158808"/>
                </a:lnTo>
                <a:lnTo>
                  <a:pt x="479811" y="2089902"/>
                </a:lnTo>
                <a:lnTo>
                  <a:pt x="444347" y="2063383"/>
                </a:lnTo>
                <a:cubicBezTo>
                  <a:pt x="172973" y="1839426"/>
                  <a:pt x="0" y="1500495"/>
                  <a:pt x="0" y="1121165"/>
                </a:cubicBezTo>
                <a:cubicBezTo>
                  <a:pt x="0" y="952574"/>
                  <a:pt x="34168" y="791963"/>
                  <a:pt x="95956" y="645879"/>
                </a:cubicBezTo>
                <a:lnTo>
                  <a:pt x="113742" y="608958"/>
                </a:lnTo>
                <a:lnTo>
                  <a:pt x="162875" y="583598"/>
                </a:lnTo>
                <a:lnTo>
                  <a:pt x="162875" y="583233"/>
                </a:lnTo>
                <a:lnTo>
                  <a:pt x="163229" y="583416"/>
                </a:lnTo>
                <a:lnTo>
                  <a:pt x="163582" y="583233"/>
                </a:lnTo>
                <a:lnTo>
                  <a:pt x="163582" y="583598"/>
                </a:lnTo>
                <a:lnTo>
                  <a:pt x="294527" y="651183"/>
                </a:lnTo>
                <a:lnTo>
                  <a:pt x="294527" y="716300"/>
                </a:lnTo>
                <a:lnTo>
                  <a:pt x="324962" y="732580"/>
                </a:lnTo>
                <a:lnTo>
                  <a:pt x="324962" y="763668"/>
                </a:lnTo>
                <a:lnTo>
                  <a:pt x="343845" y="772815"/>
                </a:lnTo>
                <a:lnTo>
                  <a:pt x="344073" y="772925"/>
                </a:lnTo>
                <a:lnTo>
                  <a:pt x="344073" y="772926"/>
                </a:lnTo>
                <a:lnTo>
                  <a:pt x="344073" y="993132"/>
                </a:lnTo>
                <a:lnTo>
                  <a:pt x="564201" y="1059587"/>
                </a:lnTo>
                <a:lnTo>
                  <a:pt x="564201" y="1162953"/>
                </a:lnTo>
                <a:lnTo>
                  <a:pt x="634982" y="1141608"/>
                </a:lnTo>
                <a:lnTo>
                  <a:pt x="634982" y="481308"/>
                </a:lnTo>
                <a:lnTo>
                  <a:pt x="849447" y="373722"/>
                </a:lnTo>
                <a:lnTo>
                  <a:pt x="668250" y="464321"/>
                </a:lnTo>
                <a:lnTo>
                  <a:pt x="668250" y="432469"/>
                </a:lnTo>
                <a:lnTo>
                  <a:pt x="726997" y="402034"/>
                </a:lnTo>
                <a:lnTo>
                  <a:pt x="791407" y="274629"/>
                </a:lnTo>
                <a:lnTo>
                  <a:pt x="836707" y="249148"/>
                </a:lnTo>
                <a:lnTo>
                  <a:pt x="836707" y="38222"/>
                </a:lnTo>
                <a:lnTo>
                  <a:pt x="849447" y="3"/>
                </a:lnTo>
                <a:lnTo>
                  <a:pt x="849447" y="1"/>
                </a:lnTo>
                <a:close/>
              </a:path>
            </a:pathLst>
          </a:custGeom>
          <a:solidFill>
            <a:srgbClr val="0076A8">
              <a:alpha val="27000"/>
            </a:srgbClr>
          </a:solidFill>
          <a:ln w="855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20" name="Rectangle 19">
            <a:extLst>
              <a:ext uri="{FF2B5EF4-FFF2-40B4-BE49-F238E27FC236}">
                <a16:creationId xmlns:a16="http://schemas.microsoft.com/office/drawing/2014/main" id="{F7F2B2C4-D83C-0FD8-4F75-9383916BF077}"/>
              </a:ext>
            </a:extLst>
          </p:cNvPr>
          <p:cNvSpPr/>
          <p:nvPr/>
        </p:nvSpPr>
        <p:spPr>
          <a:xfrm>
            <a:off x="8940160" y="3551713"/>
            <a:ext cx="1943353"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ptos" panose="020B0004020202020204" pitchFamily="34" charset="0"/>
              </a:rPr>
              <a:t>Societal  investments</a:t>
            </a:r>
          </a:p>
        </p:txBody>
      </p:sp>
      <p:sp>
        <p:nvSpPr>
          <p:cNvPr id="21" name="Rectangle 20">
            <a:extLst>
              <a:ext uri="{FF2B5EF4-FFF2-40B4-BE49-F238E27FC236}">
                <a16:creationId xmlns:a16="http://schemas.microsoft.com/office/drawing/2014/main" id="{AAAE3294-0718-8104-A13E-9BCE6C311D50}"/>
              </a:ext>
            </a:extLst>
          </p:cNvPr>
          <p:cNvSpPr/>
          <p:nvPr/>
        </p:nvSpPr>
        <p:spPr>
          <a:xfrm>
            <a:off x="8940160" y="3826572"/>
            <a:ext cx="1662635"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ABAB"/>
                </a:solidFill>
                <a:effectLst/>
                <a:uLnTx/>
                <a:uFillTx/>
                <a:latin typeface="Aptos" panose="020B0004020202020204" pitchFamily="34" charset="0"/>
              </a:rPr>
              <a:t>US$416M+</a:t>
            </a:r>
          </a:p>
        </p:txBody>
      </p:sp>
      <p:sp>
        <p:nvSpPr>
          <p:cNvPr id="22" name="Rectangle 21">
            <a:extLst>
              <a:ext uri="{FF2B5EF4-FFF2-40B4-BE49-F238E27FC236}">
                <a16:creationId xmlns:a16="http://schemas.microsoft.com/office/drawing/2014/main" id="{4084BC78-6DE4-9005-2F95-8FEBE37CFEF1}"/>
              </a:ext>
            </a:extLst>
          </p:cNvPr>
          <p:cNvSpPr/>
          <p:nvPr/>
        </p:nvSpPr>
        <p:spPr>
          <a:xfrm>
            <a:off x="8040576" y="6038481"/>
            <a:ext cx="994759" cy="307777"/>
          </a:xfrm>
          <a:prstGeom prst="rect">
            <a:avLst/>
          </a:prstGeom>
        </p:spPr>
        <p:txBody>
          <a:bodyPr wrap="non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ptos" panose="020B0004020202020204" pitchFamily="34" charset="0"/>
              </a:rPr>
              <a:t>New hires</a:t>
            </a:r>
          </a:p>
        </p:txBody>
      </p:sp>
      <p:sp>
        <p:nvSpPr>
          <p:cNvPr id="23" name="Rectangle 22">
            <a:extLst>
              <a:ext uri="{FF2B5EF4-FFF2-40B4-BE49-F238E27FC236}">
                <a16:creationId xmlns:a16="http://schemas.microsoft.com/office/drawing/2014/main" id="{B6D5EB28-D66B-7BA8-8F9F-1758781A64E3}"/>
              </a:ext>
            </a:extLst>
          </p:cNvPr>
          <p:cNvSpPr/>
          <p:nvPr/>
        </p:nvSpPr>
        <p:spPr>
          <a:xfrm>
            <a:off x="8036904" y="6273163"/>
            <a:ext cx="1103187" cy="461665"/>
          </a:xfrm>
          <a:prstGeom prst="rect">
            <a:avLst/>
          </a:prstGeom>
        </p:spPr>
        <p:txBody>
          <a:bodyPr wrap="non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ABAB"/>
                </a:solidFill>
                <a:effectLst/>
                <a:uLnTx/>
                <a:uFillTx/>
                <a:latin typeface="Aptos" panose="020B0004020202020204" pitchFamily="34" charset="0"/>
              </a:rPr>
              <a:t>92,910</a:t>
            </a:r>
          </a:p>
        </p:txBody>
      </p:sp>
      <p:sp>
        <p:nvSpPr>
          <p:cNvPr id="24" name="Rectangle 23">
            <a:extLst>
              <a:ext uri="{FF2B5EF4-FFF2-40B4-BE49-F238E27FC236}">
                <a16:creationId xmlns:a16="http://schemas.microsoft.com/office/drawing/2014/main" id="{9D180B52-8361-92AD-3633-584C83F98C28}"/>
              </a:ext>
            </a:extLst>
          </p:cNvPr>
          <p:cNvSpPr/>
          <p:nvPr/>
        </p:nvSpPr>
        <p:spPr>
          <a:xfrm>
            <a:off x="1314641" y="3551713"/>
            <a:ext cx="2189830"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ptos" panose="020B0004020202020204" pitchFamily="34" charset="0"/>
              </a:rPr>
              <a:t>Countries and territories</a:t>
            </a:r>
          </a:p>
        </p:txBody>
      </p:sp>
      <p:sp>
        <p:nvSpPr>
          <p:cNvPr id="25" name="Rectangle 24">
            <a:extLst>
              <a:ext uri="{FF2B5EF4-FFF2-40B4-BE49-F238E27FC236}">
                <a16:creationId xmlns:a16="http://schemas.microsoft.com/office/drawing/2014/main" id="{DAC8C040-47FE-1938-E99F-18C94727D04C}"/>
              </a:ext>
            </a:extLst>
          </p:cNvPr>
          <p:cNvSpPr/>
          <p:nvPr/>
        </p:nvSpPr>
        <p:spPr>
          <a:xfrm>
            <a:off x="2572881" y="3826572"/>
            <a:ext cx="84510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ABAB"/>
                </a:solidFill>
                <a:effectLst/>
                <a:uLnTx/>
                <a:uFillTx/>
                <a:latin typeface="Aptos" panose="020B0004020202020204" pitchFamily="34" charset="0"/>
              </a:rPr>
              <a:t>150+</a:t>
            </a:r>
          </a:p>
        </p:txBody>
      </p:sp>
      <p:sp>
        <p:nvSpPr>
          <p:cNvPr id="26" name="Rectangle 25">
            <a:extLst>
              <a:ext uri="{FF2B5EF4-FFF2-40B4-BE49-F238E27FC236}">
                <a16:creationId xmlns:a16="http://schemas.microsoft.com/office/drawing/2014/main" id="{C28841B0-1B84-833A-3D20-1A6674D1D769}"/>
              </a:ext>
            </a:extLst>
          </p:cNvPr>
          <p:cNvSpPr/>
          <p:nvPr/>
        </p:nvSpPr>
        <p:spPr>
          <a:xfrm>
            <a:off x="2613953" y="4821863"/>
            <a:ext cx="900841"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ptos" panose="020B0004020202020204" pitchFamily="34" charset="0"/>
              </a:rPr>
              <a:t>Revenue </a:t>
            </a:r>
          </a:p>
        </p:txBody>
      </p:sp>
      <p:sp>
        <p:nvSpPr>
          <p:cNvPr id="27" name="Rectangle 26">
            <a:extLst>
              <a:ext uri="{FF2B5EF4-FFF2-40B4-BE49-F238E27FC236}">
                <a16:creationId xmlns:a16="http://schemas.microsoft.com/office/drawing/2014/main" id="{76DD73B4-0EBB-D74F-0506-F3F96570ECCB}"/>
              </a:ext>
            </a:extLst>
          </p:cNvPr>
          <p:cNvSpPr/>
          <p:nvPr/>
        </p:nvSpPr>
        <p:spPr>
          <a:xfrm>
            <a:off x="1986810" y="5100707"/>
            <a:ext cx="1527983" cy="461665"/>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ABAB"/>
                </a:solidFill>
                <a:effectLst/>
                <a:uLnTx/>
                <a:uFillTx/>
                <a:latin typeface="Aptos" panose="020B0004020202020204" pitchFamily="34" charset="0"/>
              </a:rPr>
              <a:t>US$70.5B</a:t>
            </a:r>
          </a:p>
        </p:txBody>
      </p:sp>
      <p:sp>
        <p:nvSpPr>
          <p:cNvPr id="28" name="Rectangle 27">
            <a:extLst>
              <a:ext uri="{FF2B5EF4-FFF2-40B4-BE49-F238E27FC236}">
                <a16:creationId xmlns:a16="http://schemas.microsoft.com/office/drawing/2014/main" id="{247EF2DF-0774-3615-0B89-6B3B9D8E9CC2}"/>
              </a:ext>
            </a:extLst>
          </p:cNvPr>
          <p:cNvSpPr/>
          <p:nvPr/>
        </p:nvSpPr>
        <p:spPr>
          <a:xfrm>
            <a:off x="8676135" y="4821863"/>
            <a:ext cx="1093569"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ptos" panose="020B0004020202020204" pitchFamily="34" charset="0"/>
              </a:rPr>
              <a:t>Headcount</a:t>
            </a:r>
          </a:p>
        </p:txBody>
      </p:sp>
      <p:sp>
        <p:nvSpPr>
          <p:cNvPr id="29" name="Rectangle 28">
            <a:extLst>
              <a:ext uri="{FF2B5EF4-FFF2-40B4-BE49-F238E27FC236}">
                <a16:creationId xmlns:a16="http://schemas.microsoft.com/office/drawing/2014/main" id="{190D8EEF-AA32-77FF-06D4-0B7CF628A052}"/>
              </a:ext>
            </a:extLst>
          </p:cNvPr>
          <p:cNvSpPr/>
          <p:nvPr/>
        </p:nvSpPr>
        <p:spPr>
          <a:xfrm>
            <a:off x="8676135" y="5100707"/>
            <a:ext cx="1268296"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ABAB"/>
                </a:solidFill>
                <a:effectLst/>
                <a:uLnTx/>
                <a:uFillTx/>
                <a:latin typeface="Aptos" panose="020B0004020202020204" pitchFamily="34" charset="0"/>
              </a:rPr>
              <a:t>470,000</a:t>
            </a:r>
          </a:p>
        </p:txBody>
      </p:sp>
      <p:sp>
        <p:nvSpPr>
          <p:cNvPr id="30" name="Rectangle 29">
            <a:extLst>
              <a:ext uri="{FF2B5EF4-FFF2-40B4-BE49-F238E27FC236}">
                <a16:creationId xmlns:a16="http://schemas.microsoft.com/office/drawing/2014/main" id="{C1C0F4EC-B989-EBB3-6857-47D68DA9422E}"/>
              </a:ext>
            </a:extLst>
          </p:cNvPr>
          <p:cNvSpPr/>
          <p:nvPr/>
        </p:nvSpPr>
        <p:spPr>
          <a:xfrm>
            <a:off x="3468254" y="6038481"/>
            <a:ext cx="700833"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ptos" panose="020B0004020202020204" pitchFamily="34" charset="0"/>
              </a:rPr>
              <a:t>Offices</a:t>
            </a:r>
          </a:p>
        </p:txBody>
      </p:sp>
      <p:sp>
        <p:nvSpPr>
          <p:cNvPr id="31" name="Rectangle 30">
            <a:extLst>
              <a:ext uri="{FF2B5EF4-FFF2-40B4-BE49-F238E27FC236}">
                <a16:creationId xmlns:a16="http://schemas.microsoft.com/office/drawing/2014/main" id="{FF0F8FDB-7762-7FD9-99FB-054E0FB56B02}"/>
              </a:ext>
            </a:extLst>
          </p:cNvPr>
          <p:cNvSpPr/>
          <p:nvPr/>
        </p:nvSpPr>
        <p:spPr>
          <a:xfrm>
            <a:off x="3588373" y="6273163"/>
            <a:ext cx="867856" cy="46166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ABAB"/>
                </a:solidFill>
                <a:effectLst/>
                <a:uLnTx/>
                <a:uFillTx/>
                <a:latin typeface="Aptos" panose="020B0004020202020204" pitchFamily="34" charset="0"/>
              </a:rPr>
              <a:t>760+</a:t>
            </a:r>
          </a:p>
        </p:txBody>
      </p:sp>
      <p:sp>
        <p:nvSpPr>
          <p:cNvPr id="32" name="Freeform: Shape 31">
            <a:extLst>
              <a:ext uri="{FF2B5EF4-FFF2-40B4-BE49-F238E27FC236}">
                <a16:creationId xmlns:a16="http://schemas.microsoft.com/office/drawing/2014/main" id="{94D3E1F4-EF35-38DB-42DB-D1D43982EA7F}"/>
              </a:ext>
            </a:extLst>
          </p:cNvPr>
          <p:cNvSpPr/>
          <p:nvPr/>
        </p:nvSpPr>
        <p:spPr>
          <a:xfrm>
            <a:off x="3677316" y="2984391"/>
            <a:ext cx="4836298" cy="3822414"/>
          </a:xfrm>
          <a:custGeom>
            <a:avLst/>
            <a:gdLst>
              <a:gd name="connsiteX0" fmla="*/ 403594 w 4251083"/>
              <a:gd name="connsiteY0" fmla="*/ 785 h 3359885"/>
              <a:gd name="connsiteX1" fmla="*/ 411446 w 4251083"/>
              <a:gd name="connsiteY1" fmla="*/ 3141 h 3359885"/>
              <a:gd name="connsiteX2" fmla="*/ 414587 w 4251083"/>
              <a:gd name="connsiteY2" fmla="*/ 22771 h 3359885"/>
              <a:gd name="connsiteX3" fmla="*/ 29053 w 4251083"/>
              <a:gd name="connsiteY3" fmla="*/ 1234340 h 3359885"/>
              <a:gd name="connsiteX4" fmla="*/ 193945 w 4251083"/>
              <a:gd name="connsiteY4" fmla="*/ 2050952 h 3359885"/>
              <a:gd name="connsiteX5" fmla="*/ 643081 w 4251083"/>
              <a:gd name="connsiteY5" fmla="*/ 2717590 h 3359885"/>
              <a:gd name="connsiteX6" fmla="*/ 1309717 w 4251083"/>
              <a:gd name="connsiteY6" fmla="*/ 3166726 h 3359885"/>
              <a:gd name="connsiteX7" fmla="*/ 2126327 w 4251083"/>
              <a:gd name="connsiteY7" fmla="*/ 3331619 h 3359885"/>
              <a:gd name="connsiteX8" fmla="*/ 2942937 w 4251083"/>
              <a:gd name="connsiteY8" fmla="*/ 3166726 h 3359885"/>
              <a:gd name="connsiteX9" fmla="*/ 3609573 w 4251083"/>
              <a:gd name="connsiteY9" fmla="*/ 2717590 h 3359885"/>
              <a:gd name="connsiteX10" fmla="*/ 4058709 w 4251083"/>
              <a:gd name="connsiteY10" fmla="*/ 2050952 h 3359885"/>
              <a:gd name="connsiteX11" fmla="*/ 4223601 w 4251083"/>
              <a:gd name="connsiteY11" fmla="*/ 1234340 h 3359885"/>
              <a:gd name="connsiteX12" fmla="*/ 3838067 w 4251083"/>
              <a:gd name="connsiteY12" fmla="*/ 22771 h 3359885"/>
              <a:gd name="connsiteX13" fmla="*/ 3841208 w 4251083"/>
              <a:gd name="connsiteY13" fmla="*/ 3141 h 3359885"/>
              <a:gd name="connsiteX14" fmla="*/ 3860838 w 4251083"/>
              <a:gd name="connsiteY14" fmla="*/ 6282 h 3359885"/>
              <a:gd name="connsiteX15" fmla="*/ 4251083 w 4251083"/>
              <a:gd name="connsiteY15" fmla="*/ 1234340 h 3359885"/>
              <a:gd name="connsiteX16" fmla="*/ 4083835 w 4251083"/>
              <a:gd name="connsiteY16" fmla="*/ 2061944 h 3359885"/>
              <a:gd name="connsiteX17" fmla="*/ 3628418 w 4251083"/>
              <a:gd name="connsiteY17" fmla="*/ 2737220 h 3359885"/>
              <a:gd name="connsiteX18" fmla="*/ 2953145 w 4251083"/>
              <a:gd name="connsiteY18" fmla="*/ 3192638 h 3359885"/>
              <a:gd name="connsiteX19" fmla="*/ 2125542 w 4251083"/>
              <a:gd name="connsiteY19" fmla="*/ 3359886 h 3359885"/>
              <a:gd name="connsiteX20" fmla="*/ 1297939 w 4251083"/>
              <a:gd name="connsiteY20" fmla="*/ 3192638 h 3359885"/>
              <a:gd name="connsiteX21" fmla="*/ 622665 w 4251083"/>
              <a:gd name="connsiteY21" fmla="*/ 2737220 h 3359885"/>
              <a:gd name="connsiteX22" fmla="*/ 167248 w 4251083"/>
              <a:gd name="connsiteY22" fmla="*/ 2061944 h 3359885"/>
              <a:gd name="connsiteX23" fmla="*/ 0 w 4251083"/>
              <a:gd name="connsiteY23" fmla="*/ 1234340 h 3359885"/>
              <a:gd name="connsiteX24" fmla="*/ 390245 w 4251083"/>
              <a:gd name="connsiteY24" fmla="*/ 6282 h 3359885"/>
              <a:gd name="connsiteX25" fmla="*/ 402024 w 4251083"/>
              <a:gd name="connsiteY25" fmla="*/ 0 h 335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51083" h="3359885">
                <a:moveTo>
                  <a:pt x="403594" y="785"/>
                </a:moveTo>
                <a:cubicBezTo>
                  <a:pt x="403594" y="785"/>
                  <a:pt x="409090" y="1570"/>
                  <a:pt x="411446" y="3141"/>
                </a:cubicBezTo>
                <a:cubicBezTo>
                  <a:pt x="417727" y="7852"/>
                  <a:pt x="419298" y="16489"/>
                  <a:pt x="414587" y="22771"/>
                </a:cubicBezTo>
                <a:cubicBezTo>
                  <a:pt x="162537" y="378468"/>
                  <a:pt x="29053" y="796982"/>
                  <a:pt x="29053" y="1234340"/>
                </a:cubicBezTo>
                <a:cubicBezTo>
                  <a:pt x="29053" y="1517798"/>
                  <a:pt x="84802" y="1791835"/>
                  <a:pt x="193945" y="2050952"/>
                </a:cubicBezTo>
                <a:cubicBezTo>
                  <a:pt x="299947" y="2300646"/>
                  <a:pt x="450706" y="2525215"/>
                  <a:pt x="643081" y="2717590"/>
                </a:cubicBezTo>
                <a:cubicBezTo>
                  <a:pt x="835455" y="2909964"/>
                  <a:pt x="1060023" y="3061509"/>
                  <a:pt x="1309717" y="3166726"/>
                </a:cubicBezTo>
                <a:cubicBezTo>
                  <a:pt x="1568048" y="3275869"/>
                  <a:pt x="1842869" y="3331619"/>
                  <a:pt x="2126327" y="3331619"/>
                </a:cubicBezTo>
                <a:cubicBezTo>
                  <a:pt x="2409785" y="3331619"/>
                  <a:pt x="2683820" y="3275869"/>
                  <a:pt x="2942937" y="3166726"/>
                </a:cubicBezTo>
                <a:cubicBezTo>
                  <a:pt x="3192631" y="3060724"/>
                  <a:pt x="3417199" y="2909964"/>
                  <a:pt x="3609573" y="2717590"/>
                </a:cubicBezTo>
                <a:cubicBezTo>
                  <a:pt x="3801948" y="2525215"/>
                  <a:pt x="3953492" y="2300646"/>
                  <a:pt x="4058709" y="2050952"/>
                </a:cubicBezTo>
                <a:cubicBezTo>
                  <a:pt x="4167852" y="1792620"/>
                  <a:pt x="4223601" y="1517798"/>
                  <a:pt x="4223601" y="1234340"/>
                </a:cubicBezTo>
                <a:cubicBezTo>
                  <a:pt x="4223601" y="796982"/>
                  <a:pt x="4090117" y="377683"/>
                  <a:pt x="3838067" y="22771"/>
                </a:cubicBezTo>
                <a:cubicBezTo>
                  <a:pt x="3833356" y="16489"/>
                  <a:pt x="3834927" y="7852"/>
                  <a:pt x="3841208" y="3141"/>
                </a:cubicBezTo>
                <a:cubicBezTo>
                  <a:pt x="3847489" y="-1570"/>
                  <a:pt x="3856127" y="0"/>
                  <a:pt x="3860838" y="6282"/>
                </a:cubicBezTo>
                <a:cubicBezTo>
                  <a:pt x="4116028" y="366690"/>
                  <a:pt x="4251083" y="791485"/>
                  <a:pt x="4251083" y="1234340"/>
                </a:cubicBezTo>
                <a:cubicBezTo>
                  <a:pt x="4251083" y="1520939"/>
                  <a:pt x="4194549" y="1799686"/>
                  <a:pt x="4083835" y="2061944"/>
                </a:cubicBezTo>
                <a:cubicBezTo>
                  <a:pt x="3977048" y="2314780"/>
                  <a:pt x="3823934" y="2542489"/>
                  <a:pt x="3628418" y="2737220"/>
                </a:cubicBezTo>
                <a:cubicBezTo>
                  <a:pt x="3432903" y="2931950"/>
                  <a:pt x="3205980" y="3085850"/>
                  <a:pt x="2953145" y="3192638"/>
                </a:cubicBezTo>
                <a:cubicBezTo>
                  <a:pt x="2690887" y="3303351"/>
                  <a:pt x="2412926" y="3359886"/>
                  <a:pt x="2125542" y="3359886"/>
                </a:cubicBezTo>
                <a:cubicBezTo>
                  <a:pt x="1838158" y="3359886"/>
                  <a:pt x="1560196" y="3303351"/>
                  <a:pt x="1297939" y="3192638"/>
                </a:cubicBezTo>
                <a:cubicBezTo>
                  <a:pt x="1045104" y="3085850"/>
                  <a:pt x="817395" y="2932735"/>
                  <a:pt x="622665" y="2737220"/>
                </a:cubicBezTo>
                <a:cubicBezTo>
                  <a:pt x="427150" y="2541704"/>
                  <a:pt x="274036" y="2314780"/>
                  <a:pt x="167248" y="2061944"/>
                </a:cubicBezTo>
                <a:cubicBezTo>
                  <a:pt x="56535" y="1799686"/>
                  <a:pt x="0" y="1521725"/>
                  <a:pt x="0" y="1234340"/>
                </a:cubicBezTo>
                <a:cubicBezTo>
                  <a:pt x="0" y="791485"/>
                  <a:pt x="135055" y="366690"/>
                  <a:pt x="390245" y="6282"/>
                </a:cubicBezTo>
                <a:cubicBezTo>
                  <a:pt x="392601" y="2356"/>
                  <a:pt x="397312" y="0"/>
                  <a:pt x="402024" y="0"/>
                </a:cubicBezTo>
                <a:close/>
              </a:path>
            </a:pathLst>
          </a:custGeom>
          <a:solidFill>
            <a:srgbClr val="0076A8"/>
          </a:solidFill>
          <a:ln w="784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33" name="TextBox 32">
            <a:extLst>
              <a:ext uri="{FF2B5EF4-FFF2-40B4-BE49-F238E27FC236}">
                <a16:creationId xmlns:a16="http://schemas.microsoft.com/office/drawing/2014/main" id="{2426E0C3-43C6-F9EA-FB7B-45F1335EE957}"/>
              </a:ext>
            </a:extLst>
          </p:cNvPr>
          <p:cNvSpPr txBox="1"/>
          <p:nvPr/>
        </p:nvSpPr>
        <p:spPr>
          <a:xfrm>
            <a:off x="5212662" y="3236982"/>
            <a:ext cx="1766677"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6A8"/>
                </a:solidFill>
                <a:effectLst/>
                <a:uLnTx/>
                <a:uFillTx/>
                <a:latin typeface="Aptos" panose="020B0004020202020204" pitchFamily="34" charset="0"/>
              </a:rPr>
              <a:t>Deloit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tos" panose="020B0004020202020204" pitchFamily="34" charset="0"/>
              </a:rPr>
              <a:t>FY2025</a:t>
            </a:r>
          </a:p>
        </p:txBody>
      </p:sp>
      <p:grpSp>
        <p:nvGrpSpPr>
          <p:cNvPr id="34" name="Group 33">
            <a:extLst>
              <a:ext uri="{FF2B5EF4-FFF2-40B4-BE49-F238E27FC236}">
                <a16:creationId xmlns:a16="http://schemas.microsoft.com/office/drawing/2014/main" id="{E0825C87-24C6-66CF-DFFE-1F5E00AF4ECB}"/>
              </a:ext>
            </a:extLst>
          </p:cNvPr>
          <p:cNvGrpSpPr/>
          <p:nvPr/>
        </p:nvGrpSpPr>
        <p:grpSpPr>
          <a:xfrm>
            <a:off x="3542930" y="3620678"/>
            <a:ext cx="467204" cy="467204"/>
            <a:chOff x="3542930" y="3080780"/>
            <a:chExt cx="467204" cy="467204"/>
          </a:xfrm>
        </p:grpSpPr>
        <p:sp>
          <p:nvSpPr>
            <p:cNvPr id="35" name="Freeform: Shape 34">
              <a:extLst>
                <a:ext uri="{FF2B5EF4-FFF2-40B4-BE49-F238E27FC236}">
                  <a16:creationId xmlns:a16="http://schemas.microsoft.com/office/drawing/2014/main" id="{765279DE-5119-42C5-2A35-2F1F0F11093A}"/>
                </a:ext>
              </a:extLst>
            </p:cNvPr>
            <p:cNvSpPr/>
            <p:nvPr/>
          </p:nvSpPr>
          <p:spPr>
            <a:xfrm>
              <a:off x="3542930" y="3080780"/>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no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grpSp>
          <p:nvGrpSpPr>
            <p:cNvPr id="36" name="Group 977">
              <a:extLst>
                <a:ext uri="{FF2B5EF4-FFF2-40B4-BE49-F238E27FC236}">
                  <a16:creationId xmlns:a16="http://schemas.microsoft.com/office/drawing/2014/main" id="{D250D150-5643-F3F8-63F3-1721C0FABFE0}"/>
                </a:ext>
              </a:extLst>
            </p:cNvPr>
            <p:cNvGrpSpPr>
              <a:grpSpLocks noChangeAspect="1"/>
            </p:cNvGrpSpPr>
            <p:nvPr/>
          </p:nvGrpSpPr>
          <p:grpSpPr bwMode="auto">
            <a:xfrm>
              <a:off x="3579125" y="3116983"/>
              <a:ext cx="394801" cy="394798"/>
              <a:chOff x="1925" y="3985"/>
              <a:chExt cx="340" cy="340"/>
            </a:xfrm>
            <a:solidFill>
              <a:srgbClr val="00ABAB"/>
            </a:solidFill>
          </p:grpSpPr>
          <p:sp>
            <p:nvSpPr>
              <p:cNvPr id="37" name="Freeform 978">
                <a:extLst>
                  <a:ext uri="{FF2B5EF4-FFF2-40B4-BE49-F238E27FC236}">
                    <a16:creationId xmlns:a16="http://schemas.microsoft.com/office/drawing/2014/main" id="{DEEE1A5C-E3E6-8AA4-4AAD-D6584A21BEDD}"/>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38" name="Freeform 979">
                <a:extLst>
                  <a:ext uri="{FF2B5EF4-FFF2-40B4-BE49-F238E27FC236}">
                    <a16:creationId xmlns:a16="http://schemas.microsoft.com/office/drawing/2014/main" id="{0B156B02-F771-D3D4-197E-9D7E49AEEBB9}"/>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39" name="Freeform 980">
                <a:extLst>
                  <a:ext uri="{FF2B5EF4-FFF2-40B4-BE49-F238E27FC236}">
                    <a16:creationId xmlns:a16="http://schemas.microsoft.com/office/drawing/2014/main" id="{23E31540-EF18-256E-7226-8F4B7CD5136B}"/>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grpSp>
      </p:grpSp>
      <p:sp>
        <p:nvSpPr>
          <p:cNvPr id="40" name="Freeform: Shape 39">
            <a:extLst>
              <a:ext uri="{FF2B5EF4-FFF2-40B4-BE49-F238E27FC236}">
                <a16:creationId xmlns:a16="http://schemas.microsoft.com/office/drawing/2014/main" id="{DB94F809-7A29-19E8-23A6-04DBD25CAD6E}"/>
              </a:ext>
            </a:extLst>
          </p:cNvPr>
          <p:cNvSpPr/>
          <p:nvPr/>
        </p:nvSpPr>
        <p:spPr>
          <a:xfrm>
            <a:off x="3665373" y="5097552"/>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no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41" name="Freeform: Shape 40">
            <a:extLst>
              <a:ext uri="{FF2B5EF4-FFF2-40B4-BE49-F238E27FC236}">
                <a16:creationId xmlns:a16="http://schemas.microsoft.com/office/drawing/2014/main" id="{A6AA5F65-7341-9799-3891-C0B295C5FFC8}"/>
              </a:ext>
            </a:extLst>
          </p:cNvPr>
          <p:cNvSpPr/>
          <p:nvPr/>
        </p:nvSpPr>
        <p:spPr>
          <a:xfrm>
            <a:off x="4696406" y="6245765"/>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no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42" name="Freeform: Shape 41">
            <a:extLst>
              <a:ext uri="{FF2B5EF4-FFF2-40B4-BE49-F238E27FC236}">
                <a16:creationId xmlns:a16="http://schemas.microsoft.com/office/drawing/2014/main" id="{66BD3F35-0AED-7620-FD84-14A200097FD7}"/>
              </a:ext>
            </a:extLst>
          </p:cNvPr>
          <p:cNvSpPr/>
          <p:nvPr/>
        </p:nvSpPr>
        <p:spPr>
          <a:xfrm>
            <a:off x="7175389" y="6245765"/>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no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43" name="Freeform: Shape 42">
            <a:extLst>
              <a:ext uri="{FF2B5EF4-FFF2-40B4-BE49-F238E27FC236}">
                <a16:creationId xmlns:a16="http://schemas.microsoft.com/office/drawing/2014/main" id="{48325992-316B-BD45-C8BE-B2A3446D6A9D}"/>
              </a:ext>
            </a:extLst>
          </p:cNvPr>
          <p:cNvSpPr/>
          <p:nvPr/>
        </p:nvSpPr>
        <p:spPr>
          <a:xfrm>
            <a:off x="8135356" y="5097552"/>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no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44" name="Freeform: Shape 43">
            <a:extLst>
              <a:ext uri="{FF2B5EF4-FFF2-40B4-BE49-F238E27FC236}">
                <a16:creationId xmlns:a16="http://schemas.microsoft.com/office/drawing/2014/main" id="{1BD38626-AC7C-AB4D-3F9B-6B347A2CB91A}"/>
              </a:ext>
            </a:extLst>
          </p:cNvPr>
          <p:cNvSpPr/>
          <p:nvPr/>
        </p:nvSpPr>
        <p:spPr>
          <a:xfrm>
            <a:off x="8203462" y="3620678"/>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no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grpSp>
        <p:nvGrpSpPr>
          <p:cNvPr id="45" name="Group 44">
            <a:extLst>
              <a:ext uri="{FF2B5EF4-FFF2-40B4-BE49-F238E27FC236}">
                <a16:creationId xmlns:a16="http://schemas.microsoft.com/office/drawing/2014/main" id="{383E2F16-F066-E59E-EDB0-510866361421}"/>
              </a:ext>
            </a:extLst>
          </p:cNvPr>
          <p:cNvGrpSpPr/>
          <p:nvPr/>
        </p:nvGrpSpPr>
        <p:grpSpPr>
          <a:xfrm>
            <a:off x="3701574" y="5133755"/>
            <a:ext cx="394802" cy="394798"/>
            <a:chOff x="5539461" y="4223166"/>
            <a:chExt cx="361670" cy="361333"/>
          </a:xfrm>
          <a:solidFill>
            <a:srgbClr val="00ABAB"/>
          </a:solidFill>
        </p:grpSpPr>
        <p:sp>
          <p:nvSpPr>
            <p:cNvPr id="46" name="Graphic 4">
              <a:extLst>
                <a:ext uri="{FF2B5EF4-FFF2-40B4-BE49-F238E27FC236}">
                  <a16:creationId xmlns:a16="http://schemas.microsoft.com/office/drawing/2014/main" id="{442C1450-5FEF-0F99-C4CD-5A4DFBD50718}"/>
                </a:ext>
              </a:extLst>
            </p:cNvPr>
            <p:cNvSpPr/>
            <p:nvPr/>
          </p:nvSpPr>
          <p:spPr>
            <a:xfrm>
              <a:off x="5539461" y="4223166"/>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0836 w 361670"/>
                <a:gd name="connsiteY5" fmla="*/ 349204 h 361333"/>
                <a:gd name="connsiteX6" fmla="*/ 12780 w 361670"/>
                <a:gd name="connsiteY6" fmla="*/ 181305 h 361333"/>
                <a:gd name="connsiteX7" fmla="*/ 180836 w 361670"/>
                <a:gd name="connsiteY7" fmla="*/ 13406 h 361333"/>
                <a:gd name="connsiteX8" fmla="*/ 348890 w 361670"/>
                <a:gd name="connsiteY8" fmla="*/ 181305 h 361333"/>
                <a:gd name="connsiteX9" fmla="*/ 180836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6" y="0"/>
                  </a:moveTo>
                  <a:cubicBezTo>
                    <a:pt x="80513" y="0"/>
                    <a:pt x="0" y="81077"/>
                    <a:pt x="0" y="180667"/>
                  </a:cubicBezTo>
                  <a:cubicBezTo>
                    <a:pt x="0" y="280895"/>
                    <a:pt x="81152" y="361333"/>
                    <a:pt x="180836" y="361333"/>
                  </a:cubicBezTo>
                  <a:cubicBezTo>
                    <a:pt x="281157" y="361333"/>
                    <a:pt x="361670" y="280257"/>
                    <a:pt x="361670" y="180667"/>
                  </a:cubicBezTo>
                  <a:cubicBezTo>
                    <a:pt x="361670" y="81077"/>
                    <a:pt x="280518" y="0"/>
                    <a:pt x="180836" y="0"/>
                  </a:cubicBezTo>
                  <a:close/>
                  <a:moveTo>
                    <a:pt x="180836" y="349204"/>
                  </a:moveTo>
                  <a:cubicBezTo>
                    <a:pt x="88181" y="349204"/>
                    <a:pt x="12780" y="273873"/>
                    <a:pt x="12780" y="181305"/>
                  </a:cubicBezTo>
                  <a:cubicBezTo>
                    <a:pt x="12780" y="88738"/>
                    <a:pt x="88181" y="13406"/>
                    <a:pt x="180836" y="13406"/>
                  </a:cubicBezTo>
                  <a:cubicBezTo>
                    <a:pt x="273490" y="13406"/>
                    <a:pt x="348890" y="88738"/>
                    <a:pt x="348890" y="181305"/>
                  </a:cubicBezTo>
                  <a:cubicBezTo>
                    <a:pt x="348890" y="273873"/>
                    <a:pt x="273490" y="349204"/>
                    <a:pt x="180836"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47" name="Graphic 4">
              <a:extLst>
                <a:ext uri="{FF2B5EF4-FFF2-40B4-BE49-F238E27FC236}">
                  <a16:creationId xmlns:a16="http://schemas.microsoft.com/office/drawing/2014/main" id="{BB439D3F-D482-0B86-4E7A-ADBD4300B4B1}"/>
                </a:ext>
              </a:extLst>
            </p:cNvPr>
            <p:cNvSpPr/>
            <p:nvPr/>
          </p:nvSpPr>
          <p:spPr>
            <a:xfrm>
              <a:off x="5694097" y="4362976"/>
              <a:ext cx="144413" cy="144277"/>
            </a:xfrm>
            <a:custGeom>
              <a:avLst/>
              <a:gdLst>
                <a:gd name="connsiteX0" fmla="*/ 72207 w 144413"/>
                <a:gd name="connsiteY0" fmla="*/ 0 h 144277"/>
                <a:gd name="connsiteX1" fmla="*/ 0 w 144413"/>
                <a:gd name="connsiteY1" fmla="*/ 72139 h 144277"/>
                <a:gd name="connsiteX2" fmla="*/ 72207 w 144413"/>
                <a:gd name="connsiteY2" fmla="*/ 144278 h 144277"/>
                <a:gd name="connsiteX3" fmla="*/ 144413 w 144413"/>
                <a:gd name="connsiteY3" fmla="*/ 72139 h 144277"/>
                <a:gd name="connsiteX4" fmla="*/ 72207 w 144413"/>
                <a:gd name="connsiteY4" fmla="*/ 0 h 144277"/>
                <a:gd name="connsiteX5" fmla="*/ 72207 w 144413"/>
                <a:gd name="connsiteY5" fmla="*/ 131510 h 144277"/>
                <a:gd name="connsiteX6" fmla="*/ 12780 w 144413"/>
                <a:gd name="connsiteY6" fmla="*/ 72139 h 144277"/>
                <a:gd name="connsiteX7" fmla="*/ 72207 w 144413"/>
                <a:gd name="connsiteY7" fmla="*/ 12768 h 144277"/>
                <a:gd name="connsiteX8" fmla="*/ 131633 w 144413"/>
                <a:gd name="connsiteY8" fmla="*/ 72139 h 144277"/>
                <a:gd name="connsiteX9" fmla="*/ 72207 w 144413"/>
                <a:gd name="connsiteY9" fmla="*/ 131510 h 14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413" h="144277">
                  <a:moveTo>
                    <a:pt x="72207" y="0"/>
                  </a:moveTo>
                  <a:cubicBezTo>
                    <a:pt x="32589" y="0"/>
                    <a:pt x="0" y="32558"/>
                    <a:pt x="0" y="72139"/>
                  </a:cubicBezTo>
                  <a:cubicBezTo>
                    <a:pt x="0" y="111720"/>
                    <a:pt x="32589" y="144278"/>
                    <a:pt x="72207" y="144278"/>
                  </a:cubicBezTo>
                  <a:cubicBezTo>
                    <a:pt x="111824" y="144278"/>
                    <a:pt x="144413" y="111720"/>
                    <a:pt x="144413" y="72139"/>
                  </a:cubicBezTo>
                  <a:cubicBezTo>
                    <a:pt x="144413" y="32558"/>
                    <a:pt x="112464" y="0"/>
                    <a:pt x="72207" y="0"/>
                  </a:cubicBezTo>
                  <a:close/>
                  <a:moveTo>
                    <a:pt x="72207" y="131510"/>
                  </a:moveTo>
                  <a:cubicBezTo>
                    <a:pt x="39618" y="131510"/>
                    <a:pt x="12780" y="104697"/>
                    <a:pt x="12780" y="72139"/>
                  </a:cubicBezTo>
                  <a:cubicBezTo>
                    <a:pt x="12780" y="39580"/>
                    <a:pt x="39618" y="12768"/>
                    <a:pt x="72207" y="12768"/>
                  </a:cubicBezTo>
                  <a:cubicBezTo>
                    <a:pt x="104795" y="12768"/>
                    <a:pt x="131633" y="39580"/>
                    <a:pt x="131633" y="72139"/>
                  </a:cubicBezTo>
                  <a:cubicBezTo>
                    <a:pt x="131633" y="104697"/>
                    <a:pt x="105434" y="131510"/>
                    <a:pt x="72207" y="13151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48" name="Graphic 4">
              <a:extLst>
                <a:ext uri="{FF2B5EF4-FFF2-40B4-BE49-F238E27FC236}">
                  <a16:creationId xmlns:a16="http://schemas.microsoft.com/office/drawing/2014/main" id="{A988CEC0-839A-3401-4F64-79A5A2453551}"/>
                </a:ext>
              </a:extLst>
            </p:cNvPr>
            <p:cNvSpPr/>
            <p:nvPr/>
          </p:nvSpPr>
          <p:spPr>
            <a:xfrm>
              <a:off x="5614223" y="4301051"/>
              <a:ext cx="144413" cy="177474"/>
            </a:xfrm>
            <a:custGeom>
              <a:avLst/>
              <a:gdLst>
                <a:gd name="connsiteX0" fmla="*/ 72207 w 144413"/>
                <a:gd name="connsiteY0" fmla="*/ 95121 h 177474"/>
                <a:gd name="connsiteX1" fmla="*/ 78597 w 144413"/>
                <a:gd name="connsiteY1" fmla="*/ 88737 h 177474"/>
                <a:gd name="connsiteX2" fmla="*/ 72207 w 144413"/>
                <a:gd name="connsiteY2" fmla="*/ 82353 h 177474"/>
                <a:gd name="connsiteX3" fmla="*/ 12780 w 144413"/>
                <a:gd name="connsiteY3" fmla="*/ 61286 h 177474"/>
                <a:gd name="connsiteX4" fmla="*/ 12780 w 144413"/>
                <a:gd name="connsiteY4" fmla="*/ 53625 h 177474"/>
                <a:gd name="connsiteX5" fmla="*/ 72207 w 144413"/>
                <a:gd name="connsiteY5" fmla="*/ 67670 h 177474"/>
                <a:gd name="connsiteX6" fmla="*/ 144413 w 144413"/>
                <a:gd name="connsiteY6" fmla="*/ 33835 h 177474"/>
                <a:gd name="connsiteX7" fmla="*/ 72207 w 144413"/>
                <a:gd name="connsiteY7" fmla="*/ 0 h 177474"/>
                <a:gd name="connsiteX8" fmla="*/ 0 w 144413"/>
                <a:gd name="connsiteY8" fmla="*/ 33835 h 177474"/>
                <a:gd name="connsiteX9" fmla="*/ 0 w 144413"/>
                <a:gd name="connsiteY9" fmla="*/ 143640 h 177474"/>
                <a:gd name="connsiteX10" fmla="*/ 72207 w 144413"/>
                <a:gd name="connsiteY10" fmla="*/ 177475 h 177474"/>
                <a:gd name="connsiteX11" fmla="*/ 78597 w 144413"/>
                <a:gd name="connsiteY11" fmla="*/ 171091 h 177474"/>
                <a:gd name="connsiteX12" fmla="*/ 72207 w 144413"/>
                <a:gd name="connsiteY12" fmla="*/ 164707 h 177474"/>
                <a:gd name="connsiteX13" fmla="*/ 12780 w 144413"/>
                <a:gd name="connsiteY13" fmla="*/ 143640 h 177474"/>
                <a:gd name="connsiteX14" fmla="*/ 12780 w 144413"/>
                <a:gd name="connsiteY14" fmla="*/ 135979 h 177474"/>
                <a:gd name="connsiteX15" fmla="*/ 66456 w 144413"/>
                <a:gd name="connsiteY15" fmla="*/ 150024 h 177474"/>
                <a:gd name="connsiteX16" fmla="*/ 66456 w 144413"/>
                <a:gd name="connsiteY16" fmla="*/ 150024 h 177474"/>
                <a:gd name="connsiteX17" fmla="*/ 72845 w 144413"/>
                <a:gd name="connsiteY17" fmla="*/ 143640 h 177474"/>
                <a:gd name="connsiteX18" fmla="*/ 66456 w 144413"/>
                <a:gd name="connsiteY18" fmla="*/ 137256 h 177474"/>
                <a:gd name="connsiteX19" fmla="*/ 12141 w 144413"/>
                <a:gd name="connsiteY19" fmla="*/ 116189 h 177474"/>
                <a:gd name="connsiteX20" fmla="*/ 12141 w 144413"/>
                <a:gd name="connsiteY20" fmla="*/ 108528 h 177474"/>
                <a:gd name="connsiteX21" fmla="*/ 65817 w 144413"/>
                <a:gd name="connsiteY21" fmla="*/ 122573 h 177474"/>
                <a:gd name="connsiteX22" fmla="*/ 65817 w 144413"/>
                <a:gd name="connsiteY22" fmla="*/ 122573 h 177474"/>
                <a:gd name="connsiteX23" fmla="*/ 72207 w 144413"/>
                <a:gd name="connsiteY23" fmla="*/ 116189 h 177474"/>
                <a:gd name="connsiteX24" fmla="*/ 65817 w 144413"/>
                <a:gd name="connsiteY24" fmla="*/ 109805 h 177474"/>
                <a:gd name="connsiteX25" fmla="*/ 11502 w 144413"/>
                <a:gd name="connsiteY25" fmla="*/ 88737 h 177474"/>
                <a:gd name="connsiteX26" fmla="*/ 11502 w 144413"/>
                <a:gd name="connsiteY26" fmla="*/ 81077 h 177474"/>
                <a:gd name="connsiteX27" fmla="*/ 72207 w 144413"/>
                <a:gd name="connsiteY27" fmla="*/ 95121 h 177474"/>
                <a:gd name="connsiteX28" fmla="*/ 72207 w 144413"/>
                <a:gd name="connsiteY28" fmla="*/ 12768 h 177474"/>
                <a:gd name="connsiteX29" fmla="*/ 131633 w 144413"/>
                <a:gd name="connsiteY29" fmla="*/ 33835 h 177474"/>
                <a:gd name="connsiteX30" fmla="*/ 72207 w 144413"/>
                <a:gd name="connsiteY30" fmla="*/ 54902 h 177474"/>
                <a:gd name="connsiteX31" fmla="*/ 12780 w 144413"/>
                <a:gd name="connsiteY31" fmla="*/ 33835 h 177474"/>
                <a:gd name="connsiteX32" fmla="*/ 72207 w 144413"/>
                <a:gd name="connsiteY32" fmla="*/ 12768 h 17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4413" h="177474">
                  <a:moveTo>
                    <a:pt x="72207" y="95121"/>
                  </a:moveTo>
                  <a:cubicBezTo>
                    <a:pt x="76040" y="95121"/>
                    <a:pt x="78597" y="92568"/>
                    <a:pt x="78597" y="88737"/>
                  </a:cubicBezTo>
                  <a:cubicBezTo>
                    <a:pt x="78597" y="84907"/>
                    <a:pt x="76040" y="82353"/>
                    <a:pt x="72207" y="82353"/>
                  </a:cubicBezTo>
                  <a:cubicBezTo>
                    <a:pt x="35145" y="82353"/>
                    <a:pt x="12780" y="70224"/>
                    <a:pt x="12780" y="61286"/>
                  </a:cubicBezTo>
                  <a:lnTo>
                    <a:pt x="12780" y="53625"/>
                  </a:lnTo>
                  <a:cubicBezTo>
                    <a:pt x="26838" y="62563"/>
                    <a:pt x="49842" y="67670"/>
                    <a:pt x="72207" y="67670"/>
                  </a:cubicBezTo>
                  <a:cubicBezTo>
                    <a:pt x="107351" y="67670"/>
                    <a:pt x="144413" y="55541"/>
                    <a:pt x="144413" y="33835"/>
                  </a:cubicBezTo>
                  <a:cubicBezTo>
                    <a:pt x="144413" y="12129"/>
                    <a:pt x="107351" y="0"/>
                    <a:pt x="72207" y="0"/>
                  </a:cubicBezTo>
                  <a:cubicBezTo>
                    <a:pt x="37062" y="0"/>
                    <a:pt x="0" y="12129"/>
                    <a:pt x="0" y="33835"/>
                  </a:cubicBezTo>
                  <a:lnTo>
                    <a:pt x="0" y="143640"/>
                  </a:lnTo>
                  <a:cubicBezTo>
                    <a:pt x="0" y="165345"/>
                    <a:pt x="37062" y="177475"/>
                    <a:pt x="72207" y="177475"/>
                  </a:cubicBezTo>
                  <a:cubicBezTo>
                    <a:pt x="76040" y="177475"/>
                    <a:pt x="78597" y="174921"/>
                    <a:pt x="78597" y="171091"/>
                  </a:cubicBezTo>
                  <a:cubicBezTo>
                    <a:pt x="78597" y="167260"/>
                    <a:pt x="76040" y="164707"/>
                    <a:pt x="72207" y="164707"/>
                  </a:cubicBezTo>
                  <a:cubicBezTo>
                    <a:pt x="35784" y="164707"/>
                    <a:pt x="12780" y="152577"/>
                    <a:pt x="12780" y="143640"/>
                  </a:cubicBezTo>
                  <a:lnTo>
                    <a:pt x="12780" y="135979"/>
                  </a:lnTo>
                  <a:cubicBezTo>
                    <a:pt x="24282" y="144278"/>
                    <a:pt x="43452" y="149385"/>
                    <a:pt x="66456" y="150024"/>
                  </a:cubicBezTo>
                  <a:cubicBezTo>
                    <a:pt x="66456" y="150024"/>
                    <a:pt x="66456" y="150024"/>
                    <a:pt x="66456" y="150024"/>
                  </a:cubicBezTo>
                  <a:cubicBezTo>
                    <a:pt x="69650" y="150024"/>
                    <a:pt x="72845" y="147470"/>
                    <a:pt x="72845" y="143640"/>
                  </a:cubicBezTo>
                  <a:cubicBezTo>
                    <a:pt x="72845" y="139809"/>
                    <a:pt x="70289" y="137256"/>
                    <a:pt x="66456" y="137256"/>
                  </a:cubicBezTo>
                  <a:cubicBezTo>
                    <a:pt x="31311" y="135979"/>
                    <a:pt x="12141" y="124488"/>
                    <a:pt x="12141" y="116189"/>
                  </a:cubicBezTo>
                  <a:lnTo>
                    <a:pt x="12141" y="108528"/>
                  </a:lnTo>
                  <a:cubicBezTo>
                    <a:pt x="23643" y="116827"/>
                    <a:pt x="42813" y="121934"/>
                    <a:pt x="65817" y="122573"/>
                  </a:cubicBezTo>
                  <a:cubicBezTo>
                    <a:pt x="65817" y="122573"/>
                    <a:pt x="65817" y="122573"/>
                    <a:pt x="65817" y="122573"/>
                  </a:cubicBezTo>
                  <a:cubicBezTo>
                    <a:pt x="69012" y="122573"/>
                    <a:pt x="72207" y="120019"/>
                    <a:pt x="72207" y="116189"/>
                  </a:cubicBezTo>
                  <a:cubicBezTo>
                    <a:pt x="72207" y="112358"/>
                    <a:pt x="69650" y="109805"/>
                    <a:pt x="65817" y="109805"/>
                  </a:cubicBezTo>
                  <a:cubicBezTo>
                    <a:pt x="30672" y="108528"/>
                    <a:pt x="11502" y="97037"/>
                    <a:pt x="11502" y="88737"/>
                  </a:cubicBezTo>
                  <a:lnTo>
                    <a:pt x="11502" y="81077"/>
                  </a:lnTo>
                  <a:cubicBezTo>
                    <a:pt x="26838" y="90653"/>
                    <a:pt x="49842" y="95121"/>
                    <a:pt x="72207" y="95121"/>
                  </a:cubicBezTo>
                  <a:close/>
                  <a:moveTo>
                    <a:pt x="72207" y="12768"/>
                  </a:moveTo>
                  <a:cubicBezTo>
                    <a:pt x="108629" y="12768"/>
                    <a:pt x="131633" y="25536"/>
                    <a:pt x="131633" y="33835"/>
                  </a:cubicBezTo>
                  <a:cubicBezTo>
                    <a:pt x="131633" y="42773"/>
                    <a:pt x="109269" y="54902"/>
                    <a:pt x="72207" y="54902"/>
                  </a:cubicBezTo>
                  <a:cubicBezTo>
                    <a:pt x="35145" y="54902"/>
                    <a:pt x="12780" y="42773"/>
                    <a:pt x="12780" y="33835"/>
                  </a:cubicBezTo>
                  <a:cubicBezTo>
                    <a:pt x="12780" y="25536"/>
                    <a:pt x="35784" y="12768"/>
                    <a:pt x="72207"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pic>
          <p:nvPicPr>
            <p:cNvPr id="49" name="Graphic 48">
              <a:extLst>
                <a:ext uri="{FF2B5EF4-FFF2-40B4-BE49-F238E27FC236}">
                  <a16:creationId xmlns:a16="http://schemas.microsoft.com/office/drawing/2014/main" id="{982211BB-850C-726D-9B57-6CC05BA4E2B5}"/>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9617" y="4393483"/>
              <a:ext cx="63355" cy="83360"/>
            </a:xfrm>
            <a:prstGeom prst="rect">
              <a:avLst/>
            </a:prstGeom>
          </p:spPr>
        </p:pic>
      </p:grpSp>
      <p:grpSp>
        <p:nvGrpSpPr>
          <p:cNvPr id="50" name="Group 49">
            <a:extLst>
              <a:ext uri="{FF2B5EF4-FFF2-40B4-BE49-F238E27FC236}">
                <a16:creationId xmlns:a16="http://schemas.microsoft.com/office/drawing/2014/main" id="{CFE0C913-350D-24D1-BD89-5C07890C85F4}"/>
              </a:ext>
            </a:extLst>
          </p:cNvPr>
          <p:cNvGrpSpPr/>
          <p:nvPr/>
        </p:nvGrpSpPr>
        <p:grpSpPr>
          <a:xfrm>
            <a:off x="4732607" y="6281968"/>
            <a:ext cx="394802" cy="394798"/>
            <a:chOff x="467103" y="3035079"/>
            <a:chExt cx="362309" cy="362610"/>
          </a:xfrm>
          <a:solidFill>
            <a:srgbClr val="00ABAB"/>
          </a:solidFill>
        </p:grpSpPr>
        <p:sp>
          <p:nvSpPr>
            <p:cNvPr id="51" name="Graphic 4">
              <a:extLst>
                <a:ext uri="{FF2B5EF4-FFF2-40B4-BE49-F238E27FC236}">
                  <a16:creationId xmlns:a16="http://schemas.microsoft.com/office/drawing/2014/main" id="{3F80F7F3-8FF5-91BF-81D0-F1F0B567691B}"/>
                </a:ext>
              </a:extLst>
            </p:cNvPr>
            <p:cNvSpPr/>
            <p:nvPr/>
          </p:nvSpPr>
          <p:spPr>
            <a:xfrm>
              <a:off x="467103" y="3035079"/>
              <a:ext cx="362309" cy="362610"/>
            </a:xfrm>
            <a:custGeom>
              <a:avLst/>
              <a:gdLst>
                <a:gd name="connsiteX0" fmla="*/ 181474 w 362309"/>
                <a:gd name="connsiteY0" fmla="*/ 0 h 362610"/>
                <a:gd name="connsiteX1" fmla="*/ 0 w 362309"/>
                <a:gd name="connsiteY1" fmla="*/ 181305 h 362610"/>
                <a:gd name="connsiteX2" fmla="*/ 181474 w 362309"/>
                <a:gd name="connsiteY2" fmla="*/ 362610 h 362610"/>
                <a:gd name="connsiteX3" fmla="*/ 362309 w 362309"/>
                <a:gd name="connsiteY3" fmla="*/ 181305 h 362610"/>
                <a:gd name="connsiteX4" fmla="*/ 181474 w 362309"/>
                <a:gd name="connsiteY4" fmla="*/ 0 h 362610"/>
                <a:gd name="connsiteX5" fmla="*/ 181474 w 362309"/>
                <a:gd name="connsiteY5" fmla="*/ 0 h 362610"/>
                <a:gd name="connsiteX6" fmla="*/ 181474 w 362309"/>
                <a:gd name="connsiteY6" fmla="*/ 349204 h 362610"/>
                <a:gd name="connsiteX7" fmla="*/ 13419 w 362309"/>
                <a:gd name="connsiteY7" fmla="*/ 180667 h 362610"/>
                <a:gd name="connsiteX8" fmla="*/ 181474 w 362309"/>
                <a:gd name="connsiteY8" fmla="*/ 12130 h 362610"/>
                <a:gd name="connsiteX9" fmla="*/ 349530 w 362309"/>
                <a:gd name="connsiteY9" fmla="*/ 180667 h 362610"/>
                <a:gd name="connsiteX10" fmla="*/ 349530 w 362309"/>
                <a:gd name="connsiteY10" fmla="*/ 180667 h 362610"/>
                <a:gd name="connsiteX11" fmla="*/ 181474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1474" y="0"/>
                  </a:moveTo>
                  <a:cubicBezTo>
                    <a:pt x="81152" y="0"/>
                    <a:pt x="0" y="81077"/>
                    <a:pt x="0" y="181305"/>
                  </a:cubicBezTo>
                  <a:cubicBezTo>
                    <a:pt x="0" y="281534"/>
                    <a:pt x="81152" y="362610"/>
                    <a:pt x="181474" y="362610"/>
                  </a:cubicBezTo>
                  <a:cubicBezTo>
                    <a:pt x="281796" y="362610"/>
                    <a:pt x="362309" y="281534"/>
                    <a:pt x="362309" y="181305"/>
                  </a:cubicBezTo>
                  <a:cubicBezTo>
                    <a:pt x="362309" y="81077"/>
                    <a:pt x="281796" y="0"/>
                    <a:pt x="181474" y="0"/>
                  </a:cubicBezTo>
                  <a:cubicBezTo>
                    <a:pt x="181474" y="0"/>
                    <a:pt x="181474" y="0"/>
                    <a:pt x="181474" y="0"/>
                  </a:cubicBezTo>
                  <a:close/>
                  <a:moveTo>
                    <a:pt x="181474" y="349204"/>
                  </a:moveTo>
                  <a:cubicBezTo>
                    <a:pt x="88181" y="349204"/>
                    <a:pt x="13419" y="273873"/>
                    <a:pt x="13419" y="180667"/>
                  </a:cubicBezTo>
                  <a:cubicBezTo>
                    <a:pt x="13419" y="87461"/>
                    <a:pt x="88820" y="12130"/>
                    <a:pt x="181474" y="12130"/>
                  </a:cubicBezTo>
                  <a:cubicBezTo>
                    <a:pt x="274128" y="12130"/>
                    <a:pt x="349530" y="87461"/>
                    <a:pt x="349530" y="180667"/>
                  </a:cubicBezTo>
                  <a:cubicBezTo>
                    <a:pt x="349530" y="180667"/>
                    <a:pt x="349530" y="180667"/>
                    <a:pt x="349530" y="180667"/>
                  </a:cubicBezTo>
                  <a:cubicBezTo>
                    <a:pt x="349530" y="273873"/>
                    <a:pt x="274128" y="349204"/>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grpSp>
          <p:nvGrpSpPr>
            <p:cNvPr id="52" name="Group 51">
              <a:extLst>
                <a:ext uri="{FF2B5EF4-FFF2-40B4-BE49-F238E27FC236}">
                  <a16:creationId xmlns:a16="http://schemas.microsoft.com/office/drawing/2014/main" id="{C98FE5C2-7AA0-76BE-B74A-7182A9094C63}"/>
                </a:ext>
              </a:extLst>
            </p:cNvPr>
            <p:cNvGrpSpPr/>
            <p:nvPr/>
          </p:nvGrpSpPr>
          <p:grpSpPr>
            <a:xfrm>
              <a:off x="539309" y="3121263"/>
              <a:ext cx="218535" cy="188965"/>
              <a:chOff x="539309" y="3121263"/>
              <a:chExt cx="218535" cy="188965"/>
            </a:xfrm>
            <a:grpFill/>
          </p:grpSpPr>
          <p:sp>
            <p:nvSpPr>
              <p:cNvPr id="53" name="Graphic 4">
                <a:extLst>
                  <a:ext uri="{FF2B5EF4-FFF2-40B4-BE49-F238E27FC236}">
                    <a16:creationId xmlns:a16="http://schemas.microsoft.com/office/drawing/2014/main" id="{8E9594A0-BFE0-7AA5-34C2-56D6B275F3E7}"/>
                  </a:ext>
                </a:extLst>
              </p:cNvPr>
              <p:cNvSpPr/>
              <p:nvPr/>
            </p:nvSpPr>
            <p:spPr>
              <a:xfrm>
                <a:off x="539309" y="3121263"/>
                <a:ext cx="218535" cy="188965"/>
              </a:xfrm>
              <a:custGeom>
                <a:avLst/>
                <a:gdLst>
                  <a:gd name="connsiteX0" fmla="*/ 212146 w 218535"/>
                  <a:gd name="connsiteY0" fmla="*/ 29366 h 188965"/>
                  <a:gd name="connsiteX1" fmla="*/ 159748 w 218535"/>
                  <a:gd name="connsiteY1" fmla="*/ 29366 h 188965"/>
                  <a:gd name="connsiteX2" fmla="*/ 159748 w 218535"/>
                  <a:gd name="connsiteY2" fmla="*/ 6384 h 188965"/>
                  <a:gd name="connsiteX3" fmla="*/ 153358 w 218535"/>
                  <a:gd name="connsiteY3" fmla="*/ 0 h 188965"/>
                  <a:gd name="connsiteX4" fmla="*/ 65177 w 218535"/>
                  <a:gd name="connsiteY4" fmla="*/ 0 h 188965"/>
                  <a:gd name="connsiteX5" fmla="*/ 58787 w 218535"/>
                  <a:gd name="connsiteY5" fmla="*/ 6384 h 188965"/>
                  <a:gd name="connsiteX6" fmla="*/ 58787 w 218535"/>
                  <a:gd name="connsiteY6" fmla="*/ 29366 h 188965"/>
                  <a:gd name="connsiteX7" fmla="*/ 6390 w 218535"/>
                  <a:gd name="connsiteY7" fmla="*/ 29366 h 188965"/>
                  <a:gd name="connsiteX8" fmla="*/ 0 w 218535"/>
                  <a:gd name="connsiteY8" fmla="*/ 35750 h 188965"/>
                  <a:gd name="connsiteX9" fmla="*/ 0 w 218535"/>
                  <a:gd name="connsiteY9" fmla="*/ 182582 h 188965"/>
                  <a:gd name="connsiteX10" fmla="*/ 6390 w 218535"/>
                  <a:gd name="connsiteY10" fmla="*/ 188966 h 188965"/>
                  <a:gd name="connsiteX11" fmla="*/ 212146 w 218535"/>
                  <a:gd name="connsiteY11" fmla="*/ 188966 h 188965"/>
                  <a:gd name="connsiteX12" fmla="*/ 218536 w 218535"/>
                  <a:gd name="connsiteY12" fmla="*/ 182582 h 188965"/>
                  <a:gd name="connsiteX13" fmla="*/ 218536 w 218535"/>
                  <a:gd name="connsiteY13" fmla="*/ 35750 h 188965"/>
                  <a:gd name="connsiteX14" fmla="*/ 212146 w 218535"/>
                  <a:gd name="connsiteY14" fmla="*/ 29366 h 188965"/>
                  <a:gd name="connsiteX15" fmla="*/ 71567 w 218535"/>
                  <a:gd name="connsiteY15" fmla="*/ 12768 h 188965"/>
                  <a:gd name="connsiteX16" fmla="*/ 146969 w 218535"/>
                  <a:gd name="connsiteY16" fmla="*/ 12768 h 188965"/>
                  <a:gd name="connsiteX17" fmla="*/ 146969 w 218535"/>
                  <a:gd name="connsiteY17" fmla="*/ 176836 h 188965"/>
                  <a:gd name="connsiteX18" fmla="*/ 100961 w 218535"/>
                  <a:gd name="connsiteY18" fmla="*/ 176836 h 188965"/>
                  <a:gd name="connsiteX19" fmla="*/ 100961 w 218535"/>
                  <a:gd name="connsiteY19" fmla="*/ 153854 h 188965"/>
                  <a:gd name="connsiteX20" fmla="*/ 94571 w 218535"/>
                  <a:gd name="connsiteY20" fmla="*/ 147470 h 188965"/>
                  <a:gd name="connsiteX21" fmla="*/ 88181 w 218535"/>
                  <a:gd name="connsiteY21" fmla="*/ 153854 h 188965"/>
                  <a:gd name="connsiteX22" fmla="*/ 88181 w 218535"/>
                  <a:gd name="connsiteY22" fmla="*/ 176836 h 188965"/>
                  <a:gd name="connsiteX23" fmla="*/ 71567 w 218535"/>
                  <a:gd name="connsiteY23" fmla="*/ 176836 h 188965"/>
                  <a:gd name="connsiteX24" fmla="*/ 71567 w 218535"/>
                  <a:gd name="connsiteY24" fmla="*/ 12768 h 188965"/>
                  <a:gd name="connsiteX25" fmla="*/ 12780 w 218535"/>
                  <a:gd name="connsiteY25" fmla="*/ 42134 h 188965"/>
                  <a:gd name="connsiteX26" fmla="*/ 58787 w 218535"/>
                  <a:gd name="connsiteY26" fmla="*/ 42134 h 188965"/>
                  <a:gd name="connsiteX27" fmla="*/ 58787 w 218535"/>
                  <a:gd name="connsiteY27" fmla="*/ 176198 h 188965"/>
                  <a:gd name="connsiteX28" fmla="*/ 42174 w 218535"/>
                  <a:gd name="connsiteY28" fmla="*/ 176198 h 188965"/>
                  <a:gd name="connsiteX29" fmla="*/ 42174 w 218535"/>
                  <a:gd name="connsiteY29" fmla="*/ 153216 h 188965"/>
                  <a:gd name="connsiteX30" fmla="*/ 35784 w 218535"/>
                  <a:gd name="connsiteY30" fmla="*/ 146832 h 188965"/>
                  <a:gd name="connsiteX31" fmla="*/ 29394 w 218535"/>
                  <a:gd name="connsiteY31" fmla="*/ 153216 h 188965"/>
                  <a:gd name="connsiteX32" fmla="*/ 29394 w 218535"/>
                  <a:gd name="connsiteY32" fmla="*/ 176836 h 188965"/>
                  <a:gd name="connsiteX33" fmla="*/ 12780 w 218535"/>
                  <a:gd name="connsiteY33" fmla="*/ 176836 h 188965"/>
                  <a:gd name="connsiteX34" fmla="*/ 12780 w 218535"/>
                  <a:gd name="connsiteY34" fmla="*/ 42134 h 188965"/>
                  <a:gd name="connsiteX35" fmla="*/ 205756 w 218535"/>
                  <a:gd name="connsiteY35" fmla="*/ 176198 h 188965"/>
                  <a:gd name="connsiteX36" fmla="*/ 189142 w 218535"/>
                  <a:gd name="connsiteY36" fmla="*/ 176198 h 188965"/>
                  <a:gd name="connsiteX37" fmla="*/ 189142 w 218535"/>
                  <a:gd name="connsiteY37" fmla="*/ 153216 h 188965"/>
                  <a:gd name="connsiteX38" fmla="*/ 182752 w 218535"/>
                  <a:gd name="connsiteY38" fmla="*/ 146832 h 188965"/>
                  <a:gd name="connsiteX39" fmla="*/ 176362 w 218535"/>
                  <a:gd name="connsiteY39" fmla="*/ 153216 h 188965"/>
                  <a:gd name="connsiteX40" fmla="*/ 176362 w 218535"/>
                  <a:gd name="connsiteY40" fmla="*/ 176836 h 188965"/>
                  <a:gd name="connsiteX41" fmla="*/ 159748 w 218535"/>
                  <a:gd name="connsiteY41" fmla="*/ 176836 h 188965"/>
                  <a:gd name="connsiteX42" fmla="*/ 159748 w 218535"/>
                  <a:gd name="connsiteY42" fmla="*/ 42773 h 188965"/>
                  <a:gd name="connsiteX43" fmla="*/ 205756 w 218535"/>
                  <a:gd name="connsiteY43" fmla="*/ 42773 h 188965"/>
                  <a:gd name="connsiteX44" fmla="*/ 205756 w 218535"/>
                  <a:gd name="connsiteY44"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8535" h="188965">
                    <a:moveTo>
                      <a:pt x="212146" y="29366"/>
                    </a:moveTo>
                    <a:lnTo>
                      <a:pt x="159748" y="29366"/>
                    </a:lnTo>
                    <a:lnTo>
                      <a:pt x="159748" y="6384"/>
                    </a:lnTo>
                    <a:cubicBezTo>
                      <a:pt x="159748" y="2554"/>
                      <a:pt x="157192" y="0"/>
                      <a:pt x="153358" y="0"/>
                    </a:cubicBezTo>
                    <a:lnTo>
                      <a:pt x="65177" y="0"/>
                    </a:lnTo>
                    <a:cubicBezTo>
                      <a:pt x="61343" y="0"/>
                      <a:pt x="58787" y="2554"/>
                      <a:pt x="58787" y="6384"/>
                    </a:cubicBezTo>
                    <a:lnTo>
                      <a:pt x="58787" y="29366"/>
                    </a:lnTo>
                    <a:lnTo>
                      <a:pt x="6390" y="29366"/>
                    </a:lnTo>
                    <a:cubicBezTo>
                      <a:pt x="2556" y="29366"/>
                      <a:pt x="0" y="31920"/>
                      <a:pt x="0" y="35750"/>
                    </a:cubicBezTo>
                    <a:lnTo>
                      <a:pt x="0" y="182582"/>
                    </a:lnTo>
                    <a:cubicBezTo>
                      <a:pt x="0" y="186412"/>
                      <a:pt x="2556" y="188966"/>
                      <a:pt x="6390" y="188966"/>
                    </a:cubicBezTo>
                    <a:lnTo>
                      <a:pt x="212146" y="188966"/>
                    </a:lnTo>
                    <a:cubicBezTo>
                      <a:pt x="215980" y="188966"/>
                      <a:pt x="218536" y="186412"/>
                      <a:pt x="218536" y="182582"/>
                    </a:cubicBezTo>
                    <a:lnTo>
                      <a:pt x="218536" y="35750"/>
                    </a:lnTo>
                    <a:cubicBezTo>
                      <a:pt x="218536" y="32558"/>
                      <a:pt x="215980" y="29366"/>
                      <a:pt x="212146" y="29366"/>
                    </a:cubicBezTo>
                    <a:close/>
                    <a:moveTo>
                      <a:pt x="71567" y="12768"/>
                    </a:moveTo>
                    <a:lnTo>
                      <a:pt x="146969" y="12768"/>
                    </a:lnTo>
                    <a:lnTo>
                      <a:pt x="146969" y="176836"/>
                    </a:lnTo>
                    <a:lnTo>
                      <a:pt x="100961" y="176836"/>
                    </a:lnTo>
                    <a:lnTo>
                      <a:pt x="100961" y="153854"/>
                    </a:lnTo>
                    <a:cubicBezTo>
                      <a:pt x="100961" y="150024"/>
                      <a:pt x="98405" y="147470"/>
                      <a:pt x="94571" y="147470"/>
                    </a:cubicBezTo>
                    <a:cubicBezTo>
                      <a:pt x="90737" y="147470"/>
                      <a:pt x="88181" y="150024"/>
                      <a:pt x="88181" y="153854"/>
                    </a:cubicBezTo>
                    <a:lnTo>
                      <a:pt x="88181" y="176836"/>
                    </a:lnTo>
                    <a:lnTo>
                      <a:pt x="71567" y="176836"/>
                    </a:lnTo>
                    <a:lnTo>
                      <a:pt x="71567" y="12768"/>
                    </a:lnTo>
                    <a:close/>
                    <a:moveTo>
                      <a:pt x="12780" y="42134"/>
                    </a:moveTo>
                    <a:lnTo>
                      <a:pt x="58787" y="42134"/>
                    </a:lnTo>
                    <a:lnTo>
                      <a:pt x="58787" y="176198"/>
                    </a:lnTo>
                    <a:lnTo>
                      <a:pt x="42174" y="176198"/>
                    </a:lnTo>
                    <a:lnTo>
                      <a:pt x="42174" y="153216"/>
                    </a:lnTo>
                    <a:cubicBezTo>
                      <a:pt x="42174" y="149385"/>
                      <a:pt x="39618" y="146832"/>
                      <a:pt x="35784" y="146832"/>
                    </a:cubicBezTo>
                    <a:cubicBezTo>
                      <a:pt x="31950" y="146832"/>
                      <a:pt x="29394" y="149385"/>
                      <a:pt x="29394" y="153216"/>
                    </a:cubicBezTo>
                    <a:lnTo>
                      <a:pt x="29394" y="176836"/>
                    </a:lnTo>
                    <a:lnTo>
                      <a:pt x="12780" y="176836"/>
                    </a:lnTo>
                    <a:lnTo>
                      <a:pt x="12780" y="42134"/>
                    </a:lnTo>
                    <a:close/>
                    <a:moveTo>
                      <a:pt x="205756" y="176198"/>
                    </a:moveTo>
                    <a:lnTo>
                      <a:pt x="189142" y="176198"/>
                    </a:lnTo>
                    <a:lnTo>
                      <a:pt x="189142" y="153216"/>
                    </a:lnTo>
                    <a:cubicBezTo>
                      <a:pt x="189142" y="149385"/>
                      <a:pt x="186586" y="146832"/>
                      <a:pt x="182752" y="146832"/>
                    </a:cubicBezTo>
                    <a:cubicBezTo>
                      <a:pt x="178918" y="146832"/>
                      <a:pt x="176362" y="149385"/>
                      <a:pt x="176362" y="153216"/>
                    </a:cubicBezTo>
                    <a:lnTo>
                      <a:pt x="176362" y="176836"/>
                    </a:lnTo>
                    <a:lnTo>
                      <a:pt x="159748" y="176836"/>
                    </a:lnTo>
                    <a:lnTo>
                      <a:pt x="159748" y="42773"/>
                    </a:lnTo>
                    <a:lnTo>
                      <a:pt x="205756" y="42773"/>
                    </a:lnTo>
                    <a:lnTo>
                      <a:pt x="205756" y="17619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54" name="Graphic 4">
                <a:extLst>
                  <a:ext uri="{FF2B5EF4-FFF2-40B4-BE49-F238E27FC236}">
                    <a16:creationId xmlns:a16="http://schemas.microsoft.com/office/drawing/2014/main" id="{ACA24E80-7148-F470-BB5C-FD708FC3AC35}"/>
                  </a:ext>
                </a:extLst>
              </p:cNvPr>
              <p:cNvSpPr/>
              <p:nvPr/>
            </p:nvSpPr>
            <p:spPr>
              <a:xfrm>
                <a:off x="568703" y="3238728"/>
                <a:ext cx="12779" cy="12767"/>
              </a:xfrm>
              <a:custGeom>
                <a:avLst/>
                <a:gdLst>
                  <a:gd name="connsiteX0" fmla="*/ 6390 w 12779"/>
                  <a:gd name="connsiteY0" fmla="*/ 12768 h 12767"/>
                  <a:gd name="connsiteX1" fmla="*/ 10863 w 12779"/>
                  <a:gd name="connsiteY1" fmla="*/ 10853 h 12767"/>
                  <a:gd name="connsiteX2" fmla="*/ 12141 w 12779"/>
                  <a:gd name="connsiteY2" fmla="*/ 8938 h 12767"/>
                  <a:gd name="connsiteX3" fmla="*/ 12780 w 12779"/>
                  <a:gd name="connsiteY3" fmla="*/ 6384 h 12767"/>
                  <a:gd name="connsiteX4" fmla="*/ 12141 w 12779"/>
                  <a:gd name="connsiteY4" fmla="*/ 3830 h 12767"/>
                  <a:gd name="connsiteX5" fmla="*/ 10863 w 12779"/>
                  <a:gd name="connsiteY5" fmla="*/ 1915 h 12767"/>
                  <a:gd name="connsiteX6" fmla="*/ 5112 w 12779"/>
                  <a:gd name="connsiteY6" fmla="*/ 0 h 12767"/>
                  <a:gd name="connsiteX7" fmla="*/ 3834 w 12779"/>
                  <a:gd name="connsiteY7" fmla="*/ 638 h 12767"/>
                  <a:gd name="connsiteX8" fmla="*/ 1917 w 12779"/>
                  <a:gd name="connsiteY8" fmla="*/ 1915 h 12767"/>
                  <a:gd name="connsiteX9" fmla="*/ 639 w 12779"/>
                  <a:gd name="connsiteY9" fmla="*/ 3830 h 12767"/>
                  <a:gd name="connsiteX10" fmla="*/ 0 w 12779"/>
                  <a:gd name="connsiteY10" fmla="*/ 6384 h 12767"/>
                  <a:gd name="connsiteX11" fmla="*/ 6390 w 12779"/>
                  <a:gd name="connsiteY11" fmla="*/ 12768 h 12767"/>
                  <a:gd name="connsiteX12" fmla="*/ 6390 w 12779"/>
                  <a:gd name="connsiteY12"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7">
                    <a:moveTo>
                      <a:pt x="6390" y="12768"/>
                    </a:moveTo>
                    <a:cubicBezTo>
                      <a:pt x="8307" y="12768"/>
                      <a:pt x="9585" y="12130"/>
                      <a:pt x="10863" y="10853"/>
                    </a:cubicBezTo>
                    <a:cubicBezTo>
                      <a:pt x="11502" y="10214"/>
                      <a:pt x="12141" y="9576"/>
                      <a:pt x="12141" y="8938"/>
                    </a:cubicBezTo>
                    <a:cubicBezTo>
                      <a:pt x="12141" y="8299"/>
                      <a:pt x="12780" y="7661"/>
                      <a:pt x="12780" y="6384"/>
                    </a:cubicBezTo>
                    <a:cubicBezTo>
                      <a:pt x="12780" y="5746"/>
                      <a:pt x="12780" y="4469"/>
                      <a:pt x="12141" y="3830"/>
                    </a:cubicBezTo>
                    <a:cubicBezTo>
                      <a:pt x="11502" y="3192"/>
                      <a:pt x="11502" y="2554"/>
                      <a:pt x="10863" y="1915"/>
                    </a:cubicBezTo>
                    <a:cubicBezTo>
                      <a:pt x="9585" y="638"/>
                      <a:pt x="7029" y="0"/>
                      <a:pt x="5112" y="0"/>
                    </a:cubicBezTo>
                    <a:lnTo>
                      <a:pt x="3834" y="638"/>
                    </a:lnTo>
                    <a:cubicBezTo>
                      <a:pt x="3195" y="1277"/>
                      <a:pt x="2556" y="1277"/>
                      <a:pt x="1917" y="1915"/>
                    </a:cubicBezTo>
                    <a:cubicBezTo>
                      <a:pt x="1278" y="2554"/>
                      <a:pt x="639" y="3192"/>
                      <a:pt x="639" y="3830"/>
                    </a:cubicBezTo>
                    <a:cubicBezTo>
                      <a:pt x="0" y="4469"/>
                      <a:pt x="0" y="5746"/>
                      <a:pt x="0" y="6384"/>
                    </a:cubicBezTo>
                    <a:cubicBezTo>
                      <a:pt x="0" y="10214"/>
                      <a:pt x="2556" y="12768"/>
                      <a:pt x="6390" y="12768"/>
                    </a:cubicBezTo>
                    <a:lnTo>
                      <a:pt x="6390" y="1276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55" name="Graphic 4">
                <a:extLst>
                  <a:ext uri="{FF2B5EF4-FFF2-40B4-BE49-F238E27FC236}">
                    <a16:creationId xmlns:a16="http://schemas.microsoft.com/office/drawing/2014/main" id="{558D4832-AEDB-E470-A71E-D6B5A7A7A074}"/>
                  </a:ext>
                </a:extLst>
              </p:cNvPr>
              <p:cNvSpPr/>
              <p:nvPr/>
            </p:nvSpPr>
            <p:spPr>
              <a:xfrm>
                <a:off x="568863" y="3209336"/>
                <a:ext cx="12460" cy="12793"/>
              </a:xfrm>
              <a:custGeom>
                <a:avLst/>
                <a:gdLst>
                  <a:gd name="connsiteX0" fmla="*/ 1757 w 12460"/>
                  <a:gd name="connsiteY0" fmla="*/ 10879 h 12793"/>
                  <a:gd name="connsiteX1" fmla="*/ 3674 w 12460"/>
                  <a:gd name="connsiteY1" fmla="*/ 12155 h 12793"/>
                  <a:gd name="connsiteX2" fmla="*/ 6230 w 12460"/>
                  <a:gd name="connsiteY2" fmla="*/ 12794 h 12793"/>
                  <a:gd name="connsiteX3" fmla="*/ 8786 w 12460"/>
                  <a:gd name="connsiteY3" fmla="*/ 12155 h 12793"/>
                  <a:gd name="connsiteX4" fmla="*/ 10703 w 12460"/>
                  <a:gd name="connsiteY4" fmla="*/ 10879 h 12793"/>
                  <a:gd name="connsiteX5" fmla="*/ 11981 w 12460"/>
                  <a:gd name="connsiteY5" fmla="*/ 8963 h 12793"/>
                  <a:gd name="connsiteX6" fmla="*/ 11981 w 12460"/>
                  <a:gd name="connsiteY6" fmla="*/ 3856 h 12793"/>
                  <a:gd name="connsiteX7" fmla="*/ 11342 w 12460"/>
                  <a:gd name="connsiteY7" fmla="*/ 2579 h 12793"/>
                  <a:gd name="connsiteX8" fmla="*/ 10703 w 12460"/>
                  <a:gd name="connsiteY8" fmla="*/ 1941 h 12793"/>
                  <a:gd name="connsiteX9" fmla="*/ 3674 w 12460"/>
                  <a:gd name="connsiteY9" fmla="*/ 664 h 12793"/>
                  <a:gd name="connsiteX10" fmla="*/ 1757 w 12460"/>
                  <a:gd name="connsiteY10" fmla="*/ 1941 h 12793"/>
                  <a:gd name="connsiteX11" fmla="*/ 1118 w 12460"/>
                  <a:gd name="connsiteY11" fmla="*/ 2579 h 12793"/>
                  <a:gd name="connsiteX12" fmla="*/ 479 w 12460"/>
                  <a:gd name="connsiteY12" fmla="*/ 3856 h 12793"/>
                  <a:gd name="connsiteX13" fmla="*/ 479 w 12460"/>
                  <a:gd name="connsiteY13" fmla="*/ 8963 h 12793"/>
                  <a:gd name="connsiteX14" fmla="*/ 1757 w 12460"/>
                  <a:gd name="connsiteY14" fmla="*/ 10879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0" h="12793">
                    <a:moveTo>
                      <a:pt x="1757" y="10879"/>
                    </a:moveTo>
                    <a:cubicBezTo>
                      <a:pt x="2396" y="11517"/>
                      <a:pt x="3035" y="12155"/>
                      <a:pt x="3674" y="12155"/>
                    </a:cubicBezTo>
                    <a:cubicBezTo>
                      <a:pt x="4313" y="12794"/>
                      <a:pt x="4952" y="12794"/>
                      <a:pt x="6230" y="12794"/>
                    </a:cubicBezTo>
                    <a:cubicBezTo>
                      <a:pt x="6869" y="12794"/>
                      <a:pt x="8147" y="12794"/>
                      <a:pt x="8786" y="12155"/>
                    </a:cubicBezTo>
                    <a:cubicBezTo>
                      <a:pt x="9425" y="12155"/>
                      <a:pt x="10064" y="11517"/>
                      <a:pt x="10703" y="10879"/>
                    </a:cubicBezTo>
                    <a:cubicBezTo>
                      <a:pt x="11342" y="10240"/>
                      <a:pt x="11981" y="9602"/>
                      <a:pt x="11981" y="8963"/>
                    </a:cubicBezTo>
                    <a:cubicBezTo>
                      <a:pt x="12620" y="7687"/>
                      <a:pt x="12620" y="5771"/>
                      <a:pt x="11981" y="3856"/>
                    </a:cubicBezTo>
                    <a:cubicBezTo>
                      <a:pt x="11981" y="3218"/>
                      <a:pt x="11342" y="3218"/>
                      <a:pt x="11342" y="2579"/>
                    </a:cubicBezTo>
                    <a:cubicBezTo>
                      <a:pt x="11342" y="1941"/>
                      <a:pt x="10703" y="1941"/>
                      <a:pt x="10703" y="1941"/>
                    </a:cubicBezTo>
                    <a:cubicBezTo>
                      <a:pt x="8786" y="26"/>
                      <a:pt x="6230" y="-613"/>
                      <a:pt x="3674" y="664"/>
                    </a:cubicBezTo>
                    <a:cubicBezTo>
                      <a:pt x="3035" y="1303"/>
                      <a:pt x="2396" y="1303"/>
                      <a:pt x="1757" y="1941"/>
                    </a:cubicBezTo>
                    <a:lnTo>
                      <a:pt x="1118" y="2579"/>
                    </a:lnTo>
                    <a:cubicBezTo>
                      <a:pt x="1118" y="3218"/>
                      <a:pt x="479" y="3218"/>
                      <a:pt x="479" y="3856"/>
                    </a:cubicBezTo>
                    <a:cubicBezTo>
                      <a:pt x="-160" y="5133"/>
                      <a:pt x="-160" y="7048"/>
                      <a:pt x="479" y="8963"/>
                    </a:cubicBezTo>
                    <a:cubicBezTo>
                      <a:pt x="479" y="9602"/>
                      <a:pt x="1118" y="10240"/>
                      <a:pt x="1757" y="10879"/>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56" name="Graphic 4">
                <a:extLst>
                  <a:ext uri="{FF2B5EF4-FFF2-40B4-BE49-F238E27FC236}">
                    <a16:creationId xmlns:a16="http://schemas.microsoft.com/office/drawing/2014/main" id="{DA257A13-5265-4EA4-D57A-4908AD0396B8}"/>
                  </a:ext>
                </a:extLst>
              </p:cNvPr>
              <p:cNvSpPr/>
              <p:nvPr/>
            </p:nvSpPr>
            <p:spPr>
              <a:xfrm>
                <a:off x="567425" y="3179996"/>
                <a:ext cx="14057" cy="12767"/>
              </a:xfrm>
              <a:custGeom>
                <a:avLst/>
                <a:gdLst>
                  <a:gd name="connsiteX0" fmla="*/ 7668 w 14057"/>
                  <a:gd name="connsiteY0" fmla="*/ 12768 h 12767"/>
                  <a:gd name="connsiteX1" fmla="*/ 10224 w 14057"/>
                  <a:gd name="connsiteY1" fmla="*/ 12130 h 12767"/>
                  <a:gd name="connsiteX2" fmla="*/ 12141 w 14057"/>
                  <a:gd name="connsiteY2" fmla="*/ 10853 h 12767"/>
                  <a:gd name="connsiteX3" fmla="*/ 14058 w 14057"/>
                  <a:gd name="connsiteY3" fmla="*/ 6384 h 12767"/>
                  <a:gd name="connsiteX4" fmla="*/ 12141 w 14057"/>
                  <a:gd name="connsiteY4" fmla="*/ 1915 h 12767"/>
                  <a:gd name="connsiteX5" fmla="*/ 10863 w 14057"/>
                  <a:gd name="connsiteY5" fmla="*/ 1277 h 12767"/>
                  <a:gd name="connsiteX6" fmla="*/ 9585 w 14057"/>
                  <a:gd name="connsiteY6" fmla="*/ 638 h 12767"/>
                  <a:gd name="connsiteX7" fmla="*/ 8307 w 14057"/>
                  <a:gd name="connsiteY7" fmla="*/ 0 h 12767"/>
                  <a:gd name="connsiteX8" fmla="*/ 5751 w 14057"/>
                  <a:gd name="connsiteY8" fmla="*/ 0 h 12767"/>
                  <a:gd name="connsiteX9" fmla="*/ 4473 w 14057"/>
                  <a:gd name="connsiteY9" fmla="*/ 638 h 12767"/>
                  <a:gd name="connsiteX10" fmla="*/ 3195 w 14057"/>
                  <a:gd name="connsiteY10" fmla="*/ 1277 h 12767"/>
                  <a:gd name="connsiteX11" fmla="*/ 1917 w 14057"/>
                  <a:gd name="connsiteY11" fmla="*/ 1915 h 12767"/>
                  <a:gd name="connsiteX12" fmla="*/ 639 w 14057"/>
                  <a:gd name="connsiteY12" fmla="*/ 3830 h 12767"/>
                  <a:gd name="connsiteX13" fmla="*/ 0 w 14057"/>
                  <a:gd name="connsiteY13" fmla="*/ 6384 h 12767"/>
                  <a:gd name="connsiteX14" fmla="*/ 1917 w 14057"/>
                  <a:gd name="connsiteY14" fmla="*/ 10853 h 12767"/>
                  <a:gd name="connsiteX15" fmla="*/ 7668 w 14057"/>
                  <a:gd name="connsiteY15"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57" h="12767">
                    <a:moveTo>
                      <a:pt x="7668" y="12768"/>
                    </a:moveTo>
                    <a:cubicBezTo>
                      <a:pt x="8307" y="12768"/>
                      <a:pt x="9585" y="12768"/>
                      <a:pt x="10224" y="12130"/>
                    </a:cubicBezTo>
                    <a:cubicBezTo>
                      <a:pt x="10863" y="12130"/>
                      <a:pt x="11502" y="11491"/>
                      <a:pt x="12141" y="10853"/>
                    </a:cubicBezTo>
                    <a:cubicBezTo>
                      <a:pt x="13419" y="9576"/>
                      <a:pt x="14058" y="8299"/>
                      <a:pt x="14058" y="6384"/>
                    </a:cubicBezTo>
                    <a:cubicBezTo>
                      <a:pt x="14058" y="4469"/>
                      <a:pt x="13419" y="3192"/>
                      <a:pt x="12141" y="1915"/>
                    </a:cubicBezTo>
                    <a:lnTo>
                      <a:pt x="10863" y="1277"/>
                    </a:lnTo>
                    <a:lnTo>
                      <a:pt x="9585" y="638"/>
                    </a:lnTo>
                    <a:lnTo>
                      <a:pt x="8307" y="0"/>
                    </a:lnTo>
                    <a:cubicBezTo>
                      <a:pt x="7668" y="0"/>
                      <a:pt x="6390" y="0"/>
                      <a:pt x="5751" y="0"/>
                    </a:cubicBezTo>
                    <a:lnTo>
                      <a:pt x="4473" y="638"/>
                    </a:lnTo>
                    <a:lnTo>
                      <a:pt x="3195" y="1277"/>
                    </a:lnTo>
                    <a:cubicBezTo>
                      <a:pt x="2556" y="1277"/>
                      <a:pt x="2556" y="1915"/>
                      <a:pt x="1917" y="1915"/>
                    </a:cubicBezTo>
                    <a:cubicBezTo>
                      <a:pt x="1278" y="2554"/>
                      <a:pt x="639" y="3192"/>
                      <a:pt x="639" y="3830"/>
                    </a:cubicBezTo>
                    <a:cubicBezTo>
                      <a:pt x="0" y="4469"/>
                      <a:pt x="0" y="5107"/>
                      <a:pt x="0" y="6384"/>
                    </a:cubicBezTo>
                    <a:cubicBezTo>
                      <a:pt x="0" y="8299"/>
                      <a:pt x="639" y="9576"/>
                      <a:pt x="1917" y="10853"/>
                    </a:cubicBezTo>
                    <a:cubicBezTo>
                      <a:pt x="4473" y="12130"/>
                      <a:pt x="5751" y="12768"/>
                      <a:pt x="7668"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57" name="Graphic 4">
                <a:extLst>
                  <a:ext uri="{FF2B5EF4-FFF2-40B4-BE49-F238E27FC236}">
                    <a16:creationId xmlns:a16="http://schemas.microsoft.com/office/drawing/2014/main" id="{6AB0F17D-7EC1-71B7-A465-1FD96D50DD8C}"/>
                  </a:ext>
                </a:extLst>
              </p:cNvPr>
              <p:cNvSpPr/>
              <p:nvPr/>
            </p:nvSpPr>
            <p:spPr>
              <a:xfrm>
                <a:off x="715671" y="3239366"/>
                <a:ext cx="12779" cy="12767"/>
              </a:xfrm>
              <a:custGeom>
                <a:avLst/>
                <a:gdLst>
                  <a:gd name="connsiteX0" fmla="*/ 11502 w 12779"/>
                  <a:gd name="connsiteY0" fmla="*/ 2554 h 12767"/>
                  <a:gd name="connsiteX1" fmla="*/ 10863 w 12779"/>
                  <a:gd name="connsiteY1" fmla="*/ 1915 h 12767"/>
                  <a:gd name="connsiteX2" fmla="*/ 5112 w 12779"/>
                  <a:gd name="connsiteY2" fmla="*/ 0 h 12767"/>
                  <a:gd name="connsiteX3" fmla="*/ 3834 w 12779"/>
                  <a:gd name="connsiteY3" fmla="*/ 638 h 12767"/>
                  <a:gd name="connsiteX4" fmla="*/ 639 w 12779"/>
                  <a:gd name="connsiteY4" fmla="*/ 3830 h 12767"/>
                  <a:gd name="connsiteX5" fmla="*/ 0 w 12779"/>
                  <a:gd name="connsiteY5" fmla="*/ 6384 h 12767"/>
                  <a:gd name="connsiteX6" fmla="*/ 639 w 12779"/>
                  <a:gd name="connsiteY6" fmla="*/ 8938 h 12767"/>
                  <a:gd name="connsiteX7" fmla="*/ 1917 w 12779"/>
                  <a:gd name="connsiteY7" fmla="*/ 10853 h 12767"/>
                  <a:gd name="connsiteX8" fmla="*/ 6390 w 12779"/>
                  <a:gd name="connsiteY8" fmla="*/ 12768 h 12767"/>
                  <a:gd name="connsiteX9" fmla="*/ 10863 w 12779"/>
                  <a:gd name="connsiteY9" fmla="*/ 10853 h 12767"/>
                  <a:gd name="connsiteX10" fmla="*/ 12141 w 12779"/>
                  <a:gd name="connsiteY10" fmla="*/ 8938 h 12767"/>
                  <a:gd name="connsiteX11" fmla="*/ 12780 w 12779"/>
                  <a:gd name="connsiteY11" fmla="*/ 6384 h 12767"/>
                  <a:gd name="connsiteX12" fmla="*/ 12141 w 12779"/>
                  <a:gd name="connsiteY12" fmla="*/ 3830 h 12767"/>
                  <a:gd name="connsiteX13" fmla="*/ 11502 w 12779"/>
                  <a:gd name="connsiteY13" fmla="*/ 255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2767">
                    <a:moveTo>
                      <a:pt x="11502" y="2554"/>
                    </a:moveTo>
                    <a:cubicBezTo>
                      <a:pt x="11502" y="1915"/>
                      <a:pt x="10863" y="1915"/>
                      <a:pt x="10863" y="1915"/>
                    </a:cubicBezTo>
                    <a:cubicBezTo>
                      <a:pt x="9585" y="638"/>
                      <a:pt x="7029" y="0"/>
                      <a:pt x="5112" y="0"/>
                    </a:cubicBezTo>
                    <a:lnTo>
                      <a:pt x="3834" y="638"/>
                    </a:lnTo>
                    <a:cubicBezTo>
                      <a:pt x="2556" y="1277"/>
                      <a:pt x="1278" y="2554"/>
                      <a:pt x="639" y="3830"/>
                    </a:cubicBezTo>
                    <a:cubicBezTo>
                      <a:pt x="639" y="4469"/>
                      <a:pt x="0" y="5746"/>
                      <a:pt x="0" y="6384"/>
                    </a:cubicBezTo>
                    <a:cubicBezTo>
                      <a:pt x="0" y="7022"/>
                      <a:pt x="0" y="8299"/>
                      <a:pt x="639" y="8938"/>
                    </a:cubicBezTo>
                    <a:cubicBezTo>
                      <a:pt x="1278" y="9576"/>
                      <a:pt x="1278" y="10214"/>
                      <a:pt x="1917" y="10853"/>
                    </a:cubicBezTo>
                    <a:cubicBezTo>
                      <a:pt x="3195" y="12130"/>
                      <a:pt x="4473"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lnTo>
                      <a:pt x="11502" y="255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58" name="Graphic 4">
                <a:extLst>
                  <a:ext uri="{FF2B5EF4-FFF2-40B4-BE49-F238E27FC236}">
                    <a16:creationId xmlns:a16="http://schemas.microsoft.com/office/drawing/2014/main" id="{A5EA719A-0CEE-DD09-2C25-9C1937E355FB}"/>
                  </a:ext>
                </a:extLst>
              </p:cNvPr>
              <p:cNvSpPr/>
              <p:nvPr/>
            </p:nvSpPr>
            <p:spPr>
              <a:xfrm>
                <a:off x="715192" y="3209122"/>
                <a:ext cx="13259" cy="13007"/>
              </a:xfrm>
              <a:custGeom>
                <a:avLst/>
                <a:gdLst>
                  <a:gd name="connsiteX0" fmla="*/ 2396 w 13259"/>
                  <a:gd name="connsiteY0" fmla="*/ 11092 h 13007"/>
                  <a:gd name="connsiteX1" fmla="*/ 4313 w 13259"/>
                  <a:gd name="connsiteY1" fmla="*/ 12369 h 13007"/>
                  <a:gd name="connsiteX2" fmla="*/ 6869 w 13259"/>
                  <a:gd name="connsiteY2" fmla="*/ 13007 h 13007"/>
                  <a:gd name="connsiteX3" fmla="*/ 13259 w 13259"/>
                  <a:gd name="connsiteY3" fmla="*/ 6623 h 13007"/>
                  <a:gd name="connsiteX4" fmla="*/ 12620 w 13259"/>
                  <a:gd name="connsiteY4" fmla="*/ 4070 h 13007"/>
                  <a:gd name="connsiteX5" fmla="*/ 11342 w 13259"/>
                  <a:gd name="connsiteY5" fmla="*/ 2155 h 13007"/>
                  <a:gd name="connsiteX6" fmla="*/ 10064 w 13259"/>
                  <a:gd name="connsiteY6" fmla="*/ 1516 h 13007"/>
                  <a:gd name="connsiteX7" fmla="*/ 8786 w 13259"/>
                  <a:gd name="connsiteY7" fmla="*/ 878 h 13007"/>
                  <a:gd name="connsiteX8" fmla="*/ 7508 w 13259"/>
                  <a:gd name="connsiteY8" fmla="*/ 239 h 13007"/>
                  <a:gd name="connsiteX9" fmla="*/ 1757 w 13259"/>
                  <a:gd name="connsiteY9" fmla="*/ 2155 h 13007"/>
                  <a:gd name="connsiteX10" fmla="*/ 479 w 13259"/>
                  <a:gd name="connsiteY10" fmla="*/ 4070 h 13007"/>
                  <a:gd name="connsiteX11" fmla="*/ 479 w 13259"/>
                  <a:gd name="connsiteY11" fmla="*/ 9177 h 13007"/>
                  <a:gd name="connsiteX12" fmla="*/ 2396 w 13259"/>
                  <a:gd name="connsiteY12"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9" h="13007">
                    <a:moveTo>
                      <a:pt x="2396" y="11092"/>
                    </a:moveTo>
                    <a:cubicBezTo>
                      <a:pt x="3035" y="11731"/>
                      <a:pt x="3674" y="12369"/>
                      <a:pt x="4313" y="12369"/>
                    </a:cubicBezTo>
                    <a:cubicBezTo>
                      <a:pt x="4952" y="13007"/>
                      <a:pt x="6230" y="13007"/>
                      <a:pt x="6869" y="13007"/>
                    </a:cubicBezTo>
                    <a:cubicBezTo>
                      <a:pt x="10703" y="13007"/>
                      <a:pt x="13259" y="9815"/>
                      <a:pt x="13259" y="6623"/>
                    </a:cubicBezTo>
                    <a:cubicBezTo>
                      <a:pt x="13259" y="5985"/>
                      <a:pt x="13259" y="4708"/>
                      <a:pt x="12620" y="4070"/>
                    </a:cubicBezTo>
                    <a:cubicBezTo>
                      <a:pt x="11981" y="3431"/>
                      <a:pt x="11981" y="2793"/>
                      <a:pt x="11342" y="2155"/>
                    </a:cubicBezTo>
                    <a:lnTo>
                      <a:pt x="10064" y="1516"/>
                    </a:lnTo>
                    <a:cubicBezTo>
                      <a:pt x="9425" y="1516"/>
                      <a:pt x="9425" y="878"/>
                      <a:pt x="8786" y="878"/>
                    </a:cubicBezTo>
                    <a:cubicBezTo>
                      <a:pt x="8147" y="878"/>
                      <a:pt x="8147" y="239"/>
                      <a:pt x="7508" y="239"/>
                    </a:cubicBezTo>
                    <a:cubicBezTo>
                      <a:pt x="5591" y="-399"/>
                      <a:pt x="3035" y="239"/>
                      <a:pt x="1757" y="2155"/>
                    </a:cubicBezTo>
                    <a:cubicBezTo>
                      <a:pt x="1118" y="2793"/>
                      <a:pt x="479" y="3431"/>
                      <a:pt x="479" y="4070"/>
                    </a:cubicBezTo>
                    <a:cubicBezTo>
                      <a:pt x="-160" y="5347"/>
                      <a:pt x="-160" y="7262"/>
                      <a:pt x="479" y="9177"/>
                    </a:cubicBezTo>
                    <a:cubicBezTo>
                      <a:pt x="1118" y="9815"/>
                      <a:pt x="1757" y="10454"/>
                      <a:pt x="2396" y="1109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59" name="Graphic 4">
                <a:extLst>
                  <a:ext uri="{FF2B5EF4-FFF2-40B4-BE49-F238E27FC236}">
                    <a16:creationId xmlns:a16="http://schemas.microsoft.com/office/drawing/2014/main" id="{AC7A6084-AD30-3493-520C-8FF92CDA08F6}"/>
                  </a:ext>
                </a:extLst>
              </p:cNvPr>
              <p:cNvSpPr/>
              <p:nvPr/>
            </p:nvSpPr>
            <p:spPr>
              <a:xfrm>
                <a:off x="715671" y="3180155"/>
                <a:ext cx="12779" cy="12608"/>
              </a:xfrm>
              <a:custGeom>
                <a:avLst/>
                <a:gdLst>
                  <a:gd name="connsiteX0" fmla="*/ 1917 w 12779"/>
                  <a:gd name="connsiteY0" fmla="*/ 10693 h 12608"/>
                  <a:gd name="connsiteX1" fmla="*/ 10863 w 12779"/>
                  <a:gd name="connsiteY1" fmla="*/ 10693 h 12608"/>
                  <a:gd name="connsiteX2" fmla="*/ 12780 w 12779"/>
                  <a:gd name="connsiteY2" fmla="*/ 6224 h 12608"/>
                  <a:gd name="connsiteX3" fmla="*/ 12141 w 12779"/>
                  <a:gd name="connsiteY3" fmla="*/ 3671 h 12608"/>
                  <a:gd name="connsiteX4" fmla="*/ 8946 w 12779"/>
                  <a:gd name="connsiteY4" fmla="*/ 479 h 12608"/>
                  <a:gd name="connsiteX5" fmla="*/ 3834 w 12779"/>
                  <a:gd name="connsiteY5" fmla="*/ 479 h 12608"/>
                  <a:gd name="connsiteX6" fmla="*/ 1917 w 12779"/>
                  <a:gd name="connsiteY6" fmla="*/ 1756 h 12608"/>
                  <a:gd name="connsiteX7" fmla="*/ 639 w 12779"/>
                  <a:gd name="connsiteY7" fmla="*/ 3671 h 12608"/>
                  <a:gd name="connsiteX8" fmla="*/ 0 w 12779"/>
                  <a:gd name="connsiteY8" fmla="*/ 6224 h 12608"/>
                  <a:gd name="connsiteX9" fmla="*/ 1917 w 12779"/>
                  <a:gd name="connsiteY9" fmla="*/ 10693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608">
                    <a:moveTo>
                      <a:pt x="1917" y="10693"/>
                    </a:moveTo>
                    <a:cubicBezTo>
                      <a:pt x="4473" y="13247"/>
                      <a:pt x="8307" y="13247"/>
                      <a:pt x="10863" y="10693"/>
                    </a:cubicBezTo>
                    <a:cubicBezTo>
                      <a:pt x="12141" y="9416"/>
                      <a:pt x="12780" y="8139"/>
                      <a:pt x="12780" y="6224"/>
                    </a:cubicBezTo>
                    <a:cubicBezTo>
                      <a:pt x="12780" y="5586"/>
                      <a:pt x="12780" y="4309"/>
                      <a:pt x="12141" y="3671"/>
                    </a:cubicBezTo>
                    <a:cubicBezTo>
                      <a:pt x="11502" y="2394"/>
                      <a:pt x="10224" y="1117"/>
                      <a:pt x="8946" y="479"/>
                    </a:cubicBezTo>
                    <a:cubicBezTo>
                      <a:pt x="7668" y="-160"/>
                      <a:pt x="5751" y="-160"/>
                      <a:pt x="3834" y="479"/>
                    </a:cubicBezTo>
                    <a:cubicBezTo>
                      <a:pt x="3195" y="479"/>
                      <a:pt x="2556" y="1117"/>
                      <a:pt x="1917" y="1756"/>
                    </a:cubicBezTo>
                    <a:cubicBezTo>
                      <a:pt x="1278" y="2394"/>
                      <a:pt x="639" y="3032"/>
                      <a:pt x="639" y="3671"/>
                    </a:cubicBezTo>
                    <a:cubicBezTo>
                      <a:pt x="0" y="4309"/>
                      <a:pt x="0" y="4947"/>
                      <a:pt x="0" y="6224"/>
                    </a:cubicBezTo>
                    <a:cubicBezTo>
                      <a:pt x="0" y="8139"/>
                      <a:pt x="639" y="9416"/>
                      <a:pt x="1917" y="1069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60" name="Graphic 4">
                <a:extLst>
                  <a:ext uri="{FF2B5EF4-FFF2-40B4-BE49-F238E27FC236}">
                    <a16:creationId xmlns:a16="http://schemas.microsoft.com/office/drawing/2014/main" id="{C91CDE56-FE72-DA0C-65E6-5F44B006F97F}"/>
                  </a:ext>
                </a:extLst>
              </p:cNvPr>
              <p:cNvSpPr/>
              <p:nvPr/>
            </p:nvSpPr>
            <p:spPr>
              <a:xfrm>
                <a:off x="627490" y="3238489"/>
                <a:ext cx="12779" cy="13007"/>
              </a:xfrm>
              <a:custGeom>
                <a:avLst/>
                <a:gdLst>
                  <a:gd name="connsiteX0" fmla="*/ 1917 w 12779"/>
                  <a:gd name="connsiteY0" fmla="*/ 11092 h 13007"/>
                  <a:gd name="connsiteX1" fmla="*/ 3834 w 12779"/>
                  <a:gd name="connsiteY1" fmla="*/ 12369 h 13007"/>
                  <a:gd name="connsiteX2" fmla="*/ 6390 w 12779"/>
                  <a:gd name="connsiteY2" fmla="*/ 13007 h 13007"/>
                  <a:gd name="connsiteX3" fmla="*/ 8946 w 12779"/>
                  <a:gd name="connsiteY3" fmla="*/ 12369 h 13007"/>
                  <a:gd name="connsiteX4" fmla="*/ 10863 w 12779"/>
                  <a:gd name="connsiteY4" fmla="*/ 11092 h 13007"/>
                  <a:gd name="connsiteX5" fmla="*/ 12780 w 12779"/>
                  <a:gd name="connsiteY5" fmla="*/ 6623 h 13007"/>
                  <a:gd name="connsiteX6" fmla="*/ 12141 w 12779"/>
                  <a:gd name="connsiteY6" fmla="*/ 4070 h 13007"/>
                  <a:gd name="connsiteX7" fmla="*/ 10863 w 12779"/>
                  <a:gd name="connsiteY7" fmla="*/ 2155 h 13007"/>
                  <a:gd name="connsiteX8" fmla="*/ 8946 w 12779"/>
                  <a:gd name="connsiteY8" fmla="*/ 878 h 13007"/>
                  <a:gd name="connsiteX9" fmla="*/ 7668 w 12779"/>
                  <a:gd name="connsiteY9" fmla="*/ 239 h 13007"/>
                  <a:gd name="connsiteX10" fmla="*/ 1917 w 12779"/>
                  <a:gd name="connsiteY10" fmla="*/ 2155 h 13007"/>
                  <a:gd name="connsiteX11" fmla="*/ 639 w 12779"/>
                  <a:gd name="connsiteY11" fmla="*/ 4070 h 13007"/>
                  <a:gd name="connsiteX12" fmla="*/ 0 w 12779"/>
                  <a:gd name="connsiteY12" fmla="*/ 6623 h 13007"/>
                  <a:gd name="connsiteX13" fmla="*/ 1917 w 12779"/>
                  <a:gd name="connsiteY13"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3007">
                    <a:moveTo>
                      <a:pt x="1917" y="11092"/>
                    </a:moveTo>
                    <a:cubicBezTo>
                      <a:pt x="2556" y="11731"/>
                      <a:pt x="3195" y="12369"/>
                      <a:pt x="3834" y="12369"/>
                    </a:cubicBezTo>
                    <a:cubicBezTo>
                      <a:pt x="4473" y="12369"/>
                      <a:pt x="5112" y="13007"/>
                      <a:pt x="6390" y="13007"/>
                    </a:cubicBezTo>
                    <a:cubicBezTo>
                      <a:pt x="7029" y="13007"/>
                      <a:pt x="8307" y="13007"/>
                      <a:pt x="8946" y="12369"/>
                    </a:cubicBezTo>
                    <a:cubicBezTo>
                      <a:pt x="9585" y="11731"/>
                      <a:pt x="10224" y="11731"/>
                      <a:pt x="10863" y="11092"/>
                    </a:cubicBezTo>
                    <a:cubicBezTo>
                      <a:pt x="12141" y="9815"/>
                      <a:pt x="12780" y="8539"/>
                      <a:pt x="12780" y="6623"/>
                    </a:cubicBezTo>
                    <a:cubicBezTo>
                      <a:pt x="12780" y="5985"/>
                      <a:pt x="12780" y="4708"/>
                      <a:pt x="12141" y="4070"/>
                    </a:cubicBezTo>
                    <a:cubicBezTo>
                      <a:pt x="12141" y="3431"/>
                      <a:pt x="11502" y="2793"/>
                      <a:pt x="10863" y="2155"/>
                    </a:cubicBezTo>
                    <a:cubicBezTo>
                      <a:pt x="10224" y="1516"/>
                      <a:pt x="9585" y="878"/>
                      <a:pt x="8946" y="878"/>
                    </a:cubicBezTo>
                    <a:lnTo>
                      <a:pt x="7668" y="239"/>
                    </a:lnTo>
                    <a:cubicBezTo>
                      <a:pt x="5751" y="-399"/>
                      <a:pt x="3195" y="239"/>
                      <a:pt x="1917" y="2155"/>
                    </a:cubicBezTo>
                    <a:cubicBezTo>
                      <a:pt x="1278" y="2793"/>
                      <a:pt x="639" y="3431"/>
                      <a:pt x="639" y="4070"/>
                    </a:cubicBezTo>
                    <a:cubicBezTo>
                      <a:pt x="0" y="4708"/>
                      <a:pt x="0" y="5985"/>
                      <a:pt x="0" y="6623"/>
                    </a:cubicBezTo>
                    <a:cubicBezTo>
                      <a:pt x="0" y="8539"/>
                      <a:pt x="639" y="10454"/>
                      <a:pt x="1917" y="1109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61" name="Graphic 4">
                <a:extLst>
                  <a:ext uri="{FF2B5EF4-FFF2-40B4-BE49-F238E27FC236}">
                    <a16:creationId xmlns:a16="http://schemas.microsoft.com/office/drawing/2014/main" id="{4BC31BB7-D19C-DB6C-4793-AB00537A3B80}"/>
                  </a:ext>
                </a:extLst>
              </p:cNvPr>
              <p:cNvSpPr/>
              <p:nvPr/>
            </p:nvSpPr>
            <p:spPr>
              <a:xfrm>
                <a:off x="627011" y="3209122"/>
                <a:ext cx="13259" cy="13007"/>
              </a:xfrm>
              <a:custGeom>
                <a:avLst/>
                <a:gdLst>
                  <a:gd name="connsiteX0" fmla="*/ 2396 w 13259"/>
                  <a:gd name="connsiteY0" fmla="*/ 11092 h 13007"/>
                  <a:gd name="connsiteX1" fmla="*/ 4313 w 13259"/>
                  <a:gd name="connsiteY1" fmla="*/ 12369 h 13007"/>
                  <a:gd name="connsiteX2" fmla="*/ 6869 w 13259"/>
                  <a:gd name="connsiteY2" fmla="*/ 13007 h 13007"/>
                  <a:gd name="connsiteX3" fmla="*/ 9425 w 13259"/>
                  <a:gd name="connsiteY3" fmla="*/ 12369 h 13007"/>
                  <a:gd name="connsiteX4" fmla="*/ 11342 w 13259"/>
                  <a:gd name="connsiteY4" fmla="*/ 11092 h 13007"/>
                  <a:gd name="connsiteX5" fmla="*/ 13259 w 13259"/>
                  <a:gd name="connsiteY5" fmla="*/ 6623 h 13007"/>
                  <a:gd name="connsiteX6" fmla="*/ 12620 w 13259"/>
                  <a:gd name="connsiteY6" fmla="*/ 4070 h 13007"/>
                  <a:gd name="connsiteX7" fmla="*/ 11342 w 13259"/>
                  <a:gd name="connsiteY7" fmla="*/ 2155 h 13007"/>
                  <a:gd name="connsiteX8" fmla="*/ 10064 w 13259"/>
                  <a:gd name="connsiteY8" fmla="*/ 1516 h 13007"/>
                  <a:gd name="connsiteX9" fmla="*/ 8786 w 13259"/>
                  <a:gd name="connsiteY9" fmla="*/ 878 h 13007"/>
                  <a:gd name="connsiteX10" fmla="*/ 7508 w 13259"/>
                  <a:gd name="connsiteY10" fmla="*/ 239 h 13007"/>
                  <a:gd name="connsiteX11" fmla="*/ 1757 w 13259"/>
                  <a:gd name="connsiteY11" fmla="*/ 2155 h 13007"/>
                  <a:gd name="connsiteX12" fmla="*/ 479 w 13259"/>
                  <a:gd name="connsiteY12" fmla="*/ 4070 h 13007"/>
                  <a:gd name="connsiteX13" fmla="*/ 479 w 13259"/>
                  <a:gd name="connsiteY13" fmla="*/ 9177 h 13007"/>
                  <a:gd name="connsiteX14" fmla="*/ 2396 w 13259"/>
                  <a:gd name="connsiteY14"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9" h="13007">
                    <a:moveTo>
                      <a:pt x="2396" y="11092"/>
                    </a:moveTo>
                    <a:cubicBezTo>
                      <a:pt x="3035" y="11731"/>
                      <a:pt x="3674" y="12369"/>
                      <a:pt x="4313" y="12369"/>
                    </a:cubicBezTo>
                    <a:cubicBezTo>
                      <a:pt x="4952" y="13007"/>
                      <a:pt x="5591" y="13007"/>
                      <a:pt x="6869" y="13007"/>
                    </a:cubicBezTo>
                    <a:cubicBezTo>
                      <a:pt x="7508" y="13007"/>
                      <a:pt x="8786" y="13007"/>
                      <a:pt x="9425" y="12369"/>
                    </a:cubicBezTo>
                    <a:cubicBezTo>
                      <a:pt x="10064" y="11731"/>
                      <a:pt x="10703" y="11731"/>
                      <a:pt x="11342" y="11092"/>
                    </a:cubicBezTo>
                    <a:cubicBezTo>
                      <a:pt x="12620" y="9815"/>
                      <a:pt x="13259" y="8539"/>
                      <a:pt x="13259" y="6623"/>
                    </a:cubicBezTo>
                    <a:cubicBezTo>
                      <a:pt x="13259" y="5985"/>
                      <a:pt x="13259" y="4708"/>
                      <a:pt x="12620" y="4070"/>
                    </a:cubicBezTo>
                    <a:cubicBezTo>
                      <a:pt x="12620" y="3431"/>
                      <a:pt x="11981" y="2793"/>
                      <a:pt x="11342" y="2155"/>
                    </a:cubicBezTo>
                    <a:lnTo>
                      <a:pt x="10064" y="1516"/>
                    </a:lnTo>
                    <a:lnTo>
                      <a:pt x="8786" y="878"/>
                    </a:lnTo>
                    <a:lnTo>
                      <a:pt x="7508" y="239"/>
                    </a:lnTo>
                    <a:cubicBezTo>
                      <a:pt x="5591" y="-399"/>
                      <a:pt x="3035" y="239"/>
                      <a:pt x="1757" y="2155"/>
                    </a:cubicBezTo>
                    <a:cubicBezTo>
                      <a:pt x="1118" y="2793"/>
                      <a:pt x="479" y="3431"/>
                      <a:pt x="479" y="4070"/>
                    </a:cubicBezTo>
                    <a:cubicBezTo>
                      <a:pt x="-160" y="5347"/>
                      <a:pt x="-160" y="7262"/>
                      <a:pt x="479" y="9177"/>
                    </a:cubicBezTo>
                    <a:cubicBezTo>
                      <a:pt x="1118" y="9815"/>
                      <a:pt x="1757" y="10454"/>
                      <a:pt x="2396" y="1109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62" name="Graphic 4">
                <a:extLst>
                  <a:ext uri="{FF2B5EF4-FFF2-40B4-BE49-F238E27FC236}">
                    <a16:creationId xmlns:a16="http://schemas.microsoft.com/office/drawing/2014/main" id="{6F2D2B1F-91DA-78B3-489C-891C4495EC6D}"/>
                  </a:ext>
                </a:extLst>
              </p:cNvPr>
              <p:cNvSpPr/>
              <p:nvPr/>
            </p:nvSpPr>
            <p:spPr>
              <a:xfrm>
                <a:off x="627490" y="3180155"/>
                <a:ext cx="12779" cy="12608"/>
              </a:xfrm>
              <a:custGeom>
                <a:avLst/>
                <a:gdLst>
                  <a:gd name="connsiteX0" fmla="*/ 6390 w 12779"/>
                  <a:gd name="connsiteY0" fmla="*/ 12608 h 12608"/>
                  <a:gd name="connsiteX1" fmla="*/ 12780 w 12779"/>
                  <a:gd name="connsiteY1" fmla="*/ 6224 h 12608"/>
                  <a:gd name="connsiteX2" fmla="*/ 10863 w 12779"/>
                  <a:gd name="connsiteY2" fmla="*/ 1756 h 12608"/>
                  <a:gd name="connsiteX3" fmla="*/ 8946 w 12779"/>
                  <a:gd name="connsiteY3" fmla="*/ 479 h 12608"/>
                  <a:gd name="connsiteX4" fmla="*/ 3834 w 12779"/>
                  <a:gd name="connsiteY4" fmla="*/ 479 h 12608"/>
                  <a:gd name="connsiteX5" fmla="*/ 639 w 12779"/>
                  <a:gd name="connsiteY5" fmla="*/ 3671 h 12608"/>
                  <a:gd name="connsiteX6" fmla="*/ 0 w 12779"/>
                  <a:gd name="connsiteY6" fmla="*/ 6224 h 12608"/>
                  <a:gd name="connsiteX7" fmla="*/ 1917 w 12779"/>
                  <a:gd name="connsiteY7" fmla="*/ 10693 h 12608"/>
                  <a:gd name="connsiteX8" fmla="*/ 6390 w 12779"/>
                  <a:gd name="connsiteY8" fmla="*/ 12608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608">
                    <a:moveTo>
                      <a:pt x="6390" y="12608"/>
                    </a:moveTo>
                    <a:cubicBezTo>
                      <a:pt x="10224" y="12608"/>
                      <a:pt x="12780" y="10055"/>
                      <a:pt x="12780" y="6224"/>
                    </a:cubicBezTo>
                    <a:cubicBezTo>
                      <a:pt x="12780" y="4309"/>
                      <a:pt x="12141" y="3032"/>
                      <a:pt x="10863" y="1756"/>
                    </a:cubicBezTo>
                    <a:cubicBezTo>
                      <a:pt x="10224" y="1117"/>
                      <a:pt x="9585" y="479"/>
                      <a:pt x="8946" y="479"/>
                    </a:cubicBezTo>
                    <a:cubicBezTo>
                      <a:pt x="7668" y="-160"/>
                      <a:pt x="5751" y="-160"/>
                      <a:pt x="3834" y="479"/>
                    </a:cubicBezTo>
                    <a:cubicBezTo>
                      <a:pt x="2556" y="1117"/>
                      <a:pt x="1278" y="2394"/>
                      <a:pt x="639" y="3671"/>
                    </a:cubicBezTo>
                    <a:cubicBezTo>
                      <a:pt x="0" y="4309"/>
                      <a:pt x="0" y="4947"/>
                      <a:pt x="0" y="6224"/>
                    </a:cubicBezTo>
                    <a:cubicBezTo>
                      <a:pt x="0" y="8139"/>
                      <a:pt x="639" y="9416"/>
                      <a:pt x="1917" y="10693"/>
                    </a:cubicBezTo>
                    <a:cubicBezTo>
                      <a:pt x="3195" y="11970"/>
                      <a:pt x="4473" y="12608"/>
                      <a:pt x="6390" y="1260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63" name="Graphic 4">
                <a:extLst>
                  <a:ext uri="{FF2B5EF4-FFF2-40B4-BE49-F238E27FC236}">
                    <a16:creationId xmlns:a16="http://schemas.microsoft.com/office/drawing/2014/main" id="{3D74E7B6-7DC2-D691-F1DE-5D1B3DDC4392}"/>
                  </a:ext>
                </a:extLst>
              </p:cNvPr>
              <p:cNvSpPr/>
              <p:nvPr/>
            </p:nvSpPr>
            <p:spPr>
              <a:xfrm>
                <a:off x="626186" y="3151268"/>
                <a:ext cx="14083" cy="12618"/>
              </a:xfrm>
              <a:custGeom>
                <a:avLst/>
                <a:gdLst>
                  <a:gd name="connsiteX0" fmla="*/ 5138 w 14083"/>
                  <a:gd name="connsiteY0" fmla="*/ 12130 h 12618"/>
                  <a:gd name="connsiteX1" fmla="*/ 13445 w 14083"/>
                  <a:gd name="connsiteY1" fmla="*/ 8938 h 12618"/>
                  <a:gd name="connsiteX2" fmla="*/ 14084 w 14083"/>
                  <a:gd name="connsiteY2" fmla="*/ 6384 h 12618"/>
                  <a:gd name="connsiteX3" fmla="*/ 12167 w 14083"/>
                  <a:gd name="connsiteY3" fmla="*/ 1915 h 12618"/>
                  <a:gd name="connsiteX4" fmla="*/ 10889 w 14083"/>
                  <a:gd name="connsiteY4" fmla="*/ 1277 h 12618"/>
                  <a:gd name="connsiteX5" fmla="*/ 9611 w 14083"/>
                  <a:gd name="connsiteY5" fmla="*/ 638 h 12618"/>
                  <a:gd name="connsiteX6" fmla="*/ 8333 w 14083"/>
                  <a:gd name="connsiteY6" fmla="*/ 0 h 12618"/>
                  <a:gd name="connsiteX7" fmla="*/ 5777 w 14083"/>
                  <a:gd name="connsiteY7" fmla="*/ 0 h 12618"/>
                  <a:gd name="connsiteX8" fmla="*/ 4499 w 14083"/>
                  <a:gd name="connsiteY8" fmla="*/ 638 h 12618"/>
                  <a:gd name="connsiteX9" fmla="*/ 3221 w 14083"/>
                  <a:gd name="connsiteY9" fmla="*/ 1277 h 12618"/>
                  <a:gd name="connsiteX10" fmla="*/ 1943 w 14083"/>
                  <a:gd name="connsiteY10" fmla="*/ 1915 h 12618"/>
                  <a:gd name="connsiteX11" fmla="*/ 665 w 14083"/>
                  <a:gd name="connsiteY11" fmla="*/ 3830 h 12618"/>
                  <a:gd name="connsiteX12" fmla="*/ 1943 w 14083"/>
                  <a:gd name="connsiteY12" fmla="*/ 10853 h 12618"/>
                  <a:gd name="connsiteX13" fmla="*/ 5138 w 14083"/>
                  <a:gd name="connsiteY13" fmla="*/ 12130 h 12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83" h="12618">
                    <a:moveTo>
                      <a:pt x="5138" y="12130"/>
                    </a:moveTo>
                    <a:cubicBezTo>
                      <a:pt x="8333" y="13406"/>
                      <a:pt x="12167" y="12130"/>
                      <a:pt x="13445" y="8938"/>
                    </a:cubicBezTo>
                    <a:cubicBezTo>
                      <a:pt x="14084" y="8299"/>
                      <a:pt x="14084" y="7022"/>
                      <a:pt x="14084" y="6384"/>
                    </a:cubicBezTo>
                    <a:cubicBezTo>
                      <a:pt x="14084" y="4469"/>
                      <a:pt x="13445" y="3192"/>
                      <a:pt x="12167" y="1915"/>
                    </a:cubicBezTo>
                    <a:lnTo>
                      <a:pt x="10889" y="1277"/>
                    </a:lnTo>
                    <a:lnTo>
                      <a:pt x="9611" y="638"/>
                    </a:lnTo>
                    <a:lnTo>
                      <a:pt x="8333" y="0"/>
                    </a:lnTo>
                    <a:cubicBezTo>
                      <a:pt x="7694" y="0"/>
                      <a:pt x="6416" y="0"/>
                      <a:pt x="5777" y="0"/>
                    </a:cubicBezTo>
                    <a:cubicBezTo>
                      <a:pt x="5138" y="0"/>
                      <a:pt x="5138" y="0"/>
                      <a:pt x="4499" y="638"/>
                    </a:cubicBezTo>
                    <a:cubicBezTo>
                      <a:pt x="3860" y="638"/>
                      <a:pt x="3860" y="1277"/>
                      <a:pt x="3221" y="1277"/>
                    </a:cubicBezTo>
                    <a:cubicBezTo>
                      <a:pt x="2582" y="1277"/>
                      <a:pt x="2582" y="1915"/>
                      <a:pt x="1943" y="1915"/>
                    </a:cubicBezTo>
                    <a:cubicBezTo>
                      <a:pt x="1304" y="2554"/>
                      <a:pt x="665" y="3192"/>
                      <a:pt x="665" y="3830"/>
                    </a:cubicBezTo>
                    <a:cubicBezTo>
                      <a:pt x="-613" y="6384"/>
                      <a:pt x="26" y="8938"/>
                      <a:pt x="1943" y="10853"/>
                    </a:cubicBezTo>
                    <a:cubicBezTo>
                      <a:pt x="3860" y="10853"/>
                      <a:pt x="4499" y="11491"/>
                      <a:pt x="5138"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48" name="Graphic 4">
                <a:extLst>
                  <a:ext uri="{FF2B5EF4-FFF2-40B4-BE49-F238E27FC236}">
                    <a16:creationId xmlns:a16="http://schemas.microsoft.com/office/drawing/2014/main" id="{2113787D-B5BF-6BCB-E11B-CD42182DE1FA}"/>
                  </a:ext>
                </a:extLst>
              </p:cNvPr>
              <p:cNvSpPr/>
              <p:nvPr/>
            </p:nvSpPr>
            <p:spPr>
              <a:xfrm>
                <a:off x="656884" y="3238489"/>
                <a:ext cx="12779" cy="13007"/>
              </a:xfrm>
              <a:custGeom>
                <a:avLst/>
                <a:gdLst>
                  <a:gd name="connsiteX0" fmla="*/ 1917 w 12779"/>
                  <a:gd name="connsiteY0" fmla="*/ 11092 h 13007"/>
                  <a:gd name="connsiteX1" fmla="*/ 3834 w 12779"/>
                  <a:gd name="connsiteY1" fmla="*/ 12369 h 13007"/>
                  <a:gd name="connsiteX2" fmla="*/ 6390 w 12779"/>
                  <a:gd name="connsiteY2" fmla="*/ 13007 h 13007"/>
                  <a:gd name="connsiteX3" fmla="*/ 8946 w 12779"/>
                  <a:gd name="connsiteY3" fmla="*/ 12369 h 13007"/>
                  <a:gd name="connsiteX4" fmla="*/ 10863 w 12779"/>
                  <a:gd name="connsiteY4" fmla="*/ 11092 h 13007"/>
                  <a:gd name="connsiteX5" fmla="*/ 12780 w 12779"/>
                  <a:gd name="connsiteY5" fmla="*/ 6623 h 13007"/>
                  <a:gd name="connsiteX6" fmla="*/ 12141 w 12779"/>
                  <a:gd name="connsiteY6" fmla="*/ 4070 h 13007"/>
                  <a:gd name="connsiteX7" fmla="*/ 10863 w 12779"/>
                  <a:gd name="connsiteY7" fmla="*/ 2155 h 13007"/>
                  <a:gd name="connsiteX8" fmla="*/ 8946 w 12779"/>
                  <a:gd name="connsiteY8" fmla="*/ 878 h 13007"/>
                  <a:gd name="connsiteX9" fmla="*/ 7668 w 12779"/>
                  <a:gd name="connsiteY9" fmla="*/ 239 h 13007"/>
                  <a:gd name="connsiteX10" fmla="*/ 1917 w 12779"/>
                  <a:gd name="connsiteY10" fmla="*/ 2155 h 13007"/>
                  <a:gd name="connsiteX11" fmla="*/ 639 w 12779"/>
                  <a:gd name="connsiteY11" fmla="*/ 4070 h 13007"/>
                  <a:gd name="connsiteX12" fmla="*/ 0 w 12779"/>
                  <a:gd name="connsiteY12" fmla="*/ 6623 h 13007"/>
                  <a:gd name="connsiteX13" fmla="*/ 639 w 12779"/>
                  <a:gd name="connsiteY13" fmla="*/ 9177 h 13007"/>
                  <a:gd name="connsiteX14" fmla="*/ 1917 w 12779"/>
                  <a:gd name="connsiteY14"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79" h="13007">
                    <a:moveTo>
                      <a:pt x="1917" y="11092"/>
                    </a:moveTo>
                    <a:cubicBezTo>
                      <a:pt x="2556" y="11731"/>
                      <a:pt x="3195" y="12369"/>
                      <a:pt x="3834" y="12369"/>
                    </a:cubicBezTo>
                    <a:cubicBezTo>
                      <a:pt x="4473" y="12369"/>
                      <a:pt x="5751" y="13007"/>
                      <a:pt x="6390" y="13007"/>
                    </a:cubicBezTo>
                    <a:cubicBezTo>
                      <a:pt x="7029" y="13007"/>
                      <a:pt x="8307" y="13007"/>
                      <a:pt x="8946" y="12369"/>
                    </a:cubicBezTo>
                    <a:cubicBezTo>
                      <a:pt x="9585" y="12369"/>
                      <a:pt x="10224" y="11731"/>
                      <a:pt x="10863" y="11092"/>
                    </a:cubicBezTo>
                    <a:cubicBezTo>
                      <a:pt x="12141" y="9815"/>
                      <a:pt x="12780" y="8539"/>
                      <a:pt x="12780" y="6623"/>
                    </a:cubicBezTo>
                    <a:cubicBezTo>
                      <a:pt x="12780" y="5985"/>
                      <a:pt x="12780" y="4708"/>
                      <a:pt x="12141" y="4070"/>
                    </a:cubicBezTo>
                    <a:cubicBezTo>
                      <a:pt x="12141" y="3431"/>
                      <a:pt x="11502" y="2793"/>
                      <a:pt x="10863" y="2155"/>
                    </a:cubicBezTo>
                    <a:cubicBezTo>
                      <a:pt x="10224" y="1516"/>
                      <a:pt x="9585" y="878"/>
                      <a:pt x="8946" y="878"/>
                    </a:cubicBezTo>
                    <a:lnTo>
                      <a:pt x="7668" y="239"/>
                    </a:lnTo>
                    <a:cubicBezTo>
                      <a:pt x="5751" y="-399"/>
                      <a:pt x="3195" y="239"/>
                      <a:pt x="1917" y="2155"/>
                    </a:cubicBezTo>
                    <a:cubicBezTo>
                      <a:pt x="1278" y="2793"/>
                      <a:pt x="639" y="3431"/>
                      <a:pt x="639" y="4070"/>
                    </a:cubicBezTo>
                    <a:cubicBezTo>
                      <a:pt x="639" y="4708"/>
                      <a:pt x="0" y="5985"/>
                      <a:pt x="0" y="6623"/>
                    </a:cubicBezTo>
                    <a:cubicBezTo>
                      <a:pt x="0" y="7262"/>
                      <a:pt x="0" y="8539"/>
                      <a:pt x="639" y="9177"/>
                    </a:cubicBezTo>
                    <a:cubicBezTo>
                      <a:pt x="639" y="9815"/>
                      <a:pt x="1278" y="10454"/>
                      <a:pt x="1917" y="1109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49" name="Graphic 4">
                <a:extLst>
                  <a:ext uri="{FF2B5EF4-FFF2-40B4-BE49-F238E27FC236}">
                    <a16:creationId xmlns:a16="http://schemas.microsoft.com/office/drawing/2014/main" id="{3DA93933-8709-6E58-759E-EC9D88887C08}"/>
                  </a:ext>
                </a:extLst>
              </p:cNvPr>
              <p:cNvSpPr/>
              <p:nvPr/>
            </p:nvSpPr>
            <p:spPr>
              <a:xfrm>
                <a:off x="656245" y="3268094"/>
                <a:ext cx="13418" cy="12767"/>
              </a:xfrm>
              <a:custGeom>
                <a:avLst/>
                <a:gdLst>
                  <a:gd name="connsiteX0" fmla="*/ 7029 w 13418"/>
                  <a:gd name="connsiteY0" fmla="*/ 12768 h 12767"/>
                  <a:gd name="connsiteX1" fmla="*/ 11502 w 13418"/>
                  <a:gd name="connsiteY1" fmla="*/ 10853 h 12767"/>
                  <a:gd name="connsiteX2" fmla="*/ 11502 w 13418"/>
                  <a:gd name="connsiteY2" fmla="*/ 1915 h 12767"/>
                  <a:gd name="connsiteX3" fmla="*/ 11502 w 13418"/>
                  <a:gd name="connsiteY3" fmla="*/ 1915 h 12767"/>
                  <a:gd name="connsiteX4" fmla="*/ 10224 w 13418"/>
                  <a:gd name="connsiteY4" fmla="*/ 1277 h 12767"/>
                  <a:gd name="connsiteX5" fmla="*/ 8946 w 13418"/>
                  <a:gd name="connsiteY5" fmla="*/ 638 h 12767"/>
                  <a:gd name="connsiteX6" fmla="*/ 7668 w 13418"/>
                  <a:gd name="connsiteY6" fmla="*/ 0 h 12767"/>
                  <a:gd name="connsiteX7" fmla="*/ 3834 w 13418"/>
                  <a:gd name="connsiteY7" fmla="*/ 638 h 12767"/>
                  <a:gd name="connsiteX8" fmla="*/ 1917 w 13418"/>
                  <a:gd name="connsiteY8" fmla="*/ 1915 h 12767"/>
                  <a:gd name="connsiteX9" fmla="*/ 1917 w 13418"/>
                  <a:gd name="connsiteY9" fmla="*/ 10853 h 12767"/>
                  <a:gd name="connsiteX10" fmla="*/ 1917 w 13418"/>
                  <a:gd name="connsiteY10" fmla="*/ 10853 h 12767"/>
                  <a:gd name="connsiteX11" fmla="*/ 7029 w 13418"/>
                  <a:gd name="connsiteY11"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18" h="12767">
                    <a:moveTo>
                      <a:pt x="7029" y="12768"/>
                    </a:moveTo>
                    <a:cubicBezTo>
                      <a:pt x="8946" y="12768"/>
                      <a:pt x="10224" y="12130"/>
                      <a:pt x="11502" y="10853"/>
                    </a:cubicBezTo>
                    <a:cubicBezTo>
                      <a:pt x="14058" y="8299"/>
                      <a:pt x="14058" y="4469"/>
                      <a:pt x="11502" y="1915"/>
                    </a:cubicBezTo>
                    <a:cubicBezTo>
                      <a:pt x="11502" y="1915"/>
                      <a:pt x="11502" y="1915"/>
                      <a:pt x="11502" y="1915"/>
                    </a:cubicBezTo>
                    <a:lnTo>
                      <a:pt x="10224" y="1277"/>
                    </a:lnTo>
                    <a:cubicBezTo>
                      <a:pt x="9585" y="1277"/>
                      <a:pt x="9585" y="638"/>
                      <a:pt x="8946" y="638"/>
                    </a:cubicBezTo>
                    <a:cubicBezTo>
                      <a:pt x="8307" y="638"/>
                      <a:pt x="8307" y="0"/>
                      <a:pt x="7668" y="0"/>
                    </a:cubicBezTo>
                    <a:cubicBezTo>
                      <a:pt x="6390" y="0"/>
                      <a:pt x="5112" y="0"/>
                      <a:pt x="3834" y="638"/>
                    </a:cubicBezTo>
                    <a:cubicBezTo>
                      <a:pt x="3195" y="638"/>
                      <a:pt x="2556" y="1277"/>
                      <a:pt x="1917" y="1915"/>
                    </a:cubicBezTo>
                    <a:cubicBezTo>
                      <a:pt x="-639" y="4469"/>
                      <a:pt x="-639" y="8299"/>
                      <a:pt x="1917" y="10853"/>
                    </a:cubicBezTo>
                    <a:cubicBezTo>
                      <a:pt x="1917" y="10853"/>
                      <a:pt x="1917" y="10853"/>
                      <a:pt x="1917" y="10853"/>
                    </a:cubicBezTo>
                    <a:cubicBezTo>
                      <a:pt x="3834" y="12130"/>
                      <a:pt x="5112" y="12768"/>
                      <a:pt x="7029"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50" name="Graphic 4">
                <a:extLst>
                  <a:ext uri="{FF2B5EF4-FFF2-40B4-BE49-F238E27FC236}">
                    <a16:creationId xmlns:a16="http://schemas.microsoft.com/office/drawing/2014/main" id="{EF15C310-C70F-B5FC-83B0-E3711D577A40}"/>
                  </a:ext>
                </a:extLst>
              </p:cNvPr>
              <p:cNvSpPr/>
              <p:nvPr/>
            </p:nvSpPr>
            <p:spPr>
              <a:xfrm>
                <a:off x="656858" y="3209362"/>
                <a:ext cx="12805" cy="12767"/>
              </a:xfrm>
              <a:custGeom>
                <a:avLst/>
                <a:gdLst>
                  <a:gd name="connsiteX0" fmla="*/ 6416 w 12805"/>
                  <a:gd name="connsiteY0" fmla="*/ 12768 h 12767"/>
                  <a:gd name="connsiteX1" fmla="*/ 12806 w 12805"/>
                  <a:gd name="connsiteY1" fmla="*/ 6384 h 12767"/>
                  <a:gd name="connsiteX2" fmla="*/ 12167 w 12805"/>
                  <a:gd name="connsiteY2" fmla="*/ 3830 h 12767"/>
                  <a:gd name="connsiteX3" fmla="*/ 10889 w 12805"/>
                  <a:gd name="connsiteY3" fmla="*/ 1915 h 12767"/>
                  <a:gd name="connsiteX4" fmla="*/ 5138 w 12805"/>
                  <a:gd name="connsiteY4" fmla="*/ 0 h 12767"/>
                  <a:gd name="connsiteX5" fmla="*/ 3860 w 12805"/>
                  <a:gd name="connsiteY5" fmla="*/ 638 h 12767"/>
                  <a:gd name="connsiteX6" fmla="*/ 1943 w 12805"/>
                  <a:gd name="connsiteY6" fmla="*/ 1915 h 12767"/>
                  <a:gd name="connsiteX7" fmla="*/ 665 w 12805"/>
                  <a:gd name="connsiteY7" fmla="*/ 3830 h 12767"/>
                  <a:gd name="connsiteX8" fmla="*/ 1943 w 12805"/>
                  <a:gd name="connsiteY8" fmla="*/ 10853 h 12767"/>
                  <a:gd name="connsiteX9" fmla="*/ 6416 w 12805"/>
                  <a:gd name="connsiteY9"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05" h="12767">
                    <a:moveTo>
                      <a:pt x="6416" y="12768"/>
                    </a:moveTo>
                    <a:cubicBezTo>
                      <a:pt x="10250" y="12768"/>
                      <a:pt x="12806" y="9576"/>
                      <a:pt x="12806" y="6384"/>
                    </a:cubicBezTo>
                    <a:cubicBezTo>
                      <a:pt x="12806" y="5746"/>
                      <a:pt x="12806" y="4469"/>
                      <a:pt x="12167" y="3830"/>
                    </a:cubicBezTo>
                    <a:cubicBezTo>
                      <a:pt x="12167" y="3192"/>
                      <a:pt x="11528" y="2554"/>
                      <a:pt x="10889" y="1915"/>
                    </a:cubicBezTo>
                    <a:cubicBezTo>
                      <a:pt x="9611" y="638"/>
                      <a:pt x="7055" y="0"/>
                      <a:pt x="5138" y="0"/>
                    </a:cubicBezTo>
                    <a:lnTo>
                      <a:pt x="3860" y="638"/>
                    </a:lnTo>
                    <a:cubicBezTo>
                      <a:pt x="3221" y="638"/>
                      <a:pt x="2582" y="1277"/>
                      <a:pt x="1943" y="1915"/>
                    </a:cubicBezTo>
                    <a:cubicBezTo>
                      <a:pt x="1304" y="2554"/>
                      <a:pt x="665" y="3192"/>
                      <a:pt x="665" y="3830"/>
                    </a:cubicBezTo>
                    <a:cubicBezTo>
                      <a:pt x="-613" y="6384"/>
                      <a:pt x="26" y="8938"/>
                      <a:pt x="1943" y="10853"/>
                    </a:cubicBezTo>
                    <a:cubicBezTo>
                      <a:pt x="3221" y="12130"/>
                      <a:pt x="4499" y="12768"/>
                      <a:pt x="6416"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51" name="Graphic 4">
                <a:extLst>
                  <a:ext uri="{FF2B5EF4-FFF2-40B4-BE49-F238E27FC236}">
                    <a16:creationId xmlns:a16="http://schemas.microsoft.com/office/drawing/2014/main" id="{E42E654A-2E21-68EF-D999-1A89EC26C7DE}"/>
                  </a:ext>
                </a:extLst>
              </p:cNvPr>
              <p:cNvSpPr/>
              <p:nvPr/>
            </p:nvSpPr>
            <p:spPr>
              <a:xfrm>
                <a:off x="655606" y="3179996"/>
                <a:ext cx="14057" cy="12767"/>
              </a:xfrm>
              <a:custGeom>
                <a:avLst/>
                <a:gdLst>
                  <a:gd name="connsiteX0" fmla="*/ 7668 w 14057"/>
                  <a:gd name="connsiteY0" fmla="*/ 12768 h 12767"/>
                  <a:gd name="connsiteX1" fmla="*/ 10224 w 14057"/>
                  <a:gd name="connsiteY1" fmla="*/ 12130 h 12767"/>
                  <a:gd name="connsiteX2" fmla="*/ 12141 w 14057"/>
                  <a:gd name="connsiteY2" fmla="*/ 10853 h 12767"/>
                  <a:gd name="connsiteX3" fmla="*/ 14058 w 14057"/>
                  <a:gd name="connsiteY3" fmla="*/ 6384 h 12767"/>
                  <a:gd name="connsiteX4" fmla="*/ 13419 w 14057"/>
                  <a:gd name="connsiteY4" fmla="*/ 3830 h 12767"/>
                  <a:gd name="connsiteX5" fmla="*/ 12141 w 14057"/>
                  <a:gd name="connsiteY5" fmla="*/ 1915 h 12767"/>
                  <a:gd name="connsiteX6" fmla="*/ 10863 w 14057"/>
                  <a:gd name="connsiteY6" fmla="*/ 1277 h 12767"/>
                  <a:gd name="connsiteX7" fmla="*/ 9585 w 14057"/>
                  <a:gd name="connsiteY7" fmla="*/ 638 h 12767"/>
                  <a:gd name="connsiteX8" fmla="*/ 8307 w 14057"/>
                  <a:gd name="connsiteY8" fmla="*/ 0 h 12767"/>
                  <a:gd name="connsiteX9" fmla="*/ 5751 w 14057"/>
                  <a:gd name="connsiteY9" fmla="*/ 0 h 12767"/>
                  <a:gd name="connsiteX10" fmla="*/ 4473 w 14057"/>
                  <a:gd name="connsiteY10" fmla="*/ 638 h 12767"/>
                  <a:gd name="connsiteX11" fmla="*/ 3195 w 14057"/>
                  <a:gd name="connsiteY11" fmla="*/ 1277 h 12767"/>
                  <a:gd name="connsiteX12" fmla="*/ 1917 w 14057"/>
                  <a:gd name="connsiteY12" fmla="*/ 1915 h 12767"/>
                  <a:gd name="connsiteX13" fmla="*/ 639 w 14057"/>
                  <a:gd name="connsiteY13" fmla="*/ 3830 h 12767"/>
                  <a:gd name="connsiteX14" fmla="*/ 0 w 14057"/>
                  <a:gd name="connsiteY14" fmla="*/ 6384 h 12767"/>
                  <a:gd name="connsiteX15" fmla="*/ 1917 w 14057"/>
                  <a:gd name="connsiteY15" fmla="*/ 10853 h 12767"/>
                  <a:gd name="connsiteX16" fmla="*/ 7668 w 14057"/>
                  <a:gd name="connsiteY1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57" h="12767">
                    <a:moveTo>
                      <a:pt x="7668" y="12768"/>
                    </a:moveTo>
                    <a:cubicBezTo>
                      <a:pt x="8307" y="12768"/>
                      <a:pt x="9585" y="12768"/>
                      <a:pt x="10224" y="12130"/>
                    </a:cubicBezTo>
                    <a:cubicBezTo>
                      <a:pt x="10863" y="12130"/>
                      <a:pt x="11502" y="11491"/>
                      <a:pt x="12141" y="10853"/>
                    </a:cubicBezTo>
                    <a:cubicBezTo>
                      <a:pt x="13419" y="9576"/>
                      <a:pt x="14058" y="8299"/>
                      <a:pt x="14058" y="6384"/>
                    </a:cubicBezTo>
                    <a:cubicBezTo>
                      <a:pt x="14058" y="5746"/>
                      <a:pt x="14058" y="4469"/>
                      <a:pt x="13419" y="3830"/>
                    </a:cubicBezTo>
                    <a:cubicBezTo>
                      <a:pt x="13419" y="3192"/>
                      <a:pt x="12780" y="2554"/>
                      <a:pt x="12141" y="1915"/>
                    </a:cubicBezTo>
                    <a:cubicBezTo>
                      <a:pt x="12141" y="1277"/>
                      <a:pt x="11502" y="1277"/>
                      <a:pt x="10863" y="1277"/>
                    </a:cubicBezTo>
                    <a:lnTo>
                      <a:pt x="9585" y="638"/>
                    </a:lnTo>
                    <a:lnTo>
                      <a:pt x="8307" y="0"/>
                    </a:lnTo>
                    <a:cubicBezTo>
                      <a:pt x="7668" y="0"/>
                      <a:pt x="6390" y="0"/>
                      <a:pt x="5751" y="0"/>
                    </a:cubicBezTo>
                    <a:lnTo>
                      <a:pt x="4473" y="638"/>
                    </a:lnTo>
                    <a:lnTo>
                      <a:pt x="3195" y="1277"/>
                    </a:lnTo>
                    <a:lnTo>
                      <a:pt x="1917" y="1915"/>
                    </a:lnTo>
                    <a:cubicBezTo>
                      <a:pt x="1278" y="2554"/>
                      <a:pt x="639" y="3192"/>
                      <a:pt x="639" y="3830"/>
                    </a:cubicBezTo>
                    <a:cubicBezTo>
                      <a:pt x="639" y="4469"/>
                      <a:pt x="0" y="5107"/>
                      <a:pt x="0" y="6384"/>
                    </a:cubicBezTo>
                    <a:cubicBezTo>
                      <a:pt x="0" y="8299"/>
                      <a:pt x="639" y="9576"/>
                      <a:pt x="1917" y="10853"/>
                    </a:cubicBezTo>
                    <a:cubicBezTo>
                      <a:pt x="4473" y="12130"/>
                      <a:pt x="5751" y="12768"/>
                      <a:pt x="7668"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52" name="Graphic 4">
                <a:extLst>
                  <a:ext uri="{FF2B5EF4-FFF2-40B4-BE49-F238E27FC236}">
                    <a16:creationId xmlns:a16="http://schemas.microsoft.com/office/drawing/2014/main" id="{1370D523-1021-6EC4-26BB-504B906FBE24}"/>
                  </a:ext>
                </a:extLst>
              </p:cNvPr>
              <p:cNvSpPr/>
              <p:nvPr/>
            </p:nvSpPr>
            <p:spPr>
              <a:xfrm>
                <a:off x="657033" y="3150629"/>
                <a:ext cx="12630" cy="12767"/>
              </a:xfrm>
              <a:custGeom>
                <a:avLst/>
                <a:gdLst>
                  <a:gd name="connsiteX0" fmla="*/ 6241 w 12630"/>
                  <a:gd name="connsiteY0" fmla="*/ 12768 h 12767"/>
                  <a:gd name="connsiteX1" fmla="*/ 10714 w 12630"/>
                  <a:gd name="connsiteY1" fmla="*/ 10853 h 12767"/>
                  <a:gd name="connsiteX2" fmla="*/ 12631 w 12630"/>
                  <a:gd name="connsiteY2" fmla="*/ 6384 h 12767"/>
                  <a:gd name="connsiteX3" fmla="*/ 10714 w 12630"/>
                  <a:gd name="connsiteY3" fmla="*/ 1915 h 12767"/>
                  <a:gd name="connsiteX4" fmla="*/ 1768 w 12630"/>
                  <a:gd name="connsiteY4" fmla="*/ 1915 h 12767"/>
                  <a:gd name="connsiteX5" fmla="*/ 490 w 12630"/>
                  <a:gd name="connsiteY5" fmla="*/ 3830 h 12767"/>
                  <a:gd name="connsiteX6" fmla="*/ 3685 w 12630"/>
                  <a:gd name="connsiteY6" fmla="*/ 12130 h 12767"/>
                  <a:gd name="connsiteX7" fmla="*/ 6241 w 12630"/>
                  <a:gd name="connsiteY7"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0" h="12767">
                    <a:moveTo>
                      <a:pt x="6241" y="12768"/>
                    </a:moveTo>
                    <a:cubicBezTo>
                      <a:pt x="8158" y="12768"/>
                      <a:pt x="9436" y="12130"/>
                      <a:pt x="10714" y="10853"/>
                    </a:cubicBezTo>
                    <a:cubicBezTo>
                      <a:pt x="11992" y="9576"/>
                      <a:pt x="12631" y="8299"/>
                      <a:pt x="12631" y="6384"/>
                    </a:cubicBezTo>
                    <a:cubicBezTo>
                      <a:pt x="12631" y="4469"/>
                      <a:pt x="11992" y="3192"/>
                      <a:pt x="10714" y="1915"/>
                    </a:cubicBezTo>
                    <a:cubicBezTo>
                      <a:pt x="8158" y="-638"/>
                      <a:pt x="4324" y="-638"/>
                      <a:pt x="1768" y="1915"/>
                    </a:cubicBezTo>
                    <a:cubicBezTo>
                      <a:pt x="1129" y="2554"/>
                      <a:pt x="490" y="3192"/>
                      <a:pt x="490" y="3830"/>
                    </a:cubicBezTo>
                    <a:cubicBezTo>
                      <a:pt x="-788" y="7022"/>
                      <a:pt x="490" y="10853"/>
                      <a:pt x="3685" y="12130"/>
                    </a:cubicBezTo>
                    <a:cubicBezTo>
                      <a:pt x="4324" y="12768"/>
                      <a:pt x="5602" y="12768"/>
                      <a:pt x="6241"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grpSp>
      </p:grpSp>
      <p:grpSp>
        <p:nvGrpSpPr>
          <p:cNvPr id="2053" name="Group 2052">
            <a:extLst>
              <a:ext uri="{FF2B5EF4-FFF2-40B4-BE49-F238E27FC236}">
                <a16:creationId xmlns:a16="http://schemas.microsoft.com/office/drawing/2014/main" id="{135334BD-F7BE-05D1-B7FA-D140098D74CD}"/>
              </a:ext>
            </a:extLst>
          </p:cNvPr>
          <p:cNvGrpSpPr/>
          <p:nvPr/>
        </p:nvGrpSpPr>
        <p:grpSpPr>
          <a:xfrm>
            <a:off x="7211590" y="6281968"/>
            <a:ext cx="394802" cy="394798"/>
            <a:chOff x="4660820" y="4793256"/>
            <a:chExt cx="362312" cy="361971"/>
          </a:xfrm>
          <a:solidFill>
            <a:srgbClr val="00ABAB"/>
          </a:solidFill>
        </p:grpSpPr>
        <p:sp>
          <p:nvSpPr>
            <p:cNvPr id="2054" name="Graphic 4">
              <a:extLst>
                <a:ext uri="{FF2B5EF4-FFF2-40B4-BE49-F238E27FC236}">
                  <a16:creationId xmlns:a16="http://schemas.microsoft.com/office/drawing/2014/main" id="{2106CEFE-9074-6B3F-4E5F-B23D8F937D5A}"/>
                </a:ext>
              </a:extLst>
            </p:cNvPr>
            <p:cNvSpPr/>
            <p:nvPr/>
          </p:nvSpPr>
          <p:spPr>
            <a:xfrm>
              <a:off x="4660820" y="479325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8565 h 361971"/>
                <a:gd name="connsiteX8" fmla="*/ 12780 w 362312"/>
                <a:gd name="connsiteY8" fmla="*/ 180667 h 361971"/>
                <a:gd name="connsiteX9" fmla="*/ 180835 w 362312"/>
                <a:gd name="connsiteY9" fmla="*/ 12129 h 361971"/>
                <a:gd name="connsiteX10" fmla="*/ 349529 w 362312"/>
                <a:gd name="connsiteY10" fmla="*/ 180028 h 361971"/>
                <a:gd name="connsiteX11" fmla="*/ 349529 w 362312"/>
                <a:gd name="connsiteY11" fmla="*/ 180028 h 361971"/>
                <a:gd name="connsiteX12" fmla="*/ 181474 w 362312"/>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0438"/>
                    <a:pt x="281796" y="0"/>
                    <a:pt x="181474" y="0"/>
                  </a:cubicBezTo>
                  <a:lnTo>
                    <a:pt x="181474" y="0"/>
                  </a:lnTo>
                  <a:close/>
                  <a:moveTo>
                    <a:pt x="181474" y="348565"/>
                  </a:moveTo>
                  <a:cubicBezTo>
                    <a:pt x="88181" y="348565"/>
                    <a:pt x="12780" y="273234"/>
                    <a:pt x="12780" y="180667"/>
                  </a:cubicBezTo>
                  <a:cubicBezTo>
                    <a:pt x="12780" y="87461"/>
                    <a:pt x="88181" y="12129"/>
                    <a:pt x="180835" y="12129"/>
                  </a:cubicBezTo>
                  <a:cubicBezTo>
                    <a:pt x="274128" y="12129"/>
                    <a:pt x="349529" y="87461"/>
                    <a:pt x="349529" y="180028"/>
                  </a:cubicBezTo>
                  <a:cubicBezTo>
                    <a:pt x="349529" y="180028"/>
                    <a:pt x="349529" y="180028"/>
                    <a:pt x="349529" y="180028"/>
                  </a:cubicBezTo>
                  <a:cubicBezTo>
                    <a:pt x="349529" y="273234"/>
                    <a:pt x="274767" y="348565"/>
                    <a:pt x="181474"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55" name="Graphic 4">
              <a:extLst>
                <a:ext uri="{FF2B5EF4-FFF2-40B4-BE49-F238E27FC236}">
                  <a16:creationId xmlns:a16="http://schemas.microsoft.com/office/drawing/2014/main" id="{8C4C374F-6FBB-7A15-01D7-87DD243D2ABD}"/>
                </a:ext>
              </a:extLst>
            </p:cNvPr>
            <p:cNvSpPr/>
            <p:nvPr/>
          </p:nvSpPr>
          <p:spPr>
            <a:xfrm>
              <a:off x="4895969" y="4920850"/>
              <a:ext cx="89973" cy="106781"/>
            </a:xfrm>
            <a:custGeom>
              <a:avLst/>
              <a:gdLst>
                <a:gd name="connsiteX0" fmla="*/ 86288 w 89973"/>
                <a:gd name="connsiteY0" fmla="*/ 95489 h 106781"/>
                <a:gd name="connsiteX1" fmla="*/ 69036 w 89973"/>
                <a:gd name="connsiteY1" fmla="*/ 90382 h 106781"/>
                <a:gd name="connsiteX2" fmla="*/ 59451 w 89973"/>
                <a:gd name="connsiteY2" fmla="*/ 88467 h 106781"/>
                <a:gd name="connsiteX3" fmla="*/ 54978 w 89973"/>
                <a:gd name="connsiteY3" fmla="*/ 76337 h 106781"/>
                <a:gd name="connsiteX4" fmla="*/ 66479 w 89973"/>
                <a:gd name="connsiteY4" fmla="*/ 49525 h 106781"/>
                <a:gd name="connsiteX5" fmla="*/ 61368 w 89973"/>
                <a:gd name="connsiteY5" fmla="*/ 11859 h 106781"/>
                <a:gd name="connsiteX6" fmla="*/ 9609 w 89973"/>
                <a:gd name="connsiteY6" fmla="*/ 9306 h 106781"/>
                <a:gd name="connsiteX7" fmla="*/ 7053 w 89973"/>
                <a:gd name="connsiteY7" fmla="*/ 11859 h 106781"/>
                <a:gd name="connsiteX8" fmla="*/ 1941 w 89973"/>
                <a:gd name="connsiteY8" fmla="*/ 49525 h 106781"/>
                <a:gd name="connsiteX9" fmla="*/ 13443 w 89973"/>
                <a:gd name="connsiteY9" fmla="*/ 75699 h 106781"/>
                <a:gd name="connsiteX10" fmla="*/ 9609 w 89973"/>
                <a:gd name="connsiteY10" fmla="*/ 87829 h 106781"/>
                <a:gd name="connsiteX11" fmla="*/ 8331 w 89973"/>
                <a:gd name="connsiteY11" fmla="*/ 96766 h 106781"/>
                <a:gd name="connsiteX12" fmla="*/ 17277 w 89973"/>
                <a:gd name="connsiteY12" fmla="*/ 98043 h 106781"/>
                <a:gd name="connsiteX13" fmla="*/ 24306 w 89973"/>
                <a:gd name="connsiteY13" fmla="*/ 68038 h 106781"/>
                <a:gd name="connsiteX14" fmla="*/ 14721 w 89973"/>
                <a:gd name="connsiteY14" fmla="*/ 45694 h 106781"/>
                <a:gd name="connsiteX15" fmla="*/ 17277 w 89973"/>
                <a:gd name="connsiteY15" fmla="*/ 18882 h 106781"/>
                <a:gd name="connsiteX16" fmla="*/ 34530 w 89973"/>
                <a:gd name="connsiteY16" fmla="*/ 11221 h 106781"/>
                <a:gd name="connsiteX17" fmla="*/ 34530 w 89973"/>
                <a:gd name="connsiteY17" fmla="*/ 11221 h 106781"/>
                <a:gd name="connsiteX18" fmla="*/ 51783 w 89973"/>
                <a:gd name="connsiteY18" fmla="*/ 18882 h 106781"/>
                <a:gd name="connsiteX19" fmla="*/ 54339 w 89973"/>
                <a:gd name="connsiteY19" fmla="*/ 45694 h 106781"/>
                <a:gd name="connsiteX20" fmla="*/ 44754 w 89973"/>
                <a:gd name="connsiteY20" fmla="*/ 68038 h 106781"/>
                <a:gd name="connsiteX21" fmla="*/ 52422 w 89973"/>
                <a:gd name="connsiteY21" fmla="*/ 98043 h 106781"/>
                <a:gd name="connsiteX22" fmla="*/ 67758 w 89973"/>
                <a:gd name="connsiteY22" fmla="*/ 102512 h 106781"/>
                <a:gd name="connsiteX23" fmla="*/ 80537 w 89973"/>
                <a:gd name="connsiteY23" fmla="*/ 105704 h 106781"/>
                <a:gd name="connsiteX24" fmla="*/ 89483 w 89973"/>
                <a:gd name="connsiteY24" fmla="*/ 103789 h 106781"/>
                <a:gd name="connsiteX25" fmla="*/ 86288 w 89973"/>
                <a:gd name="connsiteY25" fmla="*/ 95489 h 106781"/>
                <a:gd name="connsiteX26" fmla="*/ 86288 w 89973"/>
                <a:gd name="connsiteY26" fmla="*/ 95489 h 106781"/>
                <a:gd name="connsiteX27" fmla="*/ 86288 w 89973"/>
                <a:gd name="connsiteY27" fmla="*/ 95489 h 10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9973" h="106781">
                  <a:moveTo>
                    <a:pt x="86288" y="95489"/>
                  </a:moveTo>
                  <a:cubicBezTo>
                    <a:pt x="81177" y="92936"/>
                    <a:pt x="74787" y="91021"/>
                    <a:pt x="69036" y="90382"/>
                  </a:cubicBezTo>
                  <a:cubicBezTo>
                    <a:pt x="65841" y="90382"/>
                    <a:pt x="62646" y="89105"/>
                    <a:pt x="59451" y="88467"/>
                  </a:cubicBezTo>
                  <a:cubicBezTo>
                    <a:pt x="56256" y="85275"/>
                    <a:pt x="54339" y="80806"/>
                    <a:pt x="54978" y="76337"/>
                  </a:cubicBezTo>
                  <a:cubicBezTo>
                    <a:pt x="60090" y="68038"/>
                    <a:pt x="63924" y="59101"/>
                    <a:pt x="66479" y="49525"/>
                  </a:cubicBezTo>
                  <a:cubicBezTo>
                    <a:pt x="70314" y="33565"/>
                    <a:pt x="68397" y="20797"/>
                    <a:pt x="61368" y="11859"/>
                  </a:cubicBezTo>
                  <a:cubicBezTo>
                    <a:pt x="47949" y="-2824"/>
                    <a:pt x="24945" y="-4101"/>
                    <a:pt x="9609" y="9306"/>
                  </a:cubicBezTo>
                  <a:cubicBezTo>
                    <a:pt x="8970" y="9944"/>
                    <a:pt x="7692" y="11221"/>
                    <a:pt x="7053" y="11859"/>
                  </a:cubicBezTo>
                  <a:cubicBezTo>
                    <a:pt x="24" y="20797"/>
                    <a:pt x="-1893" y="33565"/>
                    <a:pt x="1941" y="49525"/>
                  </a:cubicBezTo>
                  <a:cubicBezTo>
                    <a:pt x="3858" y="59101"/>
                    <a:pt x="7692" y="68038"/>
                    <a:pt x="13443" y="75699"/>
                  </a:cubicBezTo>
                  <a:cubicBezTo>
                    <a:pt x="14082" y="80168"/>
                    <a:pt x="12804" y="84637"/>
                    <a:pt x="9609" y="87829"/>
                  </a:cubicBezTo>
                  <a:cubicBezTo>
                    <a:pt x="7053" y="89744"/>
                    <a:pt x="6414" y="94213"/>
                    <a:pt x="8331" y="96766"/>
                  </a:cubicBezTo>
                  <a:cubicBezTo>
                    <a:pt x="10248" y="99320"/>
                    <a:pt x="14721" y="99958"/>
                    <a:pt x="17277" y="98043"/>
                  </a:cubicBezTo>
                  <a:cubicBezTo>
                    <a:pt x="26862" y="91021"/>
                    <a:pt x="29418" y="75061"/>
                    <a:pt x="24306" y="68038"/>
                  </a:cubicBezTo>
                  <a:cubicBezTo>
                    <a:pt x="19833" y="61016"/>
                    <a:pt x="16638" y="53993"/>
                    <a:pt x="14721" y="45694"/>
                  </a:cubicBezTo>
                  <a:cubicBezTo>
                    <a:pt x="11526" y="33565"/>
                    <a:pt x="12804" y="24627"/>
                    <a:pt x="17277" y="18882"/>
                  </a:cubicBezTo>
                  <a:cubicBezTo>
                    <a:pt x="21750" y="14413"/>
                    <a:pt x="28140" y="11221"/>
                    <a:pt x="34530" y="11221"/>
                  </a:cubicBezTo>
                  <a:lnTo>
                    <a:pt x="34530" y="11221"/>
                  </a:lnTo>
                  <a:cubicBezTo>
                    <a:pt x="40920" y="11221"/>
                    <a:pt x="47310" y="13774"/>
                    <a:pt x="51783" y="18882"/>
                  </a:cubicBezTo>
                  <a:cubicBezTo>
                    <a:pt x="56256" y="24627"/>
                    <a:pt x="56895" y="33565"/>
                    <a:pt x="54339" y="45694"/>
                  </a:cubicBezTo>
                  <a:cubicBezTo>
                    <a:pt x="52422" y="53355"/>
                    <a:pt x="49227" y="61016"/>
                    <a:pt x="44754" y="68038"/>
                  </a:cubicBezTo>
                  <a:cubicBezTo>
                    <a:pt x="39642" y="75061"/>
                    <a:pt x="42198" y="90382"/>
                    <a:pt x="52422" y="98043"/>
                  </a:cubicBezTo>
                  <a:cubicBezTo>
                    <a:pt x="56895" y="100597"/>
                    <a:pt x="62007" y="101873"/>
                    <a:pt x="67758" y="102512"/>
                  </a:cubicBezTo>
                  <a:cubicBezTo>
                    <a:pt x="72231" y="102512"/>
                    <a:pt x="76704" y="103789"/>
                    <a:pt x="80537" y="105704"/>
                  </a:cubicBezTo>
                  <a:cubicBezTo>
                    <a:pt x="83732" y="107619"/>
                    <a:pt x="87567" y="106981"/>
                    <a:pt x="89483" y="103789"/>
                  </a:cubicBezTo>
                  <a:cubicBezTo>
                    <a:pt x="90762" y="101873"/>
                    <a:pt x="89483" y="98043"/>
                    <a:pt x="86288" y="95489"/>
                  </a:cubicBezTo>
                  <a:cubicBezTo>
                    <a:pt x="86927" y="95489"/>
                    <a:pt x="86288" y="95489"/>
                    <a:pt x="86288" y="95489"/>
                  </a:cubicBezTo>
                  <a:lnTo>
                    <a:pt x="86288" y="9548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56" name="Graphic 4">
              <a:extLst>
                <a:ext uri="{FF2B5EF4-FFF2-40B4-BE49-F238E27FC236}">
                  <a16:creationId xmlns:a16="http://schemas.microsoft.com/office/drawing/2014/main" id="{CBEE0BF3-3A9C-5A28-24F4-43C4B7BFBF1D}"/>
                </a:ext>
              </a:extLst>
            </p:cNvPr>
            <p:cNvSpPr/>
            <p:nvPr/>
          </p:nvSpPr>
          <p:spPr>
            <a:xfrm>
              <a:off x="4706412" y="4920211"/>
              <a:ext cx="88644" cy="107619"/>
            </a:xfrm>
            <a:custGeom>
              <a:avLst/>
              <a:gdLst>
                <a:gd name="connsiteX0" fmla="*/ 80953 w 88644"/>
                <a:gd name="connsiteY0" fmla="*/ 97405 h 107619"/>
                <a:gd name="connsiteX1" fmla="*/ 79674 w 88644"/>
                <a:gd name="connsiteY1" fmla="*/ 88467 h 107619"/>
                <a:gd name="connsiteX2" fmla="*/ 79674 w 88644"/>
                <a:gd name="connsiteY2" fmla="*/ 88467 h 107619"/>
                <a:gd name="connsiteX3" fmla="*/ 75201 w 88644"/>
                <a:gd name="connsiteY3" fmla="*/ 76337 h 107619"/>
                <a:gd name="connsiteX4" fmla="*/ 86703 w 88644"/>
                <a:gd name="connsiteY4" fmla="*/ 49525 h 107619"/>
                <a:gd name="connsiteX5" fmla="*/ 81591 w 88644"/>
                <a:gd name="connsiteY5" fmla="*/ 11859 h 107619"/>
                <a:gd name="connsiteX6" fmla="*/ 29833 w 88644"/>
                <a:gd name="connsiteY6" fmla="*/ 9306 h 107619"/>
                <a:gd name="connsiteX7" fmla="*/ 27277 w 88644"/>
                <a:gd name="connsiteY7" fmla="*/ 11859 h 107619"/>
                <a:gd name="connsiteX8" fmla="*/ 22165 w 88644"/>
                <a:gd name="connsiteY8" fmla="*/ 49525 h 107619"/>
                <a:gd name="connsiteX9" fmla="*/ 33667 w 88644"/>
                <a:gd name="connsiteY9" fmla="*/ 75699 h 107619"/>
                <a:gd name="connsiteX10" fmla="*/ 30472 w 88644"/>
                <a:gd name="connsiteY10" fmla="*/ 87829 h 107619"/>
                <a:gd name="connsiteX11" fmla="*/ 20248 w 88644"/>
                <a:gd name="connsiteY11" fmla="*/ 90382 h 107619"/>
                <a:gd name="connsiteX12" fmla="*/ 2995 w 88644"/>
                <a:gd name="connsiteY12" fmla="*/ 95489 h 107619"/>
                <a:gd name="connsiteX13" fmla="*/ 1078 w 88644"/>
                <a:gd name="connsiteY13" fmla="*/ 104427 h 107619"/>
                <a:gd name="connsiteX14" fmla="*/ 6190 w 88644"/>
                <a:gd name="connsiteY14" fmla="*/ 107619 h 107619"/>
                <a:gd name="connsiteX15" fmla="*/ 9385 w 88644"/>
                <a:gd name="connsiteY15" fmla="*/ 106342 h 107619"/>
                <a:gd name="connsiteX16" fmla="*/ 22165 w 88644"/>
                <a:gd name="connsiteY16" fmla="*/ 103150 h 107619"/>
                <a:gd name="connsiteX17" fmla="*/ 37501 w 88644"/>
                <a:gd name="connsiteY17" fmla="*/ 98681 h 107619"/>
                <a:gd name="connsiteX18" fmla="*/ 44530 w 88644"/>
                <a:gd name="connsiteY18" fmla="*/ 68677 h 107619"/>
                <a:gd name="connsiteX19" fmla="*/ 34945 w 88644"/>
                <a:gd name="connsiteY19" fmla="*/ 46333 h 107619"/>
                <a:gd name="connsiteX20" fmla="*/ 37501 w 88644"/>
                <a:gd name="connsiteY20" fmla="*/ 19520 h 107619"/>
                <a:gd name="connsiteX21" fmla="*/ 71368 w 88644"/>
                <a:gd name="connsiteY21" fmla="*/ 18882 h 107619"/>
                <a:gd name="connsiteX22" fmla="*/ 72006 w 88644"/>
                <a:gd name="connsiteY22" fmla="*/ 19520 h 107619"/>
                <a:gd name="connsiteX23" fmla="*/ 74563 w 88644"/>
                <a:gd name="connsiteY23" fmla="*/ 46333 h 107619"/>
                <a:gd name="connsiteX24" fmla="*/ 64978 w 88644"/>
                <a:gd name="connsiteY24" fmla="*/ 68677 h 107619"/>
                <a:gd name="connsiteX25" fmla="*/ 72006 w 88644"/>
                <a:gd name="connsiteY25" fmla="*/ 98681 h 107619"/>
                <a:gd name="connsiteX26" fmla="*/ 80953 w 88644"/>
                <a:gd name="connsiteY26" fmla="*/ 97405 h 10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8644" h="107619">
                  <a:moveTo>
                    <a:pt x="80953" y="97405"/>
                  </a:moveTo>
                  <a:cubicBezTo>
                    <a:pt x="82869" y="94851"/>
                    <a:pt x="82231" y="90382"/>
                    <a:pt x="79674" y="88467"/>
                  </a:cubicBezTo>
                  <a:cubicBezTo>
                    <a:pt x="79674" y="88467"/>
                    <a:pt x="79674" y="88467"/>
                    <a:pt x="79674" y="88467"/>
                  </a:cubicBezTo>
                  <a:cubicBezTo>
                    <a:pt x="76479" y="85275"/>
                    <a:pt x="74563" y="80806"/>
                    <a:pt x="75201" y="76337"/>
                  </a:cubicBezTo>
                  <a:cubicBezTo>
                    <a:pt x="80313" y="68038"/>
                    <a:pt x="84147" y="59101"/>
                    <a:pt x="86703" y="49525"/>
                  </a:cubicBezTo>
                  <a:cubicBezTo>
                    <a:pt x="90537" y="33565"/>
                    <a:pt x="88621" y="20797"/>
                    <a:pt x="81591" y="11859"/>
                  </a:cubicBezTo>
                  <a:cubicBezTo>
                    <a:pt x="68173" y="-2824"/>
                    <a:pt x="45169" y="-4101"/>
                    <a:pt x="29833" y="9306"/>
                  </a:cubicBezTo>
                  <a:cubicBezTo>
                    <a:pt x="29194" y="9944"/>
                    <a:pt x="27916" y="11221"/>
                    <a:pt x="27277" y="11859"/>
                  </a:cubicBezTo>
                  <a:cubicBezTo>
                    <a:pt x="20248" y="20797"/>
                    <a:pt x="18331" y="33565"/>
                    <a:pt x="22165" y="49525"/>
                  </a:cubicBezTo>
                  <a:cubicBezTo>
                    <a:pt x="24721" y="59101"/>
                    <a:pt x="28555" y="68038"/>
                    <a:pt x="33667" y="75699"/>
                  </a:cubicBezTo>
                  <a:cubicBezTo>
                    <a:pt x="34306" y="80168"/>
                    <a:pt x="33028" y="84637"/>
                    <a:pt x="30472" y="87829"/>
                  </a:cubicBezTo>
                  <a:cubicBezTo>
                    <a:pt x="27277" y="89105"/>
                    <a:pt x="23443" y="89744"/>
                    <a:pt x="20248" y="90382"/>
                  </a:cubicBezTo>
                  <a:cubicBezTo>
                    <a:pt x="13858" y="91021"/>
                    <a:pt x="8107" y="92297"/>
                    <a:pt x="2995" y="95489"/>
                  </a:cubicBezTo>
                  <a:cubicBezTo>
                    <a:pt x="-200" y="97405"/>
                    <a:pt x="-839" y="101235"/>
                    <a:pt x="1078" y="104427"/>
                  </a:cubicBezTo>
                  <a:cubicBezTo>
                    <a:pt x="2356" y="106342"/>
                    <a:pt x="4273" y="107619"/>
                    <a:pt x="6190" y="107619"/>
                  </a:cubicBezTo>
                  <a:cubicBezTo>
                    <a:pt x="7468" y="107619"/>
                    <a:pt x="8746" y="107619"/>
                    <a:pt x="9385" y="106342"/>
                  </a:cubicBezTo>
                  <a:cubicBezTo>
                    <a:pt x="13219" y="104427"/>
                    <a:pt x="17692" y="103150"/>
                    <a:pt x="22165" y="103150"/>
                  </a:cubicBezTo>
                  <a:cubicBezTo>
                    <a:pt x="27916" y="102512"/>
                    <a:pt x="33028" y="101235"/>
                    <a:pt x="37501" y="98681"/>
                  </a:cubicBezTo>
                  <a:cubicBezTo>
                    <a:pt x="47086" y="91659"/>
                    <a:pt x="49642" y="76337"/>
                    <a:pt x="44530" y="68677"/>
                  </a:cubicBezTo>
                  <a:cubicBezTo>
                    <a:pt x="40057" y="61654"/>
                    <a:pt x="36862" y="54632"/>
                    <a:pt x="34945" y="46333"/>
                  </a:cubicBezTo>
                  <a:cubicBezTo>
                    <a:pt x="31750" y="34203"/>
                    <a:pt x="33028" y="25266"/>
                    <a:pt x="37501" y="19520"/>
                  </a:cubicBezTo>
                  <a:cubicBezTo>
                    <a:pt x="46447" y="9944"/>
                    <a:pt x="61783" y="9306"/>
                    <a:pt x="71368" y="18882"/>
                  </a:cubicBezTo>
                  <a:cubicBezTo>
                    <a:pt x="71368" y="18882"/>
                    <a:pt x="72006" y="19520"/>
                    <a:pt x="72006" y="19520"/>
                  </a:cubicBezTo>
                  <a:cubicBezTo>
                    <a:pt x="76479" y="25266"/>
                    <a:pt x="77118" y="34203"/>
                    <a:pt x="74563" y="46333"/>
                  </a:cubicBezTo>
                  <a:cubicBezTo>
                    <a:pt x="72646" y="53994"/>
                    <a:pt x="69451" y="61654"/>
                    <a:pt x="64978" y="68677"/>
                  </a:cubicBezTo>
                  <a:cubicBezTo>
                    <a:pt x="59866" y="75699"/>
                    <a:pt x="62422" y="91021"/>
                    <a:pt x="72006" y="98681"/>
                  </a:cubicBezTo>
                  <a:cubicBezTo>
                    <a:pt x="74563" y="100597"/>
                    <a:pt x="79036" y="99958"/>
                    <a:pt x="80953" y="9740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57" name="Graphic 4">
              <a:extLst>
                <a:ext uri="{FF2B5EF4-FFF2-40B4-BE49-F238E27FC236}">
                  <a16:creationId xmlns:a16="http://schemas.microsoft.com/office/drawing/2014/main" id="{B914A965-28A4-B1D1-F367-B3F86AAAEB1F}"/>
                </a:ext>
              </a:extLst>
            </p:cNvPr>
            <p:cNvSpPr/>
            <p:nvPr/>
          </p:nvSpPr>
          <p:spPr>
            <a:xfrm>
              <a:off x="4778568" y="4907099"/>
              <a:ext cx="137394" cy="134137"/>
            </a:xfrm>
            <a:custGeom>
              <a:avLst/>
              <a:gdLst>
                <a:gd name="connsiteX0" fmla="*/ 133400 w 137394"/>
                <a:gd name="connsiteY0" fmla="*/ 122007 h 134137"/>
                <a:gd name="connsiteX1" fmla="*/ 109119 w 137394"/>
                <a:gd name="connsiteY1" fmla="*/ 116900 h 134137"/>
                <a:gd name="connsiteX2" fmla="*/ 98895 w 137394"/>
                <a:gd name="connsiteY2" fmla="*/ 114985 h 134137"/>
                <a:gd name="connsiteX3" fmla="*/ 91227 w 137394"/>
                <a:gd name="connsiteY3" fmla="*/ 95195 h 134137"/>
                <a:gd name="connsiteX4" fmla="*/ 105924 w 137394"/>
                <a:gd name="connsiteY4" fmla="*/ 61360 h 134137"/>
                <a:gd name="connsiteX5" fmla="*/ 100173 w 137394"/>
                <a:gd name="connsiteY5" fmla="*/ 14118 h 134137"/>
                <a:gd name="connsiteX6" fmla="*/ 40746 w 137394"/>
                <a:gd name="connsiteY6" fmla="*/ 10926 h 134137"/>
                <a:gd name="connsiteX7" fmla="*/ 37551 w 137394"/>
                <a:gd name="connsiteY7" fmla="*/ 14118 h 134137"/>
                <a:gd name="connsiteX8" fmla="*/ 31800 w 137394"/>
                <a:gd name="connsiteY8" fmla="*/ 61360 h 134137"/>
                <a:gd name="connsiteX9" fmla="*/ 45858 w 137394"/>
                <a:gd name="connsiteY9" fmla="*/ 94556 h 134137"/>
                <a:gd name="connsiteX10" fmla="*/ 38190 w 137394"/>
                <a:gd name="connsiteY10" fmla="*/ 114985 h 134137"/>
                <a:gd name="connsiteX11" fmla="*/ 27966 w 137394"/>
                <a:gd name="connsiteY11" fmla="*/ 116900 h 134137"/>
                <a:gd name="connsiteX12" fmla="*/ 3685 w 137394"/>
                <a:gd name="connsiteY12" fmla="*/ 122007 h 134137"/>
                <a:gd name="connsiteX13" fmla="*/ 490 w 137394"/>
                <a:gd name="connsiteY13" fmla="*/ 130307 h 134137"/>
                <a:gd name="connsiteX14" fmla="*/ 8797 w 137394"/>
                <a:gd name="connsiteY14" fmla="*/ 133499 h 134137"/>
                <a:gd name="connsiteX15" fmla="*/ 27966 w 137394"/>
                <a:gd name="connsiteY15" fmla="*/ 129668 h 134137"/>
                <a:gd name="connsiteX16" fmla="*/ 43941 w 137394"/>
                <a:gd name="connsiteY16" fmla="*/ 126476 h 134137"/>
                <a:gd name="connsiteX17" fmla="*/ 57360 w 137394"/>
                <a:gd name="connsiteY17" fmla="*/ 104771 h 134137"/>
                <a:gd name="connsiteX18" fmla="*/ 56082 w 137394"/>
                <a:gd name="connsiteY18" fmla="*/ 87534 h 134137"/>
                <a:gd name="connsiteX19" fmla="*/ 43941 w 137394"/>
                <a:gd name="connsiteY19" fmla="*/ 58168 h 134137"/>
                <a:gd name="connsiteX20" fmla="*/ 47136 w 137394"/>
                <a:gd name="connsiteY20" fmla="*/ 21779 h 134137"/>
                <a:gd name="connsiteX21" fmla="*/ 69501 w 137394"/>
                <a:gd name="connsiteY21" fmla="*/ 12203 h 134137"/>
                <a:gd name="connsiteX22" fmla="*/ 91227 w 137394"/>
                <a:gd name="connsiteY22" fmla="*/ 21779 h 134137"/>
                <a:gd name="connsiteX23" fmla="*/ 94422 w 137394"/>
                <a:gd name="connsiteY23" fmla="*/ 58168 h 134137"/>
                <a:gd name="connsiteX24" fmla="*/ 81642 w 137394"/>
                <a:gd name="connsiteY24" fmla="*/ 87534 h 134137"/>
                <a:gd name="connsiteX25" fmla="*/ 80364 w 137394"/>
                <a:gd name="connsiteY25" fmla="*/ 104771 h 134137"/>
                <a:gd name="connsiteX26" fmla="*/ 93783 w 137394"/>
                <a:gd name="connsiteY26" fmla="*/ 126476 h 134137"/>
                <a:gd name="connsiteX27" fmla="*/ 109758 w 137394"/>
                <a:gd name="connsiteY27" fmla="*/ 129668 h 134137"/>
                <a:gd name="connsiteX28" fmla="*/ 128927 w 137394"/>
                <a:gd name="connsiteY28" fmla="*/ 133499 h 134137"/>
                <a:gd name="connsiteX29" fmla="*/ 131483 w 137394"/>
                <a:gd name="connsiteY29" fmla="*/ 134137 h 134137"/>
                <a:gd name="connsiteX30" fmla="*/ 137234 w 137394"/>
                <a:gd name="connsiteY30" fmla="*/ 130307 h 134137"/>
                <a:gd name="connsiteX31" fmla="*/ 133400 w 137394"/>
                <a:gd name="connsiteY31" fmla="*/ 122007 h 134137"/>
                <a:gd name="connsiteX32" fmla="*/ 133400 w 137394"/>
                <a:gd name="connsiteY32" fmla="*/ 122007 h 13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7394" h="134137">
                  <a:moveTo>
                    <a:pt x="133400" y="122007"/>
                  </a:moveTo>
                  <a:cubicBezTo>
                    <a:pt x="125732" y="118815"/>
                    <a:pt x="117426" y="116900"/>
                    <a:pt x="109119" y="116900"/>
                  </a:cubicBezTo>
                  <a:cubicBezTo>
                    <a:pt x="105285" y="116900"/>
                    <a:pt x="102090" y="116262"/>
                    <a:pt x="98895" y="114985"/>
                  </a:cubicBezTo>
                  <a:cubicBezTo>
                    <a:pt x="94422" y="112431"/>
                    <a:pt x="89949" y="98387"/>
                    <a:pt x="91227" y="95195"/>
                  </a:cubicBezTo>
                  <a:cubicBezTo>
                    <a:pt x="97616" y="84980"/>
                    <a:pt x="102729" y="73489"/>
                    <a:pt x="105924" y="61360"/>
                  </a:cubicBezTo>
                  <a:cubicBezTo>
                    <a:pt x="111036" y="40931"/>
                    <a:pt x="109119" y="24971"/>
                    <a:pt x="100173" y="14118"/>
                  </a:cubicBezTo>
                  <a:cubicBezTo>
                    <a:pt x="84837" y="-3119"/>
                    <a:pt x="57999" y="-5034"/>
                    <a:pt x="40746" y="10926"/>
                  </a:cubicBezTo>
                  <a:cubicBezTo>
                    <a:pt x="39468" y="12203"/>
                    <a:pt x="38190" y="13480"/>
                    <a:pt x="37551" y="14118"/>
                  </a:cubicBezTo>
                  <a:cubicBezTo>
                    <a:pt x="28605" y="24971"/>
                    <a:pt x="26688" y="40931"/>
                    <a:pt x="31800" y="61360"/>
                  </a:cubicBezTo>
                  <a:cubicBezTo>
                    <a:pt x="34356" y="72851"/>
                    <a:pt x="39468" y="84342"/>
                    <a:pt x="45858" y="94556"/>
                  </a:cubicBezTo>
                  <a:cubicBezTo>
                    <a:pt x="47136" y="98387"/>
                    <a:pt x="42663" y="112431"/>
                    <a:pt x="38190" y="114985"/>
                  </a:cubicBezTo>
                  <a:cubicBezTo>
                    <a:pt x="34995" y="116262"/>
                    <a:pt x="31161" y="116900"/>
                    <a:pt x="27966" y="116900"/>
                  </a:cubicBezTo>
                  <a:cubicBezTo>
                    <a:pt x="19660" y="116900"/>
                    <a:pt x="11352" y="118815"/>
                    <a:pt x="3685" y="122007"/>
                  </a:cubicBezTo>
                  <a:cubicBezTo>
                    <a:pt x="490" y="123284"/>
                    <a:pt x="-788" y="127115"/>
                    <a:pt x="490" y="130307"/>
                  </a:cubicBezTo>
                  <a:cubicBezTo>
                    <a:pt x="1767" y="133499"/>
                    <a:pt x="5602" y="134775"/>
                    <a:pt x="8797" y="133499"/>
                  </a:cubicBezTo>
                  <a:cubicBezTo>
                    <a:pt x="14547" y="130945"/>
                    <a:pt x="21576" y="129668"/>
                    <a:pt x="27966" y="129668"/>
                  </a:cubicBezTo>
                  <a:cubicBezTo>
                    <a:pt x="33717" y="129668"/>
                    <a:pt x="38829" y="129030"/>
                    <a:pt x="43941" y="126476"/>
                  </a:cubicBezTo>
                  <a:cubicBezTo>
                    <a:pt x="52887" y="122007"/>
                    <a:pt x="56721" y="108601"/>
                    <a:pt x="57360" y="104771"/>
                  </a:cubicBezTo>
                  <a:cubicBezTo>
                    <a:pt x="59277" y="99025"/>
                    <a:pt x="58638" y="92641"/>
                    <a:pt x="56082" y="87534"/>
                  </a:cubicBezTo>
                  <a:cubicBezTo>
                    <a:pt x="50331" y="78596"/>
                    <a:pt x="45858" y="69020"/>
                    <a:pt x="43941" y="58168"/>
                  </a:cubicBezTo>
                  <a:cubicBezTo>
                    <a:pt x="40107" y="41569"/>
                    <a:pt x="41385" y="29440"/>
                    <a:pt x="47136" y="21779"/>
                  </a:cubicBezTo>
                  <a:cubicBezTo>
                    <a:pt x="52887" y="15395"/>
                    <a:pt x="61194" y="12203"/>
                    <a:pt x="69501" y="12203"/>
                  </a:cubicBezTo>
                  <a:cubicBezTo>
                    <a:pt x="77808" y="12203"/>
                    <a:pt x="85476" y="15395"/>
                    <a:pt x="91227" y="21779"/>
                  </a:cubicBezTo>
                  <a:cubicBezTo>
                    <a:pt x="97616" y="29440"/>
                    <a:pt x="98895" y="41569"/>
                    <a:pt x="94422" y="58168"/>
                  </a:cubicBezTo>
                  <a:cubicBezTo>
                    <a:pt x="91866" y="68382"/>
                    <a:pt x="88032" y="78596"/>
                    <a:pt x="81642" y="87534"/>
                  </a:cubicBezTo>
                  <a:cubicBezTo>
                    <a:pt x="79086" y="92641"/>
                    <a:pt x="78447" y="99025"/>
                    <a:pt x="80364" y="104771"/>
                  </a:cubicBezTo>
                  <a:cubicBezTo>
                    <a:pt x="81003" y="108601"/>
                    <a:pt x="84837" y="121369"/>
                    <a:pt x="93783" y="126476"/>
                  </a:cubicBezTo>
                  <a:cubicBezTo>
                    <a:pt x="98895" y="129030"/>
                    <a:pt x="104006" y="129668"/>
                    <a:pt x="109758" y="129668"/>
                  </a:cubicBezTo>
                  <a:cubicBezTo>
                    <a:pt x="116147" y="129668"/>
                    <a:pt x="123176" y="130945"/>
                    <a:pt x="128927" y="133499"/>
                  </a:cubicBezTo>
                  <a:cubicBezTo>
                    <a:pt x="129566" y="134137"/>
                    <a:pt x="130844" y="134137"/>
                    <a:pt x="131483" y="134137"/>
                  </a:cubicBezTo>
                  <a:cubicBezTo>
                    <a:pt x="134039" y="134137"/>
                    <a:pt x="135956" y="132860"/>
                    <a:pt x="137234" y="130307"/>
                  </a:cubicBezTo>
                  <a:cubicBezTo>
                    <a:pt x="137873" y="127115"/>
                    <a:pt x="136595" y="123284"/>
                    <a:pt x="133400" y="122007"/>
                  </a:cubicBezTo>
                  <a:cubicBezTo>
                    <a:pt x="133400" y="122007"/>
                    <a:pt x="133400" y="122007"/>
                    <a:pt x="133400" y="12200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grpSp>
      <p:grpSp>
        <p:nvGrpSpPr>
          <p:cNvPr id="2058" name="Group 749">
            <a:extLst>
              <a:ext uri="{FF2B5EF4-FFF2-40B4-BE49-F238E27FC236}">
                <a16:creationId xmlns:a16="http://schemas.microsoft.com/office/drawing/2014/main" id="{E4085584-790F-2B17-3FF4-14BC32123F43}"/>
              </a:ext>
            </a:extLst>
          </p:cNvPr>
          <p:cNvGrpSpPr>
            <a:grpSpLocks noChangeAspect="1"/>
          </p:cNvGrpSpPr>
          <p:nvPr/>
        </p:nvGrpSpPr>
        <p:grpSpPr bwMode="auto">
          <a:xfrm>
            <a:off x="8171557" y="5133755"/>
            <a:ext cx="394802" cy="394802"/>
            <a:chOff x="3520" y="2686"/>
            <a:chExt cx="340" cy="340"/>
          </a:xfrm>
          <a:solidFill>
            <a:srgbClr val="00ABAB"/>
          </a:solidFill>
        </p:grpSpPr>
        <p:sp>
          <p:nvSpPr>
            <p:cNvPr id="2059" name="Freeform 750">
              <a:extLst>
                <a:ext uri="{FF2B5EF4-FFF2-40B4-BE49-F238E27FC236}">
                  <a16:creationId xmlns:a16="http://schemas.microsoft.com/office/drawing/2014/main" id="{9014DD27-FB69-1A6E-2E62-0FC9158EC7C0}"/>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60" name="Freeform 751">
              <a:extLst>
                <a:ext uri="{FF2B5EF4-FFF2-40B4-BE49-F238E27FC236}">
                  <a16:creationId xmlns:a16="http://schemas.microsoft.com/office/drawing/2014/main" id="{8E649811-7FAF-22A4-151C-033DE7B1A351}"/>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61" name="Freeform 752">
              <a:extLst>
                <a:ext uri="{FF2B5EF4-FFF2-40B4-BE49-F238E27FC236}">
                  <a16:creationId xmlns:a16="http://schemas.microsoft.com/office/drawing/2014/main" id="{7C05DF98-AB78-1D96-D819-A3479A0F6959}"/>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grpSp>
      <p:grpSp>
        <p:nvGrpSpPr>
          <p:cNvPr id="2062" name="Group 816">
            <a:extLst>
              <a:ext uri="{FF2B5EF4-FFF2-40B4-BE49-F238E27FC236}">
                <a16:creationId xmlns:a16="http://schemas.microsoft.com/office/drawing/2014/main" id="{043390D6-1DAF-22C4-B7F0-811DE19ED967}"/>
              </a:ext>
            </a:extLst>
          </p:cNvPr>
          <p:cNvGrpSpPr>
            <a:grpSpLocks noChangeAspect="1"/>
          </p:cNvGrpSpPr>
          <p:nvPr/>
        </p:nvGrpSpPr>
        <p:grpSpPr bwMode="auto">
          <a:xfrm>
            <a:off x="8239663" y="3656881"/>
            <a:ext cx="394802" cy="394802"/>
            <a:chOff x="4518" y="3391"/>
            <a:chExt cx="340" cy="340"/>
          </a:xfrm>
          <a:solidFill>
            <a:srgbClr val="00ABAB"/>
          </a:solidFill>
        </p:grpSpPr>
        <p:sp>
          <p:nvSpPr>
            <p:cNvPr id="2063" name="Freeform 817">
              <a:extLst>
                <a:ext uri="{FF2B5EF4-FFF2-40B4-BE49-F238E27FC236}">
                  <a16:creationId xmlns:a16="http://schemas.microsoft.com/office/drawing/2014/main" id="{3D5701DF-2821-F553-5234-9541B533F815}"/>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64" name="Freeform 818">
              <a:extLst>
                <a:ext uri="{FF2B5EF4-FFF2-40B4-BE49-F238E27FC236}">
                  <a16:creationId xmlns:a16="http://schemas.microsoft.com/office/drawing/2014/main" id="{8E409F1D-8748-8F98-5BC0-F5DB8B5B2A6F}"/>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grpSp>
      <p:cxnSp>
        <p:nvCxnSpPr>
          <p:cNvPr id="2065" name="Straight Connector 2064">
            <a:extLst>
              <a:ext uri="{FF2B5EF4-FFF2-40B4-BE49-F238E27FC236}">
                <a16:creationId xmlns:a16="http://schemas.microsoft.com/office/drawing/2014/main" id="{7734B967-A618-E649-EFFC-F95020DD2BFD}"/>
              </a:ext>
            </a:extLst>
          </p:cNvPr>
          <p:cNvCxnSpPr/>
          <p:nvPr/>
        </p:nvCxnSpPr>
        <p:spPr>
          <a:xfrm flipH="1">
            <a:off x="426720" y="4517726"/>
            <a:ext cx="2796540" cy="0"/>
          </a:xfrm>
          <a:prstGeom prst="line">
            <a:avLst/>
          </a:prstGeom>
          <a:ln>
            <a:gradFill flip="none" rotWithShape="1">
              <a:gsLst>
                <a:gs pos="52000">
                  <a:schemeClr val="tx1">
                    <a:lumMod val="65000"/>
                    <a:lumOff val="35000"/>
                  </a:schemeClr>
                </a:gs>
                <a:gs pos="0">
                  <a:schemeClr val="tx1"/>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73" name="Straight Connector 2072">
            <a:extLst>
              <a:ext uri="{FF2B5EF4-FFF2-40B4-BE49-F238E27FC236}">
                <a16:creationId xmlns:a16="http://schemas.microsoft.com/office/drawing/2014/main" id="{12834B02-9512-5597-1043-304FAA3EACC3}"/>
              </a:ext>
            </a:extLst>
          </p:cNvPr>
          <p:cNvCxnSpPr/>
          <p:nvPr/>
        </p:nvCxnSpPr>
        <p:spPr>
          <a:xfrm flipH="1">
            <a:off x="961091" y="5835986"/>
            <a:ext cx="2796540" cy="0"/>
          </a:xfrm>
          <a:prstGeom prst="line">
            <a:avLst/>
          </a:prstGeom>
          <a:ln>
            <a:gradFill flip="none" rotWithShape="1">
              <a:gsLst>
                <a:gs pos="52000">
                  <a:schemeClr val="tx1">
                    <a:lumMod val="65000"/>
                    <a:lumOff val="35000"/>
                  </a:schemeClr>
                </a:gs>
                <a:gs pos="0">
                  <a:schemeClr val="tx1"/>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75" name="Straight Connector 2074">
            <a:extLst>
              <a:ext uri="{FF2B5EF4-FFF2-40B4-BE49-F238E27FC236}">
                <a16:creationId xmlns:a16="http://schemas.microsoft.com/office/drawing/2014/main" id="{C8A83E64-C980-936C-9985-EAE15740E2CF}"/>
              </a:ext>
            </a:extLst>
          </p:cNvPr>
          <p:cNvCxnSpPr/>
          <p:nvPr/>
        </p:nvCxnSpPr>
        <p:spPr>
          <a:xfrm flipH="1">
            <a:off x="8766360" y="4517726"/>
            <a:ext cx="2796540" cy="0"/>
          </a:xfrm>
          <a:prstGeom prst="line">
            <a:avLst/>
          </a:prstGeom>
          <a:ln>
            <a:gradFill flip="none" rotWithShape="1">
              <a:gsLst>
                <a:gs pos="52000">
                  <a:schemeClr val="tx1">
                    <a:lumMod val="65000"/>
                    <a:lumOff val="35000"/>
                  </a:schemeClr>
                </a:gs>
                <a:gs pos="0">
                  <a:schemeClr val="tx1"/>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76" name="Straight Connector 2075">
            <a:extLst>
              <a:ext uri="{FF2B5EF4-FFF2-40B4-BE49-F238E27FC236}">
                <a16:creationId xmlns:a16="http://schemas.microsoft.com/office/drawing/2014/main" id="{9ADBF2AF-719D-2447-6D1F-6F4DF42A7B1F}"/>
              </a:ext>
            </a:extLst>
          </p:cNvPr>
          <p:cNvCxnSpPr/>
          <p:nvPr/>
        </p:nvCxnSpPr>
        <p:spPr>
          <a:xfrm flipH="1">
            <a:off x="8274292" y="5835986"/>
            <a:ext cx="2796540" cy="0"/>
          </a:xfrm>
          <a:prstGeom prst="line">
            <a:avLst/>
          </a:prstGeom>
          <a:ln>
            <a:gradFill flip="none" rotWithShape="1">
              <a:gsLst>
                <a:gs pos="52000">
                  <a:schemeClr val="tx1">
                    <a:lumMod val="65000"/>
                    <a:lumOff val="35000"/>
                  </a:schemeClr>
                </a:gs>
                <a:gs pos="0">
                  <a:schemeClr val="tx1"/>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50046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4" name="Freeform: Shape 2113">
            <a:extLst>
              <a:ext uri="{FF2B5EF4-FFF2-40B4-BE49-F238E27FC236}">
                <a16:creationId xmlns:a16="http://schemas.microsoft.com/office/drawing/2014/main" id="{384AB49D-A6BA-C9DC-7BB9-E5C0DE3BED4B}"/>
              </a:ext>
            </a:extLst>
          </p:cNvPr>
          <p:cNvSpPr/>
          <p:nvPr/>
        </p:nvSpPr>
        <p:spPr>
          <a:xfrm>
            <a:off x="3677316" y="2932173"/>
            <a:ext cx="4836298" cy="3822414"/>
          </a:xfrm>
          <a:custGeom>
            <a:avLst/>
            <a:gdLst>
              <a:gd name="connsiteX0" fmla="*/ 403594 w 4251083"/>
              <a:gd name="connsiteY0" fmla="*/ 785 h 3359885"/>
              <a:gd name="connsiteX1" fmla="*/ 411446 w 4251083"/>
              <a:gd name="connsiteY1" fmla="*/ 3141 h 3359885"/>
              <a:gd name="connsiteX2" fmla="*/ 414587 w 4251083"/>
              <a:gd name="connsiteY2" fmla="*/ 22771 h 3359885"/>
              <a:gd name="connsiteX3" fmla="*/ 29053 w 4251083"/>
              <a:gd name="connsiteY3" fmla="*/ 1234340 h 3359885"/>
              <a:gd name="connsiteX4" fmla="*/ 193945 w 4251083"/>
              <a:gd name="connsiteY4" fmla="*/ 2050952 h 3359885"/>
              <a:gd name="connsiteX5" fmla="*/ 643081 w 4251083"/>
              <a:gd name="connsiteY5" fmla="*/ 2717590 h 3359885"/>
              <a:gd name="connsiteX6" fmla="*/ 1309717 w 4251083"/>
              <a:gd name="connsiteY6" fmla="*/ 3166726 h 3359885"/>
              <a:gd name="connsiteX7" fmla="*/ 2126327 w 4251083"/>
              <a:gd name="connsiteY7" fmla="*/ 3331619 h 3359885"/>
              <a:gd name="connsiteX8" fmla="*/ 2942937 w 4251083"/>
              <a:gd name="connsiteY8" fmla="*/ 3166726 h 3359885"/>
              <a:gd name="connsiteX9" fmla="*/ 3609573 w 4251083"/>
              <a:gd name="connsiteY9" fmla="*/ 2717590 h 3359885"/>
              <a:gd name="connsiteX10" fmla="*/ 4058709 w 4251083"/>
              <a:gd name="connsiteY10" fmla="*/ 2050952 h 3359885"/>
              <a:gd name="connsiteX11" fmla="*/ 4223601 w 4251083"/>
              <a:gd name="connsiteY11" fmla="*/ 1234340 h 3359885"/>
              <a:gd name="connsiteX12" fmla="*/ 3838067 w 4251083"/>
              <a:gd name="connsiteY12" fmla="*/ 22771 h 3359885"/>
              <a:gd name="connsiteX13" fmla="*/ 3841208 w 4251083"/>
              <a:gd name="connsiteY13" fmla="*/ 3141 h 3359885"/>
              <a:gd name="connsiteX14" fmla="*/ 3860838 w 4251083"/>
              <a:gd name="connsiteY14" fmla="*/ 6282 h 3359885"/>
              <a:gd name="connsiteX15" fmla="*/ 4251083 w 4251083"/>
              <a:gd name="connsiteY15" fmla="*/ 1234340 h 3359885"/>
              <a:gd name="connsiteX16" fmla="*/ 4083835 w 4251083"/>
              <a:gd name="connsiteY16" fmla="*/ 2061944 h 3359885"/>
              <a:gd name="connsiteX17" fmla="*/ 3628418 w 4251083"/>
              <a:gd name="connsiteY17" fmla="*/ 2737220 h 3359885"/>
              <a:gd name="connsiteX18" fmla="*/ 2953145 w 4251083"/>
              <a:gd name="connsiteY18" fmla="*/ 3192638 h 3359885"/>
              <a:gd name="connsiteX19" fmla="*/ 2125542 w 4251083"/>
              <a:gd name="connsiteY19" fmla="*/ 3359886 h 3359885"/>
              <a:gd name="connsiteX20" fmla="*/ 1297939 w 4251083"/>
              <a:gd name="connsiteY20" fmla="*/ 3192638 h 3359885"/>
              <a:gd name="connsiteX21" fmla="*/ 622665 w 4251083"/>
              <a:gd name="connsiteY21" fmla="*/ 2737220 h 3359885"/>
              <a:gd name="connsiteX22" fmla="*/ 167248 w 4251083"/>
              <a:gd name="connsiteY22" fmla="*/ 2061944 h 3359885"/>
              <a:gd name="connsiteX23" fmla="*/ 0 w 4251083"/>
              <a:gd name="connsiteY23" fmla="*/ 1234340 h 3359885"/>
              <a:gd name="connsiteX24" fmla="*/ 390245 w 4251083"/>
              <a:gd name="connsiteY24" fmla="*/ 6282 h 3359885"/>
              <a:gd name="connsiteX25" fmla="*/ 402024 w 4251083"/>
              <a:gd name="connsiteY25" fmla="*/ 0 h 335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51083" h="3359885">
                <a:moveTo>
                  <a:pt x="403594" y="785"/>
                </a:moveTo>
                <a:cubicBezTo>
                  <a:pt x="403594" y="785"/>
                  <a:pt x="409090" y="1570"/>
                  <a:pt x="411446" y="3141"/>
                </a:cubicBezTo>
                <a:cubicBezTo>
                  <a:pt x="417727" y="7852"/>
                  <a:pt x="419298" y="16489"/>
                  <a:pt x="414587" y="22771"/>
                </a:cubicBezTo>
                <a:cubicBezTo>
                  <a:pt x="162537" y="378468"/>
                  <a:pt x="29053" y="796982"/>
                  <a:pt x="29053" y="1234340"/>
                </a:cubicBezTo>
                <a:cubicBezTo>
                  <a:pt x="29053" y="1517798"/>
                  <a:pt x="84802" y="1791835"/>
                  <a:pt x="193945" y="2050952"/>
                </a:cubicBezTo>
                <a:cubicBezTo>
                  <a:pt x="299947" y="2300646"/>
                  <a:pt x="450706" y="2525215"/>
                  <a:pt x="643081" y="2717590"/>
                </a:cubicBezTo>
                <a:cubicBezTo>
                  <a:pt x="835455" y="2909964"/>
                  <a:pt x="1060023" y="3061509"/>
                  <a:pt x="1309717" y="3166726"/>
                </a:cubicBezTo>
                <a:cubicBezTo>
                  <a:pt x="1568048" y="3275869"/>
                  <a:pt x="1842869" y="3331619"/>
                  <a:pt x="2126327" y="3331619"/>
                </a:cubicBezTo>
                <a:cubicBezTo>
                  <a:pt x="2409785" y="3331619"/>
                  <a:pt x="2683820" y="3275869"/>
                  <a:pt x="2942937" y="3166726"/>
                </a:cubicBezTo>
                <a:cubicBezTo>
                  <a:pt x="3192631" y="3060724"/>
                  <a:pt x="3417199" y="2909964"/>
                  <a:pt x="3609573" y="2717590"/>
                </a:cubicBezTo>
                <a:cubicBezTo>
                  <a:pt x="3801948" y="2525215"/>
                  <a:pt x="3953492" y="2300646"/>
                  <a:pt x="4058709" y="2050952"/>
                </a:cubicBezTo>
                <a:cubicBezTo>
                  <a:pt x="4167852" y="1792620"/>
                  <a:pt x="4223601" y="1517798"/>
                  <a:pt x="4223601" y="1234340"/>
                </a:cubicBezTo>
                <a:cubicBezTo>
                  <a:pt x="4223601" y="796982"/>
                  <a:pt x="4090117" y="377683"/>
                  <a:pt x="3838067" y="22771"/>
                </a:cubicBezTo>
                <a:cubicBezTo>
                  <a:pt x="3833356" y="16489"/>
                  <a:pt x="3834927" y="7852"/>
                  <a:pt x="3841208" y="3141"/>
                </a:cubicBezTo>
                <a:cubicBezTo>
                  <a:pt x="3847489" y="-1570"/>
                  <a:pt x="3856127" y="0"/>
                  <a:pt x="3860838" y="6282"/>
                </a:cubicBezTo>
                <a:cubicBezTo>
                  <a:pt x="4116028" y="366690"/>
                  <a:pt x="4251083" y="791485"/>
                  <a:pt x="4251083" y="1234340"/>
                </a:cubicBezTo>
                <a:cubicBezTo>
                  <a:pt x="4251083" y="1520939"/>
                  <a:pt x="4194549" y="1799686"/>
                  <a:pt x="4083835" y="2061944"/>
                </a:cubicBezTo>
                <a:cubicBezTo>
                  <a:pt x="3977048" y="2314780"/>
                  <a:pt x="3823934" y="2542489"/>
                  <a:pt x="3628418" y="2737220"/>
                </a:cubicBezTo>
                <a:cubicBezTo>
                  <a:pt x="3432903" y="2931950"/>
                  <a:pt x="3205980" y="3085850"/>
                  <a:pt x="2953145" y="3192638"/>
                </a:cubicBezTo>
                <a:cubicBezTo>
                  <a:pt x="2690887" y="3303351"/>
                  <a:pt x="2412926" y="3359886"/>
                  <a:pt x="2125542" y="3359886"/>
                </a:cubicBezTo>
                <a:cubicBezTo>
                  <a:pt x="1838158" y="3359886"/>
                  <a:pt x="1560196" y="3303351"/>
                  <a:pt x="1297939" y="3192638"/>
                </a:cubicBezTo>
                <a:cubicBezTo>
                  <a:pt x="1045104" y="3085850"/>
                  <a:pt x="817395" y="2932735"/>
                  <a:pt x="622665" y="2737220"/>
                </a:cubicBezTo>
                <a:cubicBezTo>
                  <a:pt x="427150" y="2541704"/>
                  <a:pt x="274036" y="2314780"/>
                  <a:pt x="167248" y="2061944"/>
                </a:cubicBezTo>
                <a:cubicBezTo>
                  <a:pt x="56535" y="1799686"/>
                  <a:pt x="0" y="1521725"/>
                  <a:pt x="0" y="1234340"/>
                </a:cubicBezTo>
                <a:cubicBezTo>
                  <a:pt x="0" y="791485"/>
                  <a:pt x="135055" y="366690"/>
                  <a:pt x="390245" y="6282"/>
                </a:cubicBezTo>
                <a:cubicBezTo>
                  <a:pt x="392601" y="2356"/>
                  <a:pt x="397312" y="0"/>
                  <a:pt x="402024" y="0"/>
                </a:cubicBezTo>
                <a:close/>
              </a:path>
            </a:pathLst>
          </a:custGeom>
          <a:solidFill>
            <a:srgbClr val="0076A8"/>
          </a:solidFill>
          <a:ln w="784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 Placeholder 3">
            <a:extLst>
              <a:ext uri="{FF2B5EF4-FFF2-40B4-BE49-F238E27FC236}">
                <a16:creationId xmlns:a16="http://schemas.microsoft.com/office/drawing/2014/main" id="{51579FE5-8141-3496-C09A-A98881106D4B}"/>
              </a:ext>
            </a:extLst>
          </p:cNvPr>
          <p:cNvSpPr>
            <a:spLocks noGrp="1"/>
          </p:cNvSpPr>
          <p:nvPr>
            <p:ph type="body" sz="quarter" idx="13"/>
          </p:nvPr>
        </p:nvSpPr>
        <p:spPr>
          <a:xfrm>
            <a:off x="501650" y="717702"/>
            <a:ext cx="11195049" cy="371073"/>
          </a:xfrm>
        </p:spPr>
        <p:txBody>
          <a:bodyPr/>
          <a:lstStyle/>
          <a:p>
            <a:pPr algn="just"/>
            <a:r>
              <a:rPr lang="en-US"/>
              <a:t>Deloitte is one of the world’s largest and most diversified professional services organizations</a:t>
            </a:r>
          </a:p>
        </p:txBody>
      </p:sp>
      <p:sp>
        <p:nvSpPr>
          <p:cNvPr id="3" name="Title 2">
            <a:extLst>
              <a:ext uri="{FF2B5EF4-FFF2-40B4-BE49-F238E27FC236}">
                <a16:creationId xmlns:a16="http://schemas.microsoft.com/office/drawing/2014/main" id="{AF5F3DC5-F0C6-E896-5FA9-7C0F442C5BC2}"/>
              </a:ext>
            </a:extLst>
          </p:cNvPr>
          <p:cNvSpPr>
            <a:spLocks noGrp="1"/>
          </p:cNvSpPr>
          <p:nvPr>
            <p:ph type="title"/>
          </p:nvPr>
        </p:nvSpPr>
        <p:spPr/>
        <p:txBody>
          <a:bodyPr vert="horz" lIns="0" tIns="0" rIns="0" bIns="0" rtlCol="0" anchor="t" anchorCtr="0">
            <a:noAutofit/>
          </a:bodyPr>
          <a:lstStyle/>
          <a:p>
            <a:pPr defTabSz="685800"/>
            <a:r>
              <a:rPr lang="en-US" sz="2400" b="1">
                <a:solidFill>
                  <a:schemeClr val="accent2"/>
                </a:solidFill>
              </a:rPr>
              <a:t>About Deloitte</a:t>
            </a:r>
          </a:p>
        </p:txBody>
      </p:sp>
      <p:sp>
        <p:nvSpPr>
          <p:cNvPr id="7" name="Rectangle 30">
            <a:extLst>
              <a:ext uri="{FF2B5EF4-FFF2-40B4-BE49-F238E27FC236}">
                <a16:creationId xmlns:a16="http://schemas.microsoft.com/office/drawing/2014/main" id="{C252C514-E5F3-C84A-55C2-C0F86478090C}"/>
              </a:ext>
            </a:extLst>
          </p:cNvPr>
          <p:cNvSpPr>
            <a:spLocks noChangeArrowheads="1"/>
          </p:cNvSpPr>
          <p:nvPr/>
        </p:nvSpPr>
        <p:spPr bwMode="auto">
          <a:xfrm>
            <a:off x="1524" y="2180378"/>
            <a:ext cx="12188952" cy="353153"/>
          </a:xfrm>
          <a:prstGeom prst="rect">
            <a:avLst/>
          </a:prstGeom>
          <a:solidFill>
            <a:schemeClr val="accent1">
              <a:lumMod val="75000"/>
            </a:schemeClr>
          </a:solidFill>
          <a:ln w="12700" algn="ctr">
            <a:noFill/>
            <a:miter lim="800000"/>
            <a:headEnd/>
            <a:tailEnd/>
          </a:ln>
          <a:effectLst/>
        </p:spPr>
        <p:txBody>
          <a:bodyPr wrap="square" lIns="88900" tIns="88900" rIns="88900" bIns="88900" rtlCol="0" anchor="ctr"/>
          <a:lstStyle/>
          <a:p>
            <a:pPr algn="ctr">
              <a:lnSpc>
                <a:spcPct val="106000"/>
              </a:lnSpc>
            </a:pPr>
            <a:r>
              <a:rPr lang="en-US" sz="1400" b="1">
                <a:solidFill>
                  <a:schemeClr val="bg1"/>
                </a:solidFill>
              </a:rPr>
              <a:t>Deloitte member firms serve 75% of the 2024 Fortune 500 companies</a:t>
            </a:r>
          </a:p>
        </p:txBody>
      </p:sp>
      <p:grpSp>
        <p:nvGrpSpPr>
          <p:cNvPr id="2070" name="Graphic 2062">
            <a:extLst>
              <a:ext uri="{FF2B5EF4-FFF2-40B4-BE49-F238E27FC236}">
                <a16:creationId xmlns:a16="http://schemas.microsoft.com/office/drawing/2014/main" id="{436B0A5E-7AAA-B87F-6976-AD58273BBCEA}"/>
              </a:ext>
            </a:extLst>
          </p:cNvPr>
          <p:cNvGrpSpPr/>
          <p:nvPr/>
        </p:nvGrpSpPr>
        <p:grpSpPr>
          <a:xfrm>
            <a:off x="1" y="2604611"/>
            <a:ext cx="6085792" cy="448351"/>
            <a:chOff x="521067" y="2116931"/>
            <a:chExt cx="5564725" cy="448351"/>
          </a:xfrm>
        </p:grpSpPr>
        <p:sp>
          <p:nvSpPr>
            <p:cNvPr id="2071" name="Freeform: Shape 2070">
              <a:extLst>
                <a:ext uri="{FF2B5EF4-FFF2-40B4-BE49-F238E27FC236}">
                  <a16:creationId xmlns:a16="http://schemas.microsoft.com/office/drawing/2014/main" id="{6D8D056F-1D5B-20CE-2830-7D6B96213587}"/>
                </a:ext>
              </a:extLst>
            </p:cNvPr>
            <p:cNvSpPr/>
            <p:nvPr/>
          </p:nvSpPr>
          <p:spPr>
            <a:xfrm rot="10800000">
              <a:off x="521067" y="2116931"/>
              <a:ext cx="5564725" cy="448351"/>
            </a:xfrm>
            <a:custGeom>
              <a:avLst/>
              <a:gdLst>
                <a:gd name="connsiteX0" fmla="*/ 0 w 5564725"/>
                <a:gd name="connsiteY0" fmla="*/ 0 h 448351"/>
                <a:gd name="connsiteX1" fmla="*/ 5564726 w 5564725"/>
                <a:gd name="connsiteY1" fmla="*/ 0 h 448351"/>
                <a:gd name="connsiteX2" fmla="*/ 5564726 w 5564725"/>
                <a:gd name="connsiteY2" fmla="*/ 448351 h 448351"/>
                <a:gd name="connsiteX3" fmla="*/ 0 w 5564725"/>
                <a:gd name="connsiteY3" fmla="*/ 448351 h 448351"/>
              </a:gdLst>
              <a:ahLst/>
              <a:cxnLst>
                <a:cxn ang="0">
                  <a:pos x="connsiteX0" y="connsiteY0"/>
                </a:cxn>
                <a:cxn ang="0">
                  <a:pos x="connsiteX1" y="connsiteY1"/>
                </a:cxn>
                <a:cxn ang="0">
                  <a:pos x="connsiteX2" y="connsiteY2"/>
                </a:cxn>
                <a:cxn ang="0">
                  <a:pos x="connsiteX3" y="connsiteY3"/>
                </a:cxn>
              </a:cxnLst>
              <a:rect l="l" t="t" r="r" b="b"/>
              <a:pathLst>
                <a:path w="5564725" h="448351">
                  <a:moveTo>
                    <a:pt x="0" y="0"/>
                  </a:moveTo>
                  <a:lnTo>
                    <a:pt x="5564726" y="0"/>
                  </a:lnTo>
                  <a:lnTo>
                    <a:pt x="5564726" y="448351"/>
                  </a:lnTo>
                  <a:lnTo>
                    <a:pt x="0" y="448351"/>
                  </a:lnTo>
                  <a:close/>
                </a:path>
              </a:pathLst>
            </a:custGeom>
            <a:solidFill>
              <a:schemeClr val="accent2">
                <a:lumMod val="60000"/>
                <a:lumOff val="40000"/>
              </a:schemeClr>
            </a:solidFill>
            <a:ln w="78481" cap="flat">
              <a:noFill/>
              <a:prstDash val="solid"/>
              <a:miter/>
            </a:ln>
          </p:spPr>
          <p:txBody>
            <a:bodyPr rtlCol="0" anchor="ctr"/>
            <a:lstStyle/>
            <a:p>
              <a:endParaRPr lang="en-US"/>
            </a:p>
          </p:txBody>
        </p:sp>
        <p:sp>
          <p:nvSpPr>
            <p:cNvPr id="2072" name="Freeform: Shape 2071">
              <a:extLst>
                <a:ext uri="{FF2B5EF4-FFF2-40B4-BE49-F238E27FC236}">
                  <a16:creationId xmlns:a16="http://schemas.microsoft.com/office/drawing/2014/main" id="{B95AD6C6-C84D-2449-E221-8E09BF6DC4FC}"/>
                </a:ext>
              </a:extLst>
            </p:cNvPr>
            <p:cNvSpPr/>
            <p:nvPr/>
          </p:nvSpPr>
          <p:spPr>
            <a:xfrm rot="10800000">
              <a:off x="521067" y="2340714"/>
              <a:ext cx="5564725" cy="224568"/>
            </a:xfrm>
            <a:custGeom>
              <a:avLst/>
              <a:gdLst>
                <a:gd name="connsiteX0" fmla="*/ 0 w 5564725"/>
                <a:gd name="connsiteY0" fmla="*/ 0 h 224568"/>
                <a:gd name="connsiteX1" fmla="*/ 5564726 w 5564725"/>
                <a:gd name="connsiteY1" fmla="*/ 0 h 224568"/>
                <a:gd name="connsiteX2" fmla="*/ 5564726 w 5564725"/>
                <a:gd name="connsiteY2" fmla="*/ 224568 h 224568"/>
                <a:gd name="connsiteX3" fmla="*/ 0 w 5564725"/>
                <a:gd name="connsiteY3" fmla="*/ 224568 h 224568"/>
              </a:gdLst>
              <a:ahLst/>
              <a:cxnLst>
                <a:cxn ang="0">
                  <a:pos x="connsiteX0" y="connsiteY0"/>
                </a:cxn>
                <a:cxn ang="0">
                  <a:pos x="connsiteX1" y="connsiteY1"/>
                </a:cxn>
                <a:cxn ang="0">
                  <a:pos x="connsiteX2" y="connsiteY2"/>
                </a:cxn>
                <a:cxn ang="0">
                  <a:pos x="connsiteX3" y="connsiteY3"/>
                </a:cxn>
              </a:cxnLst>
              <a:rect l="l" t="t" r="r" b="b"/>
              <a:pathLst>
                <a:path w="5564725" h="224568">
                  <a:moveTo>
                    <a:pt x="0" y="0"/>
                  </a:moveTo>
                  <a:lnTo>
                    <a:pt x="5564726" y="0"/>
                  </a:lnTo>
                  <a:lnTo>
                    <a:pt x="5564726" y="224568"/>
                  </a:lnTo>
                  <a:lnTo>
                    <a:pt x="0" y="224568"/>
                  </a:lnTo>
                  <a:close/>
                </a:path>
              </a:pathLst>
            </a:custGeom>
            <a:solidFill>
              <a:schemeClr val="accent1">
                <a:lumMod val="50000"/>
                <a:alpha val="20000"/>
              </a:schemeClr>
            </a:solidFill>
            <a:ln w="78481" cap="flat">
              <a:noFill/>
              <a:prstDash val="solid"/>
              <a:miter/>
            </a:ln>
          </p:spPr>
          <p:txBody>
            <a:bodyPr rtlCol="0" anchor="ctr"/>
            <a:lstStyle/>
            <a:p>
              <a:endParaRPr lang="en-US"/>
            </a:p>
          </p:txBody>
        </p:sp>
      </p:grpSp>
      <p:grpSp>
        <p:nvGrpSpPr>
          <p:cNvPr id="2117" name="Group 2116">
            <a:extLst>
              <a:ext uri="{FF2B5EF4-FFF2-40B4-BE49-F238E27FC236}">
                <a16:creationId xmlns:a16="http://schemas.microsoft.com/office/drawing/2014/main" id="{77589996-B6C9-6A6F-872E-2BA839BBF69E}"/>
              </a:ext>
            </a:extLst>
          </p:cNvPr>
          <p:cNvGrpSpPr/>
          <p:nvPr/>
        </p:nvGrpSpPr>
        <p:grpSpPr>
          <a:xfrm>
            <a:off x="4233741" y="2603638"/>
            <a:ext cx="3724518" cy="3724524"/>
            <a:chOff x="4312261" y="2122666"/>
            <a:chExt cx="3546279" cy="3546285"/>
          </a:xfrm>
        </p:grpSpPr>
        <p:sp>
          <p:nvSpPr>
            <p:cNvPr id="2116" name="Freeform: Shape 2115">
              <a:extLst>
                <a:ext uri="{FF2B5EF4-FFF2-40B4-BE49-F238E27FC236}">
                  <a16:creationId xmlns:a16="http://schemas.microsoft.com/office/drawing/2014/main" id="{D71C28AB-BD48-074C-1EE2-4E40DAD44035}"/>
                </a:ext>
              </a:extLst>
            </p:cNvPr>
            <p:cNvSpPr/>
            <p:nvPr/>
          </p:nvSpPr>
          <p:spPr>
            <a:xfrm>
              <a:off x="4312261" y="2122666"/>
              <a:ext cx="3546279" cy="3546285"/>
            </a:xfrm>
            <a:custGeom>
              <a:avLst/>
              <a:gdLst>
                <a:gd name="connsiteX0" fmla="*/ 1773524 w 3546279"/>
                <a:gd name="connsiteY0" fmla="*/ 424461 h 3546285"/>
                <a:gd name="connsiteX1" fmla="*/ 1640232 w 3546279"/>
                <a:gd name="connsiteY1" fmla="*/ 430958 h 3546285"/>
                <a:gd name="connsiteX2" fmla="*/ 820603 w 3546279"/>
                <a:gd name="connsiteY2" fmla="*/ 819118 h 3546285"/>
                <a:gd name="connsiteX3" fmla="*/ 819860 w 3546279"/>
                <a:gd name="connsiteY3" fmla="*/ 819862 h 3546285"/>
                <a:gd name="connsiteX4" fmla="*/ 425168 w 3546279"/>
                <a:gd name="connsiteY4" fmla="*/ 1773516 h 3546285"/>
                <a:gd name="connsiteX5" fmla="*/ 424461 w 3546279"/>
                <a:gd name="connsiteY5" fmla="*/ 1773516 h 3546285"/>
                <a:gd name="connsiteX6" fmla="*/ 430957 w 3546279"/>
                <a:gd name="connsiteY6" fmla="*/ 1906795 h 3546285"/>
                <a:gd name="connsiteX7" fmla="*/ 819116 w 3546279"/>
                <a:gd name="connsiteY7" fmla="*/ 2726425 h 3546285"/>
                <a:gd name="connsiteX8" fmla="*/ 1772768 w 3546279"/>
                <a:gd name="connsiteY8" fmla="*/ 3121118 h 3546285"/>
                <a:gd name="connsiteX9" fmla="*/ 2726420 w 3546279"/>
                <a:gd name="connsiteY9" fmla="*/ 2726425 h 3546285"/>
                <a:gd name="connsiteX10" fmla="*/ 3121112 w 3546279"/>
                <a:gd name="connsiteY10" fmla="*/ 1772772 h 3546285"/>
                <a:gd name="connsiteX11" fmla="*/ 2726420 w 3546279"/>
                <a:gd name="connsiteY11" fmla="*/ 819117 h 3546285"/>
                <a:gd name="connsiteX12" fmla="*/ 1906792 w 3546279"/>
                <a:gd name="connsiteY12" fmla="*/ 430927 h 3546285"/>
                <a:gd name="connsiteX13" fmla="*/ 1772768 w 3546279"/>
                <a:gd name="connsiteY13" fmla="*/ 0 h 3546285"/>
                <a:gd name="connsiteX14" fmla="*/ 1773526 w 3546279"/>
                <a:gd name="connsiteY14" fmla="*/ 37 h 3546285"/>
                <a:gd name="connsiteX15" fmla="*/ 1774255 w 3546279"/>
                <a:gd name="connsiteY15" fmla="*/ 1 h 3546285"/>
                <a:gd name="connsiteX16" fmla="*/ 1774255 w 3546279"/>
                <a:gd name="connsiteY16" fmla="*/ 73 h 3546285"/>
                <a:gd name="connsiteX17" fmla="*/ 1950800 w 3546279"/>
                <a:gd name="connsiteY17" fmla="*/ 8769 h 3546285"/>
                <a:gd name="connsiteX18" fmla="*/ 2463292 w 3546279"/>
                <a:gd name="connsiteY18" fmla="*/ 139740 h 3546285"/>
                <a:gd name="connsiteX19" fmla="*/ 3026713 w 3546279"/>
                <a:gd name="connsiteY19" fmla="*/ 519567 h 3546285"/>
                <a:gd name="connsiteX20" fmla="*/ 3406538 w 3546279"/>
                <a:gd name="connsiteY20" fmla="*/ 1082989 h 3546285"/>
                <a:gd name="connsiteX21" fmla="*/ 3546279 w 3546279"/>
                <a:gd name="connsiteY21" fmla="*/ 1773515 h 3546285"/>
                <a:gd name="connsiteX22" fmla="*/ 3406538 w 3546279"/>
                <a:gd name="connsiteY22" fmla="*/ 2464040 h 3546285"/>
                <a:gd name="connsiteX23" fmla="*/ 3407282 w 3546279"/>
                <a:gd name="connsiteY23" fmla="*/ 2463297 h 3546285"/>
                <a:gd name="connsiteX24" fmla="*/ 3027456 w 3546279"/>
                <a:gd name="connsiteY24" fmla="*/ 3026719 h 3546285"/>
                <a:gd name="connsiteX25" fmla="*/ 2464036 w 3546279"/>
                <a:gd name="connsiteY25" fmla="*/ 3406545 h 3546285"/>
                <a:gd name="connsiteX26" fmla="*/ 1773511 w 3546279"/>
                <a:gd name="connsiteY26" fmla="*/ 3546285 h 3546285"/>
                <a:gd name="connsiteX27" fmla="*/ 1082987 w 3546279"/>
                <a:gd name="connsiteY27" fmla="*/ 3406545 h 3546285"/>
                <a:gd name="connsiteX28" fmla="*/ 519566 w 3546279"/>
                <a:gd name="connsiteY28" fmla="*/ 3026719 h 3546285"/>
                <a:gd name="connsiteX29" fmla="*/ 139740 w 3546279"/>
                <a:gd name="connsiteY29" fmla="*/ 2463297 h 3546285"/>
                <a:gd name="connsiteX30" fmla="*/ 0 w 3546279"/>
                <a:gd name="connsiteY30" fmla="*/ 1772772 h 3546285"/>
                <a:gd name="connsiteX31" fmla="*/ 781 w 3546279"/>
                <a:gd name="connsiteY31" fmla="*/ 1772772 h 3546285"/>
                <a:gd name="connsiteX32" fmla="*/ 9513 w 3546279"/>
                <a:gd name="connsiteY32" fmla="*/ 1595484 h 3546285"/>
                <a:gd name="connsiteX33" fmla="*/ 140484 w 3546279"/>
                <a:gd name="connsiteY33" fmla="*/ 1082990 h 3546285"/>
                <a:gd name="connsiteX34" fmla="*/ 520310 w 3546279"/>
                <a:gd name="connsiteY34" fmla="*/ 519568 h 3546285"/>
                <a:gd name="connsiteX35" fmla="*/ 1083730 w 3546279"/>
                <a:gd name="connsiteY35" fmla="*/ 139741 h 3546285"/>
                <a:gd name="connsiteX36" fmla="*/ 1596119 w 3546279"/>
                <a:gd name="connsiteY36" fmla="*/ 8874 h 3546285"/>
                <a:gd name="connsiteX37" fmla="*/ 1772768 w 3546279"/>
                <a:gd name="connsiteY37" fmla="*/ 75 h 3546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46279" h="3546285">
                  <a:moveTo>
                    <a:pt x="1773524" y="424461"/>
                  </a:moveTo>
                  <a:lnTo>
                    <a:pt x="1640232" y="430958"/>
                  </a:lnTo>
                  <a:cubicBezTo>
                    <a:pt x="1330506" y="461323"/>
                    <a:pt x="1043685" y="596686"/>
                    <a:pt x="820603" y="819118"/>
                  </a:cubicBezTo>
                  <a:lnTo>
                    <a:pt x="819860" y="819862"/>
                  </a:lnTo>
                  <a:cubicBezTo>
                    <a:pt x="564908" y="1074813"/>
                    <a:pt x="425168" y="1413015"/>
                    <a:pt x="425168" y="1773516"/>
                  </a:cubicBezTo>
                  <a:lnTo>
                    <a:pt x="424461" y="1773516"/>
                  </a:lnTo>
                  <a:lnTo>
                    <a:pt x="430957" y="1906795"/>
                  </a:lnTo>
                  <a:cubicBezTo>
                    <a:pt x="461322" y="2216521"/>
                    <a:pt x="596684" y="2503342"/>
                    <a:pt x="819116" y="2726425"/>
                  </a:cubicBezTo>
                  <a:cubicBezTo>
                    <a:pt x="1074067" y="2981378"/>
                    <a:pt x="1412268" y="3121118"/>
                    <a:pt x="1772768" y="3121118"/>
                  </a:cubicBezTo>
                  <a:cubicBezTo>
                    <a:pt x="2133268" y="3121118"/>
                    <a:pt x="2471469" y="2980634"/>
                    <a:pt x="2726420" y="2726425"/>
                  </a:cubicBezTo>
                  <a:cubicBezTo>
                    <a:pt x="2981372" y="2471473"/>
                    <a:pt x="3121112" y="2133271"/>
                    <a:pt x="3121112" y="1772772"/>
                  </a:cubicBezTo>
                  <a:cubicBezTo>
                    <a:pt x="3121112" y="1412271"/>
                    <a:pt x="2980628" y="1074069"/>
                    <a:pt x="2726420" y="819117"/>
                  </a:cubicBezTo>
                  <a:cubicBezTo>
                    <a:pt x="2503338" y="596034"/>
                    <a:pt x="2216518" y="461160"/>
                    <a:pt x="1906792" y="430927"/>
                  </a:cubicBezTo>
                  <a:close/>
                  <a:moveTo>
                    <a:pt x="1772768" y="0"/>
                  </a:moveTo>
                  <a:lnTo>
                    <a:pt x="1773526" y="37"/>
                  </a:lnTo>
                  <a:lnTo>
                    <a:pt x="1774255" y="1"/>
                  </a:lnTo>
                  <a:lnTo>
                    <a:pt x="1774255" y="73"/>
                  </a:lnTo>
                  <a:lnTo>
                    <a:pt x="1950800" y="8769"/>
                  </a:lnTo>
                  <a:cubicBezTo>
                    <a:pt x="2127275" y="26294"/>
                    <a:pt x="2298837" y="70056"/>
                    <a:pt x="2463292" y="139740"/>
                  </a:cubicBezTo>
                  <a:cubicBezTo>
                    <a:pt x="2674389" y="228937"/>
                    <a:pt x="2863930" y="356784"/>
                    <a:pt x="3026713" y="519567"/>
                  </a:cubicBezTo>
                  <a:cubicBezTo>
                    <a:pt x="3189495" y="682350"/>
                    <a:pt x="3317342" y="871891"/>
                    <a:pt x="3406538" y="1082989"/>
                  </a:cubicBezTo>
                  <a:cubicBezTo>
                    <a:pt x="3498708" y="1301518"/>
                    <a:pt x="3546279" y="1534172"/>
                    <a:pt x="3546279" y="1773515"/>
                  </a:cubicBezTo>
                  <a:cubicBezTo>
                    <a:pt x="3546279" y="2012857"/>
                    <a:pt x="3499451" y="2244767"/>
                    <a:pt x="3406538" y="2464040"/>
                  </a:cubicBezTo>
                  <a:lnTo>
                    <a:pt x="3407282" y="2463297"/>
                  </a:lnTo>
                  <a:cubicBezTo>
                    <a:pt x="3318086" y="2674394"/>
                    <a:pt x="3190239" y="2863935"/>
                    <a:pt x="3027456" y="3026719"/>
                  </a:cubicBezTo>
                  <a:cubicBezTo>
                    <a:pt x="2864674" y="3189501"/>
                    <a:pt x="2675133" y="3317349"/>
                    <a:pt x="2464036" y="3406545"/>
                  </a:cubicBezTo>
                  <a:cubicBezTo>
                    <a:pt x="2245506" y="3498714"/>
                    <a:pt x="2012853" y="3546285"/>
                    <a:pt x="1773511" y="3546285"/>
                  </a:cubicBezTo>
                  <a:cubicBezTo>
                    <a:pt x="1534169" y="3546285"/>
                    <a:pt x="1302260" y="3499457"/>
                    <a:pt x="1082987" y="3406545"/>
                  </a:cubicBezTo>
                  <a:cubicBezTo>
                    <a:pt x="871890" y="3317349"/>
                    <a:pt x="682348" y="3189501"/>
                    <a:pt x="519566" y="3026719"/>
                  </a:cubicBezTo>
                  <a:cubicBezTo>
                    <a:pt x="356784" y="2863935"/>
                    <a:pt x="228936" y="2674394"/>
                    <a:pt x="139740" y="2463297"/>
                  </a:cubicBezTo>
                  <a:cubicBezTo>
                    <a:pt x="47571" y="2244767"/>
                    <a:pt x="0" y="2012114"/>
                    <a:pt x="0" y="1772772"/>
                  </a:cubicBezTo>
                  <a:lnTo>
                    <a:pt x="781" y="1772772"/>
                  </a:lnTo>
                  <a:lnTo>
                    <a:pt x="9513" y="1595484"/>
                  </a:lnTo>
                  <a:cubicBezTo>
                    <a:pt x="27039" y="1419008"/>
                    <a:pt x="70800" y="1247445"/>
                    <a:pt x="140484" y="1082990"/>
                  </a:cubicBezTo>
                  <a:cubicBezTo>
                    <a:pt x="229680" y="871893"/>
                    <a:pt x="357528" y="682351"/>
                    <a:pt x="520310" y="519568"/>
                  </a:cubicBezTo>
                  <a:cubicBezTo>
                    <a:pt x="683092" y="356786"/>
                    <a:pt x="872634" y="228938"/>
                    <a:pt x="1083730" y="139741"/>
                  </a:cubicBezTo>
                  <a:cubicBezTo>
                    <a:pt x="1247627" y="70615"/>
                    <a:pt x="1419469" y="26574"/>
                    <a:pt x="1596119" y="8874"/>
                  </a:cubicBezTo>
                  <a:lnTo>
                    <a:pt x="1772768" y="75"/>
                  </a:lnTo>
                  <a:close/>
                </a:path>
              </a:pathLst>
            </a:custGeom>
            <a:solidFill>
              <a:schemeClr val="accent2">
                <a:lumMod val="60000"/>
                <a:lumOff val="40000"/>
              </a:schemeClr>
            </a:solidFill>
            <a:ln w="78481" cap="flat">
              <a:noFill/>
              <a:prstDash val="solid"/>
              <a:miter/>
            </a:ln>
          </p:spPr>
          <p:txBody>
            <a:bodyPr rtlCol="0" anchor="ctr"/>
            <a:lstStyle/>
            <a:p>
              <a:endParaRPr lang="en-US"/>
            </a:p>
          </p:txBody>
        </p:sp>
        <p:sp>
          <p:nvSpPr>
            <p:cNvPr id="2066" name="Freeform: Shape 2065">
              <a:extLst>
                <a:ext uri="{FF2B5EF4-FFF2-40B4-BE49-F238E27FC236}">
                  <a16:creationId xmlns:a16="http://schemas.microsoft.com/office/drawing/2014/main" id="{B75E4FBA-8989-0B8F-57AD-4315F1639A5F}"/>
                </a:ext>
              </a:extLst>
            </p:cNvPr>
            <p:cNvSpPr/>
            <p:nvPr/>
          </p:nvSpPr>
          <p:spPr>
            <a:xfrm>
              <a:off x="4524844" y="2334506"/>
              <a:ext cx="3121855" cy="3121860"/>
            </a:xfrm>
            <a:custGeom>
              <a:avLst/>
              <a:gdLst>
                <a:gd name="connsiteX0" fmla="*/ 1648924 w 3297848"/>
                <a:gd name="connsiteY0" fmla="*/ 3297855 h 3297854"/>
                <a:gd name="connsiteX1" fmla="*/ 0 w 3297848"/>
                <a:gd name="connsiteY1" fmla="*/ 1648928 h 3297854"/>
                <a:gd name="connsiteX2" fmla="*/ 224568 w 3297848"/>
                <a:gd name="connsiteY2" fmla="*/ 1648928 h 3297854"/>
                <a:gd name="connsiteX3" fmla="*/ 641510 w 3297848"/>
                <a:gd name="connsiteY3" fmla="*/ 2656344 h 3297854"/>
                <a:gd name="connsiteX4" fmla="*/ 1648924 w 3297848"/>
                <a:gd name="connsiteY4" fmla="*/ 3073287 h 3297854"/>
                <a:gd name="connsiteX5" fmla="*/ 2656338 w 3297848"/>
                <a:gd name="connsiteY5" fmla="*/ 2656344 h 3297854"/>
                <a:gd name="connsiteX6" fmla="*/ 3073281 w 3297848"/>
                <a:gd name="connsiteY6" fmla="*/ 1648928 h 3297854"/>
                <a:gd name="connsiteX7" fmla="*/ 2656338 w 3297848"/>
                <a:gd name="connsiteY7" fmla="*/ 641511 h 3297854"/>
                <a:gd name="connsiteX8" fmla="*/ 1648924 w 3297848"/>
                <a:gd name="connsiteY8" fmla="*/ 224568 h 3297854"/>
                <a:gd name="connsiteX9" fmla="*/ 1648924 w 3297848"/>
                <a:gd name="connsiteY9" fmla="*/ 0 h 3297854"/>
                <a:gd name="connsiteX10" fmla="*/ 3297848 w 3297848"/>
                <a:gd name="connsiteY10" fmla="*/ 1648928 h 3297854"/>
                <a:gd name="connsiteX11" fmla="*/ 1648924 w 3297848"/>
                <a:gd name="connsiteY11" fmla="*/ 3297855 h 3297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7848" h="3297854">
                  <a:moveTo>
                    <a:pt x="1648924" y="3297855"/>
                  </a:moveTo>
                  <a:cubicBezTo>
                    <a:pt x="738090" y="3297855"/>
                    <a:pt x="0" y="2559764"/>
                    <a:pt x="0" y="1648928"/>
                  </a:cubicBezTo>
                  <a:lnTo>
                    <a:pt x="224568" y="1648928"/>
                  </a:lnTo>
                  <a:cubicBezTo>
                    <a:pt x="224568" y="2029751"/>
                    <a:pt x="372971" y="2387019"/>
                    <a:pt x="641510" y="2656344"/>
                  </a:cubicBezTo>
                  <a:cubicBezTo>
                    <a:pt x="910834" y="2925669"/>
                    <a:pt x="1268101" y="3073287"/>
                    <a:pt x="1648924" y="3073287"/>
                  </a:cubicBezTo>
                  <a:cubicBezTo>
                    <a:pt x="2029747" y="3073287"/>
                    <a:pt x="2387014" y="2924883"/>
                    <a:pt x="2656338" y="2656344"/>
                  </a:cubicBezTo>
                  <a:cubicBezTo>
                    <a:pt x="2925662" y="2387019"/>
                    <a:pt x="3073281" y="2029751"/>
                    <a:pt x="3073281" y="1648928"/>
                  </a:cubicBezTo>
                  <a:cubicBezTo>
                    <a:pt x="3073281" y="1268104"/>
                    <a:pt x="2924878" y="910836"/>
                    <a:pt x="2656338" y="641511"/>
                  </a:cubicBezTo>
                  <a:cubicBezTo>
                    <a:pt x="2387014" y="372187"/>
                    <a:pt x="2029747" y="224568"/>
                    <a:pt x="1648924" y="224568"/>
                  </a:cubicBezTo>
                  <a:lnTo>
                    <a:pt x="1648924" y="0"/>
                  </a:lnTo>
                  <a:cubicBezTo>
                    <a:pt x="2559759" y="0"/>
                    <a:pt x="3297848" y="738091"/>
                    <a:pt x="3297848" y="1648928"/>
                  </a:cubicBezTo>
                  <a:cubicBezTo>
                    <a:pt x="3297848" y="2559764"/>
                    <a:pt x="2559759" y="3297855"/>
                    <a:pt x="1648924" y="3297855"/>
                  </a:cubicBezTo>
                  <a:close/>
                </a:path>
              </a:pathLst>
            </a:custGeom>
            <a:solidFill>
              <a:srgbClr val="000000">
                <a:alpha val="20000"/>
              </a:srgbClr>
            </a:solidFill>
            <a:ln w="78481" cap="flat">
              <a:noFill/>
              <a:prstDash val="solid"/>
              <a:miter/>
            </a:ln>
          </p:spPr>
          <p:txBody>
            <a:bodyPr rtlCol="0" anchor="ctr"/>
            <a:lstStyle/>
            <a:p>
              <a:endParaRPr lang="en-US"/>
            </a:p>
          </p:txBody>
        </p:sp>
        <p:sp>
          <p:nvSpPr>
            <p:cNvPr id="2074" name="Freeform: Shape 2073">
              <a:extLst>
                <a:ext uri="{FF2B5EF4-FFF2-40B4-BE49-F238E27FC236}">
                  <a16:creationId xmlns:a16="http://schemas.microsoft.com/office/drawing/2014/main" id="{9FFB42F0-04DE-3BC4-25D0-7A2945FB582F}"/>
                </a:ext>
              </a:extLst>
            </p:cNvPr>
            <p:cNvSpPr/>
            <p:nvPr/>
          </p:nvSpPr>
          <p:spPr>
            <a:xfrm>
              <a:off x="4524844" y="2334507"/>
              <a:ext cx="1560927" cy="1560930"/>
            </a:xfrm>
            <a:custGeom>
              <a:avLst/>
              <a:gdLst>
                <a:gd name="connsiteX0" fmla="*/ 1648924 w 1648924"/>
                <a:gd name="connsiteY0" fmla="*/ 224568 h 1648927"/>
                <a:gd name="connsiteX1" fmla="*/ 641510 w 1648924"/>
                <a:gd name="connsiteY1" fmla="*/ 641511 h 1648927"/>
                <a:gd name="connsiteX2" fmla="*/ 224568 w 1648924"/>
                <a:gd name="connsiteY2" fmla="*/ 1648928 h 1648927"/>
                <a:gd name="connsiteX3" fmla="*/ 0 w 1648924"/>
                <a:gd name="connsiteY3" fmla="*/ 1648928 h 1648927"/>
                <a:gd name="connsiteX4" fmla="*/ 1648924 w 1648924"/>
                <a:gd name="connsiteY4" fmla="*/ 0 h 1648927"/>
                <a:gd name="connsiteX5" fmla="*/ 1648924 w 1648924"/>
                <a:gd name="connsiteY5" fmla="*/ 224568 h 1648927"/>
                <a:gd name="connsiteX6" fmla="*/ 1648924 w 1648924"/>
                <a:gd name="connsiteY6" fmla="*/ 224568 h 164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924" h="1648927">
                  <a:moveTo>
                    <a:pt x="1648924" y="224568"/>
                  </a:moveTo>
                  <a:cubicBezTo>
                    <a:pt x="1268101" y="224568"/>
                    <a:pt x="910834" y="372972"/>
                    <a:pt x="641510" y="641511"/>
                  </a:cubicBezTo>
                  <a:cubicBezTo>
                    <a:pt x="372186" y="910836"/>
                    <a:pt x="224568" y="1268104"/>
                    <a:pt x="224568" y="1648928"/>
                  </a:cubicBezTo>
                  <a:lnTo>
                    <a:pt x="0" y="1648928"/>
                  </a:lnTo>
                  <a:cubicBezTo>
                    <a:pt x="0" y="738091"/>
                    <a:pt x="738090" y="0"/>
                    <a:pt x="1648924" y="0"/>
                  </a:cubicBezTo>
                  <a:lnTo>
                    <a:pt x="1648924" y="224568"/>
                  </a:lnTo>
                  <a:lnTo>
                    <a:pt x="1648924" y="224568"/>
                  </a:lnTo>
                  <a:close/>
                </a:path>
              </a:pathLst>
            </a:custGeom>
            <a:solidFill>
              <a:srgbClr val="000000">
                <a:alpha val="20000"/>
              </a:srgbClr>
            </a:solidFill>
            <a:ln w="78481" cap="flat">
              <a:noFill/>
              <a:prstDash val="solid"/>
              <a:miter/>
            </a:ln>
          </p:spPr>
          <p:txBody>
            <a:bodyPr rtlCol="0" anchor="ctr"/>
            <a:lstStyle/>
            <a:p>
              <a:endParaRPr lang="en-US"/>
            </a:p>
          </p:txBody>
        </p:sp>
      </p:grpSp>
      <p:grpSp>
        <p:nvGrpSpPr>
          <p:cNvPr id="2067" name="Graphic 2062">
            <a:extLst>
              <a:ext uri="{FF2B5EF4-FFF2-40B4-BE49-F238E27FC236}">
                <a16:creationId xmlns:a16="http://schemas.microsoft.com/office/drawing/2014/main" id="{FE134152-E973-30A9-EE59-368A4E4C03F3}"/>
              </a:ext>
            </a:extLst>
          </p:cNvPr>
          <p:cNvGrpSpPr/>
          <p:nvPr/>
        </p:nvGrpSpPr>
        <p:grpSpPr>
          <a:xfrm>
            <a:off x="6057900" y="2604611"/>
            <a:ext cx="6132576" cy="448351"/>
            <a:chOff x="6085792" y="2116931"/>
            <a:chExt cx="5564725" cy="448351"/>
          </a:xfrm>
        </p:grpSpPr>
        <p:sp>
          <p:nvSpPr>
            <p:cNvPr id="2068" name="Freeform: Shape 2067">
              <a:extLst>
                <a:ext uri="{FF2B5EF4-FFF2-40B4-BE49-F238E27FC236}">
                  <a16:creationId xmlns:a16="http://schemas.microsoft.com/office/drawing/2014/main" id="{D9D3082F-2421-3015-CDF1-113935E69889}"/>
                </a:ext>
              </a:extLst>
            </p:cNvPr>
            <p:cNvSpPr/>
            <p:nvPr/>
          </p:nvSpPr>
          <p:spPr>
            <a:xfrm rot="10800000">
              <a:off x="6085792" y="2116931"/>
              <a:ext cx="5564725" cy="448351"/>
            </a:xfrm>
            <a:custGeom>
              <a:avLst/>
              <a:gdLst>
                <a:gd name="connsiteX0" fmla="*/ 0 w 5564725"/>
                <a:gd name="connsiteY0" fmla="*/ 0 h 448351"/>
                <a:gd name="connsiteX1" fmla="*/ 5564726 w 5564725"/>
                <a:gd name="connsiteY1" fmla="*/ 0 h 448351"/>
                <a:gd name="connsiteX2" fmla="*/ 5564726 w 5564725"/>
                <a:gd name="connsiteY2" fmla="*/ 448351 h 448351"/>
                <a:gd name="connsiteX3" fmla="*/ -1 w 5564725"/>
                <a:gd name="connsiteY3" fmla="*/ 448351 h 448351"/>
              </a:gdLst>
              <a:ahLst/>
              <a:cxnLst>
                <a:cxn ang="0">
                  <a:pos x="connsiteX0" y="connsiteY0"/>
                </a:cxn>
                <a:cxn ang="0">
                  <a:pos x="connsiteX1" y="connsiteY1"/>
                </a:cxn>
                <a:cxn ang="0">
                  <a:pos x="connsiteX2" y="connsiteY2"/>
                </a:cxn>
                <a:cxn ang="0">
                  <a:pos x="connsiteX3" y="connsiteY3"/>
                </a:cxn>
              </a:cxnLst>
              <a:rect l="l" t="t" r="r" b="b"/>
              <a:pathLst>
                <a:path w="5564725" h="448351">
                  <a:moveTo>
                    <a:pt x="0" y="0"/>
                  </a:moveTo>
                  <a:lnTo>
                    <a:pt x="5564726" y="0"/>
                  </a:lnTo>
                  <a:lnTo>
                    <a:pt x="5564726" y="448351"/>
                  </a:lnTo>
                  <a:lnTo>
                    <a:pt x="-1" y="448351"/>
                  </a:lnTo>
                  <a:close/>
                </a:path>
              </a:pathLst>
            </a:custGeom>
            <a:solidFill>
              <a:schemeClr val="accent2">
                <a:lumMod val="60000"/>
                <a:lumOff val="40000"/>
              </a:schemeClr>
            </a:solidFill>
            <a:ln w="78481" cap="flat">
              <a:noFill/>
              <a:prstDash val="solid"/>
              <a:miter/>
            </a:ln>
          </p:spPr>
          <p:txBody>
            <a:bodyPr rtlCol="0" anchor="ctr"/>
            <a:lstStyle/>
            <a:p>
              <a:endParaRPr lang="en-US"/>
            </a:p>
          </p:txBody>
        </p:sp>
        <p:sp>
          <p:nvSpPr>
            <p:cNvPr id="2069" name="Freeform: Shape 2068">
              <a:extLst>
                <a:ext uri="{FF2B5EF4-FFF2-40B4-BE49-F238E27FC236}">
                  <a16:creationId xmlns:a16="http://schemas.microsoft.com/office/drawing/2014/main" id="{B8EED3AA-F216-B639-2DDF-4D1759BE7A8C}"/>
                </a:ext>
              </a:extLst>
            </p:cNvPr>
            <p:cNvSpPr/>
            <p:nvPr/>
          </p:nvSpPr>
          <p:spPr>
            <a:xfrm rot="10800000">
              <a:off x="6085792" y="2340714"/>
              <a:ext cx="5564725" cy="224568"/>
            </a:xfrm>
            <a:custGeom>
              <a:avLst/>
              <a:gdLst>
                <a:gd name="connsiteX0" fmla="*/ 0 w 5564725"/>
                <a:gd name="connsiteY0" fmla="*/ 0 h 224568"/>
                <a:gd name="connsiteX1" fmla="*/ 5564726 w 5564725"/>
                <a:gd name="connsiteY1" fmla="*/ 0 h 224568"/>
                <a:gd name="connsiteX2" fmla="*/ 5564726 w 5564725"/>
                <a:gd name="connsiteY2" fmla="*/ 224568 h 224568"/>
                <a:gd name="connsiteX3" fmla="*/ -1 w 5564725"/>
                <a:gd name="connsiteY3" fmla="*/ 224568 h 224568"/>
              </a:gdLst>
              <a:ahLst/>
              <a:cxnLst>
                <a:cxn ang="0">
                  <a:pos x="connsiteX0" y="connsiteY0"/>
                </a:cxn>
                <a:cxn ang="0">
                  <a:pos x="connsiteX1" y="connsiteY1"/>
                </a:cxn>
                <a:cxn ang="0">
                  <a:pos x="connsiteX2" y="connsiteY2"/>
                </a:cxn>
                <a:cxn ang="0">
                  <a:pos x="connsiteX3" y="connsiteY3"/>
                </a:cxn>
              </a:cxnLst>
              <a:rect l="l" t="t" r="r" b="b"/>
              <a:pathLst>
                <a:path w="5564725" h="224568">
                  <a:moveTo>
                    <a:pt x="0" y="0"/>
                  </a:moveTo>
                  <a:lnTo>
                    <a:pt x="5564726" y="0"/>
                  </a:lnTo>
                  <a:lnTo>
                    <a:pt x="5564726" y="224568"/>
                  </a:lnTo>
                  <a:lnTo>
                    <a:pt x="-1" y="224568"/>
                  </a:lnTo>
                  <a:close/>
                </a:path>
              </a:pathLst>
            </a:custGeom>
            <a:solidFill>
              <a:srgbClr val="000000">
                <a:alpha val="20000"/>
              </a:srgbClr>
            </a:solidFill>
            <a:ln w="78481" cap="flat">
              <a:noFill/>
              <a:prstDash val="solid"/>
              <a:miter/>
            </a:ln>
          </p:spPr>
          <p:txBody>
            <a:bodyPr rtlCol="0" anchor="ctr"/>
            <a:lstStyle/>
            <a:p>
              <a:endParaRPr lang="en-US"/>
            </a:p>
          </p:txBody>
        </p:sp>
      </p:grpSp>
      <p:sp>
        <p:nvSpPr>
          <p:cNvPr id="2094" name="Freeform: Shape 2093">
            <a:extLst>
              <a:ext uri="{FF2B5EF4-FFF2-40B4-BE49-F238E27FC236}">
                <a16:creationId xmlns:a16="http://schemas.microsoft.com/office/drawing/2014/main" id="{206687E0-E609-8C0E-E4AD-282D93BE7BB7}"/>
              </a:ext>
            </a:extLst>
          </p:cNvPr>
          <p:cNvSpPr/>
          <p:nvPr/>
        </p:nvSpPr>
        <p:spPr>
          <a:xfrm>
            <a:off x="4614061" y="3597773"/>
            <a:ext cx="2963878" cy="2721434"/>
          </a:xfrm>
          <a:custGeom>
            <a:avLst/>
            <a:gdLst>
              <a:gd name="connsiteX0" fmla="*/ 2251610 w 2442090"/>
              <a:gd name="connsiteY0" fmla="*/ 788496 h 2242329"/>
              <a:gd name="connsiteX1" fmla="*/ 2406995 w 2442090"/>
              <a:gd name="connsiteY1" fmla="*/ 835070 h 2242329"/>
              <a:gd name="connsiteX2" fmla="*/ 2417283 w 2442090"/>
              <a:gd name="connsiteY2" fmla="*/ 875082 h 2242329"/>
              <a:gd name="connsiteX3" fmla="*/ 2442090 w 2442090"/>
              <a:gd name="connsiteY3" fmla="*/ 1121165 h 2242329"/>
              <a:gd name="connsiteX4" fmla="*/ 2294717 w 2442090"/>
              <a:gd name="connsiteY4" fmla="*/ 1703188 h 2242329"/>
              <a:gd name="connsiteX5" fmla="*/ 2251610 w 2442090"/>
              <a:gd name="connsiteY5" fmla="*/ 1774144 h 2242329"/>
              <a:gd name="connsiteX6" fmla="*/ 849448 w 2442090"/>
              <a:gd name="connsiteY6" fmla="*/ 0 h 2242329"/>
              <a:gd name="connsiteX7" fmla="*/ 849448 w 2442090"/>
              <a:gd name="connsiteY7" fmla="*/ 3 h 2242329"/>
              <a:gd name="connsiteX8" fmla="*/ 862187 w 2442090"/>
              <a:gd name="connsiteY8" fmla="*/ 38222 h 2242329"/>
              <a:gd name="connsiteX9" fmla="*/ 862187 w 2442090"/>
              <a:gd name="connsiteY9" fmla="*/ 249148 h 2242329"/>
              <a:gd name="connsiteX10" fmla="*/ 907486 w 2442090"/>
              <a:gd name="connsiteY10" fmla="*/ 274629 h 2242329"/>
              <a:gd name="connsiteX11" fmla="*/ 971190 w 2442090"/>
              <a:gd name="connsiteY11" fmla="*/ 402034 h 2242329"/>
              <a:gd name="connsiteX12" fmla="*/ 1029938 w 2442090"/>
              <a:gd name="connsiteY12" fmla="*/ 432469 h 2242329"/>
              <a:gd name="connsiteX13" fmla="*/ 1029938 w 2442090"/>
              <a:gd name="connsiteY13" fmla="*/ 464321 h 2242329"/>
              <a:gd name="connsiteX14" fmla="*/ 1063205 w 2442090"/>
              <a:gd name="connsiteY14" fmla="*/ 481308 h 2242329"/>
              <a:gd name="connsiteX15" fmla="*/ 1063205 w 2442090"/>
              <a:gd name="connsiteY15" fmla="*/ 649072 h 2242329"/>
              <a:gd name="connsiteX16" fmla="*/ 1204057 w 2442090"/>
              <a:gd name="connsiteY16" fmla="*/ 578986 h 2242329"/>
              <a:gd name="connsiteX17" fmla="*/ 1204057 w 2442090"/>
              <a:gd name="connsiteY17" fmla="*/ 1178864 h 2242329"/>
              <a:gd name="connsiteX18" fmla="*/ 1204058 w 2442090"/>
              <a:gd name="connsiteY18" fmla="*/ 1178863 h 2242329"/>
              <a:gd name="connsiteX19" fmla="*/ 1204058 w 2442090"/>
              <a:gd name="connsiteY19" fmla="*/ 578986 h 2242329"/>
              <a:gd name="connsiteX20" fmla="*/ 1496381 w 2442090"/>
              <a:gd name="connsiteY20" fmla="*/ 724794 h 2242329"/>
              <a:gd name="connsiteX21" fmla="*/ 1496381 w 2442090"/>
              <a:gd name="connsiteY21" fmla="*/ 1091872 h 2242329"/>
              <a:gd name="connsiteX22" fmla="*/ 1609630 w 2442090"/>
              <a:gd name="connsiteY22" fmla="*/ 1058171 h 2242329"/>
              <a:gd name="connsiteX23" fmla="*/ 1610338 w 2442090"/>
              <a:gd name="connsiteY23" fmla="*/ 1058381 h 2242329"/>
              <a:gd name="connsiteX24" fmla="*/ 1610338 w 2442090"/>
              <a:gd name="connsiteY24" fmla="*/ 879804 h 2242329"/>
              <a:gd name="connsiteX25" fmla="*/ 1633696 w 2442090"/>
              <a:gd name="connsiteY25" fmla="*/ 872899 h 2242329"/>
              <a:gd name="connsiteX26" fmla="*/ 1633696 w 2442090"/>
              <a:gd name="connsiteY26" fmla="*/ 849368 h 2242329"/>
              <a:gd name="connsiteX27" fmla="*/ 1671918 w 2442090"/>
              <a:gd name="connsiteY27" fmla="*/ 837336 h 2242329"/>
              <a:gd name="connsiteX28" fmla="*/ 1671918 w 2442090"/>
              <a:gd name="connsiteY28" fmla="*/ 787082 h 2242329"/>
              <a:gd name="connsiteX29" fmla="*/ 1834712 w 2442090"/>
              <a:gd name="connsiteY29" fmla="*/ 735636 h 2242329"/>
              <a:gd name="connsiteX30" fmla="*/ 1834712 w 2442090"/>
              <a:gd name="connsiteY30" fmla="*/ 735411 h 2242329"/>
              <a:gd name="connsiteX31" fmla="*/ 1835067 w 2442090"/>
              <a:gd name="connsiteY31" fmla="*/ 735523 h 2242329"/>
              <a:gd name="connsiteX32" fmla="*/ 1835421 w 2442090"/>
              <a:gd name="connsiteY32" fmla="*/ 735411 h 2242329"/>
              <a:gd name="connsiteX33" fmla="*/ 1835421 w 2442090"/>
              <a:gd name="connsiteY33" fmla="*/ 735636 h 2242329"/>
              <a:gd name="connsiteX34" fmla="*/ 1998217 w 2442090"/>
              <a:gd name="connsiteY34" fmla="*/ 787081 h 2242329"/>
              <a:gd name="connsiteX35" fmla="*/ 1998217 w 2442090"/>
              <a:gd name="connsiteY35" fmla="*/ 837336 h 2242329"/>
              <a:gd name="connsiteX36" fmla="*/ 2036438 w 2442090"/>
              <a:gd name="connsiteY36" fmla="*/ 849368 h 2242329"/>
              <a:gd name="connsiteX37" fmla="*/ 2036438 w 2442090"/>
              <a:gd name="connsiteY37" fmla="*/ 853210 h 2242329"/>
              <a:gd name="connsiteX38" fmla="*/ 2251609 w 2442090"/>
              <a:gd name="connsiteY38" fmla="*/ 788496 h 2242329"/>
              <a:gd name="connsiteX39" fmla="*/ 2251609 w 2442090"/>
              <a:gd name="connsiteY39" fmla="*/ 1774146 h 2242329"/>
              <a:gd name="connsiteX40" fmla="*/ 2233555 w 2442090"/>
              <a:gd name="connsiteY40" fmla="*/ 1803863 h 2242329"/>
              <a:gd name="connsiteX41" fmla="*/ 2084454 w 2442090"/>
              <a:gd name="connsiteY41" fmla="*/ 1984575 h 2242329"/>
              <a:gd name="connsiteX42" fmla="*/ 2082277 w 2442090"/>
              <a:gd name="connsiteY42" fmla="*/ 1986554 h 2242329"/>
              <a:gd name="connsiteX43" fmla="*/ 2078906 w 2442090"/>
              <a:gd name="connsiteY43" fmla="*/ 1985844 h 2242329"/>
              <a:gd name="connsiteX44" fmla="*/ 2078906 w 2442090"/>
              <a:gd name="connsiteY44" fmla="*/ 1989618 h 2242329"/>
              <a:gd name="connsiteX45" fmla="*/ 1997743 w 2442090"/>
              <a:gd name="connsiteY45" fmla="*/ 2063383 h 2242329"/>
              <a:gd name="connsiteX46" fmla="*/ 1976712 w 2442090"/>
              <a:gd name="connsiteY46" fmla="*/ 2079110 h 2242329"/>
              <a:gd name="connsiteX47" fmla="*/ 1609630 w 2442090"/>
              <a:gd name="connsiteY47" fmla="*/ 2153855 h 2242329"/>
              <a:gd name="connsiteX48" fmla="*/ 1496381 w 2442090"/>
              <a:gd name="connsiteY48" fmla="*/ 2130760 h 2242329"/>
              <a:gd name="connsiteX49" fmla="*/ 1496381 w 2442090"/>
              <a:gd name="connsiteY49" fmla="*/ 2181457 h 2242329"/>
              <a:gd name="connsiteX50" fmla="*/ 1204058 w 2442090"/>
              <a:gd name="connsiteY50" fmla="*/ 2242329 h 2242329"/>
              <a:gd name="connsiteX51" fmla="*/ 1204058 w 2442090"/>
              <a:gd name="connsiteY51" fmla="*/ 2075836 h 2242329"/>
              <a:gd name="connsiteX52" fmla="*/ 1204057 w 2442090"/>
              <a:gd name="connsiteY52" fmla="*/ 2075836 h 2242329"/>
              <a:gd name="connsiteX53" fmla="*/ 1204057 w 2442090"/>
              <a:gd name="connsiteY53" fmla="*/ 2242329 h 2242329"/>
              <a:gd name="connsiteX54" fmla="*/ 911026 w 2442090"/>
              <a:gd name="connsiteY54" fmla="*/ 2181457 h 2242329"/>
              <a:gd name="connsiteX55" fmla="*/ 911026 w 2442090"/>
              <a:gd name="connsiteY55" fmla="*/ 2137286 h 2242329"/>
              <a:gd name="connsiteX56" fmla="*/ 808394 w 2442090"/>
              <a:gd name="connsiteY56" fmla="*/ 2158808 h 2242329"/>
              <a:gd name="connsiteX57" fmla="*/ 479811 w 2442090"/>
              <a:gd name="connsiteY57" fmla="*/ 2089902 h 2242329"/>
              <a:gd name="connsiteX58" fmla="*/ 444347 w 2442090"/>
              <a:gd name="connsiteY58" fmla="*/ 2063383 h 2242329"/>
              <a:gd name="connsiteX59" fmla="*/ 0 w 2442090"/>
              <a:gd name="connsiteY59" fmla="*/ 1121165 h 2242329"/>
              <a:gd name="connsiteX60" fmla="*/ 95956 w 2442090"/>
              <a:gd name="connsiteY60" fmla="*/ 645879 h 2242329"/>
              <a:gd name="connsiteX61" fmla="*/ 113742 w 2442090"/>
              <a:gd name="connsiteY61" fmla="*/ 608958 h 2242329"/>
              <a:gd name="connsiteX62" fmla="*/ 162875 w 2442090"/>
              <a:gd name="connsiteY62" fmla="*/ 583598 h 2242329"/>
              <a:gd name="connsiteX63" fmla="*/ 162875 w 2442090"/>
              <a:gd name="connsiteY63" fmla="*/ 583233 h 2242329"/>
              <a:gd name="connsiteX64" fmla="*/ 163229 w 2442090"/>
              <a:gd name="connsiteY64" fmla="*/ 583416 h 2242329"/>
              <a:gd name="connsiteX65" fmla="*/ 163582 w 2442090"/>
              <a:gd name="connsiteY65" fmla="*/ 583233 h 2242329"/>
              <a:gd name="connsiteX66" fmla="*/ 163582 w 2442090"/>
              <a:gd name="connsiteY66" fmla="*/ 583598 h 2242329"/>
              <a:gd name="connsiteX67" fmla="*/ 294527 w 2442090"/>
              <a:gd name="connsiteY67" fmla="*/ 651183 h 2242329"/>
              <a:gd name="connsiteX68" fmla="*/ 294527 w 2442090"/>
              <a:gd name="connsiteY68" fmla="*/ 716300 h 2242329"/>
              <a:gd name="connsiteX69" fmla="*/ 324962 w 2442090"/>
              <a:gd name="connsiteY69" fmla="*/ 732580 h 2242329"/>
              <a:gd name="connsiteX70" fmla="*/ 324962 w 2442090"/>
              <a:gd name="connsiteY70" fmla="*/ 763668 h 2242329"/>
              <a:gd name="connsiteX71" fmla="*/ 343845 w 2442090"/>
              <a:gd name="connsiteY71" fmla="*/ 772815 h 2242329"/>
              <a:gd name="connsiteX72" fmla="*/ 344073 w 2442090"/>
              <a:gd name="connsiteY72" fmla="*/ 772925 h 2242329"/>
              <a:gd name="connsiteX73" fmla="*/ 344073 w 2442090"/>
              <a:gd name="connsiteY73" fmla="*/ 772926 h 2242329"/>
              <a:gd name="connsiteX74" fmla="*/ 344073 w 2442090"/>
              <a:gd name="connsiteY74" fmla="*/ 993132 h 2242329"/>
              <a:gd name="connsiteX75" fmla="*/ 564201 w 2442090"/>
              <a:gd name="connsiteY75" fmla="*/ 1059587 h 2242329"/>
              <a:gd name="connsiteX76" fmla="*/ 564201 w 2442090"/>
              <a:gd name="connsiteY76" fmla="*/ 1162953 h 2242329"/>
              <a:gd name="connsiteX77" fmla="*/ 634982 w 2442090"/>
              <a:gd name="connsiteY77" fmla="*/ 1141608 h 2242329"/>
              <a:gd name="connsiteX78" fmla="*/ 634982 w 2442090"/>
              <a:gd name="connsiteY78" fmla="*/ 481308 h 2242329"/>
              <a:gd name="connsiteX79" fmla="*/ 849447 w 2442090"/>
              <a:gd name="connsiteY79" fmla="*/ 373722 h 2242329"/>
              <a:gd name="connsiteX80" fmla="*/ 668250 w 2442090"/>
              <a:gd name="connsiteY80" fmla="*/ 464321 h 2242329"/>
              <a:gd name="connsiteX81" fmla="*/ 668250 w 2442090"/>
              <a:gd name="connsiteY81" fmla="*/ 432469 h 2242329"/>
              <a:gd name="connsiteX82" fmla="*/ 726997 w 2442090"/>
              <a:gd name="connsiteY82" fmla="*/ 402034 h 2242329"/>
              <a:gd name="connsiteX83" fmla="*/ 791407 w 2442090"/>
              <a:gd name="connsiteY83" fmla="*/ 274629 h 2242329"/>
              <a:gd name="connsiteX84" fmla="*/ 836707 w 2442090"/>
              <a:gd name="connsiteY84" fmla="*/ 249148 h 2242329"/>
              <a:gd name="connsiteX85" fmla="*/ 836707 w 2442090"/>
              <a:gd name="connsiteY85" fmla="*/ 38222 h 2242329"/>
              <a:gd name="connsiteX86" fmla="*/ 849447 w 2442090"/>
              <a:gd name="connsiteY86" fmla="*/ 3 h 2242329"/>
              <a:gd name="connsiteX87" fmla="*/ 849447 w 2442090"/>
              <a:gd name="connsiteY87" fmla="*/ 1 h 224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442090" h="2242329">
                <a:moveTo>
                  <a:pt x="2251610" y="788496"/>
                </a:moveTo>
                <a:lnTo>
                  <a:pt x="2406995" y="835070"/>
                </a:lnTo>
                <a:lnTo>
                  <a:pt x="2417283" y="875082"/>
                </a:lnTo>
                <a:cubicBezTo>
                  <a:pt x="2433548" y="954569"/>
                  <a:pt x="2442090" y="1036870"/>
                  <a:pt x="2442090" y="1121165"/>
                </a:cubicBezTo>
                <a:cubicBezTo>
                  <a:pt x="2442090" y="1331904"/>
                  <a:pt x="2388703" y="1530174"/>
                  <a:pt x="2294717" y="1703188"/>
                </a:cubicBezTo>
                <a:lnTo>
                  <a:pt x="2251610" y="1774144"/>
                </a:lnTo>
                <a:close/>
                <a:moveTo>
                  <a:pt x="849448" y="0"/>
                </a:moveTo>
                <a:lnTo>
                  <a:pt x="849448" y="3"/>
                </a:lnTo>
                <a:lnTo>
                  <a:pt x="862187" y="38222"/>
                </a:lnTo>
                <a:lnTo>
                  <a:pt x="862187" y="249148"/>
                </a:lnTo>
                <a:lnTo>
                  <a:pt x="907486" y="274629"/>
                </a:lnTo>
                <a:lnTo>
                  <a:pt x="971190" y="402034"/>
                </a:lnTo>
                <a:lnTo>
                  <a:pt x="1029938" y="432469"/>
                </a:lnTo>
                <a:lnTo>
                  <a:pt x="1029938" y="464321"/>
                </a:lnTo>
                <a:lnTo>
                  <a:pt x="1063205" y="481308"/>
                </a:lnTo>
                <a:lnTo>
                  <a:pt x="1063205" y="649072"/>
                </a:lnTo>
                <a:lnTo>
                  <a:pt x="1204057" y="578986"/>
                </a:lnTo>
                <a:lnTo>
                  <a:pt x="1204057" y="1178864"/>
                </a:lnTo>
                <a:lnTo>
                  <a:pt x="1204058" y="1178863"/>
                </a:lnTo>
                <a:lnTo>
                  <a:pt x="1204058" y="578986"/>
                </a:lnTo>
                <a:lnTo>
                  <a:pt x="1496381" y="724794"/>
                </a:lnTo>
                <a:lnTo>
                  <a:pt x="1496381" y="1091872"/>
                </a:lnTo>
                <a:lnTo>
                  <a:pt x="1609630" y="1058171"/>
                </a:lnTo>
                <a:lnTo>
                  <a:pt x="1610338" y="1058381"/>
                </a:lnTo>
                <a:lnTo>
                  <a:pt x="1610338" y="879804"/>
                </a:lnTo>
                <a:lnTo>
                  <a:pt x="1633696" y="872899"/>
                </a:lnTo>
                <a:lnTo>
                  <a:pt x="1633696" y="849368"/>
                </a:lnTo>
                <a:lnTo>
                  <a:pt x="1671918" y="837336"/>
                </a:lnTo>
                <a:lnTo>
                  <a:pt x="1671918" y="787082"/>
                </a:lnTo>
                <a:lnTo>
                  <a:pt x="1834712" y="735636"/>
                </a:lnTo>
                <a:lnTo>
                  <a:pt x="1834712" y="735411"/>
                </a:lnTo>
                <a:lnTo>
                  <a:pt x="1835067" y="735523"/>
                </a:lnTo>
                <a:lnTo>
                  <a:pt x="1835421" y="735411"/>
                </a:lnTo>
                <a:lnTo>
                  <a:pt x="1835421" y="735636"/>
                </a:lnTo>
                <a:lnTo>
                  <a:pt x="1998217" y="787081"/>
                </a:lnTo>
                <a:lnTo>
                  <a:pt x="1998217" y="837336"/>
                </a:lnTo>
                <a:lnTo>
                  <a:pt x="2036438" y="849368"/>
                </a:lnTo>
                <a:lnTo>
                  <a:pt x="2036438" y="853210"/>
                </a:lnTo>
                <a:lnTo>
                  <a:pt x="2251609" y="788496"/>
                </a:lnTo>
                <a:lnTo>
                  <a:pt x="2251609" y="1774146"/>
                </a:lnTo>
                <a:lnTo>
                  <a:pt x="2233555" y="1803863"/>
                </a:lnTo>
                <a:cubicBezTo>
                  <a:pt x="2189669" y="1868823"/>
                  <a:pt x="2139696" y="1929333"/>
                  <a:pt x="2084454" y="1984575"/>
                </a:cubicBezTo>
                <a:lnTo>
                  <a:pt x="2082277" y="1986554"/>
                </a:lnTo>
                <a:lnTo>
                  <a:pt x="2078906" y="1985844"/>
                </a:lnTo>
                <a:lnTo>
                  <a:pt x="2078906" y="1989618"/>
                </a:lnTo>
                <a:lnTo>
                  <a:pt x="1997743" y="2063383"/>
                </a:lnTo>
                <a:lnTo>
                  <a:pt x="1976712" y="2079110"/>
                </a:lnTo>
                <a:lnTo>
                  <a:pt x="1609630" y="2153855"/>
                </a:lnTo>
                <a:lnTo>
                  <a:pt x="1496381" y="2130760"/>
                </a:lnTo>
                <a:lnTo>
                  <a:pt x="1496381" y="2181457"/>
                </a:lnTo>
                <a:lnTo>
                  <a:pt x="1204058" y="2242329"/>
                </a:lnTo>
                <a:lnTo>
                  <a:pt x="1204058" y="2075836"/>
                </a:lnTo>
                <a:lnTo>
                  <a:pt x="1204057" y="2075836"/>
                </a:lnTo>
                <a:lnTo>
                  <a:pt x="1204057" y="2242329"/>
                </a:lnTo>
                <a:lnTo>
                  <a:pt x="911026" y="2181457"/>
                </a:lnTo>
                <a:lnTo>
                  <a:pt x="911026" y="2137286"/>
                </a:lnTo>
                <a:lnTo>
                  <a:pt x="808394" y="2158808"/>
                </a:lnTo>
                <a:lnTo>
                  <a:pt x="479811" y="2089902"/>
                </a:lnTo>
                <a:lnTo>
                  <a:pt x="444347" y="2063383"/>
                </a:lnTo>
                <a:cubicBezTo>
                  <a:pt x="172973" y="1839426"/>
                  <a:pt x="0" y="1500495"/>
                  <a:pt x="0" y="1121165"/>
                </a:cubicBezTo>
                <a:cubicBezTo>
                  <a:pt x="0" y="952574"/>
                  <a:pt x="34168" y="791963"/>
                  <a:pt x="95956" y="645879"/>
                </a:cubicBezTo>
                <a:lnTo>
                  <a:pt x="113742" y="608958"/>
                </a:lnTo>
                <a:lnTo>
                  <a:pt x="162875" y="583598"/>
                </a:lnTo>
                <a:lnTo>
                  <a:pt x="162875" y="583233"/>
                </a:lnTo>
                <a:lnTo>
                  <a:pt x="163229" y="583416"/>
                </a:lnTo>
                <a:lnTo>
                  <a:pt x="163582" y="583233"/>
                </a:lnTo>
                <a:lnTo>
                  <a:pt x="163582" y="583598"/>
                </a:lnTo>
                <a:lnTo>
                  <a:pt x="294527" y="651183"/>
                </a:lnTo>
                <a:lnTo>
                  <a:pt x="294527" y="716300"/>
                </a:lnTo>
                <a:lnTo>
                  <a:pt x="324962" y="732580"/>
                </a:lnTo>
                <a:lnTo>
                  <a:pt x="324962" y="763668"/>
                </a:lnTo>
                <a:lnTo>
                  <a:pt x="343845" y="772815"/>
                </a:lnTo>
                <a:lnTo>
                  <a:pt x="344073" y="772925"/>
                </a:lnTo>
                <a:lnTo>
                  <a:pt x="344073" y="772926"/>
                </a:lnTo>
                <a:lnTo>
                  <a:pt x="344073" y="993132"/>
                </a:lnTo>
                <a:lnTo>
                  <a:pt x="564201" y="1059587"/>
                </a:lnTo>
                <a:lnTo>
                  <a:pt x="564201" y="1162953"/>
                </a:lnTo>
                <a:lnTo>
                  <a:pt x="634982" y="1141608"/>
                </a:lnTo>
                <a:lnTo>
                  <a:pt x="634982" y="481308"/>
                </a:lnTo>
                <a:lnTo>
                  <a:pt x="849447" y="373722"/>
                </a:lnTo>
                <a:lnTo>
                  <a:pt x="668250" y="464321"/>
                </a:lnTo>
                <a:lnTo>
                  <a:pt x="668250" y="432469"/>
                </a:lnTo>
                <a:lnTo>
                  <a:pt x="726997" y="402034"/>
                </a:lnTo>
                <a:lnTo>
                  <a:pt x="791407" y="274629"/>
                </a:lnTo>
                <a:lnTo>
                  <a:pt x="836707" y="249148"/>
                </a:lnTo>
                <a:lnTo>
                  <a:pt x="836707" y="38222"/>
                </a:lnTo>
                <a:lnTo>
                  <a:pt x="849447" y="3"/>
                </a:lnTo>
                <a:lnTo>
                  <a:pt x="849447" y="1"/>
                </a:lnTo>
                <a:close/>
              </a:path>
            </a:pathLst>
          </a:custGeom>
          <a:solidFill>
            <a:srgbClr val="0076A8">
              <a:alpha val="27000"/>
            </a:srgbClr>
          </a:solidFill>
          <a:ln w="855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96" name="Rectangle 2095">
            <a:extLst>
              <a:ext uri="{FF2B5EF4-FFF2-40B4-BE49-F238E27FC236}">
                <a16:creationId xmlns:a16="http://schemas.microsoft.com/office/drawing/2014/main" id="{6515C2E5-9406-544F-3751-39788A1F4465}"/>
              </a:ext>
            </a:extLst>
          </p:cNvPr>
          <p:cNvSpPr/>
          <p:nvPr/>
        </p:nvSpPr>
        <p:spPr>
          <a:xfrm>
            <a:off x="8940160" y="3499495"/>
            <a:ext cx="1757597"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Calibri"/>
                <a:ea typeface="+mn-ea"/>
                <a:cs typeface="+mn-cs"/>
              </a:rPr>
              <a:t>Societal  investments</a:t>
            </a:r>
          </a:p>
        </p:txBody>
      </p:sp>
      <p:sp>
        <p:nvSpPr>
          <p:cNvPr id="2097" name="Rectangle 2096">
            <a:extLst>
              <a:ext uri="{FF2B5EF4-FFF2-40B4-BE49-F238E27FC236}">
                <a16:creationId xmlns:a16="http://schemas.microsoft.com/office/drawing/2014/main" id="{52CB8339-EC97-1E82-FC94-9AFB8666D438}"/>
              </a:ext>
            </a:extLst>
          </p:cNvPr>
          <p:cNvSpPr/>
          <p:nvPr/>
        </p:nvSpPr>
        <p:spPr>
          <a:xfrm>
            <a:off x="8940160" y="3774354"/>
            <a:ext cx="1576072"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2">
                    <a:lumMod val="75000"/>
                  </a:schemeClr>
                </a:solidFill>
                <a:effectLst/>
                <a:uLnTx/>
                <a:uFillTx/>
                <a:latin typeface="Calibri"/>
                <a:ea typeface="+mn-ea"/>
                <a:cs typeface="+mn-cs"/>
              </a:rPr>
              <a:t>US$416M+</a:t>
            </a:r>
          </a:p>
        </p:txBody>
      </p:sp>
      <p:sp>
        <p:nvSpPr>
          <p:cNvPr id="2099" name="Rectangle 2098">
            <a:extLst>
              <a:ext uri="{FF2B5EF4-FFF2-40B4-BE49-F238E27FC236}">
                <a16:creationId xmlns:a16="http://schemas.microsoft.com/office/drawing/2014/main" id="{8D488718-E13E-0D0B-7941-A6A0112CEA6C}"/>
              </a:ext>
            </a:extLst>
          </p:cNvPr>
          <p:cNvSpPr/>
          <p:nvPr/>
        </p:nvSpPr>
        <p:spPr>
          <a:xfrm>
            <a:off x="8040576" y="5986263"/>
            <a:ext cx="930383" cy="307777"/>
          </a:xfrm>
          <a:prstGeom prst="rect">
            <a:avLst/>
          </a:prstGeom>
        </p:spPr>
        <p:txBody>
          <a:bodyPr wrap="non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Calibri"/>
                <a:ea typeface="+mn-ea"/>
                <a:cs typeface="+mn-cs"/>
              </a:rPr>
              <a:t>New hires</a:t>
            </a:r>
          </a:p>
        </p:txBody>
      </p:sp>
      <p:sp>
        <p:nvSpPr>
          <p:cNvPr id="2101" name="Rectangle 2100">
            <a:extLst>
              <a:ext uri="{FF2B5EF4-FFF2-40B4-BE49-F238E27FC236}">
                <a16:creationId xmlns:a16="http://schemas.microsoft.com/office/drawing/2014/main" id="{68E3A31A-49EA-FD89-D2CB-B32FF81735BB}"/>
              </a:ext>
            </a:extLst>
          </p:cNvPr>
          <p:cNvSpPr/>
          <p:nvPr/>
        </p:nvSpPr>
        <p:spPr>
          <a:xfrm>
            <a:off x="8036904" y="6220945"/>
            <a:ext cx="1042273" cy="461665"/>
          </a:xfrm>
          <a:prstGeom prst="rect">
            <a:avLst/>
          </a:prstGeom>
        </p:spPr>
        <p:txBody>
          <a:bodyPr wrap="non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2">
                    <a:lumMod val="75000"/>
                  </a:schemeClr>
                </a:solidFill>
                <a:effectLst/>
                <a:uLnTx/>
                <a:uFillTx/>
                <a:latin typeface="Calibri"/>
                <a:ea typeface="+mn-ea"/>
                <a:cs typeface="+mn-cs"/>
              </a:rPr>
              <a:t>92,910</a:t>
            </a:r>
          </a:p>
        </p:txBody>
      </p:sp>
      <p:sp>
        <p:nvSpPr>
          <p:cNvPr id="2102" name="Rectangle 2101">
            <a:extLst>
              <a:ext uri="{FF2B5EF4-FFF2-40B4-BE49-F238E27FC236}">
                <a16:creationId xmlns:a16="http://schemas.microsoft.com/office/drawing/2014/main" id="{7C0B42DD-BB8F-FE54-D453-0AE74E6BC93A}"/>
              </a:ext>
            </a:extLst>
          </p:cNvPr>
          <p:cNvSpPr/>
          <p:nvPr/>
        </p:nvSpPr>
        <p:spPr>
          <a:xfrm>
            <a:off x="1314641" y="3499495"/>
            <a:ext cx="2089440"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Calibri"/>
                <a:ea typeface="+mn-ea"/>
                <a:cs typeface="+mn-cs"/>
              </a:rPr>
              <a:t>Countries and territories</a:t>
            </a:r>
          </a:p>
        </p:txBody>
      </p:sp>
      <p:sp>
        <p:nvSpPr>
          <p:cNvPr id="2104" name="Rectangle 2103">
            <a:extLst>
              <a:ext uri="{FF2B5EF4-FFF2-40B4-BE49-F238E27FC236}">
                <a16:creationId xmlns:a16="http://schemas.microsoft.com/office/drawing/2014/main" id="{BB5FE07D-68CE-3AB9-5FEC-46F3450CA534}"/>
              </a:ext>
            </a:extLst>
          </p:cNvPr>
          <p:cNvSpPr/>
          <p:nvPr/>
        </p:nvSpPr>
        <p:spPr>
          <a:xfrm>
            <a:off x="2572881" y="3774354"/>
            <a:ext cx="836296"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2">
                    <a:lumMod val="75000"/>
                  </a:schemeClr>
                </a:solidFill>
                <a:effectLst/>
                <a:uLnTx/>
                <a:uFillTx/>
                <a:latin typeface="Calibri"/>
                <a:ea typeface="+mn-ea"/>
                <a:cs typeface="+mn-cs"/>
              </a:rPr>
              <a:t>150+</a:t>
            </a:r>
          </a:p>
        </p:txBody>
      </p:sp>
      <p:sp>
        <p:nvSpPr>
          <p:cNvPr id="2108" name="Rectangle 2107">
            <a:extLst>
              <a:ext uri="{FF2B5EF4-FFF2-40B4-BE49-F238E27FC236}">
                <a16:creationId xmlns:a16="http://schemas.microsoft.com/office/drawing/2014/main" id="{8E786673-7130-DFAF-709A-C3131277E227}"/>
              </a:ext>
            </a:extLst>
          </p:cNvPr>
          <p:cNvSpPr/>
          <p:nvPr/>
        </p:nvSpPr>
        <p:spPr>
          <a:xfrm>
            <a:off x="2613953" y="4769645"/>
            <a:ext cx="900841"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Calibri"/>
                <a:ea typeface="+mn-ea"/>
                <a:cs typeface="+mn-cs"/>
              </a:rPr>
              <a:t>Revenue </a:t>
            </a:r>
          </a:p>
        </p:txBody>
      </p:sp>
      <p:sp>
        <p:nvSpPr>
          <p:cNvPr id="2109" name="Rectangle 2108">
            <a:extLst>
              <a:ext uri="{FF2B5EF4-FFF2-40B4-BE49-F238E27FC236}">
                <a16:creationId xmlns:a16="http://schemas.microsoft.com/office/drawing/2014/main" id="{CAB87727-3CD9-C47F-55F6-1731EDDFE069}"/>
              </a:ext>
            </a:extLst>
          </p:cNvPr>
          <p:cNvSpPr/>
          <p:nvPr/>
        </p:nvSpPr>
        <p:spPr>
          <a:xfrm>
            <a:off x="2107035" y="5048489"/>
            <a:ext cx="1407758" cy="461665"/>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2">
                    <a:lumMod val="75000"/>
                  </a:schemeClr>
                </a:solidFill>
                <a:effectLst/>
                <a:uLnTx/>
                <a:uFillTx/>
                <a:latin typeface="Calibri"/>
                <a:ea typeface="+mn-ea"/>
                <a:cs typeface="+mn-cs"/>
              </a:rPr>
              <a:t>US$</a:t>
            </a:r>
            <a:r>
              <a:rPr lang="en-US" sz="2400" b="1">
                <a:solidFill>
                  <a:schemeClr val="accent2">
                    <a:lumMod val="75000"/>
                  </a:schemeClr>
                </a:solidFill>
                <a:latin typeface="Calibri"/>
              </a:rPr>
              <a:t>70.5</a:t>
            </a:r>
            <a:r>
              <a:rPr kumimoji="0" lang="en-US" sz="2400" b="1" i="0" u="none" strike="noStrike" kern="1200" cap="none" spc="0" normalizeH="0" baseline="0" noProof="0">
                <a:ln>
                  <a:noFill/>
                </a:ln>
                <a:solidFill>
                  <a:schemeClr val="accent2">
                    <a:lumMod val="75000"/>
                  </a:schemeClr>
                </a:solidFill>
                <a:effectLst/>
                <a:uLnTx/>
                <a:uFillTx/>
                <a:latin typeface="Calibri"/>
                <a:ea typeface="+mn-ea"/>
                <a:cs typeface="+mn-cs"/>
              </a:rPr>
              <a:t>B</a:t>
            </a:r>
          </a:p>
        </p:txBody>
      </p:sp>
      <p:sp>
        <p:nvSpPr>
          <p:cNvPr id="2110" name="Rectangle 2109">
            <a:extLst>
              <a:ext uri="{FF2B5EF4-FFF2-40B4-BE49-F238E27FC236}">
                <a16:creationId xmlns:a16="http://schemas.microsoft.com/office/drawing/2014/main" id="{641431E4-44F6-C404-F106-091871F85305}"/>
              </a:ext>
            </a:extLst>
          </p:cNvPr>
          <p:cNvSpPr/>
          <p:nvPr/>
        </p:nvSpPr>
        <p:spPr>
          <a:xfrm>
            <a:off x="8676135" y="4769645"/>
            <a:ext cx="996427"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Calibri"/>
                <a:ea typeface="+mn-ea"/>
                <a:cs typeface="+mn-cs"/>
              </a:rPr>
              <a:t>Headcount</a:t>
            </a:r>
          </a:p>
        </p:txBody>
      </p:sp>
      <p:sp>
        <p:nvSpPr>
          <p:cNvPr id="2111" name="Rectangle 2110">
            <a:extLst>
              <a:ext uri="{FF2B5EF4-FFF2-40B4-BE49-F238E27FC236}">
                <a16:creationId xmlns:a16="http://schemas.microsoft.com/office/drawing/2014/main" id="{AE3115E0-4D7B-0132-291C-60C9A54F7D1C}"/>
              </a:ext>
            </a:extLst>
          </p:cNvPr>
          <p:cNvSpPr/>
          <p:nvPr/>
        </p:nvSpPr>
        <p:spPr>
          <a:xfrm>
            <a:off x="8676135" y="5048489"/>
            <a:ext cx="1197764"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2">
                    <a:lumMod val="75000"/>
                  </a:schemeClr>
                </a:solidFill>
                <a:effectLst/>
                <a:uLnTx/>
                <a:uFillTx/>
                <a:latin typeface="Calibri"/>
                <a:ea typeface="+mn-ea"/>
                <a:cs typeface="+mn-cs"/>
              </a:rPr>
              <a:t>470,000</a:t>
            </a:r>
          </a:p>
        </p:txBody>
      </p:sp>
      <p:sp>
        <p:nvSpPr>
          <p:cNvPr id="2112" name="Rectangle 2111">
            <a:extLst>
              <a:ext uri="{FF2B5EF4-FFF2-40B4-BE49-F238E27FC236}">
                <a16:creationId xmlns:a16="http://schemas.microsoft.com/office/drawing/2014/main" id="{E5CD6482-58C1-CFB5-3C03-3BB1069A9C3B}"/>
              </a:ext>
            </a:extLst>
          </p:cNvPr>
          <p:cNvSpPr/>
          <p:nvPr/>
        </p:nvSpPr>
        <p:spPr>
          <a:xfrm>
            <a:off x="3468254" y="5986263"/>
            <a:ext cx="700833"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Calibri"/>
                <a:ea typeface="+mn-ea"/>
                <a:cs typeface="+mn-cs"/>
              </a:rPr>
              <a:t>Offices</a:t>
            </a:r>
          </a:p>
        </p:txBody>
      </p:sp>
      <p:sp>
        <p:nvSpPr>
          <p:cNvPr id="2113" name="Rectangle 2112">
            <a:extLst>
              <a:ext uri="{FF2B5EF4-FFF2-40B4-BE49-F238E27FC236}">
                <a16:creationId xmlns:a16="http://schemas.microsoft.com/office/drawing/2014/main" id="{29577633-4517-84F4-7A4F-317E1D812753}"/>
              </a:ext>
            </a:extLst>
          </p:cNvPr>
          <p:cNvSpPr/>
          <p:nvPr/>
        </p:nvSpPr>
        <p:spPr>
          <a:xfrm>
            <a:off x="3588373" y="6220945"/>
            <a:ext cx="867856" cy="46166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2">
                    <a:lumMod val="75000"/>
                  </a:schemeClr>
                </a:solidFill>
                <a:effectLst/>
                <a:uLnTx/>
                <a:uFillTx/>
                <a:latin typeface="Calibri"/>
                <a:ea typeface="+mn-ea"/>
                <a:cs typeface="+mn-cs"/>
              </a:rPr>
              <a:t>760+</a:t>
            </a:r>
          </a:p>
        </p:txBody>
      </p:sp>
      <p:sp>
        <p:nvSpPr>
          <p:cNvPr id="2119" name="TextBox 2118">
            <a:extLst>
              <a:ext uri="{FF2B5EF4-FFF2-40B4-BE49-F238E27FC236}">
                <a16:creationId xmlns:a16="http://schemas.microsoft.com/office/drawing/2014/main" id="{A7556E1B-2DD4-F0AD-FA5E-67D70EAEF899}"/>
              </a:ext>
            </a:extLst>
          </p:cNvPr>
          <p:cNvSpPr txBox="1"/>
          <p:nvPr/>
        </p:nvSpPr>
        <p:spPr>
          <a:xfrm>
            <a:off x="5212662" y="3184764"/>
            <a:ext cx="1766677"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2">
                    <a:lumMod val="75000"/>
                  </a:schemeClr>
                </a:solidFill>
                <a:effectLst/>
                <a:uLnTx/>
                <a:uFillTx/>
                <a:latin typeface="Calibri"/>
                <a:ea typeface="+mn-ea"/>
                <a:cs typeface="+mn-cs"/>
              </a:rPr>
              <a:t>Deloit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Calibri"/>
                <a:ea typeface="+mn-ea"/>
                <a:cs typeface="+mn-cs"/>
              </a:rPr>
              <a:t>FY2025</a:t>
            </a:r>
          </a:p>
        </p:txBody>
      </p:sp>
      <p:grpSp>
        <p:nvGrpSpPr>
          <p:cNvPr id="2120" name="Group 2119">
            <a:extLst>
              <a:ext uri="{FF2B5EF4-FFF2-40B4-BE49-F238E27FC236}">
                <a16:creationId xmlns:a16="http://schemas.microsoft.com/office/drawing/2014/main" id="{A111DC03-6D41-52BC-DDE3-35282EF89A4A}"/>
              </a:ext>
            </a:extLst>
          </p:cNvPr>
          <p:cNvGrpSpPr/>
          <p:nvPr/>
        </p:nvGrpSpPr>
        <p:grpSpPr>
          <a:xfrm>
            <a:off x="3542930" y="3568460"/>
            <a:ext cx="467204" cy="467204"/>
            <a:chOff x="3542930" y="3080780"/>
            <a:chExt cx="467204" cy="467204"/>
          </a:xfrm>
        </p:grpSpPr>
        <p:sp>
          <p:nvSpPr>
            <p:cNvPr id="2166" name="Freeform: Shape 2165">
              <a:extLst>
                <a:ext uri="{FF2B5EF4-FFF2-40B4-BE49-F238E27FC236}">
                  <a16:creationId xmlns:a16="http://schemas.microsoft.com/office/drawing/2014/main" id="{8F7DEDA5-C3E5-B272-2181-A0BF12E1D6ED}"/>
                </a:ext>
              </a:extLst>
            </p:cNvPr>
            <p:cNvSpPr/>
            <p:nvPr/>
          </p:nvSpPr>
          <p:spPr>
            <a:xfrm>
              <a:off x="3542930" y="3080780"/>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solidFill>
                <a:srgbClr val="009A44"/>
              </a:solid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167" name="Group 977">
              <a:extLst>
                <a:ext uri="{FF2B5EF4-FFF2-40B4-BE49-F238E27FC236}">
                  <a16:creationId xmlns:a16="http://schemas.microsoft.com/office/drawing/2014/main" id="{A5E3066F-7D98-FC4C-2279-1DCD512E80CE}"/>
                </a:ext>
              </a:extLst>
            </p:cNvPr>
            <p:cNvGrpSpPr>
              <a:grpSpLocks noChangeAspect="1"/>
            </p:cNvGrpSpPr>
            <p:nvPr/>
          </p:nvGrpSpPr>
          <p:grpSpPr bwMode="auto">
            <a:xfrm>
              <a:off x="3579125" y="3116983"/>
              <a:ext cx="394801" cy="394798"/>
              <a:chOff x="1925" y="3985"/>
              <a:chExt cx="340" cy="340"/>
            </a:xfrm>
            <a:solidFill>
              <a:srgbClr val="00ABAB"/>
            </a:solidFill>
          </p:grpSpPr>
          <p:sp>
            <p:nvSpPr>
              <p:cNvPr id="2168" name="Freeform 978">
                <a:extLst>
                  <a:ext uri="{FF2B5EF4-FFF2-40B4-BE49-F238E27FC236}">
                    <a16:creationId xmlns:a16="http://schemas.microsoft.com/office/drawing/2014/main" id="{C301D268-471A-FDFE-85CA-935A40CDA17C}"/>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solidFill>
                  <a:srgbClr val="009A4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69" name="Freeform 979">
                <a:extLst>
                  <a:ext uri="{FF2B5EF4-FFF2-40B4-BE49-F238E27FC236}">
                    <a16:creationId xmlns:a16="http://schemas.microsoft.com/office/drawing/2014/main" id="{8682C38A-4B2E-2D36-BFD8-0F9FD83825B3}"/>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solidFill>
                  <a:srgbClr val="009A4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70" name="Freeform 980">
                <a:extLst>
                  <a:ext uri="{FF2B5EF4-FFF2-40B4-BE49-F238E27FC236}">
                    <a16:creationId xmlns:a16="http://schemas.microsoft.com/office/drawing/2014/main" id="{DBD74729-9526-1858-29FA-1E588FFDEF51}"/>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9A4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2121" name="Freeform: Shape 2120">
            <a:extLst>
              <a:ext uri="{FF2B5EF4-FFF2-40B4-BE49-F238E27FC236}">
                <a16:creationId xmlns:a16="http://schemas.microsoft.com/office/drawing/2014/main" id="{97C7182C-98C4-370C-F43F-18D1583C55CB}"/>
              </a:ext>
            </a:extLst>
          </p:cNvPr>
          <p:cNvSpPr/>
          <p:nvPr/>
        </p:nvSpPr>
        <p:spPr>
          <a:xfrm>
            <a:off x="3665373" y="5045334"/>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no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22" name="Freeform: Shape 2121">
            <a:extLst>
              <a:ext uri="{FF2B5EF4-FFF2-40B4-BE49-F238E27FC236}">
                <a16:creationId xmlns:a16="http://schemas.microsoft.com/office/drawing/2014/main" id="{773FA430-080D-0E2D-273F-8DB7FDD2A834}"/>
              </a:ext>
            </a:extLst>
          </p:cNvPr>
          <p:cNvSpPr/>
          <p:nvPr/>
        </p:nvSpPr>
        <p:spPr>
          <a:xfrm>
            <a:off x="4696406" y="6193547"/>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solidFill>
              <a:srgbClr val="009A44"/>
            </a:solid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23" name="Freeform: Shape 2122">
            <a:extLst>
              <a:ext uri="{FF2B5EF4-FFF2-40B4-BE49-F238E27FC236}">
                <a16:creationId xmlns:a16="http://schemas.microsoft.com/office/drawing/2014/main" id="{FF361441-D593-CC5D-F63F-E30B79B9C7EF}"/>
              </a:ext>
            </a:extLst>
          </p:cNvPr>
          <p:cNvSpPr/>
          <p:nvPr/>
        </p:nvSpPr>
        <p:spPr>
          <a:xfrm>
            <a:off x="7175389" y="6193547"/>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solidFill>
              <a:srgbClr val="009A44"/>
            </a:solid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24" name="Freeform: Shape 2123">
            <a:extLst>
              <a:ext uri="{FF2B5EF4-FFF2-40B4-BE49-F238E27FC236}">
                <a16:creationId xmlns:a16="http://schemas.microsoft.com/office/drawing/2014/main" id="{098B8B26-DDE2-F433-52BA-F867F67FF948}"/>
              </a:ext>
            </a:extLst>
          </p:cNvPr>
          <p:cNvSpPr/>
          <p:nvPr/>
        </p:nvSpPr>
        <p:spPr>
          <a:xfrm>
            <a:off x="8135356" y="5045334"/>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solidFill>
              <a:srgbClr val="009A44"/>
            </a:solid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25" name="Freeform: Shape 2124">
            <a:extLst>
              <a:ext uri="{FF2B5EF4-FFF2-40B4-BE49-F238E27FC236}">
                <a16:creationId xmlns:a16="http://schemas.microsoft.com/office/drawing/2014/main" id="{FEB60BA5-D469-4E5A-6F4F-550F54E55038}"/>
              </a:ext>
            </a:extLst>
          </p:cNvPr>
          <p:cNvSpPr/>
          <p:nvPr/>
        </p:nvSpPr>
        <p:spPr>
          <a:xfrm>
            <a:off x="8203462" y="3568460"/>
            <a:ext cx="467204" cy="467204"/>
          </a:xfrm>
          <a:custGeom>
            <a:avLst/>
            <a:gdLst>
              <a:gd name="connsiteX0" fmla="*/ 209453 w 245375"/>
              <a:gd name="connsiteY0" fmla="*/ 209453 h 245376"/>
              <a:gd name="connsiteX1" fmla="*/ 35923 w 245375"/>
              <a:gd name="connsiteY1" fmla="*/ 209453 h 245376"/>
              <a:gd name="connsiteX2" fmla="*/ 35923 w 245375"/>
              <a:gd name="connsiteY2" fmla="*/ 35923 h 245376"/>
              <a:gd name="connsiteX3" fmla="*/ 209453 w 245375"/>
              <a:gd name="connsiteY3" fmla="*/ 35923 h 245376"/>
              <a:gd name="connsiteX4" fmla="*/ 209453 w 245375"/>
              <a:gd name="connsiteY4" fmla="*/ 209453 h 24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75" h="245376">
                <a:moveTo>
                  <a:pt x="209453" y="209453"/>
                </a:moveTo>
                <a:cubicBezTo>
                  <a:pt x="161556" y="257350"/>
                  <a:pt x="83820" y="257350"/>
                  <a:pt x="35923" y="209453"/>
                </a:cubicBezTo>
                <a:cubicBezTo>
                  <a:pt x="-11974" y="161556"/>
                  <a:pt x="-11974" y="83821"/>
                  <a:pt x="35923" y="35923"/>
                </a:cubicBezTo>
                <a:cubicBezTo>
                  <a:pt x="83820" y="-11974"/>
                  <a:pt x="161556" y="-11974"/>
                  <a:pt x="209453" y="35923"/>
                </a:cubicBezTo>
                <a:cubicBezTo>
                  <a:pt x="257350" y="83821"/>
                  <a:pt x="257350" y="161556"/>
                  <a:pt x="209453" y="209453"/>
                </a:cubicBezTo>
                <a:close/>
              </a:path>
            </a:pathLst>
          </a:custGeom>
          <a:solidFill>
            <a:schemeClr val="bg1"/>
          </a:solidFill>
          <a:ln w="6350" cap="flat" cmpd="sng">
            <a:noFill/>
            <a:prstDash val="solid"/>
            <a:miter/>
            <a:extLst>
              <a:ext uri="{C807C97D-BFC1-408E-A445-0C87EB9F89A2}">
                <ask:lineSketchStyleProps xmlns:ask="http://schemas.microsoft.com/office/drawing/2018/sketchyshapes">
                  <ask:type>
                    <ask:lineSketchNone/>
                  </ask:type>
                </ask:lineSketchStyleProps>
              </a:ext>
            </a:extLst>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126" name="Group 2125">
            <a:extLst>
              <a:ext uri="{FF2B5EF4-FFF2-40B4-BE49-F238E27FC236}">
                <a16:creationId xmlns:a16="http://schemas.microsoft.com/office/drawing/2014/main" id="{03F9EBFE-D85C-070F-6F79-0DB82D117B05}"/>
              </a:ext>
            </a:extLst>
          </p:cNvPr>
          <p:cNvGrpSpPr/>
          <p:nvPr/>
        </p:nvGrpSpPr>
        <p:grpSpPr>
          <a:xfrm>
            <a:off x="3701574" y="5081537"/>
            <a:ext cx="394802" cy="394798"/>
            <a:chOff x="5539461" y="4223166"/>
            <a:chExt cx="361670" cy="361333"/>
          </a:xfrm>
          <a:solidFill>
            <a:srgbClr val="00ABAB"/>
          </a:solidFill>
        </p:grpSpPr>
        <p:sp>
          <p:nvSpPr>
            <p:cNvPr id="2162" name="Graphic 4">
              <a:extLst>
                <a:ext uri="{FF2B5EF4-FFF2-40B4-BE49-F238E27FC236}">
                  <a16:creationId xmlns:a16="http://schemas.microsoft.com/office/drawing/2014/main" id="{8C1354AB-A36C-87AA-9521-FA06FFCA6037}"/>
                </a:ext>
              </a:extLst>
            </p:cNvPr>
            <p:cNvSpPr/>
            <p:nvPr/>
          </p:nvSpPr>
          <p:spPr>
            <a:xfrm>
              <a:off x="5539461" y="4223166"/>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0836 w 361670"/>
                <a:gd name="connsiteY5" fmla="*/ 349204 h 361333"/>
                <a:gd name="connsiteX6" fmla="*/ 12780 w 361670"/>
                <a:gd name="connsiteY6" fmla="*/ 181305 h 361333"/>
                <a:gd name="connsiteX7" fmla="*/ 180836 w 361670"/>
                <a:gd name="connsiteY7" fmla="*/ 13406 h 361333"/>
                <a:gd name="connsiteX8" fmla="*/ 348890 w 361670"/>
                <a:gd name="connsiteY8" fmla="*/ 181305 h 361333"/>
                <a:gd name="connsiteX9" fmla="*/ 180836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6" y="0"/>
                  </a:moveTo>
                  <a:cubicBezTo>
                    <a:pt x="80513" y="0"/>
                    <a:pt x="0" y="81077"/>
                    <a:pt x="0" y="180667"/>
                  </a:cubicBezTo>
                  <a:cubicBezTo>
                    <a:pt x="0" y="280895"/>
                    <a:pt x="81152" y="361333"/>
                    <a:pt x="180836" y="361333"/>
                  </a:cubicBezTo>
                  <a:cubicBezTo>
                    <a:pt x="281157" y="361333"/>
                    <a:pt x="361670" y="280257"/>
                    <a:pt x="361670" y="180667"/>
                  </a:cubicBezTo>
                  <a:cubicBezTo>
                    <a:pt x="361670" y="81077"/>
                    <a:pt x="280518" y="0"/>
                    <a:pt x="180836" y="0"/>
                  </a:cubicBezTo>
                  <a:close/>
                  <a:moveTo>
                    <a:pt x="180836" y="349204"/>
                  </a:moveTo>
                  <a:cubicBezTo>
                    <a:pt x="88181" y="349204"/>
                    <a:pt x="12780" y="273873"/>
                    <a:pt x="12780" y="181305"/>
                  </a:cubicBezTo>
                  <a:cubicBezTo>
                    <a:pt x="12780" y="88738"/>
                    <a:pt x="88181" y="13406"/>
                    <a:pt x="180836" y="13406"/>
                  </a:cubicBezTo>
                  <a:cubicBezTo>
                    <a:pt x="273490" y="13406"/>
                    <a:pt x="348890" y="88738"/>
                    <a:pt x="348890" y="181305"/>
                  </a:cubicBezTo>
                  <a:cubicBezTo>
                    <a:pt x="348890" y="273873"/>
                    <a:pt x="273490" y="349204"/>
                    <a:pt x="180836" y="349204"/>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63" name="Graphic 4">
              <a:extLst>
                <a:ext uri="{FF2B5EF4-FFF2-40B4-BE49-F238E27FC236}">
                  <a16:creationId xmlns:a16="http://schemas.microsoft.com/office/drawing/2014/main" id="{4DE8F6DD-CD47-9A25-9BD3-1D0D06F4E3EA}"/>
                </a:ext>
              </a:extLst>
            </p:cNvPr>
            <p:cNvSpPr/>
            <p:nvPr/>
          </p:nvSpPr>
          <p:spPr>
            <a:xfrm>
              <a:off x="5694097" y="4362976"/>
              <a:ext cx="144413" cy="144277"/>
            </a:xfrm>
            <a:custGeom>
              <a:avLst/>
              <a:gdLst>
                <a:gd name="connsiteX0" fmla="*/ 72207 w 144413"/>
                <a:gd name="connsiteY0" fmla="*/ 0 h 144277"/>
                <a:gd name="connsiteX1" fmla="*/ 0 w 144413"/>
                <a:gd name="connsiteY1" fmla="*/ 72139 h 144277"/>
                <a:gd name="connsiteX2" fmla="*/ 72207 w 144413"/>
                <a:gd name="connsiteY2" fmla="*/ 144278 h 144277"/>
                <a:gd name="connsiteX3" fmla="*/ 144413 w 144413"/>
                <a:gd name="connsiteY3" fmla="*/ 72139 h 144277"/>
                <a:gd name="connsiteX4" fmla="*/ 72207 w 144413"/>
                <a:gd name="connsiteY4" fmla="*/ 0 h 144277"/>
                <a:gd name="connsiteX5" fmla="*/ 72207 w 144413"/>
                <a:gd name="connsiteY5" fmla="*/ 131510 h 144277"/>
                <a:gd name="connsiteX6" fmla="*/ 12780 w 144413"/>
                <a:gd name="connsiteY6" fmla="*/ 72139 h 144277"/>
                <a:gd name="connsiteX7" fmla="*/ 72207 w 144413"/>
                <a:gd name="connsiteY7" fmla="*/ 12768 h 144277"/>
                <a:gd name="connsiteX8" fmla="*/ 131633 w 144413"/>
                <a:gd name="connsiteY8" fmla="*/ 72139 h 144277"/>
                <a:gd name="connsiteX9" fmla="*/ 72207 w 144413"/>
                <a:gd name="connsiteY9" fmla="*/ 131510 h 14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413" h="144277">
                  <a:moveTo>
                    <a:pt x="72207" y="0"/>
                  </a:moveTo>
                  <a:cubicBezTo>
                    <a:pt x="32589" y="0"/>
                    <a:pt x="0" y="32558"/>
                    <a:pt x="0" y="72139"/>
                  </a:cubicBezTo>
                  <a:cubicBezTo>
                    <a:pt x="0" y="111720"/>
                    <a:pt x="32589" y="144278"/>
                    <a:pt x="72207" y="144278"/>
                  </a:cubicBezTo>
                  <a:cubicBezTo>
                    <a:pt x="111824" y="144278"/>
                    <a:pt x="144413" y="111720"/>
                    <a:pt x="144413" y="72139"/>
                  </a:cubicBezTo>
                  <a:cubicBezTo>
                    <a:pt x="144413" y="32558"/>
                    <a:pt x="112464" y="0"/>
                    <a:pt x="72207" y="0"/>
                  </a:cubicBezTo>
                  <a:close/>
                  <a:moveTo>
                    <a:pt x="72207" y="131510"/>
                  </a:moveTo>
                  <a:cubicBezTo>
                    <a:pt x="39618" y="131510"/>
                    <a:pt x="12780" y="104697"/>
                    <a:pt x="12780" y="72139"/>
                  </a:cubicBezTo>
                  <a:cubicBezTo>
                    <a:pt x="12780" y="39580"/>
                    <a:pt x="39618" y="12768"/>
                    <a:pt x="72207" y="12768"/>
                  </a:cubicBezTo>
                  <a:cubicBezTo>
                    <a:pt x="104795" y="12768"/>
                    <a:pt x="131633" y="39580"/>
                    <a:pt x="131633" y="72139"/>
                  </a:cubicBezTo>
                  <a:cubicBezTo>
                    <a:pt x="131633" y="104697"/>
                    <a:pt x="105434" y="131510"/>
                    <a:pt x="72207" y="131510"/>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64" name="Graphic 4">
              <a:extLst>
                <a:ext uri="{FF2B5EF4-FFF2-40B4-BE49-F238E27FC236}">
                  <a16:creationId xmlns:a16="http://schemas.microsoft.com/office/drawing/2014/main" id="{382B87FD-0466-8C12-0317-30A8875A0665}"/>
                </a:ext>
              </a:extLst>
            </p:cNvPr>
            <p:cNvSpPr/>
            <p:nvPr/>
          </p:nvSpPr>
          <p:spPr>
            <a:xfrm>
              <a:off x="5614223" y="4301051"/>
              <a:ext cx="144413" cy="177474"/>
            </a:xfrm>
            <a:custGeom>
              <a:avLst/>
              <a:gdLst>
                <a:gd name="connsiteX0" fmla="*/ 72207 w 144413"/>
                <a:gd name="connsiteY0" fmla="*/ 95121 h 177474"/>
                <a:gd name="connsiteX1" fmla="*/ 78597 w 144413"/>
                <a:gd name="connsiteY1" fmla="*/ 88737 h 177474"/>
                <a:gd name="connsiteX2" fmla="*/ 72207 w 144413"/>
                <a:gd name="connsiteY2" fmla="*/ 82353 h 177474"/>
                <a:gd name="connsiteX3" fmla="*/ 12780 w 144413"/>
                <a:gd name="connsiteY3" fmla="*/ 61286 h 177474"/>
                <a:gd name="connsiteX4" fmla="*/ 12780 w 144413"/>
                <a:gd name="connsiteY4" fmla="*/ 53625 h 177474"/>
                <a:gd name="connsiteX5" fmla="*/ 72207 w 144413"/>
                <a:gd name="connsiteY5" fmla="*/ 67670 h 177474"/>
                <a:gd name="connsiteX6" fmla="*/ 144413 w 144413"/>
                <a:gd name="connsiteY6" fmla="*/ 33835 h 177474"/>
                <a:gd name="connsiteX7" fmla="*/ 72207 w 144413"/>
                <a:gd name="connsiteY7" fmla="*/ 0 h 177474"/>
                <a:gd name="connsiteX8" fmla="*/ 0 w 144413"/>
                <a:gd name="connsiteY8" fmla="*/ 33835 h 177474"/>
                <a:gd name="connsiteX9" fmla="*/ 0 w 144413"/>
                <a:gd name="connsiteY9" fmla="*/ 143640 h 177474"/>
                <a:gd name="connsiteX10" fmla="*/ 72207 w 144413"/>
                <a:gd name="connsiteY10" fmla="*/ 177475 h 177474"/>
                <a:gd name="connsiteX11" fmla="*/ 78597 w 144413"/>
                <a:gd name="connsiteY11" fmla="*/ 171091 h 177474"/>
                <a:gd name="connsiteX12" fmla="*/ 72207 w 144413"/>
                <a:gd name="connsiteY12" fmla="*/ 164707 h 177474"/>
                <a:gd name="connsiteX13" fmla="*/ 12780 w 144413"/>
                <a:gd name="connsiteY13" fmla="*/ 143640 h 177474"/>
                <a:gd name="connsiteX14" fmla="*/ 12780 w 144413"/>
                <a:gd name="connsiteY14" fmla="*/ 135979 h 177474"/>
                <a:gd name="connsiteX15" fmla="*/ 66456 w 144413"/>
                <a:gd name="connsiteY15" fmla="*/ 150024 h 177474"/>
                <a:gd name="connsiteX16" fmla="*/ 66456 w 144413"/>
                <a:gd name="connsiteY16" fmla="*/ 150024 h 177474"/>
                <a:gd name="connsiteX17" fmla="*/ 72845 w 144413"/>
                <a:gd name="connsiteY17" fmla="*/ 143640 h 177474"/>
                <a:gd name="connsiteX18" fmla="*/ 66456 w 144413"/>
                <a:gd name="connsiteY18" fmla="*/ 137256 h 177474"/>
                <a:gd name="connsiteX19" fmla="*/ 12141 w 144413"/>
                <a:gd name="connsiteY19" fmla="*/ 116189 h 177474"/>
                <a:gd name="connsiteX20" fmla="*/ 12141 w 144413"/>
                <a:gd name="connsiteY20" fmla="*/ 108528 h 177474"/>
                <a:gd name="connsiteX21" fmla="*/ 65817 w 144413"/>
                <a:gd name="connsiteY21" fmla="*/ 122573 h 177474"/>
                <a:gd name="connsiteX22" fmla="*/ 65817 w 144413"/>
                <a:gd name="connsiteY22" fmla="*/ 122573 h 177474"/>
                <a:gd name="connsiteX23" fmla="*/ 72207 w 144413"/>
                <a:gd name="connsiteY23" fmla="*/ 116189 h 177474"/>
                <a:gd name="connsiteX24" fmla="*/ 65817 w 144413"/>
                <a:gd name="connsiteY24" fmla="*/ 109805 h 177474"/>
                <a:gd name="connsiteX25" fmla="*/ 11502 w 144413"/>
                <a:gd name="connsiteY25" fmla="*/ 88737 h 177474"/>
                <a:gd name="connsiteX26" fmla="*/ 11502 w 144413"/>
                <a:gd name="connsiteY26" fmla="*/ 81077 h 177474"/>
                <a:gd name="connsiteX27" fmla="*/ 72207 w 144413"/>
                <a:gd name="connsiteY27" fmla="*/ 95121 h 177474"/>
                <a:gd name="connsiteX28" fmla="*/ 72207 w 144413"/>
                <a:gd name="connsiteY28" fmla="*/ 12768 h 177474"/>
                <a:gd name="connsiteX29" fmla="*/ 131633 w 144413"/>
                <a:gd name="connsiteY29" fmla="*/ 33835 h 177474"/>
                <a:gd name="connsiteX30" fmla="*/ 72207 w 144413"/>
                <a:gd name="connsiteY30" fmla="*/ 54902 h 177474"/>
                <a:gd name="connsiteX31" fmla="*/ 12780 w 144413"/>
                <a:gd name="connsiteY31" fmla="*/ 33835 h 177474"/>
                <a:gd name="connsiteX32" fmla="*/ 72207 w 144413"/>
                <a:gd name="connsiteY32" fmla="*/ 12768 h 17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4413" h="177474">
                  <a:moveTo>
                    <a:pt x="72207" y="95121"/>
                  </a:moveTo>
                  <a:cubicBezTo>
                    <a:pt x="76040" y="95121"/>
                    <a:pt x="78597" y="92568"/>
                    <a:pt x="78597" y="88737"/>
                  </a:cubicBezTo>
                  <a:cubicBezTo>
                    <a:pt x="78597" y="84907"/>
                    <a:pt x="76040" y="82353"/>
                    <a:pt x="72207" y="82353"/>
                  </a:cubicBezTo>
                  <a:cubicBezTo>
                    <a:pt x="35145" y="82353"/>
                    <a:pt x="12780" y="70224"/>
                    <a:pt x="12780" y="61286"/>
                  </a:cubicBezTo>
                  <a:lnTo>
                    <a:pt x="12780" y="53625"/>
                  </a:lnTo>
                  <a:cubicBezTo>
                    <a:pt x="26838" y="62563"/>
                    <a:pt x="49842" y="67670"/>
                    <a:pt x="72207" y="67670"/>
                  </a:cubicBezTo>
                  <a:cubicBezTo>
                    <a:pt x="107351" y="67670"/>
                    <a:pt x="144413" y="55541"/>
                    <a:pt x="144413" y="33835"/>
                  </a:cubicBezTo>
                  <a:cubicBezTo>
                    <a:pt x="144413" y="12129"/>
                    <a:pt x="107351" y="0"/>
                    <a:pt x="72207" y="0"/>
                  </a:cubicBezTo>
                  <a:cubicBezTo>
                    <a:pt x="37062" y="0"/>
                    <a:pt x="0" y="12129"/>
                    <a:pt x="0" y="33835"/>
                  </a:cubicBezTo>
                  <a:lnTo>
                    <a:pt x="0" y="143640"/>
                  </a:lnTo>
                  <a:cubicBezTo>
                    <a:pt x="0" y="165345"/>
                    <a:pt x="37062" y="177475"/>
                    <a:pt x="72207" y="177475"/>
                  </a:cubicBezTo>
                  <a:cubicBezTo>
                    <a:pt x="76040" y="177475"/>
                    <a:pt x="78597" y="174921"/>
                    <a:pt x="78597" y="171091"/>
                  </a:cubicBezTo>
                  <a:cubicBezTo>
                    <a:pt x="78597" y="167260"/>
                    <a:pt x="76040" y="164707"/>
                    <a:pt x="72207" y="164707"/>
                  </a:cubicBezTo>
                  <a:cubicBezTo>
                    <a:pt x="35784" y="164707"/>
                    <a:pt x="12780" y="152577"/>
                    <a:pt x="12780" y="143640"/>
                  </a:cubicBezTo>
                  <a:lnTo>
                    <a:pt x="12780" y="135979"/>
                  </a:lnTo>
                  <a:cubicBezTo>
                    <a:pt x="24282" y="144278"/>
                    <a:pt x="43452" y="149385"/>
                    <a:pt x="66456" y="150024"/>
                  </a:cubicBezTo>
                  <a:cubicBezTo>
                    <a:pt x="66456" y="150024"/>
                    <a:pt x="66456" y="150024"/>
                    <a:pt x="66456" y="150024"/>
                  </a:cubicBezTo>
                  <a:cubicBezTo>
                    <a:pt x="69650" y="150024"/>
                    <a:pt x="72845" y="147470"/>
                    <a:pt x="72845" y="143640"/>
                  </a:cubicBezTo>
                  <a:cubicBezTo>
                    <a:pt x="72845" y="139809"/>
                    <a:pt x="70289" y="137256"/>
                    <a:pt x="66456" y="137256"/>
                  </a:cubicBezTo>
                  <a:cubicBezTo>
                    <a:pt x="31311" y="135979"/>
                    <a:pt x="12141" y="124488"/>
                    <a:pt x="12141" y="116189"/>
                  </a:cubicBezTo>
                  <a:lnTo>
                    <a:pt x="12141" y="108528"/>
                  </a:lnTo>
                  <a:cubicBezTo>
                    <a:pt x="23643" y="116827"/>
                    <a:pt x="42813" y="121934"/>
                    <a:pt x="65817" y="122573"/>
                  </a:cubicBezTo>
                  <a:cubicBezTo>
                    <a:pt x="65817" y="122573"/>
                    <a:pt x="65817" y="122573"/>
                    <a:pt x="65817" y="122573"/>
                  </a:cubicBezTo>
                  <a:cubicBezTo>
                    <a:pt x="69012" y="122573"/>
                    <a:pt x="72207" y="120019"/>
                    <a:pt x="72207" y="116189"/>
                  </a:cubicBezTo>
                  <a:cubicBezTo>
                    <a:pt x="72207" y="112358"/>
                    <a:pt x="69650" y="109805"/>
                    <a:pt x="65817" y="109805"/>
                  </a:cubicBezTo>
                  <a:cubicBezTo>
                    <a:pt x="30672" y="108528"/>
                    <a:pt x="11502" y="97037"/>
                    <a:pt x="11502" y="88737"/>
                  </a:cubicBezTo>
                  <a:lnTo>
                    <a:pt x="11502" y="81077"/>
                  </a:lnTo>
                  <a:cubicBezTo>
                    <a:pt x="26838" y="90653"/>
                    <a:pt x="49842" y="95121"/>
                    <a:pt x="72207" y="95121"/>
                  </a:cubicBezTo>
                  <a:close/>
                  <a:moveTo>
                    <a:pt x="72207" y="12768"/>
                  </a:moveTo>
                  <a:cubicBezTo>
                    <a:pt x="108629" y="12768"/>
                    <a:pt x="131633" y="25536"/>
                    <a:pt x="131633" y="33835"/>
                  </a:cubicBezTo>
                  <a:cubicBezTo>
                    <a:pt x="131633" y="42773"/>
                    <a:pt x="109269" y="54902"/>
                    <a:pt x="72207" y="54902"/>
                  </a:cubicBezTo>
                  <a:cubicBezTo>
                    <a:pt x="35145" y="54902"/>
                    <a:pt x="12780" y="42773"/>
                    <a:pt x="12780" y="33835"/>
                  </a:cubicBezTo>
                  <a:cubicBezTo>
                    <a:pt x="12780" y="25536"/>
                    <a:pt x="35784" y="12768"/>
                    <a:pt x="72207" y="12768"/>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165" name="Graphic 2164">
              <a:extLst>
                <a:ext uri="{FF2B5EF4-FFF2-40B4-BE49-F238E27FC236}">
                  <a16:creationId xmlns:a16="http://schemas.microsoft.com/office/drawing/2014/main" id="{52E1FF30-4EE6-D53D-FA69-B83AB09E3381}"/>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9617" y="4393483"/>
              <a:ext cx="63355" cy="83360"/>
            </a:xfrm>
            <a:prstGeom prst="rect">
              <a:avLst/>
            </a:prstGeom>
          </p:spPr>
        </p:pic>
      </p:grpSp>
      <p:grpSp>
        <p:nvGrpSpPr>
          <p:cNvPr id="2127" name="Group 2126">
            <a:extLst>
              <a:ext uri="{FF2B5EF4-FFF2-40B4-BE49-F238E27FC236}">
                <a16:creationId xmlns:a16="http://schemas.microsoft.com/office/drawing/2014/main" id="{204640E0-E0DF-29D2-5F02-6E841289DC15}"/>
              </a:ext>
            </a:extLst>
          </p:cNvPr>
          <p:cNvGrpSpPr/>
          <p:nvPr/>
        </p:nvGrpSpPr>
        <p:grpSpPr>
          <a:xfrm>
            <a:off x="4732607" y="6229750"/>
            <a:ext cx="394802" cy="394798"/>
            <a:chOff x="467103" y="3035079"/>
            <a:chExt cx="362309" cy="362610"/>
          </a:xfrm>
          <a:solidFill>
            <a:srgbClr val="00ABAB"/>
          </a:solidFill>
        </p:grpSpPr>
        <p:sp>
          <p:nvSpPr>
            <p:cNvPr id="2144" name="Graphic 4">
              <a:extLst>
                <a:ext uri="{FF2B5EF4-FFF2-40B4-BE49-F238E27FC236}">
                  <a16:creationId xmlns:a16="http://schemas.microsoft.com/office/drawing/2014/main" id="{CF0276A3-9BC5-B212-A197-EB551E8447E1}"/>
                </a:ext>
              </a:extLst>
            </p:cNvPr>
            <p:cNvSpPr/>
            <p:nvPr/>
          </p:nvSpPr>
          <p:spPr>
            <a:xfrm>
              <a:off x="467103" y="3035079"/>
              <a:ext cx="362309" cy="362610"/>
            </a:xfrm>
            <a:custGeom>
              <a:avLst/>
              <a:gdLst>
                <a:gd name="connsiteX0" fmla="*/ 181474 w 362309"/>
                <a:gd name="connsiteY0" fmla="*/ 0 h 362610"/>
                <a:gd name="connsiteX1" fmla="*/ 0 w 362309"/>
                <a:gd name="connsiteY1" fmla="*/ 181305 h 362610"/>
                <a:gd name="connsiteX2" fmla="*/ 181474 w 362309"/>
                <a:gd name="connsiteY2" fmla="*/ 362610 h 362610"/>
                <a:gd name="connsiteX3" fmla="*/ 362309 w 362309"/>
                <a:gd name="connsiteY3" fmla="*/ 181305 h 362610"/>
                <a:gd name="connsiteX4" fmla="*/ 181474 w 362309"/>
                <a:gd name="connsiteY4" fmla="*/ 0 h 362610"/>
                <a:gd name="connsiteX5" fmla="*/ 181474 w 362309"/>
                <a:gd name="connsiteY5" fmla="*/ 0 h 362610"/>
                <a:gd name="connsiteX6" fmla="*/ 181474 w 362309"/>
                <a:gd name="connsiteY6" fmla="*/ 349204 h 362610"/>
                <a:gd name="connsiteX7" fmla="*/ 13419 w 362309"/>
                <a:gd name="connsiteY7" fmla="*/ 180667 h 362610"/>
                <a:gd name="connsiteX8" fmla="*/ 181474 w 362309"/>
                <a:gd name="connsiteY8" fmla="*/ 12130 h 362610"/>
                <a:gd name="connsiteX9" fmla="*/ 349530 w 362309"/>
                <a:gd name="connsiteY9" fmla="*/ 180667 h 362610"/>
                <a:gd name="connsiteX10" fmla="*/ 349530 w 362309"/>
                <a:gd name="connsiteY10" fmla="*/ 180667 h 362610"/>
                <a:gd name="connsiteX11" fmla="*/ 181474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1474" y="0"/>
                  </a:moveTo>
                  <a:cubicBezTo>
                    <a:pt x="81152" y="0"/>
                    <a:pt x="0" y="81077"/>
                    <a:pt x="0" y="181305"/>
                  </a:cubicBezTo>
                  <a:cubicBezTo>
                    <a:pt x="0" y="281534"/>
                    <a:pt x="81152" y="362610"/>
                    <a:pt x="181474" y="362610"/>
                  </a:cubicBezTo>
                  <a:cubicBezTo>
                    <a:pt x="281796" y="362610"/>
                    <a:pt x="362309" y="281534"/>
                    <a:pt x="362309" y="181305"/>
                  </a:cubicBezTo>
                  <a:cubicBezTo>
                    <a:pt x="362309" y="81077"/>
                    <a:pt x="281796" y="0"/>
                    <a:pt x="181474" y="0"/>
                  </a:cubicBezTo>
                  <a:cubicBezTo>
                    <a:pt x="181474" y="0"/>
                    <a:pt x="181474" y="0"/>
                    <a:pt x="181474" y="0"/>
                  </a:cubicBezTo>
                  <a:close/>
                  <a:moveTo>
                    <a:pt x="181474" y="349204"/>
                  </a:moveTo>
                  <a:cubicBezTo>
                    <a:pt x="88181" y="349204"/>
                    <a:pt x="13419" y="273873"/>
                    <a:pt x="13419" y="180667"/>
                  </a:cubicBezTo>
                  <a:cubicBezTo>
                    <a:pt x="13419" y="87461"/>
                    <a:pt x="88820" y="12130"/>
                    <a:pt x="181474" y="12130"/>
                  </a:cubicBezTo>
                  <a:cubicBezTo>
                    <a:pt x="274128" y="12130"/>
                    <a:pt x="349530" y="87461"/>
                    <a:pt x="349530" y="180667"/>
                  </a:cubicBezTo>
                  <a:cubicBezTo>
                    <a:pt x="349530" y="180667"/>
                    <a:pt x="349530" y="180667"/>
                    <a:pt x="349530" y="180667"/>
                  </a:cubicBezTo>
                  <a:cubicBezTo>
                    <a:pt x="349530" y="273873"/>
                    <a:pt x="274128" y="349204"/>
                    <a:pt x="181474" y="349204"/>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145" name="Group 2144">
              <a:extLst>
                <a:ext uri="{FF2B5EF4-FFF2-40B4-BE49-F238E27FC236}">
                  <a16:creationId xmlns:a16="http://schemas.microsoft.com/office/drawing/2014/main" id="{E95C2CFC-E0A0-5201-0C12-D6B1DCBDD02C}"/>
                </a:ext>
              </a:extLst>
            </p:cNvPr>
            <p:cNvGrpSpPr/>
            <p:nvPr/>
          </p:nvGrpSpPr>
          <p:grpSpPr>
            <a:xfrm>
              <a:off x="539309" y="3121263"/>
              <a:ext cx="218535" cy="188965"/>
              <a:chOff x="539309" y="3121263"/>
              <a:chExt cx="218535" cy="188965"/>
            </a:xfrm>
            <a:grpFill/>
          </p:grpSpPr>
          <p:sp>
            <p:nvSpPr>
              <p:cNvPr id="2146" name="Graphic 4">
                <a:extLst>
                  <a:ext uri="{FF2B5EF4-FFF2-40B4-BE49-F238E27FC236}">
                    <a16:creationId xmlns:a16="http://schemas.microsoft.com/office/drawing/2014/main" id="{45EED0BB-D5C4-6606-E8BB-1E54B3CE3BB6}"/>
                  </a:ext>
                </a:extLst>
              </p:cNvPr>
              <p:cNvSpPr/>
              <p:nvPr/>
            </p:nvSpPr>
            <p:spPr>
              <a:xfrm>
                <a:off x="539309" y="3121263"/>
                <a:ext cx="218535" cy="188965"/>
              </a:xfrm>
              <a:custGeom>
                <a:avLst/>
                <a:gdLst>
                  <a:gd name="connsiteX0" fmla="*/ 212146 w 218535"/>
                  <a:gd name="connsiteY0" fmla="*/ 29366 h 188965"/>
                  <a:gd name="connsiteX1" fmla="*/ 159748 w 218535"/>
                  <a:gd name="connsiteY1" fmla="*/ 29366 h 188965"/>
                  <a:gd name="connsiteX2" fmla="*/ 159748 w 218535"/>
                  <a:gd name="connsiteY2" fmla="*/ 6384 h 188965"/>
                  <a:gd name="connsiteX3" fmla="*/ 153358 w 218535"/>
                  <a:gd name="connsiteY3" fmla="*/ 0 h 188965"/>
                  <a:gd name="connsiteX4" fmla="*/ 65177 w 218535"/>
                  <a:gd name="connsiteY4" fmla="*/ 0 h 188965"/>
                  <a:gd name="connsiteX5" fmla="*/ 58787 w 218535"/>
                  <a:gd name="connsiteY5" fmla="*/ 6384 h 188965"/>
                  <a:gd name="connsiteX6" fmla="*/ 58787 w 218535"/>
                  <a:gd name="connsiteY6" fmla="*/ 29366 h 188965"/>
                  <a:gd name="connsiteX7" fmla="*/ 6390 w 218535"/>
                  <a:gd name="connsiteY7" fmla="*/ 29366 h 188965"/>
                  <a:gd name="connsiteX8" fmla="*/ 0 w 218535"/>
                  <a:gd name="connsiteY8" fmla="*/ 35750 h 188965"/>
                  <a:gd name="connsiteX9" fmla="*/ 0 w 218535"/>
                  <a:gd name="connsiteY9" fmla="*/ 182582 h 188965"/>
                  <a:gd name="connsiteX10" fmla="*/ 6390 w 218535"/>
                  <a:gd name="connsiteY10" fmla="*/ 188966 h 188965"/>
                  <a:gd name="connsiteX11" fmla="*/ 212146 w 218535"/>
                  <a:gd name="connsiteY11" fmla="*/ 188966 h 188965"/>
                  <a:gd name="connsiteX12" fmla="*/ 218536 w 218535"/>
                  <a:gd name="connsiteY12" fmla="*/ 182582 h 188965"/>
                  <a:gd name="connsiteX13" fmla="*/ 218536 w 218535"/>
                  <a:gd name="connsiteY13" fmla="*/ 35750 h 188965"/>
                  <a:gd name="connsiteX14" fmla="*/ 212146 w 218535"/>
                  <a:gd name="connsiteY14" fmla="*/ 29366 h 188965"/>
                  <a:gd name="connsiteX15" fmla="*/ 71567 w 218535"/>
                  <a:gd name="connsiteY15" fmla="*/ 12768 h 188965"/>
                  <a:gd name="connsiteX16" fmla="*/ 146969 w 218535"/>
                  <a:gd name="connsiteY16" fmla="*/ 12768 h 188965"/>
                  <a:gd name="connsiteX17" fmla="*/ 146969 w 218535"/>
                  <a:gd name="connsiteY17" fmla="*/ 176836 h 188965"/>
                  <a:gd name="connsiteX18" fmla="*/ 100961 w 218535"/>
                  <a:gd name="connsiteY18" fmla="*/ 176836 h 188965"/>
                  <a:gd name="connsiteX19" fmla="*/ 100961 w 218535"/>
                  <a:gd name="connsiteY19" fmla="*/ 153854 h 188965"/>
                  <a:gd name="connsiteX20" fmla="*/ 94571 w 218535"/>
                  <a:gd name="connsiteY20" fmla="*/ 147470 h 188965"/>
                  <a:gd name="connsiteX21" fmla="*/ 88181 w 218535"/>
                  <a:gd name="connsiteY21" fmla="*/ 153854 h 188965"/>
                  <a:gd name="connsiteX22" fmla="*/ 88181 w 218535"/>
                  <a:gd name="connsiteY22" fmla="*/ 176836 h 188965"/>
                  <a:gd name="connsiteX23" fmla="*/ 71567 w 218535"/>
                  <a:gd name="connsiteY23" fmla="*/ 176836 h 188965"/>
                  <a:gd name="connsiteX24" fmla="*/ 71567 w 218535"/>
                  <a:gd name="connsiteY24" fmla="*/ 12768 h 188965"/>
                  <a:gd name="connsiteX25" fmla="*/ 12780 w 218535"/>
                  <a:gd name="connsiteY25" fmla="*/ 42134 h 188965"/>
                  <a:gd name="connsiteX26" fmla="*/ 58787 w 218535"/>
                  <a:gd name="connsiteY26" fmla="*/ 42134 h 188965"/>
                  <a:gd name="connsiteX27" fmla="*/ 58787 w 218535"/>
                  <a:gd name="connsiteY27" fmla="*/ 176198 h 188965"/>
                  <a:gd name="connsiteX28" fmla="*/ 42174 w 218535"/>
                  <a:gd name="connsiteY28" fmla="*/ 176198 h 188965"/>
                  <a:gd name="connsiteX29" fmla="*/ 42174 w 218535"/>
                  <a:gd name="connsiteY29" fmla="*/ 153216 h 188965"/>
                  <a:gd name="connsiteX30" fmla="*/ 35784 w 218535"/>
                  <a:gd name="connsiteY30" fmla="*/ 146832 h 188965"/>
                  <a:gd name="connsiteX31" fmla="*/ 29394 w 218535"/>
                  <a:gd name="connsiteY31" fmla="*/ 153216 h 188965"/>
                  <a:gd name="connsiteX32" fmla="*/ 29394 w 218535"/>
                  <a:gd name="connsiteY32" fmla="*/ 176836 h 188965"/>
                  <a:gd name="connsiteX33" fmla="*/ 12780 w 218535"/>
                  <a:gd name="connsiteY33" fmla="*/ 176836 h 188965"/>
                  <a:gd name="connsiteX34" fmla="*/ 12780 w 218535"/>
                  <a:gd name="connsiteY34" fmla="*/ 42134 h 188965"/>
                  <a:gd name="connsiteX35" fmla="*/ 205756 w 218535"/>
                  <a:gd name="connsiteY35" fmla="*/ 176198 h 188965"/>
                  <a:gd name="connsiteX36" fmla="*/ 189142 w 218535"/>
                  <a:gd name="connsiteY36" fmla="*/ 176198 h 188965"/>
                  <a:gd name="connsiteX37" fmla="*/ 189142 w 218535"/>
                  <a:gd name="connsiteY37" fmla="*/ 153216 h 188965"/>
                  <a:gd name="connsiteX38" fmla="*/ 182752 w 218535"/>
                  <a:gd name="connsiteY38" fmla="*/ 146832 h 188965"/>
                  <a:gd name="connsiteX39" fmla="*/ 176362 w 218535"/>
                  <a:gd name="connsiteY39" fmla="*/ 153216 h 188965"/>
                  <a:gd name="connsiteX40" fmla="*/ 176362 w 218535"/>
                  <a:gd name="connsiteY40" fmla="*/ 176836 h 188965"/>
                  <a:gd name="connsiteX41" fmla="*/ 159748 w 218535"/>
                  <a:gd name="connsiteY41" fmla="*/ 176836 h 188965"/>
                  <a:gd name="connsiteX42" fmla="*/ 159748 w 218535"/>
                  <a:gd name="connsiteY42" fmla="*/ 42773 h 188965"/>
                  <a:gd name="connsiteX43" fmla="*/ 205756 w 218535"/>
                  <a:gd name="connsiteY43" fmla="*/ 42773 h 188965"/>
                  <a:gd name="connsiteX44" fmla="*/ 205756 w 218535"/>
                  <a:gd name="connsiteY44"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8535" h="188965">
                    <a:moveTo>
                      <a:pt x="212146" y="29366"/>
                    </a:moveTo>
                    <a:lnTo>
                      <a:pt x="159748" y="29366"/>
                    </a:lnTo>
                    <a:lnTo>
                      <a:pt x="159748" y="6384"/>
                    </a:lnTo>
                    <a:cubicBezTo>
                      <a:pt x="159748" y="2554"/>
                      <a:pt x="157192" y="0"/>
                      <a:pt x="153358" y="0"/>
                    </a:cubicBezTo>
                    <a:lnTo>
                      <a:pt x="65177" y="0"/>
                    </a:lnTo>
                    <a:cubicBezTo>
                      <a:pt x="61343" y="0"/>
                      <a:pt x="58787" y="2554"/>
                      <a:pt x="58787" y="6384"/>
                    </a:cubicBezTo>
                    <a:lnTo>
                      <a:pt x="58787" y="29366"/>
                    </a:lnTo>
                    <a:lnTo>
                      <a:pt x="6390" y="29366"/>
                    </a:lnTo>
                    <a:cubicBezTo>
                      <a:pt x="2556" y="29366"/>
                      <a:pt x="0" y="31920"/>
                      <a:pt x="0" y="35750"/>
                    </a:cubicBezTo>
                    <a:lnTo>
                      <a:pt x="0" y="182582"/>
                    </a:lnTo>
                    <a:cubicBezTo>
                      <a:pt x="0" y="186412"/>
                      <a:pt x="2556" y="188966"/>
                      <a:pt x="6390" y="188966"/>
                    </a:cubicBezTo>
                    <a:lnTo>
                      <a:pt x="212146" y="188966"/>
                    </a:lnTo>
                    <a:cubicBezTo>
                      <a:pt x="215980" y="188966"/>
                      <a:pt x="218536" y="186412"/>
                      <a:pt x="218536" y="182582"/>
                    </a:cubicBezTo>
                    <a:lnTo>
                      <a:pt x="218536" y="35750"/>
                    </a:lnTo>
                    <a:cubicBezTo>
                      <a:pt x="218536" y="32558"/>
                      <a:pt x="215980" y="29366"/>
                      <a:pt x="212146" y="29366"/>
                    </a:cubicBezTo>
                    <a:close/>
                    <a:moveTo>
                      <a:pt x="71567" y="12768"/>
                    </a:moveTo>
                    <a:lnTo>
                      <a:pt x="146969" y="12768"/>
                    </a:lnTo>
                    <a:lnTo>
                      <a:pt x="146969" y="176836"/>
                    </a:lnTo>
                    <a:lnTo>
                      <a:pt x="100961" y="176836"/>
                    </a:lnTo>
                    <a:lnTo>
                      <a:pt x="100961" y="153854"/>
                    </a:lnTo>
                    <a:cubicBezTo>
                      <a:pt x="100961" y="150024"/>
                      <a:pt x="98405" y="147470"/>
                      <a:pt x="94571" y="147470"/>
                    </a:cubicBezTo>
                    <a:cubicBezTo>
                      <a:pt x="90737" y="147470"/>
                      <a:pt x="88181" y="150024"/>
                      <a:pt x="88181" y="153854"/>
                    </a:cubicBezTo>
                    <a:lnTo>
                      <a:pt x="88181" y="176836"/>
                    </a:lnTo>
                    <a:lnTo>
                      <a:pt x="71567" y="176836"/>
                    </a:lnTo>
                    <a:lnTo>
                      <a:pt x="71567" y="12768"/>
                    </a:lnTo>
                    <a:close/>
                    <a:moveTo>
                      <a:pt x="12780" y="42134"/>
                    </a:moveTo>
                    <a:lnTo>
                      <a:pt x="58787" y="42134"/>
                    </a:lnTo>
                    <a:lnTo>
                      <a:pt x="58787" y="176198"/>
                    </a:lnTo>
                    <a:lnTo>
                      <a:pt x="42174" y="176198"/>
                    </a:lnTo>
                    <a:lnTo>
                      <a:pt x="42174" y="153216"/>
                    </a:lnTo>
                    <a:cubicBezTo>
                      <a:pt x="42174" y="149385"/>
                      <a:pt x="39618" y="146832"/>
                      <a:pt x="35784" y="146832"/>
                    </a:cubicBezTo>
                    <a:cubicBezTo>
                      <a:pt x="31950" y="146832"/>
                      <a:pt x="29394" y="149385"/>
                      <a:pt x="29394" y="153216"/>
                    </a:cubicBezTo>
                    <a:lnTo>
                      <a:pt x="29394" y="176836"/>
                    </a:lnTo>
                    <a:lnTo>
                      <a:pt x="12780" y="176836"/>
                    </a:lnTo>
                    <a:lnTo>
                      <a:pt x="12780" y="42134"/>
                    </a:lnTo>
                    <a:close/>
                    <a:moveTo>
                      <a:pt x="205756" y="176198"/>
                    </a:moveTo>
                    <a:lnTo>
                      <a:pt x="189142" y="176198"/>
                    </a:lnTo>
                    <a:lnTo>
                      <a:pt x="189142" y="153216"/>
                    </a:lnTo>
                    <a:cubicBezTo>
                      <a:pt x="189142" y="149385"/>
                      <a:pt x="186586" y="146832"/>
                      <a:pt x="182752" y="146832"/>
                    </a:cubicBezTo>
                    <a:cubicBezTo>
                      <a:pt x="178918" y="146832"/>
                      <a:pt x="176362" y="149385"/>
                      <a:pt x="176362" y="153216"/>
                    </a:cubicBezTo>
                    <a:lnTo>
                      <a:pt x="176362" y="176836"/>
                    </a:lnTo>
                    <a:lnTo>
                      <a:pt x="159748" y="176836"/>
                    </a:lnTo>
                    <a:lnTo>
                      <a:pt x="159748" y="42773"/>
                    </a:lnTo>
                    <a:lnTo>
                      <a:pt x="205756" y="42773"/>
                    </a:lnTo>
                    <a:lnTo>
                      <a:pt x="205756" y="176198"/>
                    </a:ln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47" name="Graphic 4">
                <a:extLst>
                  <a:ext uri="{FF2B5EF4-FFF2-40B4-BE49-F238E27FC236}">
                    <a16:creationId xmlns:a16="http://schemas.microsoft.com/office/drawing/2014/main" id="{CCA48B66-DEB0-5AC3-ED8D-02CD9523DE50}"/>
                  </a:ext>
                </a:extLst>
              </p:cNvPr>
              <p:cNvSpPr/>
              <p:nvPr/>
            </p:nvSpPr>
            <p:spPr>
              <a:xfrm>
                <a:off x="568703" y="3238728"/>
                <a:ext cx="12779" cy="12767"/>
              </a:xfrm>
              <a:custGeom>
                <a:avLst/>
                <a:gdLst>
                  <a:gd name="connsiteX0" fmla="*/ 6390 w 12779"/>
                  <a:gd name="connsiteY0" fmla="*/ 12768 h 12767"/>
                  <a:gd name="connsiteX1" fmla="*/ 10863 w 12779"/>
                  <a:gd name="connsiteY1" fmla="*/ 10853 h 12767"/>
                  <a:gd name="connsiteX2" fmla="*/ 12141 w 12779"/>
                  <a:gd name="connsiteY2" fmla="*/ 8938 h 12767"/>
                  <a:gd name="connsiteX3" fmla="*/ 12780 w 12779"/>
                  <a:gd name="connsiteY3" fmla="*/ 6384 h 12767"/>
                  <a:gd name="connsiteX4" fmla="*/ 12141 w 12779"/>
                  <a:gd name="connsiteY4" fmla="*/ 3830 h 12767"/>
                  <a:gd name="connsiteX5" fmla="*/ 10863 w 12779"/>
                  <a:gd name="connsiteY5" fmla="*/ 1915 h 12767"/>
                  <a:gd name="connsiteX6" fmla="*/ 5112 w 12779"/>
                  <a:gd name="connsiteY6" fmla="*/ 0 h 12767"/>
                  <a:gd name="connsiteX7" fmla="*/ 3834 w 12779"/>
                  <a:gd name="connsiteY7" fmla="*/ 638 h 12767"/>
                  <a:gd name="connsiteX8" fmla="*/ 1917 w 12779"/>
                  <a:gd name="connsiteY8" fmla="*/ 1915 h 12767"/>
                  <a:gd name="connsiteX9" fmla="*/ 639 w 12779"/>
                  <a:gd name="connsiteY9" fmla="*/ 3830 h 12767"/>
                  <a:gd name="connsiteX10" fmla="*/ 0 w 12779"/>
                  <a:gd name="connsiteY10" fmla="*/ 6384 h 12767"/>
                  <a:gd name="connsiteX11" fmla="*/ 6390 w 12779"/>
                  <a:gd name="connsiteY11" fmla="*/ 12768 h 12767"/>
                  <a:gd name="connsiteX12" fmla="*/ 6390 w 12779"/>
                  <a:gd name="connsiteY12"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7">
                    <a:moveTo>
                      <a:pt x="6390" y="12768"/>
                    </a:moveTo>
                    <a:cubicBezTo>
                      <a:pt x="8307" y="12768"/>
                      <a:pt x="9585" y="12130"/>
                      <a:pt x="10863" y="10853"/>
                    </a:cubicBezTo>
                    <a:cubicBezTo>
                      <a:pt x="11502" y="10214"/>
                      <a:pt x="12141" y="9576"/>
                      <a:pt x="12141" y="8938"/>
                    </a:cubicBezTo>
                    <a:cubicBezTo>
                      <a:pt x="12141" y="8299"/>
                      <a:pt x="12780" y="7661"/>
                      <a:pt x="12780" y="6384"/>
                    </a:cubicBezTo>
                    <a:cubicBezTo>
                      <a:pt x="12780" y="5746"/>
                      <a:pt x="12780" y="4469"/>
                      <a:pt x="12141" y="3830"/>
                    </a:cubicBezTo>
                    <a:cubicBezTo>
                      <a:pt x="11502" y="3192"/>
                      <a:pt x="11502" y="2554"/>
                      <a:pt x="10863" y="1915"/>
                    </a:cubicBezTo>
                    <a:cubicBezTo>
                      <a:pt x="9585" y="638"/>
                      <a:pt x="7029" y="0"/>
                      <a:pt x="5112" y="0"/>
                    </a:cubicBezTo>
                    <a:lnTo>
                      <a:pt x="3834" y="638"/>
                    </a:lnTo>
                    <a:cubicBezTo>
                      <a:pt x="3195" y="1277"/>
                      <a:pt x="2556" y="1277"/>
                      <a:pt x="1917" y="1915"/>
                    </a:cubicBezTo>
                    <a:cubicBezTo>
                      <a:pt x="1278" y="2554"/>
                      <a:pt x="639" y="3192"/>
                      <a:pt x="639" y="3830"/>
                    </a:cubicBezTo>
                    <a:cubicBezTo>
                      <a:pt x="0" y="4469"/>
                      <a:pt x="0" y="5746"/>
                      <a:pt x="0" y="6384"/>
                    </a:cubicBezTo>
                    <a:cubicBezTo>
                      <a:pt x="0" y="10214"/>
                      <a:pt x="2556" y="12768"/>
                      <a:pt x="6390" y="12768"/>
                    </a:cubicBezTo>
                    <a:lnTo>
                      <a:pt x="6390" y="12768"/>
                    </a:ln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48" name="Graphic 4">
                <a:extLst>
                  <a:ext uri="{FF2B5EF4-FFF2-40B4-BE49-F238E27FC236}">
                    <a16:creationId xmlns:a16="http://schemas.microsoft.com/office/drawing/2014/main" id="{80B4D753-8ACC-AAA8-96E4-E8E484CDA62B}"/>
                  </a:ext>
                </a:extLst>
              </p:cNvPr>
              <p:cNvSpPr/>
              <p:nvPr/>
            </p:nvSpPr>
            <p:spPr>
              <a:xfrm>
                <a:off x="568863" y="3209336"/>
                <a:ext cx="12460" cy="12793"/>
              </a:xfrm>
              <a:custGeom>
                <a:avLst/>
                <a:gdLst>
                  <a:gd name="connsiteX0" fmla="*/ 1757 w 12460"/>
                  <a:gd name="connsiteY0" fmla="*/ 10879 h 12793"/>
                  <a:gd name="connsiteX1" fmla="*/ 3674 w 12460"/>
                  <a:gd name="connsiteY1" fmla="*/ 12155 h 12793"/>
                  <a:gd name="connsiteX2" fmla="*/ 6230 w 12460"/>
                  <a:gd name="connsiteY2" fmla="*/ 12794 h 12793"/>
                  <a:gd name="connsiteX3" fmla="*/ 8786 w 12460"/>
                  <a:gd name="connsiteY3" fmla="*/ 12155 h 12793"/>
                  <a:gd name="connsiteX4" fmla="*/ 10703 w 12460"/>
                  <a:gd name="connsiteY4" fmla="*/ 10879 h 12793"/>
                  <a:gd name="connsiteX5" fmla="*/ 11981 w 12460"/>
                  <a:gd name="connsiteY5" fmla="*/ 8963 h 12793"/>
                  <a:gd name="connsiteX6" fmla="*/ 11981 w 12460"/>
                  <a:gd name="connsiteY6" fmla="*/ 3856 h 12793"/>
                  <a:gd name="connsiteX7" fmla="*/ 11342 w 12460"/>
                  <a:gd name="connsiteY7" fmla="*/ 2579 h 12793"/>
                  <a:gd name="connsiteX8" fmla="*/ 10703 w 12460"/>
                  <a:gd name="connsiteY8" fmla="*/ 1941 h 12793"/>
                  <a:gd name="connsiteX9" fmla="*/ 3674 w 12460"/>
                  <a:gd name="connsiteY9" fmla="*/ 664 h 12793"/>
                  <a:gd name="connsiteX10" fmla="*/ 1757 w 12460"/>
                  <a:gd name="connsiteY10" fmla="*/ 1941 h 12793"/>
                  <a:gd name="connsiteX11" fmla="*/ 1118 w 12460"/>
                  <a:gd name="connsiteY11" fmla="*/ 2579 h 12793"/>
                  <a:gd name="connsiteX12" fmla="*/ 479 w 12460"/>
                  <a:gd name="connsiteY12" fmla="*/ 3856 h 12793"/>
                  <a:gd name="connsiteX13" fmla="*/ 479 w 12460"/>
                  <a:gd name="connsiteY13" fmla="*/ 8963 h 12793"/>
                  <a:gd name="connsiteX14" fmla="*/ 1757 w 12460"/>
                  <a:gd name="connsiteY14" fmla="*/ 10879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0" h="12793">
                    <a:moveTo>
                      <a:pt x="1757" y="10879"/>
                    </a:moveTo>
                    <a:cubicBezTo>
                      <a:pt x="2396" y="11517"/>
                      <a:pt x="3035" y="12155"/>
                      <a:pt x="3674" y="12155"/>
                    </a:cubicBezTo>
                    <a:cubicBezTo>
                      <a:pt x="4313" y="12794"/>
                      <a:pt x="4952" y="12794"/>
                      <a:pt x="6230" y="12794"/>
                    </a:cubicBezTo>
                    <a:cubicBezTo>
                      <a:pt x="6869" y="12794"/>
                      <a:pt x="8147" y="12794"/>
                      <a:pt x="8786" y="12155"/>
                    </a:cubicBezTo>
                    <a:cubicBezTo>
                      <a:pt x="9425" y="12155"/>
                      <a:pt x="10064" y="11517"/>
                      <a:pt x="10703" y="10879"/>
                    </a:cubicBezTo>
                    <a:cubicBezTo>
                      <a:pt x="11342" y="10240"/>
                      <a:pt x="11981" y="9602"/>
                      <a:pt x="11981" y="8963"/>
                    </a:cubicBezTo>
                    <a:cubicBezTo>
                      <a:pt x="12620" y="7687"/>
                      <a:pt x="12620" y="5771"/>
                      <a:pt x="11981" y="3856"/>
                    </a:cubicBezTo>
                    <a:cubicBezTo>
                      <a:pt x="11981" y="3218"/>
                      <a:pt x="11342" y="3218"/>
                      <a:pt x="11342" y="2579"/>
                    </a:cubicBezTo>
                    <a:cubicBezTo>
                      <a:pt x="11342" y="1941"/>
                      <a:pt x="10703" y="1941"/>
                      <a:pt x="10703" y="1941"/>
                    </a:cubicBezTo>
                    <a:cubicBezTo>
                      <a:pt x="8786" y="26"/>
                      <a:pt x="6230" y="-613"/>
                      <a:pt x="3674" y="664"/>
                    </a:cubicBezTo>
                    <a:cubicBezTo>
                      <a:pt x="3035" y="1303"/>
                      <a:pt x="2396" y="1303"/>
                      <a:pt x="1757" y="1941"/>
                    </a:cubicBezTo>
                    <a:lnTo>
                      <a:pt x="1118" y="2579"/>
                    </a:lnTo>
                    <a:cubicBezTo>
                      <a:pt x="1118" y="3218"/>
                      <a:pt x="479" y="3218"/>
                      <a:pt x="479" y="3856"/>
                    </a:cubicBezTo>
                    <a:cubicBezTo>
                      <a:pt x="-160" y="5133"/>
                      <a:pt x="-160" y="7048"/>
                      <a:pt x="479" y="8963"/>
                    </a:cubicBezTo>
                    <a:cubicBezTo>
                      <a:pt x="479" y="9602"/>
                      <a:pt x="1118" y="10240"/>
                      <a:pt x="1757" y="10879"/>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49" name="Graphic 4">
                <a:extLst>
                  <a:ext uri="{FF2B5EF4-FFF2-40B4-BE49-F238E27FC236}">
                    <a16:creationId xmlns:a16="http://schemas.microsoft.com/office/drawing/2014/main" id="{9D6C0E86-07C2-437B-2520-CA97F9A9DF16}"/>
                  </a:ext>
                </a:extLst>
              </p:cNvPr>
              <p:cNvSpPr/>
              <p:nvPr/>
            </p:nvSpPr>
            <p:spPr>
              <a:xfrm>
                <a:off x="567425" y="3179996"/>
                <a:ext cx="14057" cy="12767"/>
              </a:xfrm>
              <a:custGeom>
                <a:avLst/>
                <a:gdLst>
                  <a:gd name="connsiteX0" fmla="*/ 7668 w 14057"/>
                  <a:gd name="connsiteY0" fmla="*/ 12768 h 12767"/>
                  <a:gd name="connsiteX1" fmla="*/ 10224 w 14057"/>
                  <a:gd name="connsiteY1" fmla="*/ 12130 h 12767"/>
                  <a:gd name="connsiteX2" fmla="*/ 12141 w 14057"/>
                  <a:gd name="connsiteY2" fmla="*/ 10853 h 12767"/>
                  <a:gd name="connsiteX3" fmla="*/ 14058 w 14057"/>
                  <a:gd name="connsiteY3" fmla="*/ 6384 h 12767"/>
                  <a:gd name="connsiteX4" fmla="*/ 12141 w 14057"/>
                  <a:gd name="connsiteY4" fmla="*/ 1915 h 12767"/>
                  <a:gd name="connsiteX5" fmla="*/ 10863 w 14057"/>
                  <a:gd name="connsiteY5" fmla="*/ 1277 h 12767"/>
                  <a:gd name="connsiteX6" fmla="*/ 9585 w 14057"/>
                  <a:gd name="connsiteY6" fmla="*/ 638 h 12767"/>
                  <a:gd name="connsiteX7" fmla="*/ 8307 w 14057"/>
                  <a:gd name="connsiteY7" fmla="*/ 0 h 12767"/>
                  <a:gd name="connsiteX8" fmla="*/ 5751 w 14057"/>
                  <a:gd name="connsiteY8" fmla="*/ 0 h 12767"/>
                  <a:gd name="connsiteX9" fmla="*/ 4473 w 14057"/>
                  <a:gd name="connsiteY9" fmla="*/ 638 h 12767"/>
                  <a:gd name="connsiteX10" fmla="*/ 3195 w 14057"/>
                  <a:gd name="connsiteY10" fmla="*/ 1277 h 12767"/>
                  <a:gd name="connsiteX11" fmla="*/ 1917 w 14057"/>
                  <a:gd name="connsiteY11" fmla="*/ 1915 h 12767"/>
                  <a:gd name="connsiteX12" fmla="*/ 639 w 14057"/>
                  <a:gd name="connsiteY12" fmla="*/ 3830 h 12767"/>
                  <a:gd name="connsiteX13" fmla="*/ 0 w 14057"/>
                  <a:gd name="connsiteY13" fmla="*/ 6384 h 12767"/>
                  <a:gd name="connsiteX14" fmla="*/ 1917 w 14057"/>
                  <a:gd name="connsiteY14" fmla="*/ 10853 h 12767"/>
                  <a:gd name="connsiteX15" fmla="*/ 7668 w 14057"/>
                  <a:gd name="connsiteY15"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57" h="12767">
                    <a:moveTo>
                      <a:pt x="7668" y="12768"/>
                    </a:moveTo>
                    <a:cubicBezTo>
                      <a:pt x="8307" y="12768"/>
                      <a:pt x="9585" y="12768"/>
                      <a:pt x="10224" y="12130"/>
                    </a:cubicBezTo>
                    <a:cubicBezTo>
                      <a:pt x="10863" y="12130"/>
                      <a:pt x="11502" y="11491"/>
                      <a:pt x="12141" y="10853"/>
                    </a:cubicBezTo>
                    <a:cubicBezTo>
                      <a:pt x="13419" y="9576"/>
                      <a:pt x="14058" y="8299"/>
                      <a:pt x="14058" y="6384"/>
                    </a:cubicBezTo>
                    <a:cubicBezTo>
                      <a:pt x="14058" y="4469"/>
                      <a:pt x="13419" y="3192"/>
                      <a:pt x="12141" y="1915"/>
                    </a:cubicBezTo>
                    <a:lnTo>
                      <a:pt x="10863" y="1277"/>
                    </a:lnTo>
                    <a:lnTo>
                      <a:pt x="9585" y="638"/>
                    </a:lnTo>
                    <a:lnTo>
                      <a:pt x="8307" y="0"/>
                    </a:lnTo>
                    <a:cubicBezTo>
                      <a:pt x="7668" y="0"/>
                      <a:pt x="6390" y="0"/>
                      <a:pt x="5751" y="0"/>
                    </a:cubicBezTo>
                    <a:lnTo>
                      <a:pt x="4473" y="638"/>
                    </a:lnTo>
                    <a:lnTo>
                      <a:pt x="3195" y="1277"/>
                    </a:lnTo>
                    <a:cubicBezTo>
                      <a:pt x="2556" y="1277"/>
                      <a:pt x="2556" y="1915"/>
                      <a:pt x="1917" y="1915"/>
                    </a:cubicBezTo>
                    <a:cubicBezTo>
                      <a:pt x="1278" y="2554"/>
                      <a:pt x="639" y="3192"/>
                      <a:pt x="639" y="3830"/>
                    </a:cubicBezTo>
                    <a:cubicBezTo>
                      <a:pt x="0" y="4469"/>
                      <a:pt x="0" y="5107"/>
                      <a:pt x="0" y="6384"/>
                    </a:cubicBezTo>
                    <a:cubicBezTo>
                      <a:pt x="0" y="8299"/>
                      <a:pt x="639" y="9576"/>
                      <a:pt x="1917" y="10853"/>
                    </a:cubicBezTo>
                    <a:cubicBezTo>
                      <a:pt x="4473" y="12130"/>
                      <a:pt x="5751" y="12768"/>
                      <a:pt x="7668" y="12768"/>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0" name="Graphic 4">
                <a:extLst>
                  <a:ext uri="{FF2B5EF4-FFF2-40B4-BE49-F238E27FC236}">
                    <a16:creationId xmlns:a16="http://schemas.microsoft.com/office/drawing/2014/main" id="{8AF13527-311B-D08E-4B66-5A9F3659F1ED}"/>
                  </a:ext>
                </a:extLst>
              </p:cNvPr>
              <p:cNvSpPr/>
              <p:nvPr/>
            </p:nvSpPr>
            <p:spPr>
              <a:xfrm>
                <a:off x="715671" y="3239366"/>
                <a:ext cx="12779" cy="12767"/>
              </a:xfrm>
              <a:custGeom>
                <a:avLst/>
                <a:gdLst>
                  <a:gd name="connsiteX0" fmla="*/ 11502 w 12779"/>
                  <a:gd name="connsiteY0" fmla="*/ 2554 h 12767"/>
                  <a:gd name="connsiteX1" fmla="*/ 10863 w 12779"/>
                  <a:gd name="connsiteY1" fmla="*/ 1915 h 12767"/>
                  <a:gd name="connsiteX2" fmla="*/ 5112 w 12779"/>
                  <a:gd name="connsiteY2" fmla="*/ 0 h 12767"/>
                  <a:gd name="connsiteX3" fmla="*/ 3834 w 12779"/>
                  <a:gd name="connsiteY3" fmla="*/ 638 h 12767"/>
                  <a:gd name="connsiteX4" fmla="*/ 639 w 12779"/>
                  <a:gd name="connsiteY4" fmla="*/ 3830 h 12767"/>
                  <a:gd name="connsiteX5" fmla="*/ 0 w 12779"/>
                  <a:gd name="connsiteY5" fmla="*/ 6384 h 12767"/>
                  <a:gd name="connsiteX6" fmla="*/ 639 w 12779"/>
                  <a:gd name="connsiteY6" fmla="*/ 8938 h 12767"/>
                  <a:gd name="connsiteX7" fmla="*/ 1917 w 12779"/>
                  <a:gd name="connsiteY7" fmla="*/ 10853 h 12767"/>
                  <a:gd name="connsiteX8" fmla="*/ 6390 w 12779"/>
                  <a:gd name="connsiteY8" fmla="*/ 12768 h 12767"/>
                  <a:gd name="connsiteX9" fmla="*/ 10863 w 12779"/>
                  <a:gd name="connsiteY9" fmla="*/ 10853 h 12767"/>
                  <a:gd name="connsiteX10" fmla="*/ 12141 w 12779"/>
                  <a:gd name="connsiteY10" fmla="*/ 8938 h 12767"/>
                  <a:gd name="connsiteX11" fmla="*/ 12780 w 12779"/>
                  <a:gd name="connsiteY11" fmla="*/ 6384 h 12767"/>
                  <a:gd name="connsiteX12" fmla="*/ 12141 w 12779"/>
                  <a:gd name="connsiteY12" fmla="*/ 3830 h 12767"/>
                  <a:gd name="connsiteX13" fmla="*/ 11502 w 12779"/>
                  <a:gd name="connsiteY13" fmla="*/ 255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2767">
                    <a:moveTo>
                      <a:pt x="11502" y="2554"/>
                    </a:moveTo>
                    <a:cubicBezTo>
                      <a:pt x="11502" y="1915"/>
                      <a:pt x="10863" y="1915"/>
                      <a:pt x="10863" y="1915"/>
                    </a:cubicBezTo>
                    <a:cubicBezTo>
                      <a:pt x="9585" y="638"/>
                      <a:pt x="7029" y="0"/>
                      <a:pt x="5112" y="0"/>
                    </a:cubicBezTo>
                    <a:lnTo>
                      <a:pt x="3834" y="638"/>
                    </a:lnTo>
                    <a:cubicBezTo>
                      <a:pt x="2556" y="1277"/>
                      <a:pt x="1278" y="2554"/>
                      <a:pt x="639" y="3830"/>
                    </a:cubicBezTo>
                    <a:cubicBezTo>
                      <a:pt x="639" y="4469"/>
                      <a:pt x="0" y="5746"/>
                      <a:pt x="0" y="6384"/>
                    </a:cubicBezTo>
                    <a:cubicBezTo>
                      <a:pt x="0" y="7022"/>
                      <a:pt x="0" y="8299"/>
                      <a:pt x="639" y="8938"/>
                    </a:cubicBezTo>
                    <a:cubicBezTo>
                      <a:pt x="1278" y="9576"/>
                      <a:pt x="1278" y="10214"/>
                      <a:pt x="1917" y="10853"/>
                    </a:cubicBezTo>
                    <a:cubicBezTo>
                      <a:pt x="3195" y="12130"/>
                      <a:pt x="4473"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lnTo>
                      <a:pt x="11502" y="2554"/>
                    </a:ln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1" name="Graphic 4">
                <a:extLst>
                  <a:ext uri="{FF2B5EF4-FFF2-40B4-BE49-F238E27FC236}">
                    <a16:creationId xmlns:a16="http://schemas.microsoft.com/office/drawing/2014/main" id="{F397D4D9-6E82-DF86-A0F2-3FE99D6DFC90}"/>
                  </a:ext>
                </a:extLst>
              </p:cNvPr>
              <p:cNvSpPr/>
              <p:nvPr/>
            </p:nvSpPr>
            <p:spPr>
              <a:xfrm>
                <a:off x="715192" y="3209122"/>
                <a:ext cx="13259" cy="13007"/>
              </a:xfrm>
              <a:custGeom>
                <a:avLst/>
                <a:gdLst>
                  <a:gd name="connsiteX0" fmla="*/ 2396 w 13259"/>
                  <a:gd name="connsiteY0" fmla="*/ 11092 h 13007"/>
                  <a:gd name="connsiteX1" fmla="*/ 4313 w 13259"/>
                  <a:gd name="connsiteY1" fmla="*/ 12369 h 13007"/>
                  <a:gd name="connsiteX2" fmla="*/ 6869 w 13259"/>
                  <a:gd name="connsiteY2" fmla="*/ 13007 h 13007"/>
                  <a:gd name="connsiteX3" fmla="*/ 13259 w 13259"/>
                  <a:gd name="connsiteY3" fmla="*/ 6623 h 13007"/>
                  <a:gd name="connsiteX4" fmla="*/ 12620 w 13259"/>
                  <a:gd name="connsiteY4" fmla="*/ 4070 h 13007"/>
                  <a:gd name="connsiteX5" fmla="*/ 11342 w 13259"/>
                  <a:gd name="connsiteY5" fmla="*/ 2155 h 13007"/>
                  <a:gd name="connsiteX6" fmla="*/ 10064 w 13259"/>
                  <a:gd name="connsiteY6" fmla="*/ 1516 h 13007"/>
                  <a:gd name="connsiteX7" fmla="*/ 8786 w 13259"/>
                  <a:gd name="connsiteY7" fmla="*/ 878 h 13007"/>
                  <a:gd name="connsiteX8" fmla="*/ 7508 w 13259"/>
                  <a:gd name="connsiteY8" fmla="*/ 239 h 13007"/>
                  <a:gd name="connsiteX9" fmla="*/ 1757 w 13259"/>
                  <a:gd name="connsiteY9" fmla="*/ 2155 h 13007"/>
                  <a:gd name="connsiteX10" fmla="*/ 479 w 13259"/>
                  <a:gd name="connsiteY10" fmla="*/ 4070 h 13007"/>
                  <a:gd name="connsiteX11" fmla="*/ 479 w 13259"/>
                  <a:gd name="connsiteY11" fmla="*/ 9177 h 13007"/>
                  <a:gd name="connsiteX12" fmla="*/ 2396 w 13259"/>
                  <a:gd name="connsiteY12"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9" h="13007">
                    <a:moveTo>
                      <a:pt x="2396" y="11092"/>
                    </a:moveTo>
                    <a:cubicBezTo>
                      <a:pt x="3035" y="11731"/>
                      <a:pt x="3674" y="12369"/>
                      <a:pt x="4313" y="12369"/>
                    </a:cubicBezTo>
                    <a:cubicBezTo>
                      <a:pt x="4952" y="13007"/>
                      <a:pt x="6230" y="13007"/>
                      <a:pt x="6869" y="13007"/>
                    </a:cubicBezTo>
                    <a:cubicBezTo>
                      <a:pt x="10703" y="13007"/>
                      <a:pt x="13259" y="9815"/>
                      <a:pt x="13259" y="6623"/>
                    </a:cubicBezTo>
                    <a:cubicBezTo>
                      <a:pt x="13259" y="5985"/>
                      <a:pt x="13259" y="4708"/>
                      <a:pt x="12620" y="4070"/>
                    </a:cubicBezTo>
                    <a:cubicBezTo>
                      <a:pt x="11981" y="3431"/>
                      <a:pt x="11981" y="2793"/>
                      <a:pt x="11342" y="2155"/>
                    </a:cubicBezTo>
                    <a:lnTo>
                      <a:pt x="10064" y="1516"/>
                    </a:lnTo>
                    <a:cubicBezTo>
                      <a:pt x="9425" y="1516"/>
                      <a:pt x="9425" y="878"/>
                      <a:pt x="8786" y="878"/>
                    </a:cubicBezTo>
                    <a:cubicBezTo>
                      <a:pt x="8147" y="878"/>
                      <a:pt x="8147" y="239"/>
                      <a:pt x="7508" y="239"/>
                    </a:cubicBezTo>
                    <a:cubicBezTo>
                      <a:pt x="5591" y="-399"/>
                      <a:pt x="3035" y="239"/>
                      <a:pt x="1757" y="2155"/>
                    </a:cubicBezTo>
                    <a:cubicBezTo>
                      <a:pt x="1118" y="2793"/>
                      <a:pt x="479" y="3431"/>
                      <a:pt x="479" y="4070"/>
                    </a:cubicBezTo>
                    <a:cubicBezTo>
                      <a:pt x="-160" y="5347"/>
                      <a:pt x="-160" y="7262"/>
                      <a:pt x="479" y="9177"/>
                    </a:cubicBezTo>
                    <a:cubicBezTo>
                      <a:pt x="1118" y="9815"/>
                      <a:pt x="1757" y="10454"/>
                      <a:pt x="2396" y="11092"/>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2" name="Graphic 4">
                <a:extLst>
                  <a:ext uri="{FF2B5EF4-FFF2-40B4-BE49-F238E27FC236}">
                    <a16:creationId xmlns:a16="http://schemas.microsoft.com/office/drawing/2014/main" id="{4435AA69-DDF4-D343-2EDD-8DCF9C2CE798}"/>
                  </a:ext>
                </a:extLst>
              </p:cNvPr>
              <p:cNvSpPr/>
              <p:nvPr/>
            </p:nvSpPr>
            <p:spPr>
              <a:xfrm>
                <a:off x="715671" y="3180155"/>
                <a:ext cx="12779" cy="12608"/>
              </a:xfrm>
              <a:custGeom>
                <a:avLst/>
                <a:gdLst>
                  <a:gd name="connsiteX0" fmla="*/ 1917 w 12779"/>
                  <a:gd name="connsiteY0" fmla="*/ 10693 h 12608"/>
                  <a:gd name="connsiteX1" fmla="*/ 10863 w 12779"/>
                  <a:gd name="connsiteY1" fmla="*/ 10693 h 12608"/>
                  <a:gd name="connsiteX2" fmla="*/ 12780 w 12779"/>
                  <a:gd name="connsiteY2" fmla="*/ 6224 h 12608"/>
                  <a:gd name="connsiteX3" fmla="*/ 12141 w 12779"/>
                  <a:gd name="connsiteY3" fmla="*/ 3671 h 12608"/>
                  <a:gd name="connsiteX4" fmla="*/ 8946 w 12779"/>
                  <a:gd name="connsiteY4" fmla="*/ 479 h 12608"/>
                  <a:gd name="connsiteX5" fmla="*/ 3834 w 12779"/>
                  <a:gd name="connsiteY5" fmla="*/ 479 h 12608"/>
                  <a:gd name="connsiteX6" fmla="*/ 1917 w 12779"/>
                  <a:gd name="connsiteY6" fmla="*/ 1756 h 12608"/>
                  <a:gd name="connsiteX7" fmla="*/ 639 w 12779"/>
                  <a:gd name="connsiteY7" fmla="*/ 3671 h 12608"/>
                  <a:gd name="connsiteX8" fmla="*/ 0 w 12779"/>
                  <a:gd name="connsiteY8" fmla="*/ 6224 h 12608"/>
                  <a:gd name="connsiteX9" fmla="*/ 1917 w 12779"/>
                  <a:gd name="connsiteY9" fmla="*/ 10693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608">
                    <a:moveTo>
                      <a:pt x="1917" y="10693"/>
                    </a:moveTo>
                    <a:cubicBezTo>
                      <a:pt x="4473" y="13247"/>
                      <a:pt x="8307" y="13247"/>
                      <a:pt x="10863" y="10693"/>
                    </a:cubicBezTo>
                    <a:cubicBezTo>
                      <a:pt x="12141" y="9416"/>
                      <a:pt x="12780" y="8139"/>
                      <a:pt x="12780" y="6224"/>
                    </a:cubicBezTo>
                    <a:cubicBezTo>
                      <a:pt x="12780" y="5586"/>
                      <a:pt x="12780" y="4309"/>
                      <a:pt x="12141" y="3671"/>
                    </a:cubicBezTo>
                    <a:cubicBezTo>
                      <a:pt x="11502" y="2394"/>
                      <a:pt x="10224" y="1117"/>
                      <a:pt x="8946" y="479"/>
                    </a:cubicBezTo>
                    <a:cubicBezTo>
                      <a:pt x="7668" y="-160"/>
                      <a:pt x="5751" y="-160"/>
                      <a:pt x="3834" y="479"/>
                    </a:cubicBezTo>
                    <a:cubicBezTo>
                      <a:pt x="3195" y="479"/>
                      <a:pt x="2556" y="1117"/>
                      <a:pt x="1917" y="1756"/>
                    </a:cubicBezTo>
                    <a:cubicBezTo>
                      <a:pt x="1278" y="2394"/>
                      <a:pt x="639" y="3032"/>
                      <a:pt x="639" y="3671"/>
                    </a:cubicBezTo>
                    <a:cubicBezTo>
                      <a:pt x="0" y="4309"/>
                      <a:pt x="0" y="4947"/>
                      <a:pt x="0" y="6224"/>
                    </a:cubicBezTo>
                    <a:cubicBezTo>
                      <a:pt x="0" y="8139"/>
                      <a:pt x="639" y="9416"/>
                      <a:pt x="1917" y="10693"/>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3" name="Graphic 4">
                <a:extLst>
                  <a:ext uri="{FF2B5EF4-FFF2-40B4-BE49-F238E27FC236}">
                    <a16:creationId xmlns:a16="http://schemas.microsoft.com/office/drawing/2014/main" id="{B689906C-88A9-6A10-3161-ACD4AEBA7E3B}"/>
                  </a:ext>
                </a:extLst>
              </p:cNvPr>
              <p:cNvSpPr/>
              <p:nvPr/>
            </p:nvSpPr>
            <p:spPr>
              <a:xfrm>
                <a:off x="627490" y="3238489"/>
                <a:ext cx="12779" cy="13007"/>
              </a:xfrm>
              <a:custGeom>
                <a:avLst/>
                <a:gdLst>
                  <a:gd name="connsiteX0" fmla="*/ 1917 w 12779"/>
                  <a:gd name="connsiteY0" fmla="*/ 11092 h 13007"/>
                  <a:gd name="connsiteX1" fmla="*/ 3834 w 12779"/>
                  <a:gd name="connsiteY1" fmla="*/ 12369 h 13007"/>
                  <a:gd name="connsiteX2" fmla="*/ 6390 w 12779"/>
                  <a:gd name="connsiteY2" fmla="*/ 13007 h 13007"/>
                  <a:gd name="connsiteX3" fmla="*/ 8946 w 12779"/>
                  <a:gd name="connsiteY3" fmla="*/ 12369 h 13007"/>
                  <a:gd name="connsiteX4" fmla="*/ 10863 w 12779"/>
                  <a:gd name="connsiteY4" fmla="*/ 11092 h 13007"/>
                  <a:gd name="connsiteX5" fmla="*/ 12780 w 12779"/>
                  <a:gd name="connsiteY5" fmla="*/ 6623 h 13007"/>
                  <a:gd name="connsiteX6" fmla="*/ 12141 w 12779"/>
                  <a:gd name="connsiteY6" fmla="*/ 4070 h 13007"/>
                  <a:gd name="connsiteX7" fmla="*/ 10863 w 12779"/>
                  <a:gd name="connsiteY7" fmla="*/ 2155 h 13007"/>
                  <a:gd name="connsiteX8" fmla="*/ 8946 w 12779"/>
                  <a:gd name="connsiteY8" fmla="*/ 878 h 13007"/>
                  <a:gd name="connsiteX9" fmla="*/ 7668 w 12779"/>
                  <a:gd name="connsiteY9" fmla="*/ 239 h 13007"/>
                  <a:gd name="connsiteX10" fmla="*/ 1917 w 12779"/>
                  <a:gd name="connsiteY10" fmla="*/ 2155 h 13007"/>
                  <a:gd name="connsiteX11" fmla="*/ 639 w 12779"/>
                  <a:gd name="connsiteY11" fmla="*/ 4070 h 13007"/>
                  <a:gd name="connsiteX12" fmla="*/ 0 w 12779"/>
                  <a:gd name="connsiteY12" fmla="*/ 6623 h 13007"/>
                  <a:gd name="connsiteX13" fmla="*/ 1917 w 12779"/>
                  <a:gd name="connsiteY13"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3007">
                    <a:moveTo>
                      <a:pt x="1917" y="11092"/>
                    </a:moveTo>
                    <a:cubicBezTo>
                      <a:pt x="2556" y="11731"/>
                      <a:pt x="3195" y="12369"/>
                      <a:pt x="3834" y="12369"/>
                    </a:cubicBezTo>
                    <a:cubicBezTo>
                      <a:pt x="4473" y="12369"/>
                      <a:pt x="5112" y="13007"/>
                      <a:pt x="6390" y="13007"/>
                    </a:cubicBezTo>
                    <a:cubicBezTo>
                      <a:pt x="7029" y="13007"/>
                      <a:pt x="8307" y="13007"/>
                      <a:pt x="8946" y="12369"/>
                    </a:cubicBezTo>
                    <a:cubicBezTo>
                      <a:pt x="9585" y="11731"/>
                      <a:pt x="10224" y="11731"/>
                      <a:pt x="10863" y="11092"/>
                    </a:cubicBezTo>
                    <a:cubicBezTo>
                      <a:pt x="12141" y="9815"/>
                      <a:pt x="12780" y="8539"/>
                      <a:pt x="12780" y="6623"/>
                    </a:cubicBezTo>
                    <a:cubicBezTo>
                      <a:pt x="12780" y="5985"/>
                      <a:pt x="12780" y="4708"/>
                      <a:pt x="12141" y="4070"/>
                    </a:cubicBezTo>
                    <a:cubicBezTo>
                      <a:pt x="12141" y="3431"/>
                      <a:pt x="11502" y="2793"/>
                      <a:pt x="10863" y="2155"/>
                    </a:cubicBezTo>
                    <a:cubicBezTo>
                      <a:pt x="10224" y="1516"/>
                      <a:pt x="9585" y="878"/>
                      <a:pt x="8946" y="878"/>
                    </a:cubicBezTo>
                    <a:lnTo>
                      <a:pt x="7668" y="239"/>
                    </a:lnTo>
                    <a:cubicBezTo>
                      <a:pt x="5751" y="-399"/>
                      <a:pt x="3195" y="239"/>
                      <a:pt x="1917" y="2155"/>
                    </a:cubicBezTo>
                    <a:cubicBezTo>
                      <a:pt x="1278" y="2793"/>
                      <a:pt x="639" y="3431"/>
                      <a:pt x="639" y="4070"/>
                    </a:cubicBezTo>
                    <a:cubicBezTo>
                      <a:pt x="0" y="4708"/>
                      <a:pt x="0" y="5985"/>
                      <a:pt x="0" y="6623"/>
                    </a:cubicBezTo>
                    <a:cubicBezTo>
                      <a:pt x="0" y="8539"/>
                      <a:pt x="639" y="10454"/>
                      <a:pt x="1917" y="11092"/>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4" name="Graphic 4">
                <a:extLst>
                  <a:ext uri="{FF2B5EF4-FFF2-40B4-BE49-F238E27FC236}">
                    <a16:creationId xmlns:a16="http://schemas.microsoft.com/office/drawing/2014/main" id="{CBA0D963-AEE2-1804-44C9-C32E5378B86B}"/>
                  </a:ext>
                </a:extLst>
              </p:cNvPr>
              <p:cNvSpPr/>
              <p:nvPr/>
            </p:nvSpPr>
            <p:spPr>
              <a:xfrm>
                <a:off x="627011" y="3209122"/>
                <a:ext cx="13259" cy="13007"/>
              </a:xfrm>
              <a:custGeom>
                <a:avLst/>
                <a:gdLst>
                  <a:gd name="connsiteX0" fmla="*/ 2396 w 13259"/>
                  <a:gd name="connsiteY0" fmla="*/ 11092 h 13007"/>
                  <a:gd name="connsiteX1" fmla="*/ 4313 w 13259"/>
                  <a:gd name="connsiteY1" fmla="*/ 12369 h 13007"/>
                  <a:gd name="connsiteX2" fmla="*/ 6869 w 13259"/>
                  <a:gd name="connsiteY2" fmla="*/ 13007 h 13007"/>
                  <a:gd name="connsiteX3" fmla="*/ 9425 w 13259"/>
                  <a:gd name="connsiteY3" fmla="*/ 12369 h 13007"/>
                  <a:gd name="connsiteX4" fmla="*/ 11342 w 13259"/>
                  <a:gd name="connsiteY4" fmla="*/ 11092 h 13007"/>
                  <a:gd name="connsiteX5" fmla="*/ 13259 w 13259"/>
                  <a:gd name="connsiteY5" fmla="*/ 6623 h 13007"/>
                  <a:gd name="connsiteX6" fmla="*/ 12620 w 13259"/>
                  <a:gd name="connsiteY6" fmla="*/ 4070 h 13007"/>
                  <a:gd name="connsiteX7" fmla="*/ 11342 w 13259"/>
                  <a:gd name="connsiteY7" fmla="*/ 2155 h 13007"/>
                  <a:gd name="connsiteX8" fmla="*/ 10064 w 13259"/>
                  <a:gd name="connsiteY8" fmla="*/ 1516 h 13007"/>
                  <a:gd name="connsiteX9" fmla="*/ 8786 w 13259"/>
                  <a:gd name="connsiteY9" fmla="*/ 878 h 13007"/>
                  <a:gd name="connsiteX10" fmla="*/ 7508 w 13259"/>
                  <a:gd name="connsiteY10" fmla="*/ 239 h 13007"/>
                  <a:gd name="connsiteX11" fmla="*/ 1757 w 13259"/>
                  <a:gd name="connsiteY11" fmla="*/ 2155 h 13007"/>
                  <a:gd name="connsiteX12" fmla="*/ 479 w 13259"/>
                  <a:gd name="connsiteY12" fmla="*/ 4070 h 13007"/>
                  <a:gd name="connsiteX13" fmla="*/ 479 w 13259"/>
                  <a:gd name="connsiteY13" fmla="*/ 9177 h 13007"/>
                  <a:gd name="connsiteX14" fmla="*/ 2396 w 13259"/>
                  <a:gd name="connsiteY14"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9" h="13007">
                    <a:moveTo>
                      <a:pt x="2396" y="11092"/>
                    </a:moveTo>
                    <a:cubicBezTo>
                      <a:pt x="3035" y="11731"/>
                      <a:pt x="3674" y="12369"/>
                      <a:pt x="4313" y="12369"/>
                    </a:cubicBezTo>
                    <a:cubicBezTo>
                      <a:pt x="4952" y="13007"/>
                      <a:pt x="5591" y="13007"/>
                      <a:pt x="6869" y="13007"/>
                    </a:cubicBezTo>
                    <a:cubicBezTo>
                      <a:pt x="7508" y="13007"/>
                      <a:pt x="8786" y="13007"/>
                      <a:pt x="9425" y="12369"/>
                    </a:cubicBezTo>
                    <a:cubicBezTo>
                      <a:pt x="10064" y="11731"/>
                      <a:pt x="10703" y="11731"/>
                      <a:pt x="11342" y="11092"/>
                    </a:cubicBezTo>
                    <a:cubicBezTo>
                      <a:pt x="12620" y="9815"/>
                      <a:pt x="13259" y="8539"/>
                      <a:pt x="13259" y="6623"/>
                    </a:cubicBezTo>
                    <a:cubicBezTo>
                      <a:pt x="13259" y="5985"/>
                      <a:pt x="13259" y="4708"/>
                      <a:pt x="12620" y="4070"/>
                    </a:cubicBezTo>
                    <a:cubicBezTo>
                      <a:pt x="12620" y="3431"/>
                      <a:pt x="11981" y="2793"/>
                      <a:pt x="11342" y="2155"/>
                    </a:cubicBezTo>
                    <a:lnTo>
                      <a:pt x="10064" y="1516"/>
                    </a:lnTo>
                    <a:lnTo>
                      <a:pt x="8786" y="878"/>
                    </a:lnTo>
                    <a:lnTo>
                      <a:pt x="7508" y="239"/>
                    </a:lnTo>
                    <a:cubicBezTo>
                      <a:pt x="5591" y="-399"/>
                      <a:pt x="3035" y="239"/>
                      <a:pt x="1757" y="2155"/>
                    </a:cubicBezTo>
                    <a:cubicBezTo>
                      <a:pt x="1118" y="2793"/>
                      <a:pt x="479" y="3431"/>
                      <a:pt x="479" y="4070"/>
                    </a:cubicBezTo>
                    <a:cubicBezTo>
                      <a:pt x="-160" y="5347"/>
                      <a:pt x="-160" y="7262"/>
                      <a:pt x="479" y="9177"/>
                    </a:cubicBezTo>
                    <a:cubicBezTo>
                      <a:pt x="1118" y="9815"/>
                      <a:pt x="1757" y="10454"/>
                      <a:pt x="2396" y="11092"/>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5" name="Graphic 4">
                <a:extLst>
                  <a:ext uri="{FF2B5EF4-FFF2-40B4-BE49-F238E27FC236}">
                    <a16:creationId xmlns:a16="http://schemas.microsoft.com/office/drawing/2014/main" id="{7E071203-DF57-1653-5F99-70D43CF218E0}"/>
                  </a:ext>
                </a:extLst>
              </p:cNvPr>
              <p:cNvSpPr/>
              <p:nvPr/>
            </p:nvSpPr>
            <p:spPr>
              <a:xfrm>
                <a:off x="627490" y="3180155"/>
                <a:ext cx="12779" cy="12608"/>
              </a:xfrm>
              <a:custGeom>
                <a:avLst/>
                <a:gdLst>
                  <a:gd name="connsiteX0" fmla="*/ 6390 w 12779"/>
                  <a:gd name="connsiteY0" fmla="*/ 12608 h 12608"/>
                  <a:gd name="connsiteX1" fmla="*/ 12780 w 12779"/>
                  <a:gd name="connsiteY1" fmla="*/ 6224 h 12608"/>
                  <a:gd name="connsiteX2" fmla="*/ 10863 w 12779"/>
                  <a:gd name="connsiteY2" fmla="*/ 1756 h 12608"/>
                  <a:gd name="connsiteX3" fmla="*/ 8946 w 12779"/>
                  <a:gd name="connsiteY3" fmla="*/ 479 h 12608"/>
                  <a:gd name="connsiteX4" fmla="*/ 3834 w 12779"/>
                  <a:gd name="connsiteY4" fmla="*/ 479 h 12608"/>
                  <a:gd name="connsiteX5" fmla="*/ 639 w 12779"/>
                  <a:gd name="connsiteY5" fmla="*/ 3671 h 12608"/>
                  <a:gd name="connsiteX6" fmla="*/ 0 w 12779"/>
                  <a:gd name="connsiteY6" fmla="*/ 6224 h 12608"/>
                  <a:gd name="connsiteX7" fmla="*/ 1917 w 12779"/>
                  <a:gd name="connsiteY7" fmla="*/ 10693 h 12608"/>
                  <a:gd name="connsiteX8" fmla="*/ 6390 w 12779"/>
                  <a:gd name="connsiteY8" fmla="*/ 12608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608">
                    <a:moveTo>
                      <a:pt x="6390" y="12608"/>
                    </a:moveTo>
                    <a:cubicBezTo>
                      <a:pt x="10224" y="12608"/>
                      <a:pt x="12780" y="10055"/>
                      <a:pt x="12780" y="6224"/>
                    </a:cubicBezTo>
                    <a:cubicBezTo>
                      <a:pt x="12780" y="4309"/>
                      <a:pt x="12141" y="3032"/>
                      <a:pt x="10863" y="1756"/>
                    </a:cubicBezTo>
                    <a:cubicBezTo>
                      <a:pt x="10224" y="1117"/>
                      <a:pt x="9585" y="479"/>
                      <a:pt x="8946" y="479"/>
                    </a:cubicBezTo>
                    <a:cubicBezTo>
                      <a:pt x="7668" y="-160"/>
                      <a:pt x="5751" y="-160"/>
                      <a:pt x="3834" y="479"/>
                    </a:cubicBezTo>
                    <a:cubicBezTo>
                      <a:pt x="2556" y="1117"/>
                      <a:pt x="1278" y="2394"/>
                      <a:pt x="639" y="3671"/>
                    </a:cubicBezTo>
                    <a:cubicBezTo>
                      <a:pt x="0" y="4309"/>
                      <a:pt x="0" y="4947"/>
                      <a:pt x="0" y="6224"/>
                    </a:cubicBezTo>
                    <a:cubicBezTo>
                      <a:pt x="0" y="8139"/>
                      <a:pt x="639" y="9416"/>
                      <a:pt x="1917" y="10693"/>
                    </a:cubicBezTo>
                    <a:cubicBezTo>
                      <a:pt x="3195" y="11970"/>
                      <a:pt x="4473" y="12608"/>
                      <a:pt x="6390" y="12608"/>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6" name="Graphic 4">
                <a:extLst>
                  <a:ext uri="{FF2B5EF4-FFF2-40B4-BE49-F238E27FC236}">
                    <a16:creationId xmlns:a16="http://schemas.microsoft.com/office/drawing/2014/main" id="{4EE681CA-817D-3946-EA13-44DBA17DFA09}"/>
                  </a:ext>
                </a:extLst>
              </p:cNvPr>
              <p:cNvSpPr/>
              <p:nvPr/>
            </p:nvSpPr>
            <p:spPr>
              <a:xfrm>
                <a:off x="626186" y="3151268"/>
                <a:ext cx="14083" cy="12618"/>
              </a:xfrm>
              <a:custGeom>
                <a:avLst/>
                <a:gdLst>
                  <a:gd name="connsiteX0" fmla="*/ 5138 w 14083"/>
                  <a:gd name="connsiteY0" fmla="*/ 12130 h 12618"/>
                  <a:gd name="connsiteX1" fmla="*/ 13445 w 14083"/>
                  <a:gd name="connsiteY1" fmla="*/ 8938 h 12618"/>
                  <a:gd name="connsiteX2" fmla="*/ 14084 w 14083"/>
                  <a:gd name="connsiteY2" fmla="*/ 6384 h 12618"/>
                  <a:gd name="connsiteX3" fmla="*/ 12167 w 14083"/>
                  <a:gd name="connsiteY3" fmla="*/ 1915 h 12618"/>
                  <a:gd name="connsiteX4" fmla="*/ 10889 w 14083"/>
                  <a:gd name="connsiteY4" fmla="*/ 1277 h 12618"/>
                  <a:gd name="connsiteX5" fmla="*/ 9611 w 14083"/>
                  <a:gd name="connsiteY5" fmla="*/ 638 h 12618"/>
                  <a:gd name="connsiteX6" fmla="*/ 8333 w 14083"/>
                  <a:gd name="connsiteY6" fmla="*/ 0 h 12618"/>
                  <a:gd name="connsiteX7" fmla="*/ 5777 w 14083"/>
                  <a:gd name="connsiteY7" fmla="*/ 0 h 12618"/>
                  <a:gd name="connsiteX8" fmla="*/ 4499 w 14083"/>
                  <a:gd name="connsiteY8" fmla="*/ 638 h 12618"/>
                  <a:gd name="connsiteX9" fmla="*/ 3221 w 14083"/>
                  <a:gd name="connsiteY9" fmla="*/ 1277 h 12618"/>
                  <a:gd name="connsiteX10" fmla="*/ 1943 w 14083"/>
                  <a:gd name="connsiteY10" fmla="*/ 1915 h 12618"/>
                  <a:gd name="connsiteX11" fmla="*/ 665 w 14083"/>
                  <a:gd name="connsiteY11" fmla="*/ 3830 h 12618"/>
                  <a:gd name="connsiteX12" fmla="*/ 1943 w 14083"/>
                  <a:gd name="connsiteY12" fmla="*/ 10853 h 12618"/>
                  <a:gd name="connsiteX13" fmla="*/ 5138 w 14083"/>
                  <a:gd name="connsiteY13" fmla="*/ 12130 h 12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83" h="12618">
                    <a:moveTo>
                      <a:pt x="5138" y="12130"/>
                    </a:moveTo>
                    <a:cubicBezTo>
                      <a:pt x="8333" y="13406"/>
                      <a:pt x="12167" y="12130"/>
                      <a:pt x="13445" y="8938"/>
                    </a:cubicBezTo>
                    <a:cubicBezTo>
                      <a:pt x="14084" y="8299"/>
                      <a:pt x="14084" y="7022"/>
                      <a:pt x="14084" y="6384"/>
                    </a:cubicBezTo>
                    <a:cubicBezTo>
                      <a:pt x="14084" y="4469"/>
                      <a:pt x="13445" y="3192"/>
                      <a:pt x="12167" y="1915"/>
                    </a:cubicBezTo>
                    <a:lnTo>
                      <a:pt x="10889" y="1277"/>
                    </a:lnTo>
                    <a:lnTo>
                      <a:pt x="9611" y="638"/>
                    </a:lnTo>
                    <a:lnTo>
                      <a:pt x="8333" y="0"/>
                    </a:lnTo>
                    <a:cubicBezTo>
                      <a:pt x="7694" y="0"/>
                      <a:pt x="6416" y="0"/>
                      <a:pt x="5777" y="0"/>
                    </a:cubicBezTo>
                    <a:cubicBezTo>
                      <a:pt x="5138" y="0"/>
                      <a:pt x="5138" y="0"/>
                      <a:pt x="4499" y="638"/>
                    </a:cubicBezTo>
                    <a:cubicBezTo>
                      <a:pt x="3860" y="638"/>
                      <a:pt x="3860" y="1277"/>
                      <a:pt x="3221" y="1277"/>
                    </a:cubicBezTo>
                    <a:cubicBezTo>
                      <a:pt x="2582" y="1277"/>
                      <a:pt x="2582" y="1915"/>
                      <a:pt x="1943" y="1915"/>
                    </a:cubicBezTo>
                    <a:cubicBezTo>
                      <a:pt x="1304" y="2554"/>
                      <a:pt x="665" y="3192"/>
                      <a:pt x="665" y="3830"/>
                    </a:cubicBezTo>
                    <a:cubicBezTo>
                      <a:pt x="-613" y="6384"/>
                      <a:pt x="26" y="8938"/>
                      <a:pt x="1943" y="10853"/>
                    </a:cubicBezTo>
                    <a:cubicBezTo>
                      <a:pt x="3860" y="10853"/>
                      <a:pt x="4499" y="11491"/>
                      <a:pt x="5138" y="12130"/>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7" name="Graphic 4">
                <a:extLst>
                  <a:ext uri="{FF2B5EF4-FFF2-40B4-BE49-F238E27FC236}">
                    <a16:creationId xmlns:a16="http://schemas.microsoft.com/office/drawing/2014/main" id="{F63FC9D9-66F4-375D-615F-82E9D0568E71}"/>
                  </a:ext>
                </a:extLst>
              </p:cNvPr>
              <p:cNvSpPr/>
              <p:nvPr/>
            </p:nvSpPr>
            <p:spPr>
              <a:xfrm>
                <a:off x="656884" y="3238489"/>
                <a:ext cx="12779" cy="13007"/>
              </a:xfrm>
              <a:custGeom>
                <a:avLst/>
                <a:gdLst>
                  <a:gd name="connsiteX0" fmla="*/ 1917 w 12779"/>
                  <a:gd name="connsiteY0" fmla="*/ 11092 h 13007"/>
                  <a:gd name="connsiteX1" fmla="*/ 3834 w 12779"/>
                  <a:gd name="connsiteY1" fmla="*/ 12369 h 13007"/>
                  <a:gd name="connsiteX2" fmla="*/ 6390 w 12779"/>
                  <a:gd name="connsiteY2" fmla="*/ 13007 h 13007"/>
                  <a:gd name="connsiteX3" fmla="*/ 8946 w 12779"/>
                  <a:gd name="connsiteY3" fmla="*/ 12369 h 13007"/>
                  <a:gd name="connsiteX4" fmla="*/ 10863 w 12779"/>
                  <a:gd name="connsiteY4" fmla="*/ 11092 h 13007"/>
                  <a:gd name="connsiteX5" fmla="*/ 12780 w 12779"/>
                  <a:gd name="connsiteY5" fmla="*/ 6623 h 13007"/>
                  <a:gd name="connsiteX6" fmla="*/ 12141 w 12779"/>
                  <a:gd name="connsiteY6" fmla="*/ 4070 h 13007"/>
                  <a:gd name="connsiteX7" fmla="*/ 10863 w 12779"/>
                  <a:gd name="connsiteY7" fmla="*/ 2155 h 13007"/>
                  <a:gd name="connsiteX8" fmla="*/ 8946 w 12779"/>
                  <a:gd name="connsiteY8" fmla="*/ 878 h 13007"/>
                  <a:gd name="connsiteX9" fmla="*/ 7668 w 12779"/>
                  <a:gd name="connsiteY9" fmla="*/ 239 h 13007"/>
                  <a:gd name="connsiteX10" fmla="*/ 1917 w 12779"/>
                  <a:gd name="connsiteY10" fmla="*/ 2155 h 13007"/>
                  <a:gd name="connsiteX11" fmla="*/ 639 w 12779"/>
                  <a:gd name="connsiteY11" fmla="*/ 4070 h 13007"/>
                  <a:gd name="connsiteX12" fmla="*/ 0 w 12779"/>
                  <a:gd name="connsiteY12" fmla="*/ 6623 h 13007"/>
                  <a:gd name="connsiteX13" fmla="*/ 639 w 12779"/>
                  <a:gd name="connsiteY13" fmla="*/ 9177 h 13007"/>
                  <a:gd name="connsiteX14" fmla="*/ 1917 w 12779"/>
                  <a:gd name="connsiteY14"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79" h="13007">
                    <a:moveTo>
                      <a:pt x="1917" y="11092"/>
                    </a:moveTo>
                    <a:cubicBezTo>
                      <a:pt x="2556" y="11731"/>
                      <a:pt x="3195" y="12369"/>
                      <a:pt x="3834" y="12369"/>
                    </a:cubicBezTo>
                    <a:cubicBezTo>
                      <a:pt x="4473" y="12369"/>
                      <a:pt x="5751" y="13007"/>
                      <a:pt x="6390" y="13007"/>
                    </a:cubicBezTo>
                    <a:cubicBezTo>
                      <a:pt x="7029" y="13007"/>
                      <a:pt x="8307" y="13007"/>
                      <a:pt x="8946" y="12369"/>
                    </a:cubicBezTo>
                    <a:cubicBezTo>
                      <a:pt x="9585" y="12369"/>
                      <a:pt x="10224" y="11731"/>
                      <a:pt x="10863" y="11092"/>
                    </a:cubicBezTo>
                    <a:cubicBezTo>
                      <a:pt x="12141" y="9815"/>
                      <a:pt x="12780" y="8539"/>
                      <a:pt x="12780" y="6623"/>
                    </a:cubicBezTo>
                    <a:cubicBezTo>
                      <a:pt x="12780" y="5985"/>
                      <a:pt x="12780" y="4708"/>
                      <a:pt x="12141" y="4070"/>
                    </a:cubicBezTo>
                    <a:cubicBezTo>
                      <a:pt x="12141" y="3431"/>
                      <a:pt x="11502" y="2793"/>
                      <a:pt x="10863" y="2155"/>
                    </a:cubicBezTo>
                    <a:cubicBezTo>
                      <a:pt x="10224" y="1516"/>
                      <a:pt x="9585" y="878"/>
                      <a:pt x="8946" y="878"/>
                    </a:cubicBezTo>
                    <a:lnTo>
                      <a:pt x="7668" y="239"/>
                    </a:lnTo>
                    <a:cubicBezTo>
                      <a:pt x="5751" y="-399"/>
                      <a:pt x="3195" y="239"/>
                      <a:pt x="1917" y="2155"/>
                    </a:cubicBezTo>
                    <a:cubicBezTo>
                      <a:pt x="1278" y="2793"/>
                      <a:pt x="639" y="3431"/>
                      <a:pt x="639" y="4070"/>
                    </a:cubicBezTo>
                    <a:cubicBezTo>
                      <a:pt x="639" y="4708"/>
                      <a:pt x="0" y="5985"/>
                      <a:pt x="0" y="6623"/>
                    </a:cubicBezTo>
                    <a:cubicBezTo>
                      <a:pt x="0" y="7262"/>
                      <a:pt x="0" y="8539"/>
                      <a:pt x="639" y="9177"/>
                    </a:cubicBezTo>
                    <a:cubicBezTo>
                      <a:pt x="639" y="9815"/>
                      <a:pt x="1278" y="10454"/>
                      <a:pt x="1917" y="11092"/>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8" name="Graphic 4">
                <a:extLst>
                  <a:ext uri="{FF2B5EF4-FFF2-40B4-BE49-F238E27FC236}">
                    <a16:creationId xmlns:a16="http://schemas.microsoft.com/office/drawing/2014/main" id="{000A4CB0-95C9-70B7-8D8F-4553860A03A7}"/>
                  </a:ext>
                </a:extLst>
              </p:cNvPr>
              <p:cNvSpPr/>
              <p:nvPr/>
            </p:nvSpPr>
            <p:spPr>
              <a:xfrm>
                <a:off x="656245" y="3268094"/>
                <a:ext cx="13418" cy="12767"/>
              </a:xfrm>
              <a:custGeom>
                <a:avLst/>
                <a:gdLst>
                  <a:gd name="connsiteX0" fmla="*/ 7029 w 13418"/>
                  <a:gd name="connsiteY0" fmla="*/ 12768 h 12767"/>
                  <a:gd name="connsiteX1" fmla="*/ 11502 w 13418"/>
                  <a:gd name="connsiteY1" fmla="*/ 10853 h 12767"/>
                  <a:gd name="connsiteX2" fmla="*/ 11502 w 13418"/>
                  <a:gd name="connsiteY2" fmla="*/ 1915 h 12767"/>
                  <a:gd name="connsiteX3" fmla="*/ 11502 w 13418"/>
                  <a:gd name="connsiteY3" fmla="*/ 1915 h 12767"/>
                  <a:gd name="connsiteX4" fmla="*/ 10224 w 13418"/>
                  <a:gd name="connsiteY4" fmla="*/ 1277 h 12767"/>
                  <a:gd name="connsiteX5" fmla="*/ 8946 w 13418"/>
                  <a:gd name="connsiteY5" fmla="*/ 638 h 12767"/>
                  <a:gd name="connsiteX6" fmla="*/ 7668 w 13418"/>
                  <a:gd name="connsiteY6" fmla="*/ 0 h 12767"/>
                  <a:gd name="connsiteX7" fmla="*/ 3834 w 13418"/>
                  <a:gd name="connsiteY7" fmla="*/ 638 h 12767"/>
                  <a:gd name="connsiteX8" fmla="*/ 1917 w 13418"/>
                  <a:gd name="connsiteY8" fmla="*/ 1915 h 12767"/>
                  <a:gd name="connsiteX9" fmla="*/ 1917 w 13418"/>
                  <a:gd name="connsiteY9" fmla="*/ 10853 h 12767"/>
                  <a:gd name="connsiteX10" fmla="*/ 1917 w 13418"/>
                  <a:gd name="connsiteY10" fmla="*/ 10853 h 12767"/>
                  <a:gd name="connsiteX11" fmla="*/ 7029 w 13418"/>
                  <a:gd name="connsiteY11"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18" h="12767">
                    <a:moveTo>
                      <a:pt x="7029" y="12768"/>
                    </a:moveTo>
                    <a:cubicBezTo>
                      <a:pt x="8946" y="12768"/>
                      <a:pt x="10224" y="12130"/>
                      <a:pt x="11502" y="10853"/>
                    </a:cubicBezTo>
                    <a:cubicBezTo>
                      <a:pt x="14058" y="8299"/>
                      <a:pt x="14058" y="4469"/>
                      <a:pt x="11502" y="1915"/>
                    </a:cubicBezTo>
                    <a:cubicBezTo>
                      <a:pt x="11502" y="1915"/>
                      <a:pt x="11502" y="1915"/>
                      <a:pt x="11502" y="1915"/>
                    </a:cubicBezTo>
                    <a:lnTo>
                      <a:pt x="10224" y="1277"/>
                    </a:lnTo>
                    <a:cubicBezTo>
                      <a:pt x="9585" y="1277"/>
                      <a:pt x="9585" y="638"/>
                      <a:pt x="8946" y="638"/>
                    </a:cubicBezTo>
                    <a:cubicBezTo>
                      <a:pt x="8307" y="638"/>
                      <a:pt x="8307" y="0"/>
                      <a:pt x="7668" y="0"/>
                    </a:cubicBezTo>
                    <a:cubicBezTo>
                      <a:pt x="6390" y="0"/>
                      <a:pt x="5112" y="0"/>
                      <a:pt x="3834" y="638"/>
                    </a:cubicBezTo>
                    <a:cubicBezTo>
                      <a:pt x="3195" y="638"/>
                      <a:pt x="2556" y="1277"/>
                      <a:pt x="1917" y="1915"/>
                    </a:cubicBezTo>
                    <a:cubicBezTo>
                      <a:pt x="-639" y="4469"/>
                      <a:pt x="-639" y="8299"/>
                      <a:pt x="1917" y="10853"/>
                    </a:cubicBezTo>
                    <a:cubicBezTo>
                      <a:pt x="1917" y="10853"/>
                      <a:pt x="1917" y="10853"/>
                      <a:pt x="1917" y="10853"/>
                    </a:cubicBezTo>
                    <a:cubicBezTo>
                      <a:pt x="3834" y="12130"/>
                      <a:pt x="5112" y="12768"/>
                      <a:pt x="7029" y="12768"/>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9" name="Graphic 4">
                <a:extLst>
                  <a:ext uri="{FF2B5EF4-FFF2-40B4-BE49-F238E27FC236}">
                    <a16:creationId xmlns:a16="http://schemas.microsoft.com/office/drawing/2014/main" id="{F5306CA4-C859-611D-BA51-001F6A8BA3E9}"/>
                  </a:ext>
                </a:extLst>
              </p:cNvPr>
              <p:cNvSpPr/>
              <p:nvPr/>
            </p:nvSpPr>
            <p:spPr>
              <a:xfrm>
                <a:off x="656858" y="3209362"/>
                <a:ext cx="12805" cy="12767"/>
              </a:xfrm>
              <a:custGeom>
                <a:avLst/>
                <a:gdLst>
                  <a:gd name="connsiteX0" fmla="*/ 6416 w 12805"/>
                  <a:gd name="connsiteY0" fmla="*/ 12768 h 12767"/>
                  <a:gd name="connsiteX1" fmla="*/ 12806 w 12805"/>
                  <a:gd name="connsiteY1" fmla="*/ 6384 h 12767"/>
                  <a:gd name="connsiteX2" fmla="*/ 12167 w 12805"/>
                  <a:gd name="connsiteY2" fmla="*/ 3830 h 12767"/>
                  <a:gd name="connsiteX3" fmla="*/ 10889 w 12805"/>
                  <a:gd name="connsiteY3" fmla="*/ 1915 h 12767"/>
                  <a:gd name="connsiteX4" fmla="*/ 5138 w 12805"/>
                  <a:gd name="connsiteY4" fmla="*/ 0 h 12767"/>
                  <a:gd name="connsiteX5" fmla="*/ 3860 w 12805"/>
                  <a:gd name="connsiteY5" fmla="*/ 638 h 12767"/>
                  <a:gd name="connsiteX6" fmla="*/ 1943 w 12805"/>
                  <a:gd name="connsiteY6" fmla="*/ 1915 h 12767"/>
                  <a:gd name="connsiteX7" fmla="*/ 665 w 12805"/>
                  <a:gd name="connsiteY7" fmla="*/ 3830 h 12767"/>
                  <a:gd name="connsiteX8" fmla="*/ 1943 w 12805"/>
                  <a:gd name="connsiteY8" fmla="*/ 10853 h 12767"/>
                  <a:gd name="connsiteX9" fmla="*/ 6416 w 12805"/>
                  <a:gd name="connsiteY9"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05" h="12767">
                    <a:moveTo>
                      <a:pt x="6416" y="12768"/>
                    </a:moveTo>
                    <a:cubicBezTo>
                      <a:pt x="10250" y="12768"/>
                      <a:pt x="12806" y="9576"/>
                      <a:pt x="12806" y="6384"/>
                    </a:cubicBezTo>
                    <a:cubicBezTo>
                      <a:pt x="12806" y="5746"/>
                      <a:pt x="12806" y="4469"/>
                      <a:pt x="12167" y="3830"/>
                    </a:cubicBezTo>
                    <a:cubicBezTo>
                      <a:pt x="12167" y="3192"/>
                      <a:pt x="11528" y="2554"/>
                      <a:pt x="10889" y="1915"/>
                    </a:cubicBezTo>
                    <a:cubicBezTo>
                      <a:pt x="9611" y="638"/>
                      <a:pt x="7055" y="0"/>
                      <a:pt x="5138" y="0"/>
                    </a:cubicBezTo>
                    <a:lnTo>
                      <a:pt x="3860" y="638"/>
                    </a:lnTo>
                    <a:cubicBezTo>
                      <a:pt x="3221" y="638"/>
                      <a:pt x="2582" y="1277"/>
                      <a:pt x="1943" y="1915"/>
                    </a:cubicBezTo>
                    <a:cubicBezTo>
                      <a:pt x="1304" y="2554"/>
                      <a:pt x="665" y="3192"/>
                      <a:pt x="665" y="3830"/>
                    </a:cubicBezTo>
                    <a:cubicBezTo>
                      <a:pt x="-613" y="6384"/>
                      <a:pt x="26" y="8938"/>
                      <a:pt x="1943" y="10853"/>
                    </a:cubicBezTo>
                    <a:cubicBezTo>
                      <a:pt x="3221" y="12130"/>
                      <a:pt x="4499" y="12768"/>
                      <a:pt x="6416" y="12768"/>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60" name="Graphic 4">
                <a:extLst>
                  <a:ext uri="{FF2B5EF4-FFF2-40B4-BE49-F238E27FC236}">
                    <a16:creationId xmlns:a16="http://schemas.microsoft.com/office/drawing/2014/main" id="{7E705F77-1FB9-B766-8ED4-987C8DC081AC}"/>
                  </a:ext>
                </a:extLst>
              </p:cNvPr>
              <p:cNvSpPr/>
              <p:nvPr/>
            </p:nvSpPr>
            <p:spPr>
              <a:xfrm>
                <a:off x="655606" y="3179996"/>
                <a:ext cx="14057" cy="12767"/>
              </a:xfrm>
              <a:custGeom>
                <a:avLst/>
                <a:gdLst>
                  <a:gd name="connsiteX0" fmla="*/ 7668 w 14057"/>
                  <a:gd name="connsiteY0" fmla="*/ 12768 h 12767"/>
                  <a:gd name="connsiteX1" fmla="*/ 10224 w 14057"/>
                  <a:gd name="connsiteY1" fmla="*/ 12130 h 12767"/>
                  <a:gd name="connsiteX2" fmla="*/ 12141 w 14057"/>
                  <a:gd name="connsiteY2" fmla="*/ 10853 h 12767"/>
                  <a:gd name="connsiteX3" fmla="*/ 14058 w 14057"/>
                  <a:gd name="connsiteY3" fmla="*/ 6384 h 12767"/>
                  <a:gd name="connsiteX4" fmla="*/ 13419 w 14057"/>
                  <a:gd name="connsiteY4" fmla="*/ 3830 h 12767"/>
                  <a:gd name="connsiteX5" fmla="*/ 12141 w 14057"/>
                  <a:gd name="connsiteY5" fmla="*/ 1915 h 12767"/>
                  <a:gd name="connsiteX6" fmla="*/ 10863 w 14057"/>
                  <a:gd name="connsiteY6" fmla="*/ 1277 h 12767"/>
                  <a:gd name="connsiteX7" fmla="*/ 9585 w 14057"/>
                  <a:gd name="connsiteY7" fmla="*/ 638 h 12767"/>
                  <a:gd name="connsiteX8" fmla="*/ 8307 w 14057"/>
                  <a:gd name="connsiteY8" fmla="*/ 0 h 12767"/>
                  <a:gd name="connsiteX9" fmla="*/ 5751 w 14057"/>
                  <a:gd name="connsiteY9" fmla="*/ 0 h 12767"/>
                  <a:gd name="connsiteX10" fmla="*/ 4473 w 14057"/>
                  <a:gd name="connsiteY10" fmla="*/ 638 h 12767"/>
                  <a:gd name="connsiteX11" fmla="*/ 3195 w 14057"/>
                  <a:gd name="connsiteY11" fmla="*/ 1277 h 12767"/>
                  <a:gd name="connsiteX12" fmla="*/ 1917 w 14057"/>
                  <a:gd name="connsiteY12" fmla="*/ 1915 h 12767"/>
                  <a:gd name="connsiteX13" fmla="*/ 639 w 14057"/>
                  <a:gd name="connsiteY13" fmla="*/ 3830 h 12767"/>
                  <a:gd name="connsiteX14" fmla="*/ 0 w 14057"/>
                  <a:gd name="connsiteY14" fmla="*/ 6384 h 12767"/>
                  <a:gd name="connsiteX15" fmla="*/ 1917 w 14057"/>
                  <a:gd name="connsiteY15" fmla="*/ 10853 h 12767"/>
                  <a:gd name="connsiteX16" fmla="*/ 7668 w 14057"/>
                  <a:gd name="connsiteY1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57" h="12767">
                    <a:moveTo>
                      <a:pt x="7668" y="12768"/>
                    </a:moveTo>
                    <a:cubicBezTo>
                      <a:pt x="8307" y="12768"/>
                      <a:pt x="9585" y="12768"/>
                      <a:pt x="10224" y="12130"/>
                    </a:cubicBezTo>
                    <a:cubicBezTo>
                      <a:pt x="10863" y="12130"/>
                      <a:pt x="11502" y="11491"/>
                      <a:pt x="12141" y="10853"/>
                    </a:cubicBezTo>
                    <a:cubicBezTo>
                      <a:pt x="13419" y="9576"/>
                      <a:pt x="14058" y="8299"/>
                      <a:pt x="14058" y="6384"/>
                    </a:cubicBezTo>
                    <a:cubicBezTo>
                      <a:pt x="14058" y="5746"/>
                      <a:pt x="14058" y="4469"/>
                      <a:pt x="13419" y="3830"/>
                    </a:cubicBezTo>
                    <a:cubicBezTo>
                      <a:pt x="13419" y="3192"/>
                      <a:pt x="12780" y="2554"/>
                      <a:pt x="12141" y="1915"/>
                    </a:cubicBezTo>
                    <a:cubicBezTo>
                      <a:pt x="12141" y="1277"/>
                      <a:pt x="11502" y="1277"/>
                      <a:pt x="10863" y="1277"/>
                    </a:cubicBezTo>
                    <a:lnTo>
                      <a:pt x="9585" y="638"/>
                    </a:lnTo>
                    <a:lnTo>
                      <a:pt x="8307" y="0"/>
                    </a:lnTo>
                    <a:cubicBezTo>
                      <a:pt x="7668" y="0"/>
                      <a:pt x="6390" y="0"/>
                      <a:pt x="5751" y="0"/>
                    </a:cubicBezTo>
                    <a:lnTo>
                      <a:pt x="4473" y="638"/>
                    </a:lnTo>
                    <a:lnTo>
                      <a:pt x="3195" y="1277"/>
                    </a:lnTo>
                    <a:lnTo>
                      <a:pt x="1917" y="1915"/>
                    </a:lnTo>
                    <a:cubicBezTo>
                      <a:pt x="1278" y="2554"/>
                      <a:pt x="639" y="3192"/>
                      <a:pt x="639" y="3830"/>
                    </a:cubicBezTo>
                    <a:cubicBezTo>
                      <a:pt x="639" y="4469"/>
                      <a:pt x="0" y="5107"/>
                      <a:pt x="0" y="6384"/>
                    </a:cubicBezTo>
                    <a:cubicBezTo>
                      <a:pt x="0" y="8299"/>
                      <a:pt x="639" y="9576"/>
                      <a:pt x="1917" y="10853"/>
                    </a:cubicBezTo>
                    <a:cubicBezTo>
                      <a:pt x="4473" y="12130"/>
                      <a:pt x="5751" y="12768"/>
                      <a:pt x="7668" y="12768"/>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61" name="Graphic 4">
                <a:extLst>
                  <a:ext uri="{FF2B5EF4-FFF2-40B4-BE49-F238E27FC236}">
                    <a16:creationId xmlns:a16="http://schemas.microsoft.com/office/drawing/2014/main" id="{1C43F579-408D-1A49-56FC-0487BF5EE09D}"/>
                  </a:ext>
                </a:extLst>
              </p:cNvPr>
              <p:cNvSpPr/>
              <p:nvPr/>
            </p:nvSpPr>
            <p:spPr>
              <a:xfrm>
                <a:off x="657033" y="3150629"/>
                <a:ext cx="12630" cy="12767"/>
              </a:xfrm>
              <a:custGeom>
                <a:avLst/>
                <a:gdLst>
                  <a:gd name="connsiteX0" fmla="*/ 6241 w 12630"/>
                  <a:gd name="connsiteY0" fmla="*/ 12768 h 12767"/>
                  <a:gd name="connsiteX1" fmla="*/ 10714 w 12630"/>
                  <a:gd name="connsiteY1" fmla="*/ 10853 h 12767"/>
                  <a:gd name="connsiteX2" fmla="*/ 12631 w 12630"/>
                  <a:gd name="connsiteY2" fmla="*/ 6384 h 12767"/>
                  <a:gd name="connsiteX3" fmla="*/ 10714 w 12630"/>
                  <a:gd name="connsiteY3" fmla="*/ 1915 h 12767"/>
                  <a:gd name="connsiteX4" fmla="*/ 1768 w 12630"/>
                  <a:gd name="connsiteY4" fmla="*/ 1915 h 12767"/>
                  <a:gd name="connsiteX5" fmla="*/ 490 w 12630"/>
                  <a:gd name="connsiteY5" fmla="*/ 3830 h 12767"/>
                  <a:gd name="connsiteX6" fmla="*/ 3685 w 12630"/>
                  <a:gd name="connsiteY6" fmla="*/ 12130 h 12767"/>
                  <a:gd name="connsiteX7" fmla="*/ 6241 w 12630"/>
                  <a:gd name="connsiteY7"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0" h="12767">
                    <a:moveTo>
                      <a:pt x="6241" y="12768"/>
                    </a:moveTo>
                    <a:cubicBezTo>
                      <a:pt x="8158" y="12768"/>
                      <a:pt x="9436" y="12130"/>
                      <a:pt x="10714" y="10853"/>
                    </a:cubicBezTo>
                    <a:cubicBezTo>
                      <a:pt x="11992" y="9576"/>
                      <a:pt x="12631" y="8299"/>
                      <a:pt x="12631" y="6384"/>
                    </a:cubicBezTo>
                    <a:cubicBezTo>
                      <a:pt x="12631" y="4469"/>
                      <a:pt x="11992" y="3192"/>
                      <a:pt x="10714" y="1915"/>
                    </a:cubicBezTo>
                    <a:cubicBezTo>
                      <a:pt x="8158" y="-638"/>
                      <a:pt x="4324" y="-638"/>
                      <a:pt x="1768" y="1915"/>
                    </a:cubicBezTo>
                    <a:cubicBezTo>
                      <a:pt x="1129" y="2554"/>
                      <a:pt x="490" y="3192"/>
                      <a:pt x="490" y="3830"/>
                    </a:cubicBezTo>
                    <a:cubicBezTo>
                      <a:pt x="-788" y="7022"/>
                      <a:pt x="490" y="10853"/>
                      <a:pt x="3685" y="12130"/>
                    </a:cubicBezTo>
                    <a:cubicBezTo>
                      <a:pt x="4324" y="12768"/>
                      <a:pt x="5602" y="12768"/>
                      <a:pt x="6241" y="12768"/>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2128" name="Group 2127">
            <a:extLst>
              <a:ext uri="{FF2B5EF4-FFF2-40B4-BE49-F238E27FC236}">
                <a16:creationId xmlns:a16="http://schemas.microsoft.com/office/drawing/2014/main" id="{AD43D41E-AAA7-9D04-CA9E-664A74F0BAE0}"/>
              </a:ext>
            </a:extLst>
          </p:cNvPr>
          <p:cNvGrpSpPr/>
          <p:nvPr/>
        </p:nvGrpSpPr>
        <p:grpSpPr>
          <a:xfrm>
            <a:off x="7211590" y="6229750"/>
            <a:ext cx="394802" cy="394798"/>
            <a:chOff x="4660820" y="4793256"/>
            <a:chExt cx="362312" cy="361971"/>
          </a:xfrm>
          <a:solidFill>
            <a:srgbClr val="00ABAB"/>
          </a:solidFill>
        </p:grpSpPr>
        <p:sp>
          <p:nvSpPr>
            <p:cNvPr id="2140" name="Graphic 4">
              <a:extLst>
                <a:ext uri="{FF2B5EF4-FFF2-40B4-BE49-F238E27FC236}">
                  <a16:creationId xmlns:a16="http://schemas.microsoft.com/office/drawing/2014/main" id="{4336F394-EC9D-8D49-8684-52704D515827}"/>
                </a:ext>
              </a:extLst>
            </p:cNvPr>
            <p:cNvSpPr/>
            <p:nvPr/>
          </p:nvSpPr>
          <p:spPr>
            <a:xfrm>
              <a:off x="4660820" y="479325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8565 h 361971"/>
                <a:gd name="connsiteX8" fmla="*/ 12780 w 362312"/>
                <a:gd name="connsiteY8" fmla="*/ 180667 h 361971"/>
                <a:gd name="connsiteX9" fmla="*/ 180835 w 362312"/>
                <a:gd name="connsiteY9" fmla="*/ 12129 h 361971"/>
                <a:gd name="connsiteX10" fmla="*/ 349529 w 362312"/>
                <a:gd name="connsiteY10" fmla="*/ 180028 h 361971"/>
                <a:gd name="connsiteX11" fmla="*/ 349529 w 362312"/>
                <a:gd name="connsiteY11" fmla="*/ 180028 h 361971"/>
                <a:gd name="connsiteX12" fmla="*/ 181474 w 362312"/>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0438"/>
                    <a:pt x="281796" y="0"/>
                    <a:pt x="181474" y="0"/>
                  </a:cubicBezTo>
                  <a:lnTo>
                    <a:pt x="181474" y="0"/>
                  </a:lnTo>
                  <a:close/>
                  <a:moveTo>
                    <a:pt x="181474" y="348565"/>
                  </a:moveTo>
                  <a:cubicBezTo>
                    <a:pt x="88181" y="348565"/>
                    <a:pt x="12780" y="273234"/>
                    <a:pt x="12780" y="180667"/>
                  </a:cubicBezTo>
                  <a:cubicBezTo>
                    <a:pt x="12780" y="87461"/>
                    <a:pt x="88181" y="12129"/>
                    <a:pt x="180835" y="12129"/>
                  </a:cubicBezTo>
                  <a:cubicBezTo>
                    <a:pt x="274128" y="12129"/>
                    <a:pt x="349529" y="87461"/>
                    <a:pt x="349529" y="180028"/>
                  </a:cubicBezTo>
                  <a:cubicBezTo>
                    <a:pt x="349529" y="180028"/>
                    <a:pt x="349529" y="180028"/>
                    <a:pt x="349529" y="180028"/>
                  </a:cubicBezTo>
                  <a:cubicBezTo>
                    <a:pt x="349529" y="273234"/>
                    <a:pt x="274767" y="348565"/>
                    <a:pt x="181474" y="348565"/>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41" name="Graphic 4">
              <a:extLst>
                <a:ext uri="{FF2B5EF4-FFF2-40B4-BE49-F238E27FC236}">
                  <a16:creationId xmlns:a16="http://schemas.microsoft.com/office/drawing/2014/main" id="{C71B58BE-6499-D6A5-5030-D651A8CEA135}"/>
                </a:ext>
              </a:extLst>
            </p:cNvPr>
            <p:cNvSpPr/>
            <p:nvPr/>
          </p:nvSpPr>
          <p:spPr>
            <a:xfrm>
              <a:off x="4895969" y="4920850"/>
              <a:ext cx="89973" cy="106781"/>
            </a:xfrm>
            <a:custGeom>
              <a:avLst/>
              <a:gdLst>
                <a:gd name="connsiteX0" fmla="*/ 86288 w 89973"/>
                <a:gd name="connsiteY0" fmla="*/ 95489 h 106781"/>
                <a:gd name="connsiteX1" fmla="*/ 69036 w 89973"/>
                <a:gd name="connsiteY1" fmla="*/ 90382 h 106781"/>
                <a:gd name="connsiteX2" fmla="*/ 59451 w 89973"/>
                <a:gd name="connsiteY2" fmla="*/ 88467 h 106781"/>
                <a:gd name="connsiteX3" fmla="*/ 54978 w 89973"/>
                <a:gd name="connsiteY3" fmla="*/ 76337 h 106781"/>
                <a:gd name="connsiteX4" fmla="*/ 66479 w 89973"/>
                <a:gd name="connsiteY4" fmla="*/ 49525 h 106781"/>
                <a:gd name="connsiteX5" fmla="*/ 61368 w 89973"/>
                <a:gd name="connsiteY5" fmla="*/ 11859 h 106781"/>
                <a:gd name="connsiteX6" fmla="*/ 9609 w 89973"/>
                <a:gd name="connsiteY6" fmla="*/ 9306 h 106781"/>
                <a:gd name="connsiteX7" fmla="*/ 7053 w 89973"/>
                <a:gd name="connsiteY7" fmla="*/ 11859 h 106781"/>
                <a:gd name="connsiteX8" fmla="*/ 1941 w 89973"/>
                <a:gd name="connsiteY8" fmla="*/ 49525 h 106781"/>
                <a:gd name="connsiteX9" fmla="*/ 13443 w 89973"/>
                <a:gd name="connsiteY9" fmla="*/ 75699 h 106781"/>
                <a:gd name="connsiteX10" fmla="*/ 9609 w 89973"/>
                <a:gd name="connsiteY10" fmla="*/ 87829 h 106781"/>
                <a:gd name="connsiteX11" fmla="*/ 8331 w 89973"/>
                <a:gd name="connsiteY11" fmla="*/ 96766 h 106781"/>
                <a:gd name="connsiteX12" fmla="*/ 17277 w 89973"/>
                <a:gd name="connsiteY12" fmla="*/ 98043 h 106781"/>
                <a:gd name="connsiteX13" fmla="*/ 24306 w 89973"/>
                <a:gd name="connsiteY13" fmla="*/ 68038 h 106781"/>
                <a:gd name="connsiteX14" fmla="*/ 14721 w 89973"/>
                <a:gd name="connsiteY14" fmla="*/ 45694 h 106781"/>
                <a:gd name="connsiteX15" fmla="*/ 17277 w 89973"/>
                <a:gd name="connsiteY15" fmla="*/ 18882 h 106781"/>
                <a:gd name="connsiteX16" fmla="*/ 34530 w 89973"/>
                <a:gd name="connsiteY16" fmla="*/ 11221 h 106781"/>
                <a:gd name="connsiteX17" fmla="*/ 34530 w 89973"/>
                <a:gd name="connsiteY17" fmla="*/ 11221 h 106781"/>
                <a:gd name="connsiteX18" fmla="*/ 51783 w 89973"/>
                <a:gd name="connsiteY18" fmla="*/ 18882 h 106781"/>
                <a:gd name="connsiteX19" fmla="*/ 54339 w 89973"/>
                <a:gd name="connsiteY19" fmla="*/ 45694 h 106781"/>
                <a:gd name="connsiteX20" fmla="*/ 44754 w 89973"/>
                <a:gd name="connsiteY20" fmla="*/ 68038 h 106781"/>
                <a:gd name="connsiteX21" fmla="*/ 52422 w 89973"/>
                <a:gd name="connsiteY21" fmla="*/ 98043 h 106781"/>
                <a:gd name="connsiteX22" fmla="*/ 67758 w 89973"/>
                <a:gd name="connsiteY22" fmla="*/ 102512 h 106781"/>
                <a:gd name="connsiteX23" fmla="*/ 80537 w 89973"/>
                <a:gd name="connsiteY23" fmla="*/ 105704 h 106781"/>
                <a:gd name="connsiteX24" fmla="*/ 89483 w 89973"/>
                <a:gd name="connsiteY24" fmla="*/ 103789 h 106781"/>
                <a:gd name="connsiteX25" fmla="*/ 86288 w 89973"/>
                <a:gd name="connsiteY25" fmla="*/ 95489 h 106781"/>
                <a:gd name="connsiteX26" fmla="*/ 86288 w 89973"/>
                <a:gd name="connsiteY26" fmla="*/ 95489 h 106781"/>
                <a:gd name="connsiteX27" fmla="*/ 86288 w 89973"/>
                <a:gd name="connsiteY27" fmla="*/ 95489 h 10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9973" h="106781">
                  <a:moveTo>
                    <a:pt x="86288" y="95489"/>
                  </a:moveTo>
                  <a:cubicBezTo>
                    <a:pt x="81177" y="92936"/>
                    <a:pt x="74787" y="91021"/>
                    <a:pt x="69036" y="90382"/>
                  </a:cubicBezTo>
                  <a:cubicBezTo>
                    <a:pt x="65841" y="90382"/>
                    <a:pt x="62646" y="89105"/>
                    <a:pt x="59451" y="88467"/>
                  </a:cubicBezTo>
                  <a:cubicBezTo>
                    <a:pt x="56256" y="85275"/>
                    <a:pt x="54339" y="80806"/>
                    <a:pt x="54978" y="76337"/>
                  </a:cubicBezTo>
                  <a:cubicBezTo>
                    <a:pt x="60090" y="68038"/>
                    <a:pt x="63924" y="59101"/>
                    <a:pt x="66479" y="49525"/>
                  </a:cubicBezTo>
                  <a:cubicBezTo>
                    <a:pt x="70314" y="33565"/>
                    <a:pt x="68397" y="20797"/>
                    <a:pt x="61368" y="11859"/>
                  </a:cubicBezTo>
                  <a:cubicBezTo>
                    <a:pt x="47949" y="-2824"/>
                    <a:pt x="24945" y="-4101"/>
                    <a:pt x="9609" y="9306"/>
                  </a:cubicBezTo>
                  <a:cubicBezTo>
                    <a:pt x="8970" y="9944"/>
                    <a:pt x="7692" y="11221"/>
                    <a:pt x="7053" y="11859"/>
                  </a:cubicBezTo>
                  <a:cubicBezTo>
                    <a:pt x="24" y="20797"/>
                    <a:pt x="-1893" y="33565"/>
                    <a:pt x="1941" y="49525"/>
                  </a:cubicBezTo>
                  <a:cubicBezTo>
                    <a:pt x="3858" y="59101"/>
                    <a:pt x="7692" y="68038"/>
                    <a:pt x="13443" y="75699"/>
                  </a:cubicBezTo>
                  <a:cubicBezTo>
                    <a:pt x="14082" y="80168"/>
                    <a:pt x="12804" y="84637"/>
                    <a:pt x="9609" y="87829"/>
                  </a:cubicBezTo>
                  <a:cubicBezTo>
                    <a:pt x="7053" y="89744"/>
                    <a:pt x="6414" y="94213"/>
                    <a:pt x="8331" y="96766"/>
                  </a:cubicBezTo>
                  <a:cubicBezTo>
                    <a:pt x="10248" y="99320"/>
                    <a:pt x="14721" y="99958"/>
                    <a:pt x="17277" y="98043"/>
                  </a:cubicBezTo>
                  <a:cubicBezTo>
                    <a:pt x="26862" y="91021"/>
                    <a:pt x="29418" y="75061"/>
                    <a:pt x="24306" y="68038"/>
                  </a:cubicBezTo>
                  <a:cubicBezTo>
                    <a:pt x="19833" y="61016"/>
                    <a:pt x="16638" y="53993"/>
                    <a:pt x="14721" y="45694"/>
                  </a:cubicBezTo>
                  <a:cubicBezTo>
                    <a:pt x="11526" y="33565"/>
                    <a:pt x="12804" y="24627"/>
                    <a:pt x="17277" y="18882"/>
                  </a:cubicBezTo>
                  <a:cubicBezTo>
                    <a:pt x="21750" y="14413"/>
                    <a:pt x="28140" y="11221"/>
                    <a:pt x="34530" y="11221"/>
                  </a:cubicBezTo>
                  <a:lnTo>
                    <a:pt x="34530" y="11221"/>
                  </a:lnTo>
                  <a:cubicBezTo>
                    <a:pt x="40920" y="11221"/>
                    <a:pt x="47310" y="13774"/>
                    <a:pt x="51783" y="18882"/>
                  </a:cubicBezTo>
                  <a:cubicBezTo>
                    <a:pt x="56256" y="24627"/>
                    <a:pt x="56895" y="33565"/>
                    <a:pt x="54339" y="45694"/>
                  </a:cubicBezTo>
                  <a:cubicBezTo>
                    <a:pt x="52422" y="53355"/>
                    <a:pt x="49227" y="61016"/>
                    <a:pt x="44754" y="68038"/>
                  </a:cubicBezTo>
                  <a:cubicBezTo>
                    <a:pt x="39642" y="75061"/>
                    <a:pt x="42198" y="90382"/>
                    <a:pt x="52422" y="98043"/>
                  </a:cubicBezTo>
                  <a:cubicBezTo>
                    <a:pt x="56895" y="100597"/>
                    <a:pt x="62007" y="101873"/>
                    <a:pt x="67758" y="102512"/>
                  </a:cubicBezTo>
                  <a:cubicBezTo>
                    <a:pt x="72231" y="102512"/>
                    <a:pt x="76704" y="103789"/>
                    <a:pt x="80537" y="105704"/>
                  </a:cubicBezTo>
                  <a:cubicBezTo>
                    <a:pt x="83732" y="107619"/>
                    <a:pt x="87567" y="106981"/>
                    <a:pt x="89483" y="103789"/>
                  </a:cubicBezTo>
                  <a:cubicBezTo>
                    <a:pt x="90762" y="101873"/>
                    <a:pt x="89483" y="98043"/>
                    <a:pt x="86288" y="95489"/>
                  </a:cubicBezTo>
                  <a:cubicBezTo>
                    <a:pt x="86927" y="95489"/>
                    <a:pt x="86288" y="95489"/>
                    <a:pt x="86288" y="95489"/>
                  </a:cubicBezTo>
                  <a:lnTo>
                    <a:pt x="86288" y="95489"/>
                  </a:ln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42" name="Graphic 4">
              <a:extLst>
                <a:ext uri="{FF2B5EF4-FFF2-40B4-BE49-F238E27FC236}">
                  <a16:creationId xmlns:a16="http://schemas.microsoft.com/office/drawing/2014/main" id="{8F4B0971-D61E-74F5-194A-4E2878F74336}"/>
                </a:ext>
              </a:extLst>
            </p:cNvPr>
            <p:cNvSpPr/>
            <p:nvPr/>
          </p:nvSpPr>
          <p:spPr>
            <a:xfrm>
              <a:off x="4706412" y="4920211"/>
              <a:ext cx="88644" cy="107619"/>
            </a:xfrm>
            <a:custGeom>
              <a:avLst/>
              <a:gdLst>
                <a:gd name="connsiteX0" fmla="*/ 80953 w 88644"/>
                <a:gd name="connsiteY0" fmla="*/ 97405 h 107619"/>
                <a:gd name="connsiteX1" fmla="*/ 79674 w 88644"/>
                <a:gd name="connsiteY1" fmla="*/ 88467 h 107619"/>
                <a:gd name="connsiteX2" fmla="*/ 79674 w 88644"/>
                <a:gd name="connsiteY2" fmla="*/ 88467 h 107619"/>
                <a:gd name="connsiteX3" fmla="*/ 75201 w 88644"/>
                <a:gd name="connsiteY3" fmla="*/ 76337 h 107619"/>
                <a:gd name="connsiteX4" fmla="*/ 86703 w 88644"/>
                <a:gd name="connsiteY4" fmla="*/ 49525 h 107619"/>
                <a:gd name="connsiteX5" fmla="*/ 81591 w 88644"/>
                <a:gd name="connsiteY5" fmla="*/ 11859 h 107619"/>
                <a:gd name="connsiteX6" fmla="*/ 29833 w 88644"/>
                <a:gd name="connsiteY6" fmla="*/ 9306 h 107619"/>
                <a:gd name="connsiteX7" fmla="*/ 27277 w 88644"/>
                <a:gd name="connsiteY7" fmla="*/ 11859 h 107619"/>
                <a:gd name="connsiteX8" fmla="*/ 22165 w 88644"/>
                <a:gd name="connsiteY8" fmla="*/ 49525 h 107619"/>
                <a:gd name="connsiteX9" fmla="*/ 33667 w 88644"/>
                <a:gd name="connsiteY9" fmla="*/ 75699 h 107619"/>
                <a:gd name="connsiteX10" fmla="*/ 30472 w 88644"/>
                <a:gd name="connsiteY10" fmla="*/ 87829 h 107619"/>
                <a:gd name="connsiteX11" fmla="*/ 20248 w 88644"/>
                <a:gd name="connsiteY11" fmla="*/ 90382 h 107619"/>
                <a:gd name="connsiteX12" fmla="*/ 2995 w 88644"/>
                <a:gd name="connsiteY12" fmla="*/ 95489 h 107619"/>
                <a:gd name="connsiteX13" fmla="*/ 1078 w 88644"/>
                <a:gd name="connsiteY13" fmla="*/ 104427 h 107619"/>
                <a:gd name="connsiteX14" fmla="*/ 6190 w 88644"/>
                <a:gd name="connsiteY14" fmla="*/ 107619 h 107619"/>
                <a:gd name="connsiteX15" fmla="*/ 9385 w 88644"/>
                <a:gd name="connsiteY15" fmla="*/ 106342 h 107619"/>
                <a:gd name="connsiteX16" fmla="*/ 22165 w 88644"/>
                <a:gd name="connsiteY16" fmla="*/ 103150 h 107619"/>
                <a:gd name="connsiteX17" fmla="*/ 37501 w 88644"/>
                <a:gd name="connsiteY17" fmla="*/ 98681 h 107619"/>
                <a:gd name="connsiteX18" fmla="*/ 44530 w 88644"/>
                <a:gd name="connsiteY18" fmla="*/ 68677 h 107619"/>
                <a:gd name="connsiteX19" fmla="*/ 34945 w 88644"/>
                <a:gd name="connsiteY19" fmla="*/ 46333 h 107619"/>
                <a:gd name="connsiteX20" fmla="*/ 37501 w 88644"/>
                <a:gd name="connsiteY20" fmla="*/ 19520 h 107619"/>
                <a:gd name="connsiteX21" fmla="*/ 71368 w 88644"/>
                <a:gd name="connsiteY21" fmla="*/ 18882 h 107619"/>
                <a:gd name="connsiteX22" fmla="*/ 72006 w 88644"/>
                <a:gd name="connsiteY22" fmla="*/ 19520 h 107619"/>
                <a:gd name="connsiteX23" fmla="*/ 74563 w 88644"/>
                <a:gd name="connsiteY23" fmla="*/ 46333 h 107619"/>
                <a:gd name="connsiteX24" fmla="*/ 64978 w 88644"/>
                <a:gd name="connsiteY24" fmla="*/ 68677 h 107619"/>
                <a:gd name="connsiteX25" fmla="*/ 72006 w 88644"/>
                <a:gd name="connsiteY25" fmla="*/ 98681 h 107619"/>
                <a:gd name="connsiteX26" fmla="*/ 80953 w 88644"/>
                <a:gd name="connsiteY26" fmla="*/ 97405 h 10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8644" h="107619">
                  <a:moveTo>
                    <a:pt x="80953" y="97405"/>
                  </a:moveTo>
                  <a:cubicBezTo>
                    <a:pt x="82869" y="94851"/>
                    <a:pt x="82231" y="90382"/>
                    <a:pt x="79674" y="88467"/>
                  </a:cubicBezTo>
                  <a:cubicBezTo>
                    <a:pt x="79674" y="88467"/>
                    <a:pt x="79674" y="88467"/>
                    <a:pt x="79674" y="88467"/>
                  </a:cubicBezTo>
                  <a:cubicBezTo>
                    <a:pt x="76479" y="85275"/>
                    <a:pt x="74563" y="80806"/>
                    <a:pt x="75201" y="76337"/>
                  </a:cubicBezTo>
                  <a:cubicBezTo>
                    <a:pt x="80313" y="68038"/>
                    <a:pt x="84147" y="59101"/>
                    <a:pt x="86703" y="49525"/>
                  </a:cubicBezTo>
                  <a:cubicBezTo>
                    <a:pt x="90537" y="33565"/>
                    <a:pt x="88621" y="20797"/>
                    <a:pt x="81591" y="11859"/>
                  </a:cubicBezTo>
                  <a:cubicBezTo>
                    <a:pt x="68173" y="-2824"/>
                    <a:pt x="45169" y="-4101"/>
                    <a:pt x="29833" y="9306"/>
                  </a:cubicBezTo>
                  <a:cubicBezTo>
                    <a:pt x="29194" y="9944"/>
                    <a:pt x="27916" y="11221"/>
                    <a:pt x="27277" y="11859"/>
                  </a:cubicBezTo>
                  <a:cubicBezTo>
                    <a:pt x="20248" y="20797"/>
                    <a:pt x="18331" y="33565"/>
                    <a:pt x="22165" y="49525"/>
                  </a:cubicBezTo>
                  <a:cubicBezTo>
                    <a:pt x="24721" y="59101"/>
                    <a:pt x="28555" y="68038"/>
                    <a:pt x="33667" y="75699"/>
                  </a:cubicBezTo>
                  <a:cubicBezTo>
                    <a:pt x="34306" y="80168"/>
                    <a:pt x="33028" y="84637"/>
                    <a:pt x="30472" y="87829"/>
                  </a:cubicBezTo>
                  <a:cubicBezTo>
                    <a:pt x="27277" y="89105"/>
                    <a:pt x="23443" y="89744"/>
                    <a:pt x="20248" y="90382"/>
                  </a:cubicBezTo>
                  <a:cubicBezTo>
                    <a:pt x="13858" y="91021"/>
                    <a:pt x="8107" y="92297"/>
                    <a:pt x="2995" y="95489"/>
                  </a:cubicBezTo>
                  <a:cubicBezTo>
                    <a:pt x="-200" y="97405"/>
                    <a:pt x="-839" y="101235"/>
                    <a:pt x="1078" y="104427"/>
                  </a:cubicBezTo>
                  <a:cubicBezTo>
                    <a:pt x="2356" y="106342"/>
                    <a:pt x="4273" y="107619"/>
                    <a:pt x="6190" y="107619"/>
                  </a:cubicBezTo>
                  <a:cubicBezTo>
                    <a:pt x="7468" y="107619"/>
                    <a:pt x="8746" y="107619"/>
                    <a:pt x="9385" y="106342"/>
                  </a:cubicBezTo>
                  <a:cubicBezTo>
                    <a:pt x="13219" y="104427"/>
                    <a:pt x="17692" y="103150"/>
                    <a:pt x="22165" y="103150"/>
                  </a:cubicBezTo>
                  <a:cubicBezTo>
                    <a:pt x="27916" y="102512"/>
                    <a:pt x="33028" y="101235"/>
                    <a:pt x="37501" y="98681"/>
                  </a:cubicBezTo>
                  <a:cubicBezTo>
                    <a:pt x="47086" y="91659"/>
                    <a:pt x="49642" y="76337"/>
                    <a:pt x="44530" y="68677"/>
                  </a:cubicBezTo>
                  <a:cubicBezTo>
                    <a:pt x="40057" y="61654"/>
                    <a:pt x="36862" y="54632"/>
                    <a:pt x="34945" y="46333"/>
                  </a:cubicBezTo>
                  <a:cubicBezTo>
                    <a:pt x="31750" y="34203"/>
                    <a:pt x="33028" y="25266"/>
                    <a:pt x="37501" y="19520"/>
                  </a:cubicBezTo>
                  <a:cubicBezTo>
                    <a:pt x="46447" y="9944"/>
                    <a:pt x="61783" y="9306"/>
                    <a:pt x="71368" y="18882"/>
                  </a:cubicBezTo>
                  <a:cubicBezTo>
                    <a:pt x="71368" y="18882"/>
                    <a:pt x="72006" y="19520"/>
                    <a:pt x="72006" y="19520"/>
                  </a:cubicBezTo>
                  <a:cubicBezTo>
                    <a:pt x="76479" y="25266"/>
                    <a:pt x="77118" y="34203"/>
                    <a:pt x="74563" y="46333"/>
                  </a:cubicBezTo>
                  <a:cubicBezTo>
                    <a:pt x="72646" y="53994"/>
                    <a:pt x="69451" y="61654"/>
                    <a:pt x="64978" y="68677"/>
                  </a:cubicBezTo>
                  <a:cubicBezTo>
                    <a:pt x="59866" y="75699"/>
                    <a:pt x="62422" y="91021"/>
                    <a:pt x="72006" y="98681"/>
                  </a:cubicBezTo>
                  <a:cubicBezTo>
                    <a:pt x="74563" y="100597"/>
                    <a:pt x="79036" y="99958"/>
                    <a:pt x="80953" y="97405"/>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43" name="Graphic 4">
              <a:extLst>
                <a:ext uri="{FF2B5EF4-FFF2-40B4-BE49-F238E27FC236}">
                  <a16:creationId xmlns:a16="http://schemas.microsoft.com/office/drawing/2014/main" id="{04DEDA27-BAB0-F457-44DB-566F5F83A062}"/>
                </a:ext>
              </a:extLst>
            </p:cNvPr>
            <p:cNvSpPr/>
            <p:nvPr/>
          </p:nvSpPr>
          <p:spPr>
            <a:xfrm>
              <a:off x="4778568" y="4907099"/>
              <a:ext cx="137394" cy="134137"/>
            </a:xfrm>
            <a:custGeom>
              <a:avLst/>
              <a:gdLst>
                <a:gd name="connsiteX0" fmla="*/ 133400 w 137394"/>
                <a:gd name="connsiteY0" fmla="*/ 122007 h 134137"/>
                <a:gd name="connsiteX1" fmla="*/ 109119 w 137394"/>
                <a:gd name="connsiteY1" fmla="*/ 116900 h 134137"/>
                <a:gd name="connsiteX2" fmla="*/ 98895 w 137394"/>
                <a:gd name="connsiteY2" fmla="*/ 114985 h 134137"/>
                <a:gd name="connsiteX3" fmla="*/ 91227 w 137394"/>
                <a:gd name="connsiteY3" fmla="*/ 95195 h 134137"/>
                <a:gd name="connsiteX4" fmla="*/ 105924 w 137394"/>
                <a:gd name="connsiteY4" fmla="*/ 61360 h 134137"/>
                <a:gd name="connsiteX5" fmla="*/ 100173 w 137394"/>
                <a:gd name="connsiteY5" fmla="*/ 14118 h 134137"/>
                <a:gd name="connsiteX6" fmla="*/ 40746 w 137394"/>
                <a:gd name="connsiteY6" fmla="*/ 10926 h 134137"/>
                <a:gd name="connsiteX7" fmla="*/ 37551 w 137394"/>
                <a:gd name="connsiteY7" fmla="*/ 14118 h 134137"/>
                <a:gd name="connsiteX8" fmla="*/ 31800 w 137394"/>
                <a:gd name="connsiteY8" fmla="*/ 61360 h 134137"/>
                <a:gd name="connsiteX9" fmla="*/ 45858 w 137394"/>
                <a:gd name="connsiteY9" fmla="*/ 94556 h 134137"/>
                <a:gd name="connsiteX10" fmla="*/ 38190 w 137394"/>
                <a:gd name="connsiteY10" fmla="*/ 114985 h 134137"/>
                <a:gd name="connsiteX11" fmla="*/ 27966 w 137394"/>
                <a:gd name="connsiteY11" fmla="*/ 116900 h 134137"/>
                <a:gd name="connsiteX12" fmla="*/ 3685 w 137394"/>
                <a:gd name="connsiteY12" fmla="*/ 122007 h 134137"/>
                <a:gd name="connsiteX13" fmla="*/ 490 w 137394"/>
                <a:gd name="connsiteY13" fmla="*/ 130307 h 134137"/>
                <a:gd name="connsiteX14" fmla="*/ 8797 w 137394"/>
                <a:gd name="connsiteY14" fmla="*/ 133499 h 134137"/>
                <a:gd name="connsiteX15" fmla="*/ 27966 w 137394"/>
                <a:gd name="connsiteY15" fmla="*/ 129668 h 134137"/>
                <a:gd name="connsiteX16" fmla="*/ 43941 w 137394"/>
                <a:gd name="connsiteY16" fmla="*/ 126476 h 134137"/>
                <a:gd name="connsiteX17" fmla="*/ 57360 w 137394"/>
                <a:gd name="connsiteY17" fmla="*/ 104771 h 134137"/>
                <a:gd name="connsiteX18" fmla="*/ 56082 w 137394"/>
                <a:gd name="connsiteY18" fmla="*/ 87534 h 134137"/>
                <a:gd name="connsiteX19" fmla="*/ 43941 w 137394"/>
                <a:gd name="connsiteY19" fmla="*/ 58168 h 134137"/>
                <a:gd name="connsiteX20" fmla="*/ 47136 w 137394"/>
                <a:gd name="connsiteY20" fmla="*/ 21779 h 134137"/>
                <a:gd name="connsiteX21" fmla="*/ 69501 w 137394"/>
                <a:gd name="connsiteY21" fmla="*/ 12203 h 134137"/>
                <a:gd name="connsiteX22" fmla="*/ 91227 w 137394"/>
                <a:gd name="connsiteY22" fmla="*/ 21779 h 134137"/>
                <a:gd name="connsiteX23" fmla="*/ 94422 w 137394"/>
                <a:gd name="connsiteY23" fmla="*/ 58168 h 134137"/>
                <a:gd name="connsiteX24" fmla="*/ 81642 w 137394"/>
                <a:gd name="connsiteY24" fmla="*/ 87534 h 134137"/>
                <a:gd name="connsiteX25" fmla="*/ 80364 w 137394"/>
                <a:gd name="connsiteY25" fmla="*/ 104771 h 134137"/>
                <a:gd name="connsiteX26" fmla="*/ 93783 w 137394"/>
                <a:gd name="connsiteY26" fmla="*/ 126476 h 134137"/>
                <a:gd name="connsiteX27" fmla="*/ 109758 w 137394"/>
                <a:gd name="connsiteY27" fmla="*/ 129668 h 134137"/>
                <a:gd name="connsiteX28" fmla="*/ 128927 w 137394"/>
                <a:gd name="connsiteY28" fmla="*/ 133499 h 134137"/>
                <a:gd name="connsiteX29" fmla="*/ 131483 w 137394"/>
                <a:gd name="connsiteY29" fmla="*/ 134137 h 134137"/>
                <a:gd name="connsiteX30" fmla="*/ 137234 w 137394"/>
                <a:gd name="connsiteY30" fmla="*/ 130307 h 134137"/>
                <a:gd name="connsiteX31" fmla="*/ 133400 w 137394"/>
                <a:gd name="connsiteY31" fmla="*/ 122007 h 134137"/>
                <a:gd name="connsiteX32" fmla="*/ 133400 w 137394"/>
                <a:gd name="connsiteY32" fmla="*/ 122007 h 13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7394" h="134137">
                  <a:moveTo>
                    <a:pt x="133400" y="122007"/>
                  </a:moveTo>
                  <a:cubicBezTo>
                    <a:pt x="125732" y="118815"/>
                    <a:pt x="117426" y="116900"/>
                    <a:pt x="109119" y="116900"/>
                  </a:cubicBezTo>
                  <a:cubicBezTo>
                    <a:pt x="105285" y="116900"/>
                    <a:pt x="102090" y="116262"/>
                    <a:pt x="98895" y="114985"/>
                  </a:cubicBezTo>
                  <a:cubicBezTo>
                    <a:pt x="94422" y="112431"/>
                    <a:pt x="89949" y="98387"/>
                    <a:pt x="91227" y="95195"/>
                  </a:cubicBezTo>
                  <a:cubicBezTo>
                    <a:pt x="97616" y="84980"/>
                    <a:pt x="102729" y="73489"/>
                    <a:pt x="105924" y="61360"/>
                  </a:cubicBezTo>
                  <a:cubicBezTo>
                    <a:pt x="111036" y="40931"/>
                    <a:pt x="109119" y="24971"/>
                    <a:pt x="100173" y="14118"/>
                  </a:cubicBezTo>
                  <a:cubicBezTo>
                    <a:pt x="84837" y="-3119"/>
                    <a:pt x="57999" y="-5034"/>
                    <a:pt x="40746" y="10926"/>
                  </a:cubicBezTo>
                  <a:cubicBezTo>
                    <a:pt x="39468" y="12203"/>
                    <a:pt x="38190" y="13480"/>
                    <a:pt x="37551" y="14118"/>
                  </a:cubicBezTo>
                  <a:cubicBezTo>
                    <a:pt x="28605" y="24971"/>
                    <a:pt x="26688" y="40931"/>
                    <a:pt x="31800" y="61360"/>
                  </a:cubicBezTo>
                  <a:cubicBezTo>
                    <a:pt x="34356" y="72851"/>
                    <a:pt x="39468" y="84342"/>
                    <a:pt x="45858" y="94556"/>
                  </a:cubicBezTo>
                  <a:cubicBezTo>
                    <a:pt x="47136" y="98387"/>
                    <a:pt x="42663" y="112431"/>
                    <a:pt x="38190" y="114985"/>
                  </a:cubicBezTo>
                  <a:cubicBezTo>
                    <a:pt x="34995" y="116262"/>
                    <a:pt x="31161" y="116900"/>
                    <a:pt x="27966" y="116900"/>
                  </a:cubicBezTo>
                  <a:cubicBezTo>
                    <a:pt x="19660" y="116900"/>
                    <a:pt x="11352" y="118815"/>
                    <a:pt x="3685" y="122007"/>
                  </a:cubicBezTo>
                  <a:cubicBezTo>
                    <a:pt x="490" y="123284"/>
                    <a:pt x="-788" y="127115"/>
                    <a:pt x="490" y="130307"/>
                  </a:cubicBezTo>
                  <a:cubicBezTo>
                    <a:pt x="1767" y="133499"/>
                    <a:pt x="5602" y="134775"/>
                    <a:pt x="8797" y="133499"/>
                  </a:cubicBezTo>
                  <a:cubicBezTo>
                    <a:pt x="14547" y="130945"/>
                    <a:pt x="21576" y="129668"/>
                    <a:pt x="27966" y="129668"/>
                  </a:cubicBezTo>
                  <a:cubicBezTo>
                    <a:pt x="33717" y="129668"/>
                    <a:pt x="38829" y="129030"/>
                    <a:pt x="43941" y="126476"/>
                  </a:cubicBezTo>
                  <a:cubicBezTo>
                    <a:pt x="52887" y="122007"/>
                    <a:pt x="56721" y="108601"/>
                    <a:pt x="57360" y="104771"/>
                  </a:cubicBezTo>
                  <a:cubicBezTo>
                    <a:pt x="59277" y="99025"/>
                    <a:pt x="58638" y="92641"/>
                    <a:pt x="56082" y="87534"/>
                  </a:cubicBezTo>
                  <a:cubicBezTo>
                    <a:pt x="50331" y="78596"/>
                    <a:pt x="45858" y="69020"/>
                    <a:pt x="43941" y="58168"/>
                  </a:cubicBezTo>
                  <a:cubicBezTo>
                    <a:pt x="40107" y="41569"/>
                    <a:pt x="41385" y="29440"/>
                    <a:pt x="47136" y="21779"/>
                  </a:cubicBezTo>
                  <a:cubicBezTo>
                    <a:pt x="52887" y="15395"/>
                    <a:pt x="61194" y="12203"/>
                    <a:pt x="69501" y="12203"/>
                  </a:cubicBezTo>
                  <a:cubicBezTo>
                    <a:pt x="77808" y="12203"/>
                    <a:pt x="85476" y="15395"/>
                    <a:pt x="91227" y="21779"/>
                  </a:cubicBezTo>
                  <a:cubicBezTo>
                    <a:pt x="97616" y="29440"/>
                    <a:pt x="98895" y="41569"/>
                    <a:pt x="94422" y="58168"/>
                  </a:cubicBezTo>
                  <a:cubicBezTo>
                    <a:pt x="91866" y="68382"/>
                    <a:pt x="88032" y="78596"/>
                    <a:pt x="81642" y="87534"/>
                  </a:cubicBezTo>
                  <a:cubicBezTo>
                    <a:pt x="79086" y="92641"/>
                    <a:pt x="78447" y="99025"/>
                    <a:pt x="80364" y="104771"/>
                  </a:cubicBezTo>
                  <a:cubicBezTo>
                    <a:pt x="81003" y="108601"/>
                    <a:pt x="84837" y="121369"/>
                    <a:pt x="93783" y="126476"/>
                  </a:cubicBezTo>
                  <a:cubicBezTo>
                    <a:pt x="98895" y="129030"/>
                    <a:pt x="104006" y="129668"/>
                    <a:pt x="109758" y="129668"/>
                  </a:cubicBezTo>
                  <a:cubicBezTo>
                    <a:pt x="116147" y="129668"/>
                    <a:pt x="123176" y="130945"/>
                    <a:pt x="128927" y="133499"/>
                  </a:cubicBezTo>
                  <a:cubicBezTo>
                    <a:pt x="129566" y="134137"/>
                    <a:pt x="130844" y="134137"/>
                    <a:pt x="131483" y="134137"/>
                  </a:cubicBezTo>
                  <a:cubicBezTo>
                    <a:pt x="134039" y="134137"/>
                    <a:pt x="135956" y="132860"/>
                    <a:pt x="137234" y="130307"/>
                  </a:cubicBezTo>
                  <a:cubicBezTo>
                    <a:pt x="137873" y="127115"/>
                    <a:pt x="136595" y="123284"/>
                    <a:pt x="133400" y="122007"/>
                  </a:cubicBezTo>
                  <a:cubicBezTo>
                    <a:pt x="133400" y="122007"/>
                    <a:pt x="133400" y="122007"/>
                    <a:pt x="133400" y="122007"/>
                  </a:cubicBezTo>
                  <a:close/>
                </a:path>
              </a:pathLst>
            </a:custGeom>
            <a:grpFill/>
            <a:ln w="6390" cap="flat">
              <a:solidFill>
                <a:srgbClr val="009A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129" name="Group 749">
            <a:extLst>
              <a:ext uri="{FF2B5EF4-FFF2-40B4-BE49-F238E27FC236}">
                <a16:creationId xmlns:a16="http://schemas.microsoft.com/office/drawing/2014/main" id="{F50795EB-1273-DBD1-2253-5234F95E4E2C}"/>
              </a:ext>
            </a:extLst>
          </p:cNvPr>
          <p:cNvGrpSpPr>
            <a:grpSpLocks noChangeAspect="1"/>
          </p:cNvGrpSpPr>
          <p:nvPr/>
        </p:nvGrpSpPr>
        <p:grpSpPr bwMode="auto">
          <a:xfrm>
            <a:off x="8171557" y="5081537"/>
            <a:ext cx="394802" cy="394802"/>
            <a:chOff x="3520" y="2686"/>
            <a:chExt cx="340" cy="340"/>
          </a:xfrm>
          <a:solidFill>
            <a:srgbClr val="00ABAB"/>
          </a:solidFill>
        </p:grpSpPr>
        <p:sp>
          <p:nvSpPr>
            <p:cNvPr id="2137" name="Freeform 750">
              <a:extLst>
                <a:ext uri="{FF2B5EF4-FFF2-40B4-BE49-F238E27FC236}">
                  <a16:creationId xmlns:a16="http://schemas.microsoft.com/office/drawing/2014/main" id="{E409A6AC-DADD-A3C4-E97F-C6B7858AD31F}"/>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9A4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38" name="Freeform 751">
              <a:extLst>
                <a:ext uri="{FF2B5EF4-FFF2-40B4-BE49-F238E27FC236}">
                  <a16:creationId xmlns:a16="http://schemas.microsoft.com/office/drawing/2014/main" id="{4ABEDD65-B004-75FE-E1C9-CD7115A8D9E6}"/>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solidFill>
                <a:srgbClr val="009A4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39" name="Freeform 752">
              <a:extLst>
                <a:ext uri="{FF2B5EF4-FFF2-40B4-BE49-F238E27FC236}">
                  <a16:creationId xmlns:a16="http://schemas.microsoft.com/office/drawing/2014/main" id="{930EDB70-1497-4359-4E72-A1510EF43560}"/>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solidFill>
                <a:srgbClr val="009A4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130" name="Group 816">
            <a:extLst>
              <a:ext uri="{FF2B5EF4-FFF2-40B4-BE49-F238E27FC236}">
                <a16:creationId xmlns:a16="http://schemas.microsoft.com/office/drawing/2014/main" id="{9250F8A7-83FF-DE52-9E07-892DC05A516D}"/>
              </a:ext>
            </a:extLst>
          </p:cNvPr>
          <p:cNvGrpSpPr>
            <a:grpSpLocks noChangeAspect="1"/>
          </p:cNvGrpSpPr>
          <p:nvPr/>
        </p:nvGrpSpPr>
        <p:grpSpPr bwMode="auto">
          <a:xfrm>
            <a:off x="8239663" y="3604663"/>
            <a:ext cx="394802" cy="394802"/>
            <a:chOff x="4518" y="3391"/>
            <a:chExt cx="340" cy="340"/>
          </a:xfrm>
          <a:solidFill>
            <a:srgbClr val="00ABAB"/>
          </a:solidFill>
        </p:grpSpPr>
        <p:sp>
          <p:nvSpPr>
            <p:cNvPr id="2135" name="Freeform 817">
              <a:extLst>
                <a:ext uri="{FF2B5EF4-FFF2-40B4-BE49-F238E27FC236}">
                  <a16:creationId xmlns:a16="http://schemas.microsoft.com/office/drawing/2014/main" id="{B27CBAEE-8D39-060B-CBCC-994E325F6AC4}"/>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9A4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36" name="Freeform 818">
              <a:extLst>
                <a:ext uri="{FF2B5EF4-FFF2-40B4-BE49-F238E27FC236}">
                  <a16:creationId xmlns:a16="http://schemas.microsoft.com/office/drawing/2014/main" id="{A41615EB-44C3-AABD-1975-1420CD262956}"/>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solidFill>
                <a:srgbClr val="009A4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2131" name="Straight Connector 2130">
            <a:extLst>
              <a:ext uri="{FF2B5EF4-FFF2-40B4-BE49-F238E27FC236}">
                <a16:creationId xmlns:a16="http://schemas.microsoft.com/office/drawing/2014/main" id="{F61ACE09-BAD5-B076-7DB2-37680C289448}"/>
              </a:ext>
            </a:extLst>
          </p:cNvPr>
          <p:cNvCxnSpPr/>
          <p:nvPr/>
        </p:nvCxnSpPr>
        <p:spPr>
          <a:xfrm flipH="1">
            <a:off x="426720" y="4465508"/>
            <a:ext cx="2796540" cy="0"/>
          </a:xfrm>
          <a:prstGeom prst="line">
            <a:avLst/>
          </a:prstGeom>
          <a:ln>
            <a:gradFill flip="none" rotWithShape="1">
              <a:gsLst>
                <a:gs pos="52000">
                  <a:schemeClr val="tx1">
                    <a:lumMod val="65000"/>
                    <a:lumOff val="35000"/>
                  </a:schemeClr>
                </a:gs>
                <a:gs pos="0">
                  <a:schemeClr val="tx1"/>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132" name="Straight Connector 2131">
            <a:extLst>
              <a:ext uri="{FF2B5EF4-FFF2-40B4-BE49-F238E27FC236}">
                <a16:creationId xmlns:a16="http://schemas.microsoft.com/office/drawing/2014/main" id="{F588C2A7-6498-C825-9E36-B8CFAFD1A0D6}"/>
              </a:ext>
            </a:extLst>
          </p:cNvPr>
          <p:cNvCxnSpPr/>
          <p:nvPr/>
        </p:nvCxnSpPr>
        <p:spPr>
          <a:xfrm flipH="1">
            <a:off x="961091" y="5783768"/>
            <a:ext cx="2796540" cy="0"/>
          </a:xfrm>
          <a:prstGeom prst="line">
            <a:avLst/>
          </a:prstGeom>
          <a:ln>
            <a:gradFill flip="none" rotWithShape="1">
              <a:gsLst>
                <a:gs pos="52000">
                  <a:schemeClr val="tx1">
                    <a:lumMod val="65000"/>
                    <a:lumOff val="35000"/>
                  </a:schemeClr>
                </a:gs>
                <a:gs pos="0">
                  <a:schemeClr val="tx1"/>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133" name="Straight Connector 2132">
            <a:extLst>
              <a:ext uri="{FF2B5EF4-FFF2-40B4-BE49-F238E27FC236}">
                <a16:creationId xmlns:a16="http://schemas.microsoft.com/office/drawing/2014/main" id="{5A61F4A0-FF10-C924-D646-74307A891D9F}"/>
              </a:ext>
            </a:extLst>
          </p:cNvPr>
          <p:cNvCxnSpPr/>
          <p:nvPr/>
        </p:nvCxnSpPr>
        <p:spPr>
          <a:xfrm flipH="1">
            <a:off x="8766360" y="4465508"/>
            <a:ext cx="2796540" cy="0"/>
          </a:xfrm>
          <a:prstGeom prst="line">
            <a:avLst/>
          </a:prstGeom>
          <a:ln>
            <a:gradFill flip="none" rotWithShape="1">
              <a:gsLst>
                <a:gs pos="52000">
                  <a:schemeClr val="tx1">
                    <a:lumMod val="65000"/>
                    <a:lumOff val="35000"/>
                  </a:schemeClr>
                </a:gs>
                <a:gs pos="0">
                  <a:schemeClr val="tx1"/>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134" name="Straight Connector 2133">
            <a:extLst>
              <a:ext uri="{FF2B5EF4-FFF2-40B4-BE49-F238E27FC236}">
                <a16:creationId xmlns:a16="http://schemas.microsoft.com/office/drawing/2014/main" id="{BAB20F05-C9AD-018A-1589-993A88357E73}"/>
              </a:ext>
            </a:extLst>
          </p:cNvPr>
          <p:cNvCxnSpPr/>
          <p:nvPr/>
        </p:nvCxnSpPr>
        <p:spPr>
          <a:xfrm flipH="1">
            <a:off x="8274292" y="5783768"/>
            <a:ext cx="2796540" cy="0"/>
          </a:xfrm>
          <a:prstGeom prst="line">
            <a:avLst/>
          </a:prstGeom>
          <a:ln>
            <a:gradFill flip="none" rotWithShape="1">
              <a:gsLst>
                <a:gs pos="52000">
                  <a:schemeClr val="tx1">
                    <a:lumMod val="65000"/>
                    <a:lumOff val="35000"/>
                  </a:schemeClr>
                </a:gs>
                <a:gs pos="0">
                  <a:schemeClr val="tx1"/>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 name="Content Placeholder 7">
            <a:extLst>
              <a:ext uri="{FF2B5EF4-FFF2-40B4-BE49-F238E27FC236}">
                <a16:creationId xmlns:a16="http://schemas.microsoft.com/office/drawing/2014/main" id="{FBCE22E0-0ECD-DC39-A587-92FC801F18B3}"/>
              </a:ext>
            </a:extLst>
          </p:cNvPr>
          <p:cNvSpPr txBox="1">
            <a:spLocks/>
          </p:cNvSpPr>
          <p:nvPr/>
        </p:nvSpPr>
        <p:spPr>
          <a:xfrm>
            <a:off x="495301" y="1034841"/>
            <a:ext cx="5548998" cy="1044290"/>
          </a:xfrm>
          <a:prstGeom prst="rect">
            <a:avLst/>
          </a:prstGeom>
        </p:spPr>
        <p:txBody>
          <a:bodyPr/>
          <a:lst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166412" marR="0" lvl="0" indent="-166412" algn="just"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ommitted to being </a:t>
            </a:r>
            <a:r>
              <a:rPr kumimoji="0" lang="en-IN" sz="1400" b="1" i="0" u="none" strike="noStrike" kern="1200" cap="none" spc="0" normalizeH="0" baseline="0" noProof="0">
                <a:ln>
                  <a:noFill/>
                </a:ln>
                <a:solidFill>
                  <a:srgbClr val="37A76F"/>
                </a:solidFill>
                <a:effectLst/>
                <a:uLnTx/>
                <a:uFillTx/>
                <a:latin typeface="Calibri" panose="020F0502020204030204" pitchFamily="34" charset="0"/>
                <a:ea typeface="+mn-ea"/>
                <a:cs typeface="Calibri" panose="020F0502020204030204" pitchFamily="34" charset="0"/>
              </a:rPr>
              <a:t>the best</a:t>
            </a: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raising the bar higher and setting the pace for others to follow</a:t>
            </a:r>
          </a:p>
          <a:p>
            <a:pPr marL="166412" marR="0" lvl="0" indent="-166412" algn="just"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elivers against a broad and deep multidisciplinary portfolio of business capabilities that is </a:t>
            </a:r>
            <a:r>
              <a:rPr kumimoji="0" lang="en-IN" sz="1400" b="1" i="0" u="none" strike="noStrike" kern="1200" cap="none" spc="0" normalizeH="0" baseline="0" noProof="0">
                <a:ln>
                  <a:noFill/>
                </a:ln>
                <a:solidFill>
                  <a:srgbClr val="37A76F"/>
                </a:solidFill>
                <a:effectLst/>
                <a:uLnTx/>
                <a:uFillTx/>
                <a:latin typeface="Calibri" panose="020F0502020204030204" pitchFamily="34" charset="0"/>
                <a:ea typeface="+mn-ea"/>
                <a:cs typeface="Calibri" panose="020F0502020204030204" pitchFamily="34" charset="0"/>
              </a:rPr>
              <a:t>distinctive in our profession</a:t>
            </a:r>
          </a:p>
        </p:txBody>
      </p:sp>
      <p:sp>
        <p:nvSpPr>
          <p:cNvPr id="5" name="Content Placeholder 7">
            <a:extLst>
              <a:ext uri="{FF2B5EF4-FFF2-40B4-BE49-F238E27FC236}">
                <a16:creationId xmlns:a16="http://schemas.microsoft.com/office/drawing/2014/main" id="{BE475D7F-C61A-84F5-6846-E29DCABD26DC}"/>
              </a:ext>
            </a:extLst>
          </p:cNvPr>
          <p:cNvSpPr txBox="1">
            <a:spLocks/>
          </p:cNvSpPr>
          <p:nvPr/>
        </p:nvSpPr>
        <p:spPr>
          <a:xfrm>
            <a:off x="6057900" y="1044626"/>
            <a:ext cx="5548998" cy="1044290"/>
          </a:xfrm>
          <a:prstGeom prst="rect">
            <a:avLst/>
          </a:prstGeom>
        </p:spPr>
        <p:txBody>
          <a:bodyPr/>
          <a:lst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166412" marR="0" lvl="0" indent="-166412" algn="just"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ommitted to being </a:t>
            </a:r>
            <a:r>
              <a:rPr kumimoji="0" lang="en-IN" sz="1400" b="1" i="0" u="none" strike="noStrike" kern="1200" cap="none" spc="0" normalizeH="0" baseline="0" noProof="0">
                <a:ln>
                  <a:noFill/>
                </a:ln>
                <a:solidFill>
                  <a:srgbClr val="37A76F"/>
                </a:solidFill>
                <a:effectLst/>
                <a:uLnTx/>
                <a:uFillTx/>
                <a:latin typeface="Calibri" panose="020F0502020204030204" pitchFamily="34" charset="0"/>
                <a:ea typeface="+mn-ea"/>
                <a:cs typeface="Calibri" panose="020F0502020204030204" pitchFamily="34" charset="0"/>
              </a:rPr>
              <a:t>the best</a:t>
            </a: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raising the bar higher and setting the pace for others to follow</a:t>
            </a:r>
          </a:p>
          <a:p>
            <a:pPr marL="166412" marR="0" lvl="0" indent="-166412" algn="just"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elivers against a broad and deep multidisciplinary portfolio of business capabilities that is </a:t>
            </a:r>
            <a:r>
              <a:rPr kumimoji="0" lang="en-IN" sz="1400" b="1" i="0" u="none" strike="noStrike" kern="1200" cap="none" spc="0" normalizeH="0" baseline="0" noProof="0">
                <a:ln>
                  <a:noFill/>
                </a:ln>
                <a:solidFill>
                  <a:srgbClr val="37A76F"/>
                </a:solidFill>
                <a:effectLst/>
                <a:uLnTx/>
                <a:uFillTx/>
                <a:latin typeface="Calibri" panose="020F0502020204030204" pitchFamily="34" charset="0"/>
                <a:ea typeface="+mn-ea"/>
                <a:cs typeface="Calibri" panose="020F0502020204030204" pitchFamily="34" charset="0"/>
              </a:rPr>
              <a:t>distinctive in our profession</a:t>
            </a:r>
          </a:p>
        </p:txBody>
      </p:sp>
    </p:spTree>
    <p:extLst>
      <p:ext uri="{BB962C8B-B14F-4D97-AF65-F5344CB8AC3E}">
        <p14:creationId xmlns:p14="http://schemas.microsoft.com/office/powerpoint/2010/main" val="27570266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sz="1400" i="1" noProof="0">
                <a:latin typeface="Aptos" panose="020B0004020202020204" pitchFamily="34" charset="0"/>
              </a:rPr>
              <a:t>Deloitte India is one of the leading professional services firms with a rich heritage of serving the best-in-class clients in India</a:t>
            </a:r>
          </a:p>
        </p:txBody>
      </p:sp>
      <p:sp>
        <p:nvSpPr>
          <p:cNvPr id="3" name="Title 2"/>
          <p:cNvSpPr>
            <a:spLocks noGrp="1"/>
          </p:cNvSpPr>
          <p:nvPr>
            <p:ph type="title"/>
          </p:nvPr>
        </p:nvSpPr>
        <p:spPr/>
        <p:txBody>
          <a:bodyPr/>
          <a:lstStyle/>
          <a:p>
            <a:r>
              <a:rPr lang="en-US" b="1" noProof="0">
                <a:latin typeface="Aptos ExtraBold" panose="020B0004020202020204" pitchFamily="34" charset="0"/>
              </a:rPr>
              <a:t>About Deloitte</a:t>
            </a:r>
          </a:p>
        </p:txBody>
      </p:sp>
      <p:grpSp>
        <p:nvGrpSpPr>
          <p:cNvPr id="309" name="Group 308">
            <a:extLst>
              <a:ext uri="{FF2B5EF4-FFF2-40B4-BE49-F238E27FC236}">
                <a16:creationId xmlns:a16="http://schemas.microsoft.com/office/drawing/2014/main" id="{918B81D8-F2F0-8295-02F7-455B9179E92C}"/>
              </a:ext>
            </a:extLst>
          </p:cNvPr>
          <p:cNvGrpSpPr>
            <a:grpSpLocks noChangeAspect="1"/>
          </p:cNvGrpSpPr>
          <p:nvPr/>
        </p:nvGrpSpPr>
        <p:grpSpPr>
          <a:xfrm>
            <a:off x="5788494" y="3665825"/>
            <a:ext cx="312274" cy="312274"/>
            <a:chOff x="9060018" y="3243424"/>
            <a:chExt cx="331173" cy="332661"/>
          </a:xfrm>
          <a:solidFill>
            <a:srgbClr val="00ABAB"/>
          </a:solidFill>
        </p:grpSpPr>
        <p:sp>
          <p:nvSpPr>
            <p:cNvPr id="335" name="Freeform 56">
              <a:extLst>
                <a:ext uri="{FF2B5EF4-FFF2-40B4-BE49-F238E27FC236}">
                  <a16:creationId xmlns:a16="http://schemas.microsoft.com/office/drawing/2014/main" id="{28014FF3-80FF-D22F-7A88-F803313A6C62}"/>
                </a:ext>
              </a:extLst>
            </p:cNvPr>
            <p:cNvSpPr>
              <a:spLocks noEditPoints="1"/>
            </p:cNvSpPr>
            <p:nvPr/>
          </p:nvSpPr>
          <p:spPr bwMode="auto">
            <a:xfrm>
              <a:off x="9060018" y="3243424"/>
              <a:ext cx="331173" cy="33266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sp>
          <p:nvSpPr>
            <p:cNvPr id="336" name="Freeform 57">
              <a:extLst>
                <a:ext uri="{FF2B5EF4-FFF2-40B4-BE49-F238E27FC236}">
                  <a16:creationId xmlns:a16="http://schemas.microsoft.com/office/drawing/2014/main" id="{880089AD-B4FD-833F-3054-4598F5E364ED}"/>
                </a:ext>
              </a:extLst>
            </p:cNvPr>
            <p:cNvSpPr>
              <a:spLocks noEditPoints="1"/>
            </p:cNvSpPr>
            <p:nvPr/>
          </p:nvSpPr>
          <p:spPr bwMode="auto">
            <a:xfrm>
              <a:off x="9135993" y="3311913"/>
              <a:ext cx="183119" cy="187856"/>
            </a:xfrm>
            <a:custGeom>
              <a:avLst/>
              <a:gdLst>
                <a:gd name="T0" fmla="*/ 267 w 283"/>
                <a:gd name="T1" fmla="*/ 268 h 289"/>
                <a:gd name="T2" fmla="*/ 267 w 283"/>
                <a:gd name="T3" fmla="*/ 135 h 289"/>
                <a:gd name="T4" fmla="*/ 264 w 283"/>
                <a:gd name="T5" fmla="*/ 63 h 289"/>
                <a:gd name="T6" fmla="*/ 264 w 283"/>
                <a:gd name="T7" fmla="*/ 63 h 289"/>
                <a:gd name="T8" fmla="*/ 243 w 283"/>
                <a:gd name="T9" fmla="*/ 20 h 289"/>
                <a:gd name="T10" fmla="*/ 196 w 283"/>
                <a:gd name="T11" fmla="*/ 9 h 289"/>
                <a:gd name="T12" fmla="*/ 176 w 283"/>
                <a:gd name="T13" fmla="*/ 53 h 289"/>
                <a:gd name="T14" fmla="*/ 189 w 283"/>
                <a:gd name="T15" fmla="*/ 82 h 289"/>
                <a:gd name="T16" fmla="*/ 27 w 283"/>
                <a:gd name="T17" fmla="*/ 173 h 289"/>
                <a:gd name="T18" fmla="*/ 21 w 283"/>
                <a:gd name="T19" fmla="*/ 183 h 289"/>
                <a:gd name="T20" fmla="*/ 21 w 283"/>
                <a:gd name="T21" fmla="*/ 215 h 289"/>
                <a:gd name="T22" fmla="*/ 11 w 283"/>
                <a:gd name="T23" fmla="*/ 215 h 289"/>
                <a:gd name="T24" fmla="*/ 0 w 283"/>
                <a:gd name="T25" fmla="*/ 225 h 289"/>
                <a:gd name="T26" fmla="*/ 0 w 283"/>
                <a:gd name="T27" fmla="*/ 279 h 289"/>
                <a:gd name="T28" fmla="*/ 11 w 283"/>
                <a:gd name="T29" fmla="*/ 289 h 289"/>
                <a:gd name="T30" fmla="*/ 53 w 283"/>
                <a:gd name="T31" fmla="*/ 289 h 289"/>
                <a:gd name="T32" fmla="*/ 267 w 283"/>
                <a:gd name="T33" fmla="*/ 289 h 289"/>
                <a:gd name="T34" fmla="*/ 277 w 283"/>
                <a:gd name="T35" fmla="*/ 279 h 289"/>
                <a:gd name="T36" fmla="*/ 267 w 283"/>
                <a:gd name="T37" fmla="*/ 268 h 289"/>
                <a:gd name="T38" fmla="*/ 179 w 283"/>
                <a:gd name="T39" fmla="*/ 268 h 289"/>
                <a:gd name="T40" fmla="*/ 149 w 283"/>
                <a:gd name="T41" fmla="*/ 129 h 289"/>
                <a:gd name="T42" fmla="*/ 200 w 283"/>
                <a:gd name="T43" fmla="*/ 100 h 289"/>
                <a:gd name="T44" fmla="*/ 245 w 283"/>
                <a:gd name="T45" fmla="*/ 141 h 289"/>
                <a:gd name="T46" fmla="*/ 245 w 283"/>
                <a:gd name="T47" fmla="*/ 268 h 289"/>
                <a:gd name="T48" fmla="*/ 179 w 283"/>
                <a:gd name="T49" fmla="*/ 268 h 289"/>
                <a:gd name="T50" fmla="*/ 157 w 283"/>
                <a:gd name="T51" fmla="*/ 268 h 289"/>
                <a:gd name="T52" fmla="*/ 120 w 283"/>
                <a:gd name="T53" fmla="*/ 268 h 289"/>
                <a:gd name="T54" fmla="*/ 139 w 283"/>
                <a:gd name="T55" fmla="*/ 180 h 289"/>
                <a:gd name="T56" fmla="*/ 157 w 283"/>
                <a:gd name="T57" fmla="*/ 268 h 289"/>
                <a:gd name="T58" fmla="*/ 205 w 283"/>
                <a:gd name="T59" fmla="*/ 28 h 289"/>
                <a:gd name="T60" fmla="*/ 214 w 283"/>
                <a:gd name="T61" fmla="*/ 26 h 289"/>
                <a:gd name="T62" fmla="*/ 226 w 283"/>
                <a:gd name="T63" fmla="*/ 34 h 289"/>
                <a:gd name="T64" fmla="*/ 244 w 283"/>
                <a:gd name="T65" fmla="*/ 70 h 289"/>
                <a:gd name="T66" fmla="*/ 251 w 283"/>
                <a:gd name="T67" fmla="*/ 120 h 289"/>
                <a:gd name="T68" fmla="*/ 216 w 283"/>
                <a:gd name="T69" fmla="*/ 85 h 289"/>
                <a:gd name="T70" fmla="*/ 197 w 283"/>
                <a:gd name="T71" fmla="*/ 48 h 289"/>
                <a:gd name="T72" fmla="*/ 205 w 283"/>
                <a:gd name="T73" fmla="*/ 28 h 289"/>
                <a:gd name="T74" fmla="*/ 43 w 283"/>
                <a:gd name="T75" fmla="*/ 189 h 289"/>
                <a:gd name="T76" fmla="*/ 125 w 283"/>
                <a:gd name="T77" fmla="*/ 143 h 289"/>
                <a:gd name="T78" fmla="*/ 98 w 283"/>
                <a:gd name="T79" fmla="*/ 268 h 289"/>
                <a:gd name="T80" fmla="*/ 64 w 283"/>
                <a:gd name="T81" fmla="*/ 268 h 289"/>
                <a:gd name="T82" fmla="*/ 64 w 283"/>
                <a:gd name="T83" fmla="*/ 225 h 289"/>
                <a:gd name="T84" fmla="*/ 53 w 283"/>
                <a:gd name="T85" fmla="*/ 215 h 289"/>
                <a:gd name="T86" fmla="*/ 43 w 283"/>
                <a:gd name="T87" fmla="*/ 215 h 289"/>
                <a:gd name="T88" fmla="*/ 43 w 283"/>
                <a:gd name="T89" fmla="*/ 189 h 289"/>
                <a:gd name="T90" fmla="*/ 21 w 283"/>
                <a:gd name="T91" fmla="*/ 236 h 289"/>
                <a:gd name="T92" fmla="*/ 43 w 283"/>
                <a:gd name="T93" fmla="*/ 236 h 289"/>
                <a:gd name="T94" fmla="*/ 43 w 283"/>
                <a:gd name="T95" fmla="*/ 268 h 289"/>
                <a:gd name="T96" fmla="*/ 21 w 283"/>
                <a:gd name="T97" fmla="*/ 268 h 289"/>
                <a:gd name="T98" fmla="*/ 21 w 283"/>
                <a:gd name="T99"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89">
                  <a:moveTo>
                    <a:pt x="267" y="268"/>
                  </a:moveTo>
                  <a:cubicBezTo>
                    <a:pt x="267" y="135"/>
                    <a:pt x="267" y="135"/>
                    <a:pt x="267" y="135"/>
                  </a:cubicBezTo>
                  <a:cubicBezTo>
                    <a:pt x="283" y="121"/>
                    <a:pt x="275" y="92"/>
                    <a:pt x="264" y="63"/>
                  </a:cubicBezTo>
                  <a:cubicBezTo>
                    <a:pt x="264" y="63"/>
                    <a:pt x="264" y="63"/>
                    <a:pt x="264" y="63"/>
                  </a:cubicBezTo>
                  <a:cubicBezTo>
                    <a:pt x="261" y="53"/>
                    <a:pt x="251" y="30"/>
                    <a:pt x="243" y="20"/>
                  </a:cubicBezTo>
                  <a:cubicBezTo>
                    <a:pt x="229" y="4"/>
                    <a:pt x="214" y="0"/>
                    <a:pt x="196" y="9"/>
                  </a:cubicBezTo>
                  <a:cubicBezTo>
                    <a:pt x="178" y="18"/>
                    <a:pt x="171" y="33"/>
                    <a:pt x="176" y="53"/>
                  </a:cubicBezTo>
                  <a:cubicBezTo>
                    <a:pt x="178" y="59"/>
                    <a:pt x="182" y="69"/>
                    <a:pt x="189" y="82"/>
                  </a:cubicBezTo>
                  <a:cubicBezTo>
                    <a:pt x="27" y="173"/>
                    <a:pt x="27" y="173"/>
                    <a:pt x="27" y="173"/>
                  </a:cubicBezTo>
                  <a:cubicBezTo>
                    <a:pt x="23" y="175"/>
                    <a:pt x="21" y="179"/>
                    <a:pt x="21" y="183"/>
                  </a:cubicBezTo>
                  <a:cubicBezTo>
                    <a:pt x="21" y="215"/>
                    <a:pt x="21" y="215"/>
                    <a:pt x="21" y="215"/>
                  </a:cubicBezTo>
                  <a:cubicBezTo>
                    <a:pt x="11" y="215"/>
                    <a:pt x="11" y="215"/>
                    <a:pt x="11" y="215"/>
                  </a:cubicBezTo>
                  <a:cubicBezTo>
                    <a:pt x="5" y="215"/>
                    <a:pt x="0" y="219"/>
                    <a:pt x="0" y="225"/>
                  </a:cubicBezTo>
                  <a:cubicBezTo>
                    <a:pt x="0" y="279"/>
                    <a:pt x="0" y="279"/>
                    <a:pt x="0" y="279"/>
                  </a:cubicBezTo>
                  <a:cubicBezTo>
                    <a:pt x="0" y="285"/>
                    <a:pt x="5" y="289"/>
                    <a:pt x="11" y="289"/>
                  </a:cubicBezTo>
                  <a:cubicBezTo>
                    <a:pt x="53" y="289"/>
                    <a:pt x="53" y="289"/>
                    <a:pt x="53" y="289"/>
                  </a:cubicBezTo>
                  <a:cubicBezTo>
                    <a:pt x="267" y="289"/>
                    <a:pt x="267" y="289"/>
                    <a:pt x="267" y="289"/>
                  </a:cubicBezTo>
                  <a:cubicBezTo>
                    <a:pt x="273" y="289"/>
                    <a:pt x="277" y="285"/>
                    <a:pt x="277" y="279"/>
                  </a:cubicBezTo>
                  <a:cubicBezTo>
                    <a:pt x="277" y="273"/>
                    <a:pt x="273" y="268"/>
                    <a:pt x="267" y="268"/>
                  </a:cubicBezTo>
                  <a:close/>
                  <a:moveTo>
                    <a:pt x="179" y="268"/>
                  </a:moveTo>
                  <a:cubicBezTo>
                    <a:pt x="149" y="129"/>
                    <a:pt x="149" y="129"/>
                    <a:pt x="149" y="129"/>
                  </a:cubicBezTo>
                  <a:cubicBezTo>
                    <a:pt x="200" y="100"/>
                    <a:pt x="200" y="100"/>
                    <a:pt x="200" y="100"/>
                  </a:cubicBezTo>
                  <a:cubicBezTo>
                    <a:pt x="216" y="125"/>
                    <a:pt x="231" y="139"/>
                    <a:pt x="245" y="141"/>
                  </a:cubicBezTo>
                  <a:cubicBezTo>
                    <a:pt x="245" y="268"/>
                    <a:pt x="245" y="268"/>
                    <a:pt x="245" y="268"/>
                  </a:cubicBezTo>
                  <a:lnTo>
                    <a:pt x="179" y="268"/>
                  </a:lnTo>
                  <a:close/>
                  <a:moveTo>
                    <a:pt x="157" y="268"/>
                  </a:moveTo>
                  <a:cubicBezTo>
                    <a:pt x="120" y="268"/>
                    <a:pt x="120" y="268"/>
                    <a:pt x="120" y="268"/>
                  </a:cubicBezTo>
                  <a:cubicBezTo>
                    <a:pt x="139" y="180"/>
                    <a:pt x="139" y="180"/>
                    <a:pt x="139" y="180"/>
                  </a:cubicBezTo>
                  <a:lnTo>
                    <a:pt x="157" y="268"/>
                  </a:lnTo>
                  <a:close/>
                  <a:moveTo>
                    <a:pt x="205" y="28"/>
                  </a:moveTo>
                  <a:cubicBezTo>
                    <a:pt x="208" y="27"/>
                    <a:pt x="211" y="26"/>
                    <a:pt x="214" y="26"/>
                  </a:cubicBezTo>
                  <a:cubicBezTo>
                    <a:pt x="217" y="26"/>
                    <a:pt x="221" y="28"/>
                    <a:pt x="226" y="34"/>
                  </a:cubicBezTo>
                  <a:cubicBezTo>
                    <a:pt x="231" y="39"/>
                    <a:pt x="240" y="58"/>
                    <a:pt x="244" y="70"/>
                  </a:cubicBezTo>
                  <a:cubicBezTo>
                    <a:pt x="259" y="110"/>
                    <a:pt x="255" y="118"/>
                    <a:pt x="251" y="120"/>
                  </a:cubicBezTo>
                  <a:cubicBezTo>
                    <a:pt x="247" y="122"/>
                    <a:pt x="235" y="117"/>
                    <a:pt x="216" y="85"/>
                  </a:cubicBezTo>
                  <a:cubicBezTo>
                    <a:pt x="201" y="61"/>
                    <a:pt x="198" y="52"/>
                    <a:pt x="197" y="48"/>
                  </a:cubicBezTo>
                  <a:cubicBezTo>
                    <a:pt x="194" y="35"/>
                    <a:pt x="199" y="32"/>
                    <a:pt x="205" y="28"/>
                  </a:cubicBezTo>
                  <a:close/>
                  <a:moveTo>
                    <a:pt x="43" y="189"/>
                  </a:moveTo>
                  <a:cubicBezTo>
                    <a:pt x="125" y="143"/>
                    <a:pt x="125" y="143"/>
                    <a:pt x="125" y="143"/>
                  </a:cubicBezTo>
                  <a:cubicBezTo>
                    <a:pt x="98" y="268"/>
                    <a:pt x="98" y="268"/>
                    <a:pt x="98" y="268"/>
                  </a:cubicBezTo>
                  <a:cubicBezTo>
                    <a:pt x="64" y="268"/>
                    <a:pt x="64" y="268"/>
                    <a:pt x="64" y="268"/>
                  </a:cubicBezTo>
                  <a:cubicBezTo>
                    <a:pt x="64" y="225"/>
                    <a:pt x="64" y="225"/>
                    <a:pt x="64" y="225"/>
                  </a:cubicBezTo>
                  <a:cubicBezTo>
                    <a:pt x="64" y="219"/>
                    <a:pt x="59" y="215"/>
                    <a:pt x="53" y="215"/>
                  </a:cubicBezTo>
                  <a:cubicBezTo>
                    <a:pt x="43" y="215"/>
                    <a:pt x="43" y="215"/>
                    <a:pt x="43" y="215"/>
                  </a:cubicBezTo>
                  <a:lnTo>
                    <a:pt x="43" y="189"/>
                  </a:lnTo>
                  <a:close/>
                  <a:moveTo>
                    <a:pt x="21" y="236"/>
                  </a:moveTo>
                  <a:cubicBezTo>
                    <a:pt x="43" y="236"/>
                    <a:pt x="43" y="236"/>
                    <a:pt x="43" y="236"/>
                  </a:cubicBezTo>
                  <a:cubicBezTo>
                    <a:pt x="43" y="268"/>
                    <a:pt x="43" y="268"/>
                    <a:pt x="43" y="268"/>
                  </a:cubicBezTo>
                  <a:cubicBezTo>
                    <a:pt x="21" y="268"/>
                    <a:pt x="21" y="268"/>
                    <a:pt x="21" y="268"/>
                  </a:cubicBezTo>
                  <a:lnTo>
                    <a:pt x="21" y="2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grpSp>
      <p:grpSp>
        <p:nvGrpSpPr>
          <p:cNvPr id="310" name="Group 327">
            <a:extLst>
              <a:ext uri="{FF2B5EF4-FFF2-40B4-BE49-F238E27FC236}">
                <a16:creationId xmlns:a16="http://schemas.microsoft.com/office/drawing/2014/main" id="{620F162C-15EC-54CC-34F2-1A7A5713E466}"/>
              </a:ext>
            </a:extLst>
          </p:cNvPr>
          <p:cNvGrpSpPr>
            <a:grpSpLocks noChangeAspect="1"/>
          </p:cNvGrpSpPr>
          <p:nvPr/>
        </p:nvGrpSpPr>
        <p:grpSpPr bwMode="auto">
          <a:xfrm>
            <a:off x="5788050" y="4624612"/>
            <a:ext cx="312275" cy="312275"/>
            <a:chOff x="5029" y="1186"/>
            <a:chExt cx="340" cy="340"/>
          </a:xfrm>
          <a:solidFill>
            <a:srgbClr val="00ABAB"/>
          </a:solidFill>
        </p:grpSpPr>
        <p:sp>
          <p:nvSpPr>
            <p:cNvPr id="333" name="Freeform 328">
              <a:extLst>
                <a:ext uri="{FF2B5EF4-FFF2-40B4-BE49-F238E27FC236}">
                  <a16:creationId xmlns:a16="http://schemas.microsoft.com/office/drawing/2014/main" id="{7C3BB24F-A9CA-F6AD-745E-C6355E46F665}"/>
                </a:ext>
              </a:extLst>
            </p:cNvPr>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sp>
          <p:nvSpPr>
            <p:cNvPr id="334" name="Freeform 329">
              <a:extLst>
                <a:ext uri="{FF2B5EF4-FFF2-40B4-BE49-F238E27FC236}">
                  <a16:creationId xmlns:a16="http://schemas.microsoft.com/office/drawing/2014/main" id="{54C7C4EF-5D54-FFB9-3A3E-104FA4BA5934}"/>
                </a:ext>
              </a:extLst>
            </p:cNvPr>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grpSp>
      <p:grpSp>
        <p:nvGrpSpPr>
          <p:cNvPr id="311" name="Group 29">
            <a:extLst>
              <a:ext uri="{FF2B5EF4-FFF2-40B4-BE49-F238E27FC236}">
                <a16:creationId xmlns:a16="http://schemas.microsoft.com/office/drawing/2014/main" id="{5063A6CB-C68E-BDF0-BB6F-4187C9CAE55C}"/>
              </a:ext>
            </a:extLst>
          </p:cNvPr>
          <p:cNvGrpSpPr>
            <a:grpSpLocks noChangeAspect="1"/>
          </p:cNvGrpSpPr>
          <p:nvPr/>
        </p:nvGrpSpPr>
        <p:grpSpPr bwMode="auto">
          <a:xfrm>
            <a:off x="5788494" y="5585345"/>
            <a:ext cx="312274" cy="312273"/>
            <a:chOff x="2899" y="653"/>
            <a:chExt cx="340" cy="340"/>
          </a:xfrm>
          <a:solidFill>
            <a:srgbClr val="00ABAB"/>
          </a:solidFill>
        </p:grpSpPr>
        <p:sp>
          <p:nvSpPr>
            <p:cNvPr id="330" name="Freeform 30">
              <a:extLst>
                <a:ext uri="{FF2B5EF4-FFF2-40B4-BE49-F238E27FC236}">
                  <a16:creationId xmlns:a16="http://schemas.microsoft.com/office/drawing/2014/main" id="{0061AEB6-2D81-4E25-9FCA-383FDAE3D5D1}"/>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sp>
          <p:nvSpPr>
            <p:cNvPr id="331" name="Freeform 31">
              <a:extLst>
                <a:ext uri="{FF2B5EF4-FFF2-40B4-BE49-F238E27FC236}">
                  <a16:creationId xmlns:a16="http://schemas.microsoft.com/office/drawing/2014/main" id="{04FB8D02-2F29-851F-6E1A-13E7D7C9B7B2}"/>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sp>
          <p:nvSpPr>
            <p:cNvPr id="332" name="Freeform 32">
              <a:extLst>
                <a:ext uri="{FF2B5EF4-FFF2-40B4-BE49-F238E27FC236}">
                  <a16:creationId xmlns:a16="http://schemas.microsoft.com/office/drawing/2014/main" id="{0DC146B5-1104-61EB-9FC2-8737BD844D69}"/>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grpSp>
      <p:grpSp>
        <p:nvGrpSpPr>
          <p:cNvPr id="511" name="Group 510">
            <a:extLst>
              <a:ext uri="{FF2B5EF4-FFF2-40B4-BE49-F238E27FC236}">
                <a16:creationId xmlns:a16="http://schemas.microsoft.com/office/drawing/2014/main" id="{D68C8541-CD37-8D3A-E4BA-118CD77C8722}"/>
              </a:ext>
            </a:extLst>
          </p:cNvPr>
          <p:cNvGrpSpPr/>
          <p:nvPr/>
        </p:nvGrpSpPr>
        <p:grpSpPr>
          <a:xfrm>
            <a:off x="4109678" y="4100005"/>
            <a:ext cx="2001741" cy="445653"/>
            <a:chOff x="4335462" y="4498681"/>
            <a:chExt cx="2001741" cy="445653"/>
          </a:xfrm>
        </p:grpSpPr>
        <p:grpSp>
          <p:nvGrpSpPr>
            <p:cNvPr id="44" name="Group 43">
              <a:extLst>
                <a:ext uri="{FF2B5EF4-FFF2-40B4-BE49-F238E27FC236}">
                  <a16:creationId xmlns:a16="http://schemas.microsoft.com/office/drawing/2014/main" id="{F64BEC7A-6FBF-D4EE-8C7D-81D27E2E1BAC}"/>
                </a:ext>
              </a:extLst>
            </p:cNvPr>
            <p:cNvGrpSpPr/>
            <p:nvPr/>
          </p:nvGrpSpPr>
          <p:grpSpPr>
            <a:xfrm>
              <a:off x="4335462" y="4498681"/>
              <a:ext cx="1517329" cy="445653"/>
              <a:chOff x="501652" y="3848567"/>
              <a:chExt cx="1077092" cy="685950"/>
            </a:xfrm>
          </p:grpSpPr>
          <p:sp>
            <p:nvSpPr>
              <p:cNvPr id="45" name="Freeform: Shape 44">
                <a:extLst>
                  <a:ext uri="{FF2B5EF4-FFF2-40B4-BE49-F238E27FC236}">
                    <a16:creationId xmlns:a16="http://schemas.microsoft.com/office/drawing/2014/main" id="{A0050431-FEE9-0876-A7EE-705F05F91FFB}"/>
                  </a:ext>
                </a:extLst>
              </p:cNvPr>
              <p:cNvSpPr/>
              <p:nvPr/>
            </p:nvSpPr>
            <p:spPr>
              <a:xfrm rot="16200000">
                <a:off x="490391" y="4453317"/>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 name="Freeform: Shape 45">
                <a:extLst>
                  <a:ext uri="{FF2B5EF4-FFF2-40B4-BE49-F238E27FC236}">
                    <a16:creationId xmlns:a16="http://schemas.microsoft.com/office/drawing/2014/main" id="{F044869E-9211-4D28-59BE-B9FDFB83CE37}"/>
                  </a:ext>
                </a:extLst>
              </p:cNvPr>
              <p:cNvSpPr/>
              <p:nvPr/>
            </p:nvSpPr>
            <p:spPr>
              <a:xfrm>
                <a:off x="501652" y="3848567"/>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Arrow: Pentagon 46">
                <a:extLst>
                  <a:ext uri="{FF2B5EF4-FFF2-40B4-BE49-F238E27FC236}">
                    <a16:creationId xmlns:a16="http://schemas.microsoft.com/office/drawing/2014/main" id="{E3C75F96-1036-8025-F34E-E2640744749B}"/>
                  </a:ext>
                </a:extLst>
              </p:cNvPr>
              <p:cNvSpPr/>
              <p:nvPr/>
            </p:nvSpPr>
            <p:spPr>
              <a:xfrm>
                <a:off x="501653" y="3928914"/>
                <a:ext cx="1077091" cy="516448"/>
              </a:xfrm>
              <a:prstGeom prst="homePlate">
                <a:avLst>
                  <a:gd name="adj" fmla="val 15719"/>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ptos" panose="020B0004020202020204" pitchFamily="34" charset="0"/>
                    <a:ea typeface="+mn-ea"/>
                    <a:cs typeface="+mn-cs"/>
                  </a:rPr>
                  <a:t>Financial services </a:t>
                </a:r>
              </a:p>
            </p:txBody>
          </p:sp>
        </p:grpSp>
        <p:grpSp>
          <p:nvGrpSpPr>
            <p:cNvPr id="313" name="Group 345">
              <a:extLst>
                <a:ext uri="{FF2B5EF4-FFF2-40B4-BE49-F238E27FC236}">
                  <a16:creationId xmlns:a16="http://schemas.microsoft.com/office/drawing/2014/main" id="{485C5874-13FF-892A-00D2-06597D4548E6}"/>
                </a:ext>
              </a:extLst>
            </p:cNvPr>
            <p:cNvGrpSpPr>
              <a:grpSpLocks noChangeAspect="1"/>
            </p:cNvGrpSpPr>
            <p:nvPr/>
          </p:nvGrpSpPr>
          <p:grpSpPr bwMode="auto">
            <a:xfrm>
              <a:off x="6024929" y="4565364"/>
              <a:ext cx="312274" cy="312274"/>
              <a:chOff x="3451" y="1171"/>
              <a:chExt cx="340" cy="340"/>
            </a:xfrm>
            <a:solidFill>
              <a:srgbClr val="0076A8"/>
            </a:solidFill>
          </p:grpSpPr>
          <p:sp>
            <p:nvSpPr>
              <p:cNvPr id="326" name="Freeform 346">
                <a:extLst>
                  <a:ext uri="{FF2B5EF4-FFF2-40B4-BE49-F238E27FC236}">
                    <a16:creationId xmlns:a16="http://schemas.microsoft.com/office/drawing/2014/main" id="{5147CD9C-53F1-4ACA-C527-D1FFE6001949}"/>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sp>
            <p:nvSpPr>
              <p:cNvPr id="327" name="Freeform 347">
                <a:extLst>
                  <a:ext uri="{FF2B5EF4-FFF2-40B4-BE49-F238E27FC236}">
                    <a16:creationId xmlns:a16="http://schemas.microsoft.com/office/drawing/2014/main" id="{3D5E223B-6A31-8AC9-4711-9C563B7D8995}"/>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grpSp>
      </p:grpSp>
      <p:grpSp>
        <p:nvGrpSpPr>
          <p:cNvPr id="258" name="Group 257">
            <a:extLst>
              <a:ext uri="{FF2B5EF4-FFF2-40B4-BE49-F238E27FC236}">
                <a16:creationId xmlns:a16="http://schemas.microsoft.com/office/drawing/2014/main" id="{5070576E-3815-419B-1BEA-70EF92F2F17F}"/>
              </a:ext>
            </a:extLst>
          </p:cNvPr>
          <p:cNvGrpSpPr/>
          <p:nvPr/>
        </p:nvGrpSpPr>
        <p:grpSpPr>
          <a:xfrm>
            <a:off x="4109678" y="5039923"/>
            <a:ext cx="2001741" cy="445653"/>
            <a:chOff x="4335462" y="5389067"/>
            <a:chExt cx="2001741" cy="445653"/>
          </a:xfrm>
        </p:grpSpPr>
        <p:grpSp>
          <p:nvGrpSpPr>
            <p:cNvPr id="48" name="Group 47">
              <a:extLst>
                <a:ext uri="{FF2B5EF4-FFF2-40B4-BE49-F238E27FC236}">
                  <a16:creationId xmlns:a16="http://schemas.microsoft.com/office/drawing/2014/main" id="{A52F5071-2BEB-EE41-4E72-47BE7E0F6844}"/>
                </a:ext>
              </a:extLst>
            </p:cNvPr>
            <p:cNvGrpSpPr/>
            <p:nvPr/>
          </p:nvGrpSpPr>
          <p:grpSpPr>
            <a:xfrm>
              <a:off x="4335462" y="5389067"/>
              <a:ext cx="1517329" cy="445653"/>
              <a:chOff x="501652" y="3848567"/>
              <a:chExt cx="1077092" cy="685950"/>
            </a:xfrm>
          </p:grpSpPr>
          <p:sp>
            <p:nvSpPr>
              <p:cNvPr id="49" name="Freeform: Shape 48">
                <a:extLst>
                  <a:ext uri="{FF2B5EF4-FFF2-40B4-BE49-F238E27FC236}">
                    <a16:creationId xmlns:a16="http://schemas.microsoft.com/office/drawing/2014/main" id="{095703D9-C5F1-2C6F-16F4-8C74966B12D6}"/>
                  </a:ext>
                </a:extLst>
              </p:cNvPr>
              <p:cNvSpPr/>
              <p:nvPr/>
            </p:nvSpPr>
            <p:spPr>
              <a:xfrm rot="16200000">
                <a:off x="490391" y="4453317"/>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0" name="Freeform: Shape 49">
                <a:extLst>
                  <a:ext uri="{FF2B5EF4-FFF2-40B4-BE49-F238E27FC236}">
                    <a16:creationId xmlns:a16="http://schemas.microsoft.com/office/drawing/2014/main" id="{C9E93576-4F52-6503-4591-0EEC19777BF0}"/>
                  </a:ext>
                </a:extLst>
              </p:cNvPr>
              <p:cNvSpPr/>
              <p:nvPr/>
            </p:nvSpPr>
            <p:spPr>
              <a:xfrm>
                <a:off x="501652" y="3848567"/>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1" name="Arrow: Pentagon 50">
                <a:extLst>
                  <a:ext uri="{FF2B5EF4-FFF2-40B4-BE49-F238E27FC236}">
                    <a16:creationId xmlns:a16="http://schemas.microsoft.com/office/drawing/2014/main" id="{55688C01-3025-FB52-3001-0BB8339270E5}"/>
                  </a:ext>
                </a:extLst>
              </p:cNvPr>
              <p:cNvSpPr/>
              <p:nvPr/>
            </p:nvSpPr>
            <p:spPr>
              <a:xfrm>
                <a:off x="501653" y="3928914"/>
                <a:ext cx="1077091" cy="516448"/>
              </a:xfrm>
              <a:prstGeom prst="homePlate">
                <a:avLst>
                  <a:gd name="adj" fmla="val 15719"/>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ptos" panose="020B0004020202020204" pitchFamily="34" charset="0"/>
                    <a:ea typeface="+mn-ea"/>
                    <a:cs typeface="+mn-cs"/>
                  </a:rPr>
                  <a:t>Tech, media</a:t>
                </a:r>
                <a:br>
                  <a:rPr kumimoji="0" lang="en-US" sz="1100" b="1" i="0" u="none" strike="noStrike" kern="1200" cap="none" spc="0" normalizeH="0" baseline="0" noProof="0">
                    <a:ln>
                      <a:noFill/>
                    </a:ln>
                    <a:solidFill>
                      <a:prstClr val="white"/>
                    </a:solidFill>
                    <a:effectLst/>
                    <a:uLnTx/>
                    <a:uFillTx/>
                    <a:latin typeface="Aptos" panose="020B0004020202020204" pitchFamily="34" charset="0"/>
                    <a:ea typeface="+mn-ea"/>
                    <a:cs typeface="+mn-cs"/>
                  </a:rPr>
                </a:br>
                <a:r>
                  <a:rPr kumimoji="0" lang="en-US" sz="1100" b="1" i="0" u="none" strike="noStrike" kern="1200" cap="none" spc="0" normalizeH="0" baseline="0" noProof="0">
                    <a:ln>
                      <a:noFill/>
                    </a:ln>
                    <a:solidFill>
                      <a:prstClr val="white"/>
                    </a:solidFill>
                    <a:effectLst/>
                    <a:uLnTx/>
                    <a:uFillTx/>
                    <a:latin typeface="Aptos" panose="020B0004020202020204" pitchFamily="34" charset="0"/>
                    <a:ea typeface="+mn-ea"/>
                    <a:cs typeface="+mn-cs"/>
                  </a:rPr>
                  <a:t>&amp; telecom</a:t>
                </a:r>
              </a:p>
            </p:txBody>
          </p:sp>
        </p:grpSp>
        <p:grpSp>
          <p:nvGrpSpPr>
            <p:cNvPr id="314" name="Group 768">
              <a:extLst>
                <a:ext uri="{FF2B5EF4-FFF2-40B4-BE49-F238E27FC236}">
                  <a16:creationId xmlns:a16="http://schemas.microsoft.com/office/drawing/2014/main" id="{95F3B5E0-FED2-58BE-BEC9-1DB24960E959}"/>
                </a:ext>
              </a:extLst>
            </p:cNvPr>
            <p:cNvGrpSpPr>
              <a:grpSpLocks noChangeAspect="1"/>
            </p:cNvGrpSpPr>
            <p:nvPr/>
          </p:nvGrpSpPr>
          <p:grpSpPr bwMode="auto">
            <a:xfrm>
              <a:off x="6024929" y="5455750"/>
              <a:ext cx="312274" cy="312274"/>
              <a:chOff x="6591" y="3054"/>
              <a:chExt cx="340" cy="340"/>
            </a:xfrm>
            <a:solidFill>
              <a:srgbClr val="0076A8"/>
            </a:solidFill>
          </p:grpSpPr>
          <p:sp>
            <p:nvSpPr>
              <p:cNvPr id="324" name="Freeform 769">
                <a:extLst>
                  <a:ext uri="{FF2B5EF4-FFF2-40B4-BE49-F238E27FC236}">
                    <a16:creationId xmlns:a16="http://schemas.microsoft.com/office/drawing/2014/main" id="{863F340C-2764-EC0F-73F6-3C352CB0DCC1}"/>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sp>
            <p:nvSpPr>
              <p:cNvPr id="325" name="Freeform 770">
                <a:extLst>
                  <a:ext uri="{FF2B5EF4-FFF2-40B4-BE49-F238E27FC236}">
                    <a16:creationId xmlns:a16="http://schemas.microsoft.com/office/drawing/2014/main" id="{9F1F4A4C-6C68-F50A-2605-EC6A1903A939}"/>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grpSp>
      </p:grpSp>
      <p:grpSp>
        <p:nvGrpSpPr>
          <p:cNvPr id="508" name="Group 507">
            <a:extLst>
              <a:ext uri="{FF2B5EF4-FFF2-40B4-BE49-F238E27FC236}">
                <a16:creationId xmlns:a16="http://schemas.microsoft.com/office/drawing/2014/main" id="{BB711E3D-27AD-69A0-C1D6-402A3A02575B}"/>
              </a:ext>
            </a:extLst>
          </p:cNvPr>
          <p:cNvGrpSpPr/>
          <p:nvPr/>
        </p:nvGrpSpPr>
        <p:grpSpPr>
          <a:xfrm>
            <a:off x="4109678" y="3136791"/>
            <a:ext cx="2001741" cy="445653"/>
            <a:chOff x="4335462" y="3630067"/>
            <a:chExt cx="2001741" cy="445653"/>
          </a:xfrm>
        </p:grpSpPr>
        <p:grpSp>
          <p:nvGrpSpPr>
            <p:cNvPr id="11" name="Group 10">
              <a:extLst>
                <a:ext uri="{FF2B5EF4-FFF2-40B4-BE49-F238E27FC236}">
                  <a16:creationId xmlns:a16="http://schemas.microsoft.com/office/drawing/2014/main" id="{F936F81B-DDE3-B3CD-7476-0D5AFDA32933}"/>
                </a:ext>
              </a:extLst>
            </p:cNvPr>
            <p:cNvGrpSpPr/>
            <p:nvPr/>
          </p:nvGrpSpPr>
          <p:grpSpPr>
            <a:xfrm>
              <a:off x="4335462" y="3630067"/>
              <a:ext cx="1517329" cy="445653"/>
              <a:chOff x="501652" y="3848567"/>
              <a:chExt cx="1077092" cy="685950"/>
            </a:xfrm>
          </p:grpSpPr>
          <p:sp>
            <p:nvSpPr>
              <p:cNvPr id="13" name="Freeform: Shape 12">
                <a:extLst>
                  <a:ext uri="{FF2B5EF4-FFF2-40B4-BE49-F238E27FC236}">
                    <a16:creationId xmlns:a16="http://schemas.microsoft.com/office/drawing/2014/main" id="{0AAEA013-9E55-A21D-6E5C-7B7885F78B4A}"/>
                  </a:ext>
                </a:extLst>
              </p:cNvPr>
              <p:cNvSpPr/>
              <p:nvPr/>
            </p:nvSpPr>
            <p:spPr>
              <a:xfrm rot="16200000">
                <a:off x="490391" y="4453317"/>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 name="Freeform: Shape 13">
                <a:extLst>
                  <a:ext uri="{FF2B5EF4-FFF2-40B4-BE49-F238E27FC236}">
                    <a16:creationId xmlns:a16="http://schemas.microsoft.com/office/drawing/2014/main" id="{C46BEEB1-9E02-DC97-835F-C014C3ADF199}"/>
                  </a:ext>
                </a:extLst>
              </p:cNvPr>
              <p:cNvSpPr/>
              <p:nvPr/>
            </p:nvSpPr>
            <p:spPr>
              <a:xfrm>
                <a:off x="501652" y="3848567"/>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2" name="Arrow: Pentagon 21">
                <a:extLst>
                  <a:ext uri="{FF2B5EF4-FFF2-40B4-BE49-F238E27FC236}">
                    <a16:creationId xmlns:a16="http://schemas.microsoft.com/office/drawing/2014/main" id="{148D740A-8F9D-A296-6C79-2A6AF3CC50B0}"/>
                  </a:ext>
                </a:extLst>
              </p:cNvPr>
              <p:cNvSpPr/>
              <p:nvPr/>
            </p:nvSpPr>
            <p:spPr>
              <a:xfrm>
                <a:off x="501653" y="3928914"/>
                <a:ext cx="1077091" cy="516448"/>
              </a:xfrm>
              <a:prstGeom prst="homePlate">
                <a:avLst>
                  <a:gd name="adj" fmla="val 15719"/>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ptos" panose="020B0004020202020204" pitchFamily="34" charset="0"/>
                    <a:ea typeface="+mn-ea"/>
                    <a:cs typeface="+mn-cs"/>
                  </a:rPr>
                  <a:t>Consumer</a:t>
                </a:r>
              </a:p>
            </p:txBody>
          </p:sp>
        </p:grpSp>
        <p:grpSp>
          <p:nvGrpSpPr>
            <p:cNvPr id="312" name="Group 682">
              <a:extLst>
                <a:ext uri="{FF2B5EF4-FFF2-40B4-BE49-F238E27FC236}">
                  <a16:creationId xmlns:a16="http://schemas.microsoft.com/office/drawing/2014/main" id="{B636214C-1E3E-5DBD-94E1-19304EB90F4A}"/>
                </a:ext>
              </a:extLst>
            </p:cNvPr>
            <p:cNvGrpSpPr>
              <a:grpSpLocks noChangeAspect="1"/>
            </p:cNvGrpSpPr>
            <p:nvPr/>
          </p:nvGrpSpPr>
          <p:grpSpPr bwMode="auto">
            <a:xfrm>
              <a:off x="6024929" y="3696750"/>
              <a:ext cx="312274" cy="312274"/>
              <a:chOff x="1144" y="2344"/>
              <a:chExt cx="340" cy="340"/>
            </a:xfrm>
            <a:solidFill>
              <a:srgbClr val="0076A8"/>
            </a:solidFill>
          </p:grpSpPr>
          <p:sp>
            <p:nvSpPr>
              <p:cNvPr id="328" name="Freeform 683">
                <a:extLst>
                  <a:ext uri="{FF2B5EF4-FFF2-40B4-BE49-F238E27FC236}">
                    <a16:creationId xmlns:a16="http://schemas.microsoft.com/office/drawing/2014/main" id="{FEC69304-466C-2FC2-8A62-D2BCD148AF45}"/>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sp>
            <p:nvSpPr>
              <p:cNvPr id="329" name="Freeform 684">
                <a:extLst>
                  <a:ext uri="{FF2B5EF4-FFF2-40B4-BE49-F238E27FC236}">
                    <a16:creationId xmlns:a16="http://schemas.microsoft.com/office/drawing/2014/main" id="{4E70A639-31C8-A828-0694-1F42DB7C0B7B}"/>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21" tIns="37111" rIns="74221" bIns="37111" numCol="1" anchor="t" anchorCtr="0" compatLnSpc="1">
                <a:prstTxWarp prst="textNoShape">
                  <a:avLst/>
                </a:prstTxWarp>
              </a:bodyPr>
              <a:lstStyle/>
              <a:p>
                <a:pPr marL="0" marR="0" lvl="0" indent="0" algn="l" defTabSz="852008" rtl="0" eaLnBrk="1" fontAlgn="auto" latinLnBrk="0" hangingPunct="1">
                  <a:lnSpc>
                    <a:spcPct val="100000"/>
                  </a:lnSpc>
                  <a:spcBef>
                    <a:spcPts val="0"/>
                  </a:spcBef>
                  <a:spcAft>
                    <a:spcPts val="0"/>
                  </a:spcAft>
                  <a:buClrTx/>
                  <a:buSzTx/>
                  <a:buFontTx/>
                  <a:buNone/>
                  <a:tabLst/>
                  <a:defRPr/>
                </a:pPr>
                <a:endParaRPr kumimoji="0" lang="en-GB" sz="1628"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grpSp>
      </p:grpSp>
      <p:sp>
        <p:nvSpPr>
          <p:cNvPr id="29" name="Rectangle: Rounded Corners 28">
            <a:extLst>
              <a:ext uri="{FF2B5EF4-FFF2-40B4-BE49-F238E27FC236}">
                <a16:creationId xmlns:a16="http://schemas.microsoft.com/office/drawing/2014/main" id="{2C1235BD-C7A2-1390-15A9-B6B6DB01C3CB}"/>
              </a:ext>
            </a:extLst>
          </p:cNvPr>
          <p:cNvSpPr/>
          <p:nvPr/>
        </p:nvSpPr>
        <p:spPr>
          <a:xfrm>
            <a:off x="4114848" y="2756416"/>
            <a:ext cx="1985462" cy="238561"/>
          </a:xfrm>
          <a:prstGeom prst="roundRect">
            <a:avLst/>
          </a:prstGeom>
          <a:solidFill>
            <a:srgbClr val="005587"/>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panose="020B0004020202020204" pitchFamily="34" charset="0"/>
                <a:ea typeface="+mn-ea"/>
                <a:cs typeface="+mn-cs"/>
              </a:rPr>
              <a:t>Our Industry Focus</a:t>
            </a:r>
          </a:p>
        </p:txBody>
      </p:sp>
      <p:grpSp>
        <p:nvGrpSpPr>
          <p:cNvPr id="484" name="Group 483">
            <a:extLst>
              <a:ext uri="{FF2B5EF4-FFF2-40B4-BE49-F238E27FC236}">
                <a16:creationId xmlns:a16="http://schemas.microsoft.com/office/drawing/2014/main" id="{237C2934-A78C-D816-4356-C7B434ED582B}"/>
              </a:ext>
            </a:extLst>
          </p:cNvPr>
          <p:cNvGrpSpPr/>
          <p:nvPr/>
        </p:nvGrpSpPr>
        <p:grpSpPr>
          <a:xfrm>
            <a:off x="6582284" y="2792291"/>
            <a:ext cx="1521533" cy="626366"/>
            <a:chOff x="2641205" y="4993111"/>
            <a:chExt cx="1521533" cy="626366"/>
          </a:xfrm>
        </p:grpSpPr>
        <p:sp>
          <p:nvSpPr>
            <p:cNvPr id="450" name="Rectangle: Rounded Corners 449">
              <a:extLst>
                <a:ext uri="{FF2B5EF4-FFF2-40B4-BE49-F238E27FC236}">
                  <a16:creationId xmlns:a16="http://schemas.microsoft.com/office/drawing/2014/main" id="{845C6BEA-5C13-07FC-F813-8D1C07031455}"/>
                </a:ext>
              </a:extLst>
            </p:cNvPr>
            <p:cNvSpPr/>
            <p:nvPr/>
          </p:nvSpPr>
          <p:spPr>
            <a:xfrm>
              <a:off x="2694422" y="5030357"/>
              <a:ext cx="1468316" cy="589120"/>
            </a:xfrm>
            <a:prstGeom prst="roundRect">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51" name="Freeform: Shape 450">
              <a:extLst>
                <a:ext uri="{FF2B5EF4-FFF2-40B4-BE49-F238E27FC236}">
                  <a16:creationId xmlns:a16="http://schemas.microsoft.com/office/drawing/2014/main" id="{9FD0379C-4B60-7256-A648-475A8D464191}"/>
                </a:ext>
              </a:extLst>
            </p:cNvPr>
            <p:cNvSpPr/>
            <p:nvPr/>
          </p:nvSpPr>
          <p:spPr>
            <a:xfrm>
              <a:off x="2641205" y="4993111"/>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Professionals spread across</a:t>
              </a:r>
            </a:p>
          </p:txBody>
        </p:sp>
        <p:sp>
          <p:nvSpPr>
            <p:cNvPr id="452" name="Rectangle: Rounded Corners 451">
              <a:extLst>
                <a:ext uri="{FF2B5EF4-FFF2-40B4-BE49-F238E27FC236}">
                  <a16:creationId xmlns:a16="http://schemas.microsoft.com/office/drawing/2014/main" id="{7F418161-28EF-B9CA-DCB4-E82B5EEFE41E}"/>
                </a:ext>
              </a:extLst>
            </p:cNvPr>
            <p:cNvSpPr/>
            <p:nvPr/>
          </p:nvSpPr>
          <p:spPr>
            <a:xfrm>
              <a:off x="3337311" y="5291845"/>
              <a:ext cx="809212" cy="278970"/>
            </a:xfrm>
            <a:prstGeom prst="roundRect">
              <a:avLst>
                <a:gd name="adj" fmla="val 50000"/>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 name="Rectangle 24">
              <a:extLst>
                <a:ext uri="{FF2B5EF4-FFF2-40B4-BE49-F238E27FC236}">
                  <a16:creationId xmlns:a16="http://schemas.microsoft.com/office/drawing/2014/main" id="{D812A5E7-D7F5-A9AD-D1EF-5F7A4419149D}"/>
                </a:ext>
              </a:extLst>
            </p:cNvPr>
            <p:cNvSpPr/>
            <p:nvPr/>
          </p:nvSpPr>
          <p:spPr>
            <a:xfrm>
              <a:off x="3429329" y="5317347"/>
              <a:ext cx="723886" cy="232653"/>
            </a:xfrm>
            <a:prstGeom prst="rect">
              <a:avLst/>
            </a:prstGeom>
            <a:no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t>36000+</a:t>
              </a:r>
            </a:p>
          </p:txBody>
        </p:sp>
      </p:grpSp>
      <p:grpSp>
        <p:nvGrpSpPr>
          <p:cNvPr id="500" name="Group 499">
            <a:extLst>
              <a:ext uri="{FF2B5EF4-FFF2-40B4-BE49-F238E27FC236}">
                <a16:creationId xmlns:a16="http://schemas.microsoft.com/office/drawing/2014/main" id="{6DA8AF1E-E0DE-8840-F506-E9E64D310535}"/>
              </a:ext>
            </a:extLst>
          </p:cNvPr>
          <p:cNvGrpSpPr/>
          <p:nvPr/>
        </p:nvGrpSpPr>
        <p:grpSpPr>
          <a:xfrm>
            <a:off x="2503191" y="4789471"/>
            <a:ext cx="1521533" cy="626366"/>
            <a:chOff x="8228810" y="4082570"/>
            <a:chExt cx="1521533" cy="626366"/>
          </a:xfrm>
        </p:grpSpPr>
        <p:sp>
          <p:nvSpPr>
            <p:cNvPr id="458" name="Rectangle: Rounded Corners 457">
              <a:extLst>
                <a:ext uri="{FF2B5EF4-FFF2-40B4-BE49-F238E27FC236}">
                  <a16:creationId xmlns:a16="http://schemas.microsoft.com/office/drawing/2014/main" id="{6E12AF82-2862-1432-2076-3BD03F913A0A}"/>
                </a:ext>
              </a:extLst>
            </p:cNvPr>
            <p:cNvSpPr/>
            <p:nvPr/>
          </p:nvSpPr>
          <p:spPr>
            <a:xfrm>
              <a:off x="8282027" y="4119816"/>
              <a:ext cx="1468316" cy="589120"/>
            </a:xfrm>
            <a:prstGeom prst="roundRect">
              <a:avLst/>
            </a:prstGeom>
            <a:solidFill>
              <a:srgbClr val="0076A8"/>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59" name="Freeform: Shape 458">
              <a:extLst>
                <a:ext uri="{FF2B5EF4-FFF2-40B4-BE49-F238E27FC236}">
                  <a16:creationId xmlns:a16="http://schemas.microsoft.com/office/drawing/2014/main" id="{8CB442BB-83B5-5DB1-D8E7-6E9F69E0237F}"/>
                </a:ext>
              </a:extLst>
            </p:cNvPr>
            <p:cNvSpPr/>
            <p:nvPr/>
          </p:nvSpPr>
          <p:spPr>
            <a:xfrm>
              <a:off x="8228810" y="4082570"/>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Offices in Cities</a:t>
              </a:r>
            </a:p>
          </p:txBody>
        </p:sp>
        <p:sp>
          <p:nvSpPr>
            <p:cNvPr id="460" name="Rectangle: Rounded Corners 459">
              <a:extLst>
                <a:ext uri="{FF2B5EF4-FFF2-40B4-BE49-F238E27FC236}">
                  <a16:creationId xmlns:a16="http://schemas.microsoft.com/office/drawing/2014/main" id="{8C217443-DF1A-6FE6-18CE-1A523904CA31}"/>
                </a:ext>
              </a:extLst>
            </p:cNvPr>
            <p:cNvSpPr/>
            <p:nvPr/>
          </p:nvSpPr>
          <p:spPr>
            <a:xfrm>
              <a:off x="8903696" y="4381304"/>
              <a:ext cx="809212" cy="278970"/>
            </a:xfrm>
            <a:prstGeom prst="roundRect">
              <a:avLst>
                <a:gd name="adj" fmla="val 50000"/>
              </a:avLst>
            </a:prstGeom>
            <a:solidFill>
              <a:srgbClr val="0076A8"/>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57" name="Rectangle 456">
              <a:extLst>
                <a:ext uri="{FF2B5EF4-FFF2-40B4-BE49-F238E27FC236}">
                  <a16:creationId xmlns:a16="http://schemas.microsoft.com/office/drawing/2014/main" id="{2411E64E-A470-F2C7-1084-D62BE79164EE}"/>
                </a:ext>
              </a:extLst>
            </p:cNvPr>
            <p:cNvSpPr/>
            <p:nvPr/>
          </p:nvSpPr>
          <p:spPr>
            <a:xfrm>
              <a:off x="9016934" y="4406806"/>
              <a:ext cx="723886" cy="232653"/>
            </a:xfrm>
            <a:prstGeom prst="rect">
              <a:avLst/>
            </a:prstGeom>
            <a:no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t>14</a:t>
              </a:r>
            </a:p>
          </p:txBody>
        </p:sp>
      </p:grpSp>
      <p:grpSp>
        <p:nvGrpSpPr>
          <p:cNvPr id="271" name="Group 270">
            <a:extLst>
              <a:ext uri="{FF2B5EF4-FFF2-40B4-BE49-F238E27FC236}">
                <a16:creationId xmlns:a16="http://schemas.microsoft.com/office/drawing/2014/main" id="{220CB992-D046-B7B7-75D2-DD90175614F6}"/>
              </a:ext>
            </a:extLst>
          </p:cNvPr>
          <p:cNvGrpSpPr/>
          <p:nvPr/>
        </p:nvGrpSpPr>
        <p:grpSpPr>
          <a:xfrm>
            <a:off x="777971" y="2596814"/>
            <a:ext cx="3094370" cy="3410170"/>
            <a:chOff x="490538" y="2556933"/>
            <a:chExt cx="3325577" cy="3664973"/>
          </a:xfrm>
        </p:grpSpPr>
        <p:grpSp>
          <p:nvGrpSpPr>
            <p:cNvPr id="272" name="Group 271">
              <a:extLst>
                <a:ext uri="{FF2B5EF4-FFF2-40B4-BE49-F238E27FC236}">
                  <a16:creationId xmlns:a16="http://schemas.microsoft.com/office/drawing/2014/main" id="{C0A6137F-C967-CC1D-B47A-3A2676468C95}"/>
                </a:ext>
              </a:extLst>
            </p:cNvPr>
            <p:cNvGrpSpPr/>
            <p:nvPr/>
          </p:nvGrpSpPr>
          <p:grpSpPr>
            <a:xfrm>
              <a:off x="490538" y="2556933"/>
              <a:ext cx="3325577" cy="3664973"/>
              <a:chOff x="715860" y="1944115"/>
              <a:chExt cx="2517580" cy="2539158"/>
            </a:xfrm>
          </p:grpSpPr>
          <p:sp>
            <p:nvSpPr>
              <p:cNvPr id="275" name="Freeform 14">
                <a:extLst>
                  <a:ext uri="{FF2B5EF4-FFF2-40B4-BE49-F238E27FC236}">
                    <a16:creationId xmlns:a16="http://schemas.microsoft.com/office/drawing/2014/main" id="{E0403A4B-0324-F243-9099-EFF8777AE234}"/>
                  </a:ext>
                </a:extLst>
              </p:cNvPr>
              <p:cNvSpPr>
                <a:spLocks noChangeAspect="1"/>
              </p:cNvSpPr>
              <p:nvPr/>
            </p:nvSpPr>
            <p:spPr bwMode="auto">
              <a:xfrm>
                <a:off x="715860" y="1944115"/>
                <a:ext cx="2517580" cy="2539158"/>
              </a:xfrm>
              <a:custGeom>
                <a:avLst/>
                <a:gdLst>
                  <a:gd name="T0" fmla="*/ 2147483647 w 1903"/>
                  <a:gd name="T1" fmla="*/ 2147483647 h 2101"/>
                  <a:gd name="T2" fmla="*/ 2147483647 w 1903"/>
                  <a:gd name="T3" fmla="*/ 2147483647 h 2101"/>
                  <a:gd name="T4" fmla="*/ 2147483647 w 1903"/>
                  <a:gd name="T5" fmla="*/ 2147483647 h 2101"/>
                  <a:gd name="T6" fmla="*/ 2147483647 w 1903"/>
                  <a:gd name="T7" fmla="*/ 2147483647 h 2101"/>
                  <a:gd name="T8" fmla="*/ 2147483647 w 1903"/>
                  <a:gd name="T9" fmla="*/ 2147483647 h 2101"/>
                  <a:gd name="T10" fmla="*/ 2147483647 w 1903"/>
                  <a:gd name="T11" fmla="*/ 2147483647 h 2101"/>
                  <a:gd name="T12" fmla="*/ 2147483647 w 1903"/>
                  <a:gd name="T13" fmla="*/ 2147483647 h 2101"/>
                  <a:gd name="T14" fmla="*/ 2147483647 w 1903"/>
                  <a:gd name="T15" fmla="*/ 2147483647 h 2101"/>
                  <a:gd name="T16" fmla="*/ 2147483647 w 1903"/>
                  <a:gd name="T17" fmla="*/ 2147483647 h 2101"/>
                  <a:gd name="T18" fmla="*/ 2147483647 w 1903"/>
                  <a:gd name="T19" fmla="*/ 2147483647 h 2101"/>
                  <a:gd name="T20" fmla="*/ 2147483647 w 1903"/>
                  <a:gd name="T21" fmla="*/ 2147483647 h 2101"/>
                  <a:gd name="T22" fmla="*/ 2147483647 w 1903"/>
                  <a:gd name="T23" fmla="*/ 2147483647 h 2101"/>
                  <a:gd name="T24" fmla="*/ 2147483647 w 1903"/>
                  <a:gd name="T25" fmla="*/ 2147483647 h 2101"/>
                  <a:gd name="T26" fmla="*/ 2147483647 w 1903"/>
                  <a:gd name="T27" fmla="*/ 2147483647 h 2101"/>
                  <a:gd name="T28" fmla="*/ 2147483647 w 1903"/>
                  <a:gd name="T29" fmla="*/ 2147483647 h 2101"/>
                  <a:gd name="T30" fmla="*/ 2147483647 w 1903"/>
                  <a:gd name="T31" fmla="*/ 2147483647 h 2101"/>
                  <a:gd name="T32" fmla="*/ 2147483647 w 1903"/>
                  <a:gd name="T33" fmla="*/ 2147483647 h 2101"/>
                  <a:gd name="T34" fmla="*/ 2147483647 w 1903"/>
                  <a:gd name="T35" fmla="*/ 2147483647 h 2101"/>
                  <a:gd name="T36" fmla="*/ 2147483647 w 1903"/>
                  <a:gd name="T37" fmla="*/ 2147483647 h 2101"/>
                  <a:gd name="T38" fmla="*/ 2147483647 w 1903"/>
                  <a:gd name="T39" fmla="*/ 1847412083 h 2101"/>
                  <a:gd name="T40" fmla="*/ 2147483647 w 1903"/>
                  <a:gd name="T41" fmla="*/ 256577569 h 2101"/>
                  <a:gd name="T42" fmla="*/ 2147483647 w 1903"/>
                  <a:gd name="T43" fmla="*/ 2147483647 h 2101"/>
                  <a:gd name="T44" fmla="*/ 2147483647 w 1903"/>
                  <a:gd name="T45" fmla="*/ 2147483647 h 2101"/>
                  <a:gd name="T46" fmla="*/ 2147483647 w 1903"/>
                  <a:gd name="T47" fmla="*/ 2147483647 h 2101"/>
                  <a:gd name="T48" fmla="*/ 2147483647 w 1903"/>
                  <a:gd name="T49" fmla="*/ 2147483647 h 2101"/>
                  <a:gd name="T50" fmla="*/ 2147483647 w 1903"/>
                  <a:gd name="T51" fmla="*/ 2147483647 h 2101"/>
                  <a:gd name="T52" fmla="*/ 2147483647 w 1903"/>
                  <a:gd name="T53" fmla="*/ 2147483647 h 2101"/>
                  <a:gd name="T54" fmla="*/ 2147483647 w 1903"/>
                  <a:gd name="T55" fmla="*/ 2147483647 h 2101"/>
                  <a:gd name="T56" fmla="*/ 2147483647 w 1903"/>
                  <a:gd name="T57" fmla="*/ 2147483647 h 2101"/>
                  <a:gd name="T58" fmla="*/ 2147483647 w 1903"/>
                  <a:gd name="T59" fmla="*/ 2147483647 h 2101"/>
                  <a:gd name="T60" fmla="*/ 2147483647 w 1903"/>
                  <a:gd name="T61" fmla="*/ 2147483647 h 2101"/>
                  <a:gd name="T62" fmla="*/ 2016059137 w 1903"/>
                  <a:gd name="T63" fmla="*/ 2147483647 h 2101"/>
                  <a:gd name="T64" fmla="*/ 2147483647 w 1903"/>
                  <a:gd name="T65" fmla="*/ 2147483647 h 2101"/>
                  <a:gd name="T66" fmla="*/ 2147483647 w 1903"/>
                  <a:gd name="T67" fmla="*/ 2147483647 h 2101"/>
                  <a:gd name="T68" fmla="*/ 2147483647 w 1903"/>
                  <a:gd name="T69" fmla="*/ 2147483647 h 2101"/>
                  <a:gd name="T70" fmla="*/ 2147483647 w 1903"/>
                  <a:gd name="T71" fmla="*/ 2147483647 h 2101"/>
                  <a:gd name="T72" fmla="*/ 2147483647 w 1903"/>
                  <a:gd name="T73" fmla="*/ 2147483647 h 2101"/>
                  <a:gd name="T74" fmla="*/ 2147483647 w 1903"/>
                  <a:gd name="T75" fmla="*/ 2147483647 h 2101"/>
                  <a:gd name="T76" fmla="*/ 2147483647 w 1903"/>
                  <a:gd name="T77" fmla="*/ 2147483647 h 2101"/>
                  <a:gd name="T78" fmla="*/ 2147483647 w 1903"/>
                  <a:gd name="T79" fmla="*/ 2147483647 h 2101"/>
                  <a:gd name="T80" fmla="*/ 2147483647 w 1903"/>
                  <a:gd name="T81" fmla="*/ 2147483647 h 2101"/>
                  <a:gd name="T82" fmla="*/ 2147483647 w 1903"/>
                  <a:gd name="T83" fmla="*/ 2147483647 h 2101"/>
                  <a:gd name="T84" fmla="*/ 2147483647 w 1903"/>
                  <a:gd name="T85" fmla="*/ 2147483647 h 2101"/>
                  <a:gd name="T86" fmla="*/ 2147483647 w 1903"/>
                  <a:gd name="T87" fmla="*/ 2147483647 h 2101"/>
                  <a:gd name="T88" fmla="*/ 2147483647 w 1903"/>
                  <a:gd name="T89" fmla="*/ 2147483647 h 2101"/>
                  <a:gd name="T90" fmla="*/ 2147483647 w 1903"/>
                  <a:gd name="T91" fmla="*/ 2147483647 h 2101"/>
                  <a:gd name="T92" fmla="*/ 2147483647 w 1903"/>
                  <a:gd name="T93" fmla="*/ 2147483647 h 2101"/>
                  <a:gd name="T94" fmla="*/ 2147483647 w 1903"/>
                  <a:gd name="T95" fmla="*/ 2147483647 h 2101"/>
                  <a:gd name="T96" fmla="*/ 2147483647 w 1903"/>
                  <a:gd name="T97" fmla="*/ 2147483647 h 2101"/>
                  <a:gd name="T98" fmla="*/ 2147483647 w 1903"/>
                  <a:gd name="T99" fmla="*/ 2147483647 h 2101"/>
                  <a:gd name="T100" fmla="*/ 2147483647 w 1903"/>
                  <a:gd name="T101" fmla="*/ 2147483647 h 2101"/>
                  <a:gd name="T102" fmla="*/ 2147483647 w 1903"/>
                  <a:gd name="T103" fmla="*/ 2147483647 h 2101"/>
                  <a:gd name="T104" fmla="*/ 2147483647 w 1903"/>
                  <a:gd name="T105" fmla="*/ 2147483647 h 2101"/>
                  <a:gd name="T106" fmla="*/ 2147483647 w 1903"/>
                  <a:gd name="T107" fmla="*/ 2147483647 h 2101"/>
                  <a:gd name="T108" fmla="*/ 2147483647 w 1903"/>
                  <a:gd name="T109" fmla="*/ 2147483647 h 2101"/>
                  <a:gd name="T110" fmla="*/ 2147483647 w 1903"/>
                  <a:gd name="T111" fmla="*/ 2147483647 h 2101"/>
                  <a:gd name="T112" fmla="*/ 2147483647 w 1903"/>
                  <a:gd name="T113" fmla="*/ 2147483647 h 2101"/>
                  <a:gd name="T114" fmla="*/ 2147483647 w 1903"/>
                  <a:gd name="T115" fmla="*/ 2147483647 h 2101"/>
                  <a:gd name="T116" fmla="*/ 2147483647 w 1903"/>
                  <a:gd name="T117" fmla="*/ 2147483647 h 2101"/>
                  <a:gd name="T118" fmla="*/ 2147483647 w 1903"/>
                  <a:gd name="T119" fmla="*/ 2147483647 h 2101"/>
                  <a:gd name="T120" fmla="*/ 2147483647 w 1903"/>
                  <a:gd name="T121" fmla="*/ 2147483647 h 2101"/>
                  <a:gd name="T122" fmla="*/ 2147483647 w 1903"/>
                  <a:gd name="T123" fmla="*/ 2147483647 h 21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03"/>
                  <a:gd name="T187" fmla="*/ 0 h 2101"/>
                  <a:gd name="T188" fmla="*/ 1903 w 1903"/>
                  <a:gd name="T189" fmla="*/ 2101 h 21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03" h="2101">
                    <a:moveTo>
                      <a:pt x="1856" y="553"/>
                    </a:moveTo>
                    <a:lnTo>
                      <a:pt x="1839" y="543"/>
                    </a:lnTo>
                    <a:lnTo>
                      <a:pt x="1840" y="542"/>
                    </a:lnTo>
                    <a:lnTo>
                      <a:pt x="1841" y="537"/>
                    </a:lnTo>
                    <a:lnTo>
                      <a:pt x="1839" y="532"/>
                    </a:lnTo>
                    <a:lnTo>
                      <a:pt x="1832" y="522"/>
                    </a:lnTo>
                    <a:lnTo>
                      <a:pt x="1824" y="513"/>
                    </a:lnTo>
                    <a:lnTo>
                      <a:pt x="1820" y="510"/>
                    </a:lnTo>
                    <a:lnTo>
                      <a:pt x="1818" y="507"/>
                    </a:lnTo>
                    <a:lnTo>
                      <a:pt x="1815" y="503"/>
                    </a:lnTo>
                    <a:lnTo>
                      <a:pt x="1811" y="496"/>
                    </a:lnTo>
                    <a:lnTo>
                      <a:pt x="1803" y="491"/>
                    </a:lnTo>
                    <a:lnTo>
                      <a:pt x="1792" y="497"/>
                    </a:lnTo>
                    <a:lnTo>
                      <a:pt x="1783" y="507"/>
                    </a:lnTo>
                    <a:lnTo>
                      <a:pt x="1777" y="514"/>
                    </a:lnTo>
                    <a:lnTo>
                      <a:pt x="1771" y="518"/>
                    </a:lnTo>
                    <a:lnTo>
                      <a:pt x="1764" y="519"/>
                    </a:lnTo>
                    <a:lnTo>
                      <a:pt x="1759" y="518"/>
                    </a:lnTo>
                    <a:lnTo>
                      <a:pt x="1752" y="517"/>
                    </a:lnTo>
                    <a:lnTo>
                      <a:pt x="1744" y="514"/>
                    </a:lnTo>
                    <a:lnTo>
                      <a:pt x="1736" y="513"/>
                    </a:lnTo>
                    <a:lnTo>
                      <a:pt x="1727" y="511"/>
                    </a:lnTo>
                    <a:lnTo>
                      <a:pt x="1719" y="511"/>
                    </a:lnTo>
                    <a:lnTo>
                      <a:pt x="1712" y="512"/>
                    </a:lnTo>
                    <a:lnTo>
                      <a:pt x="1707" y="514"/>
                    </a:lnTo>
                    <a:lnTo>
                      <a:pt x="1699" y="522"/>
                    </a:lnTo>
                    <a:lnTo>
                      <a:pt x="1690" y="529"/>
                    </a:lnTo>
                    <a:lnTo>
                      <a:pt x="1682" y="537"/>
                    </a:lnTo>
                    <a:lnTo>
                      <a:pt x="1675" y="547"/>
                    </a:lnTo>
                    <a:lnTo>
                      <a:pt x="1672" y="552"/>
                    </a:lnTo>
                    <a:lnTo>
                      <a:pt x="1667" y="557"/>
                    </a:lnTo>
                    <a:lnTo>
                      <a:pt x="1661" y="560"/>
                    </a:lnTo>
                    <a:lnTo>
                      <a:pt x="1655" y="565"/>
                    </a:lnTo>
                    <a:lnTo>
                      <a:pt x="1648" y="568"/>
                    </a:lnTo>
                    <a:lnTo>
                      <a:pt x="1643" y="573"/>
                    </a:lnTo>
                    <a:lnTo>
                      <a:pt x="1637" y="578"/>
                    </a:lnTo>
                    <a:lnTo>
                      <a:pt x="1632" y="582"/>
                    </a:lnTo>
                    <a:lnTo>
                      <a:pt x="1624" y="592"/>
                    </a:lnTo>
                    <a:lnTo>
                      <a:pt x="1616" y="600"/>
                    </a:lnTo>
                    <a:lnTo>
                      <a:pt x="1608" y="608"/>
                    </a:lnTo>
                    <a:lnTo>
                      <a:pt x="1600" y="615"/>
                    </a:lnTo>
                    <a:lnTo>
                      <a:pt x="1596" y="618"/>
                    </a:lnTo>
                    <a:lnTo>
                      <a:pt x="1589" y="623"/>
                    </a:lnTo>
                    <a:lnTo>
                      <a:pt x="1582" y="626"/>
                    </a:lnTo>
                    <a:lnTo>
                      <a:pt x="1575" y="628"/>
                    </a:lnTo>
                    <a:lnTo>
                      <a:pt x="1568" y="632"/>
                    </a:lnTo>
                    <a:lnTo>
                      <a:pt x="1563" y="633"/>
                    </a:lnTo>
                    <a:lnTo>
                      <a:pt x="1559" y="635"/>
                    </a:lnTo>
                    <a:lnTo>
                      <a:pt x="1558" y="635"/>
                    </a:lnTo>
                    <a:lnTo>
                      <a:pt x="1554" y="635"/>
                    </a:lnTo>
                    <a:lnTo>
                      <a:pt x="1547" y="638"/>
                    </a:lnTo>
                    <a:lnTo>
                      <a:pt x="1540" y="645"/>
                    </a:lnTo>
                    <a:lnTo>
                      <a:pt x="1537" y="657"/>
                    </a:lnTo>
                    <a:lnTo>
                      <a:pt x="1541" y="668"/>
                    </a:lnTo>
                    <a:lnTo>
                      <a:pt x="1553" y="672"/>
                    </a:lnTo>
                    <a:lnTo>
                      <a:pt x="1562" y="676"/>
                    </a:lnTo>
                    <a:lnTo>
                      <a:pt x="1566" y="685"/>
                    </a:lnTo>
                    <a:lnTo>
                      <a:pt x="1561" y="693"/>
                    </a:lnTo>
                    <a:lnTo>
                      <a:pt x="1552" y="695"/>
                    </a:lnTo>
                    <a:lnTo>
                      <a:pt x="1543" y="694"/>
                    </a:lnTo>
                    <a:lnTo>
                      <a:pt x="1533" y="696"/>
                    </a:lnTo>
                    <a:lnTo>
                      <a:pt x="1529" y="699"/>
                    </a:lnTo>
                    <a:lnTo>
                      <a:pt x="1525" y="700"/>
                    </a:lnTo>
                    <a:lnTo>
                      <a:pt x="1521" y="702"/>
                    </a:lnTo>
                    <a:lnTo>
                      <a:pt x="1516" y="702"/>
                    </a:lnTo>
                    <a:lnTo>
                      <a:pt x="1510" y="703"/>
                    </a:lnTo>
                    <a:lnTo>
                      <a:pt x="1506" y="703"/>
                    </a:lnTo>
                    <a:lnTo>
                      <a:pt x="1502" y="703"/>
                    </a:lnTo>
                    <a:lnTo>
                      <a:pt x="1498" y="703"/>
                    </a:lnTo>
                    <a:lnTo>
                      <a:pt x="1493" y="703"/>
                    </a:lnTo>
                    <a:lnTo>
                      <a:pt x="1488" y="701"/>
                    </a:lnTo>
                    <a:lnTo>
                      <a:pt x="1483" y="700"/>
                    </a:lnTo>
                    <a:lnTo>
                      <a:pt x="1476" y="699"/>
                    </a:lnTo>
                    <a:lnTo>
                      <a:pt x="1470" y="698"/>
                    </a:lnTo>
                    <a:lnTo>
                      <a:pt x="1463" y="699"/>
                    </a:lnTo>
                    <a:lnTo>
                      <a:pt x="1457" y="702"/>
                    </a:lnTo>
                    <a:lnTo>
                      <a:pt x="1452" y="707"/>
                    </a:lnTo>
                    <a:lnTo>
                      <a:pt x="1445" y="715"/>
                    </a:lnTo>
                    <a:lnTo>
                      <a:pt x="1441" y="716"/>
                    </a:lnTo>
                    <a:lnTo>
                      <a:pt x="1434" y="714"/>
                    </a:lnTo>
                    <a:lnTo>
                      <a:pt x="1419" y="710"/>
                    </a:lnTo>
                    <a:lnTo>
                      <a:pt x="1409" y="709"/>
                    </a:lnTo>
                    <a:lnTo>
                      <a:pt x="1401" y="708"/>
                    </a:lnTo>
                    <a:lnTo>
                      <a:pt x="1393" y="706"/>
                    </a:lnTo>
                    <a:lnTo>
                      <a:pt x="1386" y="704"/>
                    </a:lnTo>
                    <a:lnTo>
                      <a:pt x="1380" y="702"/>
                    </a:lnTo>
                    <a:lnTo>
                      <a:pt x="1377" y="700"/>
                    </a:lnTo>
                    <a:lnTo>
                      <a:pt x="1374" y="696"/>
                    </a:lnTo>
                    <a:lnTo>
                      <a:pt x="1373" y="693"/>
                    </a:lnTo>
                    <a:lnTo>
                      <a:pt x="1373" y="685"/>
                    </a:lnTo>
                    <a:lnTo>
                      <a:pt x="1373" y="676"/>
                    </a:lnTo>
                    <a:lnTo>
                      <a:pt x="1373" y="665"/>
                    </a:lnTo>
                    <a:lnTo>
                      <a:pt x="1373" y="654"/>
                    </a:lnTo>
                    <a:lnTo>
                      <a:pt x="1373" y="640"/>
                    </a:lnTo>
                    <a:lnTo>
                      <a:pt x="1371" y="628"/>
                    </a:lnTo>
                    <a:lnTo>
                      <a:pt x="1366" y="621"/>
                    </a:lnTo>
                    <a:lnTo>
                      <a:pt x="1356" y="618"/>
                    </a:lnTo>
                    <a:lnTo>
                      <a:pt x="1343" y="620"/>
                    </a:lnTo>
                    <a:lnTo>
                      <a:pt x="1335" y="626"/>
                    </a:lnTo>
                    <a:lnTo>
                      <a:pt x="1329" y="633"/>
                    </a:lnTo>
                    <a:lnTo>
                      <a:pt x="1327" y="635"/>
                    </a:lnTo>
                    <a:lnTo>
                      <a:pt x="1324" y="636"/>
                    </a:lnTo>
                    <a:lnTo>
                      <a:pt x="1317" y="640"/>
                    </a:lnTo>
                    <a:lnTo>
                      <a:pt x="1309" y="646"/>
                    </a:lnTo>
                    <a:lnTo>
                      <a:pt x="1305" y="654"/>
                    </a:lnTo>
                    <a:lnTo>
                      <a:pt x="1305" y="668"/>
                    </a:lnTo>
                    <a:lnTo>
                      <a:pt x="1306" y="687"/>
                    </a:lnTo>
                    <a:lnTo>
                      <a:pt x="1309" y="707"/>
                    </a:lnTo>
                    <a:lnTo>
                      <a:pt x="1313" y="721"/>
                    </a:lnTo>
                    <a:lnTo>
                      <a:pt x="1317" y="730"/>
                    </a:lnTo>
                    <a:lnTo>
                      <a:pt x="1316" y="738"/>
                    </a:lnTo>
                    <a:lnTo>
                      <a:pt x="1311" y="744"/>
                    </a:lnTo>
                    <a:lnTo>
                      <a:pt x="1302" y="746"/>
                    </a:lnTo>
                    <a:lnTo>
                      <a:pt x="1295" y="746"/>
                    </a:lnTo>
                    <a:lnTo>
                      <a:pt x="1285" y="746"/>
                    </a:lnTo>
                    <a:lnTo>
                      <a:pt x="1273" y="747"/>
                    </a:lnTo>
                    <a:lnTo>
                      <a:pt x="1260" y="747"/>
                    </a:lnTo>
                    <a:lnTo>
                      <a:pt x="1248" y="747"/>
                    </a:lnTo>
                    <a:lnTo>
                      <a:pt x="1236" y="746"/>
                    </a:lnTo>
                    <a:lnTo>
                      <a:pt x="1227" y="745"/>
                    </a:lnTo>
                    <a:lnTo>
                      <a:pt x="1221" y="742"/>
                    </a:lnTo>
                    <a:lnTo>
                      <a:pt x="1215" y="740"/>
                    </a:lnTo>
                    <a:lnTo>
                      <a:pt x="1209" y="737"/>
                    </a:lnTo>
                    <a:lnTo>
                      <a:pt x="1200" y="734"/>
                    </a:lnTo>
                    <a:lnTo>
                      <a:pt x="1191" y="732"/>
                    </a:lnTo>
                    <a:lnTo>
                      <a:pt x="1183" y="731"/>
                    </a:lnTo>
                    <a:lnTo>
                      <a:pt x="1176" y="729"/>
                    </a:lnTo>
                    <a:lnTo>
                      <a:pt x="1172" y="727"/>
                    </a:lnTo>
                    <a:lnTo>
                      <a:pt x="1171" y="727"/>
                    </a:lnTo>
                    <a:lnTo>
                      <a:pt x="1169" y="725"/>
                    </a:lnTo>
                    <a:lnTo>
                      <a:pt x="1166" y="719"/>
                    </a:lnTo>
                    <a:lnTo>
                      <a:pt x="1159" y="716"/>
                    </a:lnTo>
                    <a:lnTo>
                      <a:pt x="1150" y="717"/>
                    </a:lnTo>
                    <a:lnTo>
                      <a:pt x="1144" y="719"/>
                    </a:lnTo>
                    <a:lnTo>
                      <a:pt x="1137" y="719"/>
                    </a:lnTo>
                    <a:lnTo>
                      <a:pt x="1131" y="719"/>
                    </a:lnTo>
                    <a:lnTo>
                      <a:pt x="1124" y="718"/>
                    </a:lnTo>
                    <a:lnTo>
                      <a:pt x="1119" y="717"/>
                    </a:lnTo>
                    <a:lnTo>
                      <a:pt x="1114" y="715"/>
                    </a:lnTo>
                    <a:lnTo>
                      <a:pt x="1112" y="714"/>
                    </a:lnTo>
                    <a:lnTo>
                      <a:pt x="1111" y="714"/>
                    </a:lnTo>
                    <a:lnTo>
                      <a:pt x="1111" y="712"/>
                    </a:lnTo>
                    <a:lnTo>
                      <a:pt x="1110" y="709"/>
                    </a:lnTo>
                    <a:lnTo>
                      <a:pt x="1107" y="703"/>
                    </a:lnTo>
                    <a:lnTo>
                      <a:pt x="1104" y="698"/>
                    </a:lnTo>
                    <a:lnTo>
                      <a:pt x="1098" y="692"/>
                    </a:lnTo>
                    <a:lnTo>
                      <a:pt x="1091" y="686"/>
                    </a:lnTo>
                    <a:lnTo>
                      <a:pt x="1083" y="683"/>
                    </a:lnTo>
                    <a:lnTo>
                      <a:pt x="1072" y="681"/>
                    </a:lnTo>
                    <a:lnTo>
                      <a:pt x="1059" y="681"/>
                    </a:lnTo>
                    <a:lnTo>
                      <a:pt x="1045" y="681"/>
                    </a:lnTo>
                    <a:lnTo>
                      <a:pt x="1030" y="680"/>
                    </a:lnTo>
                    <a:lnTo>
                      <a:pt x="1017" y="679"/>
                    </a:lnTo>
                    <a:lnTo>
                      <a:pt x="1005" y="679"/>
                    </a:lnTo>
                    <a:lnTo>
                      <a:pt x="995" y="678"/>
                    </a:lnTo>
                    <a:lnTo>
                      <a:pt x="989" y="678"/>
                    </a:lnTo>
                    <a:lnTo>
                      <a:pt x="986" y="678"/>
                    </a:lnTo>
                    <a:lnTo>
                      <a:pt x="986" y="677"/>
                    </a:lnTo>
                    <a:lnTo>
                      <a:pt x="985" y="676"/>
                    </a:lnTo>
                    <a:lnTo>
                      <a:pt x="983" y="672"/>
                    </a:lnTo>
                    <a:lnTo>
                      <a:pt x="979" y="669"/>
                    </a:lnTo>
                    <a:lnTo>
                      <a:pt x="974" y="666"/>
                    </a:lnTo>
                    <a:lnTo>
                      <a:pt x="967" y="663"/>
                    </a:lnTo>
                    <a:lnTo>
                      <a:pt x="959" y="662"/>
                    </a:lnTo>
                    <a:lnTo>
                      <a:pt x="947" y="661"/>
                    </a:lnTo>
                    <a:lnTo>
                      <a:pt x="946" y="659"/>
                    </a:lnTo>
                    <a:lnTo>
                      <a:pt x="944" y="658"/>
                    </a:lnTo>
                    <a:lnTo>
                      <a:pt x="940" y="655"/>
                    </a:lnTo>
                    <a:lnTo>
                      <a:pt x="936" y="651"/>
                    </a:lnTo>
                    <a:lnTo>
                      <a:pt x="930" y="649"/>
                    </a:lnTo>
                    <a:lnTo>
                      <a:pt x="923" y="647"/>
                    </a:lnTo>
                    <a:lnTo>
                      <a:pt x="916" y="646"/>
                    </a:lnTo>
                    <a:lnTo>
                      <a:pt x="908" y="647"/>
                    </a:lnTo>
                    <a:lnTo>
                      <a:pt x="906" y="645"/>
                    </a:lnTo>
                    <a:lnTo>
                      <a:pt x="899" y="640"/>
                    </a:lnTo>
                    <a:lnTo>
                      <a:pt x="888" y="632"/>
                    </a:lnTo>
                    <a:lnTo>
                      <a:pt x="877" y="623"/>
                    </a:lnTo>
                    <a:lnTo>
                      <a:pt x="864" y="615"/>
                    </a:lnTo>
                    <a:lnTo>
                      <a:pt x="852" y="606"/>
                    </a:lnTo>
                    <a:lnTo>
                      <a:pt x="841" y="602"/>
                    </a:lnTo>
                    <a:lnTo>
                      <a:pt x="834" y="600"/>
                    </a:lnTo>
                    <a:lnTo>
                      <a:pt x="826" y="597"/>
                    </a:lnTo>
                    <a:lnTo>
                      <a:pt x="820" y="593"/>
                    </a:lnTo>
                    <a:lnTo>
                      <a:pt x="818" y="588"/>
                    </a:lnTo>
                    <a:lnTo>
                      <a:pt x="817" y="586"/>
                    </a:lnTo>
                    <a:lnTo>
                      <a:pt x="818" y="583"/>
                    </a:lnTo>
                    <a:lnTo>
                      <a:pt x="823" y="578"/>
                    </a:lnTo>
                    <a:lnTo>
                      <a:pt x="827" y="570"/>
                    </a:lnTo>
                    <a:lnTo>
                      <a:pt x="831" y="557"/>
                    </a:lnTo>
                    <a:lnTo>
                      <a:pt x="833" y="544"/>
                    </a:lnTo>
                    <a:lnTo>
                      <a:pt x="837" y="532"/>
                    </a:lnTo>
                    <a:lnTo>
                      <a:pt x="842" y="522"/>
                    </a:lnTo>
                    <a:lnTo>
                      <a:pt x="849" y="514"/>
                    </a:lnTo>
                    <a:lnTo>
                      <a:pt x="857" y="509"/>
                    </a:lnTo>
                    <a:lnTo>
                      <a:pt x="863" y="502"/>
                    </a:lnTo>
                    <a:lnTo>
                      <a:pt x="863" y="492"/>
                    </a:lnTo>
                    <a:lnTo>
                      <a:pt x="856" y="483"/>
                    </a:lnTo>
                    <a:lnTo>
                      <a:pt x="849" y="477"/>
                    </a:lnTo>
                    <a:lnTo>
                      <a:pt x="841" y="473"/>
                    </a:lnTo>
                    <a:lnTo>
                      <a:pt x="832" y="467"/>
                    </a:lnTo>
                    <a:lnTo>
                      <a:pt x="825" y="464"/>
                    </a:lnTo>
                    <a:lnTo>
                      <a:pt x="817" y="459"/>
                    </a:lnTo>
                    <a:lnTo>
                      <a:pt x="811" y="457"/>
                    </a:lnTo>
                    <a:lnTo>
                      <a:pt x="808" y="456"/>
                    </a:lnTo>
                    <a:lnTo>
                      <a:pt x="807" y="454"/>
                    </a:lnTo>
                    <a:lnTo>
                      <a:pt x="804" y="451"/>
                    </a:lnTo>
                    <a:lnTo>
                      <a:pt x="799" y="442"/>
                    </a:lnTo>
                    <a:lnTo>
                      <a:pt x="789" y="431"/>
                    </a:lnTo>
                    <a:lnTo>
                      <a:pt x="778" y="426"/>
                    </a:lnTo>
                    <a:lnTo>
                      <a:pt x="765" y="422"/>
                    </a:lnTo>
                    <a:lnTo>
                      <a:pt x="755" y="419"/>
                    </a:lnTo>
                    <a:lnTo>
                      <a:pt x="748" y="416"/>
                    </a:lnTo>
                    <a:lnTo>
                      <a:pt x="746" y="415"/>
                    </a:lnTo>
                    <a:lnTo>
                      <a:pt x="743" y="413"/>
                    </a:lnTo>
                    <a:lnTo>
                      <a:pt x="739" y="407"/>
                    </a:lnTo>
                    <a:lnTo>
                      <a:pt x="733" y="397"/>
                    </a:lnTo>
                    <a:lnTo>
                      <a:pt x="725" y="383"/>
                    </a:lnTo>
                    <a:lnTo>
                      <a:pt x="720" y="374"/>
                    </a:lnTo>
                    <a:lnTo>
                      <a:pt x="721" y="373"/>
                    </a:lnTo>
                    <a:lnTo>
                      <a:pt x="720" y="371"/>
                    </a:lnTo>
                    <a:lnTo>
                      <a:pt x="714" y="362"/>
                    </a:lnTo>
                    <a:lnTo>
                      <a:pt x="710" y="356"/>
                    </a:lnTo>
                    <a:lnTo>
                      <a:pt x="706" y="351"/>
                    </a:lnTo>
                    <a:lnTo>
                      <a:pt x="704" y="346"/>
                    </a:lnTo>
                    <a:lnTo>
                      <a:pt x="702" y="343"/>
                    </a:lnTo>
                    <a:lnTo>
                      <a:pt x="702" y="340"/>
                    </a:lnTo>
                    <a:lnTo>
                      <a:pt x="703" y="338"/>
                    </a:lnTo>
                    <a:lnTo>
                      <a:pt x="704" y="336"/>
                    </a:lnTo>
                    <a:lnTo>
                      <a:pt x="705" y="333"/>
                    </a:lnTo>
                    <a:lnTo>
                      <a:pt x="710" y="330"/>
                    </a:lnTo>
                    <a:lnTo>
                      <a:pt x="716" y="332"/>
                    </a:lnTo>
                    <a:lnTo>
                      <a:pt x="723" y="339"/>
                    </a:lnTo>
                    <a:lnTo>
                      <a:pt x="731" y="348"/>
                    </a:lnTo>
                    <a:lnTo>
                      <a:pt x="735" y="351"/>
                    </a:lnTo>
                    <a:lnTo>
                      <a:pt x="739" y="352"/>
                    </a:lnTo>
                    <a:lnTo>
                      <a:pt x="743" y="351"/>
                    </a:lnTo>
                    <a:lnTo>
                      <a:pt x="748" y="348"/>
                    </a:lnTo>
                    <a:lnTo>
                      <a:pt x="752" y="346"/>
                    </a:lnTo>
                    <a:lnTo>
                      <a:pt x="757" y="343"/>
                    </a:lnTo>
                    <a:lnTo>
                      <a:pt x="762" y="339"/>
                    </a:lnTo>
                    <a:lnTo>
                      <a:pt x="766" y="336"/>
                    </a:lnTo>
                    <a:lnTo>
                      <a:pt x="771" y="327"/>
                    </a:lnTo>
                    <a:lnTo>
                      <a:pt x="770" y="314"/>
                    </a:lnTo>
                    <a:lnTo>
                      <a:pt x="764" y="302"/>
                    </a:lnTo>
                    <a:lnTo>
                      <a:pt x="757" y="293"/>
                    </a:lnTo>
                    <a:lnTo>
                      <a:pt x="754" y="290"/>
                    </a:lnTo>
                    <a:lnTo>
                      <a:pt x="751" y="285"/>
                    </a:lnTo>
                    <a:lnTo>
                      <a:pt x="750" y="279"/>
                    </a:lnTo>
                    <a:lnTo>
                      <a:pt x="748" y="274"/>
                    </a:lnTo>
                    <a:lnTo>
                      <a:pt x="748" y="271"/>
                    </a:lnTo>
                    <a:lnTo>
                      <a:pt x="748" y="269"/>
                    </a:lnTo>
                    <a:lnTo>
                      <a:pt x="747" y="267"/>
                    </a:lnTo>
                    <a:lnTo>
                      <a:pt x="746" y="264"/>
                    </a:lnTo>
                    <a:lnTo>
                      <a:pt x="744" y="261"/>
                    </a:lnTo>
                    <a:lnTo>
                      <a:pt x="742" y="257"/>
                    </a:lnTo>
                    <a:lnTo>
                      <a:pt x="741" y="254"/>
                    </a:lnTo>
                    <a:lnTo>
                      <a:pt x="739" y="250"/>
                    </a:lnTo>
                    <a:lnTo>
                      <a:pt x="735" y="244"/>
                    </a:lnTo>
                    <a:lnTo>
                      <a:pt x="738" y="238"/>
                    </a:lnTo>
                    <a:lnTo>
                      <a:pt x="744" y="234"/>
                    </a:lnTo>
                    <a:lnTo>
                      <a:pt x="754" y="233"/>
                    </a:lnTo>
                    <a:lnTo>
                      <a:pt x="761" y="231"/>
                    </a:lnTo>
                    <a:lnTo>
                      <a:pt x="765" y="227"/>
                    </a:lnTo>
                    <a:lnTo>
                      <a:pt x="766" y="223"/>
                    </a:lnTo>
                    <a:lnTo>
                      <a:pt x="767" y="216"/>
                    </a:lnTo>
                    <a:lnTo>
                      <a:pt x="769" y="211"/>
                    </a:lnTo>
                    <a:lnTo>
                      <a:pt x="772" y="206"/>
                    </a:lnTo>
                    <a:lnTo>
                      <a:pt x="776" y="200"/>
                    </a:lnTo>
                    <a:lnTo>
                      <a:pt x="780" y="193"/>
                    </a:lnTo>
                    <a:lnTo>
                      <a:pt x="786" y="186"/>
                    </a:lnTo>
                    <a:lnTo>
                      <a:pt x="792" y="179"/>
                    </a:lnTo>
                    <a:lnTo>
                      <a:pt x="797" y="172"/>
                    </a:lnTo>
                    <a:lnTo>
                      <a:pt x="803" y="165"/>
                    </a:lnTo>
                    <a:lnTo>
                      <a:pt x="810" y="150"/>
                    </a:lnTo>
                    <a:lnTo>
                      <a:pt x="811" y="134"/>
                    </a:lnTo>
                    <a:lnTo>
                      <a:pt x="807" y="120"/>
                    </a:lnTo>
                    <a:lnTo>
                      <a:pt x="800" y="112"/>
                    </a:lnTo>
                    <a:lnTo>
                      <a:pt x="792" y="108"/>
                    </a:lnTo>
                    <a:lnTo>
                      <a:pt x="784" y="101"/>
                    </a:lnTo>
                    <a:lnTo>
                      <a:pt x="776" y="93"/>
                    </a:lnTo>
                    <a:lnTo>
                      <a:pt x="766" y="82"/>
                    </a:lnTo>
                    <a:lnTo>
                      <a:pt x="761" y="78"/>
                    </a:lnTo>
                    <a:lnTo>
                      <a:pt x="752" y="76"/>
                    </a:lnTo>
                    <a:lnTo>
                      <a:pt x="743" y="76"/>
                    </a:lnTo>
                    <a:lnTo>
                      <a:pt x="733" y="79"/>
                    </a:lnTo>
                    <a:lnTo>
                      <a:pt x="721" y="82"/>
                    </a:lnTo>
                    <a:lnTo>
                      <a:pt x="710" y="87"/>
                    </a:lnTo>
                    <a:lnTo>
                      <a:pt x="698" y="93"/>
                    </a:lnTo>
                    <a:lnTo>
                      <a:pt x="688" y="98"/>
                    </a:lnTo>
                    <a:lnTo>
                      <a:pt x="680" y="104"/>
                    </a:lnTo>
                    <a:lnTo>
                      <a:pt x="674" y="109"/>
                    </a:lnTo>
                    <a:lnTo>
                      <a:pt x="668" y="115"/>
                    </a:lnTo>
                    <a:lnTo>
                      <a:pt x="665" y="119"/>
                    </a:lnTo>
                    <a:lnTo>
                      <a:pt x="660" y="116"/>
                    </a:lnTo>
                    <a:lnTo>
                      <a:pt x="656" y="113"/>
                    </a:lnTo>
                    <a:lnTo>
                      <a:pt x="649" y="112"/>
                    </a:lnTo>
                    <a:lnTo>
                      <a:pt x="643" y="112"/>
                    </a:lnTo>
                    <a:lnTo>
                      <a:pt x="636" y="112"/>
                    </a:lnTo>
                    <a:lnTo>
                      <a:pt x="630" y="111"/>
                    </a:lnTo>
                    <a:lnTo>
                      <a:pt x="626" y="111"/>
                    </a:lnTo>
                    <a:lnTo>
                      <a:pt x="622" y="109"/>
                    </a:lnTo>
                    <a:lnTo>
                      <a:pt x="619" y="106"/>
                    </a:lnTo>
                    <a:lnTo>
                      <a:pt x="615" y="105"/>
                    </a:lnTo>
                    <a:lnTo>
                      <a:pt x="610" y="104"/>
                    </a:lnTo>
                    <a:lnTo>
                      <a:pt x="605" y="103"/>
                    </a:lnTo>
                    <a:lnTo>
                      <a:pt x="599" y="103"/>
                    </a:lnTo>
                    <a:lnTo>
                      <a:pt x="595" y="101"/>
                    </a:lnTo>
                    <a:lnTo>
                      <a:pt x="590" y="98"/>
                    </a:lnTo>
                    <a:lnTo>
                      <a:pt x="587" y="95"/>
                    </a:lnTo>
                    <a:lnTo>
                      <a:pt x="581" y="89"/>
                    </a:lnTo>
                    <a:lnTo>
                      <a:pt x="576" y="86"/>
                    </a:lnTo>
                    <a:lnTo>
                      <a:pt x="571" y="83"/>
                    </a:lnTo>
                    <a:lnTo>
                      <a:pt x="564" y="80"/>
                    </a:lnTo>
                    <a:lnTo>
                      <a:pt x="557" y="74"/>
                    </a:lnTo>
                    <a:lnTo>
                      <a:pt x="551" y="68"/>
                    </a:lnTo>
                    <a:lnTo>
                      <a:pt x="549" y="62"/>
                    </a:lnTo>
                    <a:lnTo>
                      <a:pt x="549" y="53"/>
                    </a:lnTo>
                    <a:lnTo>
                      <a:pt x="550" y="44"/>
                    </a:lnTo>
                    <a:lnTo>
                      <a:pt x="546" y="36"/>
                    </a:lnTo>
                    <a:lnTo>
                      <a:pt x="541" y="30"/>
                    </a:lnTo>
                    <a:lnTo>
                      <a:pt x="534" y="28"/>
                    </a:lnTo>
                    <a:lnTo>
                      <a:pt x="528" y="27"/>
                    </a:lnTo>
                    <a:lnTo>
                      <a:pt x="523" y="23"/>
                    </a:lnTo>
                    <a:lnTo>
                      <a:pt x="519" y="18"/>
                    </a:lnTo>
                    <a:lnTo>
                      <a:pt x="515" y="10"/>
                    </a:lnTo>
                    <a:lnTo>
                      <a:pt x="509" y="4"/>
                    </a:lnTo>
                    <a:lnTo>
                      <a:pt x="501" y="2"/>
                    </a:lnTo>
                    <a:lnTo>
                      <a:pt x="491" y="3"/>
                    </a:lnTo>
                    <a:lnTo>
                      <a:pt x="483" y="2"/>
                    </a:lnTo>
                    <a:lnTo>
                      <a:pt x="480" y="0"/>
                    </a:lnTo>
                    <a:lnTo>
                      <a:pt x="475" y="0"/>
                    </a:lnTo>
                    <a:lnTo>
                      <a:pt x="470" y="0"/>
                    </a:lnTo>
                    <a:lnTo>
                      <a:pt x="466" y="2"/>
                    </a:lnTo>
                    <a:lnTo>
                      <a:pt x="461" y="3"/>
                    </a:lnTo>
                    <a:lnTo>
                      <a:pt x="457" y="5"/>
                    </a:lnTo>
                    <a:lnTo>
                      <a:pt x="452" y="7"/>
                    </a:lnTo>
                    <a:lnTo>
                      <a:pt x="448" y="10"/>
                    </a:lnTo>
                    <a:lnTo>
                      <a:pt x="445" y="13"/>
                    </a:lnTo>
                    <a:lnTo>
                      <a:pt x="440" y="15"/>
                    </a:lnTo>
                    <a:lnTo>
                      <a:pt x="435" y="18"/>
                    </a:lnTo>
                    <a:lnTo>
                      <a:pt x="430" y="19"/>
                    </a:lnTo>
                    <a:lnTo>
                      <a:pt x="424" y="20"/>
                    </a:lnTo>
                    <a:lnTo>
                      <a:pt x="419" y="21"/>
                    </a:lnTo>
                    <a:lnTo>
                      <a:pt x="414" y="21"/>
                    </a:lnTo>
                    <a:lnTo>
                      <a:pt x="410" y="21"/>
                    </a:lnTo>
                    <a:lnTo>
                      <a:pt x="404" y="21"/>
                    </a:lnTo>
                    <a:lnTo>
                      <a:pt x="395" y="23"/>
                    </a:lnTo>
                    <a:lnTo>
                      <a:pt x="386" y="26"/>
                    </a:lnTo>
                    <a:lnTo>
                      <a:pt x="379" y="29"/>
                    </a:lnTo>
                    <a:lnTo>
                      <a:pt x="372" y="36"/>
                    </a:lnTo>
                    <a:lnTo>
                      <a:pt x="362" y="45"/>
                    </a:lnTo>
                    <a:lnTo>
                      <a:pt x="353" y="56"/>
                    </a:lnTo>
                    <a:lnTo>
                      <a:pt x="347" y="63"/>
                    </a:lnTo>
                    <a:lnTo>
                      <a:pt x="346" y="67"/>
                    </a:lnTo>
                    <a:lnTo>
                      <a:pt x="348" y="72"/>
                    </a:lnTo>
                    <a:lnTo>
                      <a:pt x="353" y="75"/>
                    </a:lnTo>
                    <a:lnTo>
                      <a:pt x="360" y="78"/>
                    </a:lnTo>
                    <a:lnTo>
                      <a:pt x="363" y="79"/>
                    </a:lnTo>
                    <a:lnTo>
                      <a:pt x="367" y="81"/>
                    </a:lnTo>
                    <a:lnTo>
                      <a:pt x="370" y="83"/>
                    </a:lnTo>
                    <a:lnTo>
                      <a:pt x="374" y="87"/>
                    </a:lnTo>
                    <a:lnTo>
                      <a:pt x="378" y="90"/>
                    </a:lnTo>
                    <a:lnTo>
                      <a:pt x="384" y="94"/>
                    </a:lnTo>
                    <a:lnTo>
                      <a:pt x="390" y="98"/>
                    </a:lnTo>
                    <a:lnTo>
                      <a:pt x="397" y="102"/>
                    </a:lnTo>
                    <a:lnTo>
                      <a:pt x="409" y="111"/>
                    </a:lnTo>
                    <a:lnTo>
                      <a:pt x="419" y="123"/>
                    </a:lnTo>
                    <a:lnTo>
                      <a:pt x="424" y="134"/>
                    </a:lnTo>
                    <a:lnTo>
                      <a:pt x="427" y="142"/>
                    </a:lnTo>
                    <a:lnTo>
                      <a:pt x="423" y="150"/>
                    </a:lnTo>
                    <a:lnTo>
                      <a:pt x="415" y="161"/>
                    </a:lnTo>
                    <a:lnTo>
                      <a:pt x="406" y="172"/>
                    </a:lnTo>
                    <a:lnTo>
                      <a:pt x="398" y="179"/>
                    </a:lnTo>
                    <a:lnTo>
                      <a:pt x="394" y="185"/>
                    </a:lnTo>
                    <a:lnTo>
                      <a:pt x="393" y="193"/>
                    </a:lnTo>
                    <a:lnTo>
                      <a:pt x="394" y="203"/>
                    </a:lnTo>
                    <a:lnTo>
                      <a:pt x="397" y="215"/>
                    </a:lnTo>
                    <a:lnTo>
                      <a:pt x="398" y="231"/>
                    </a:lnTo>
                    <a:lnTo>
                      <a:pt x="399" y="249"/>
                    </a:lnTo>
                    <a:lnTo>
                      <a:pt x="400" y="268"/>
                    </a:lnTo>
                    <a:lnTo>
                      <a:pt x="404" y="280"/>
                    </a:lnTo>
                    <a:lnTo>
                      <a:pt x="407" y="285"/>
                    </a:lnTo>
                    <a:lnTo>
                      <a:pt x="412" y="290"/>
                    </a:lnTo>
                    <a:lnTo>
                      <a:pt x="417" y="293"/>
                    </a:lnTo>
                    <a:lnTo>
                      <a:pt x="424" y="298"/>
                    </a:lnTo>
                    <a:lnTo>
                      <a:pt x="430" y="301"/>
                    </a:lnTo>
                    <a:lnTo>
                      <a:pt x="436" y="303"/>
                    </a:lnTo>
                    <a:lnTo>
                      <a:pt x="442" y="306"/>
                    </a:lnTo>
                    <a:lnTo>
                      <a:pt x="447" y="308"/>
                    </a:lnTo>
                    <a:lnTo>
                      <a:pt x="447" y="309"/>
                    </a:lnTo>
                    <a:lnTo>
                      <a:pt x="447" y="317"/>
                    </a:lnTo>
                    <a:lnTo>
                      <a:pt x="448" y="324"/>
                    </a:lnTo>
                    <a:lnTo>
                      <a:pt x="453" y="330"/>
                    </a:lnTo>
                    <a:lnTo>
                      <a:pt x="458" y="335"/>
                    </a:lnTo>
                    <a:lnTo>
                      <a:pt x="463" y="338"/>
                    </a:lnTo>
                    <a:lnTo>
                      <a:pt x="469" y="340"/>
                    </a:lnTo>
                    <a:lnTo>
                      <a:pt x="476" y="343"/>
                    </a:lnTo>
                    <a:lnTo>
                      <a:pt x="483" y="344"/>
                    </a:lnTo>
                    <a:lnTo>
                      <a:pt x="488" y="345"/>
                    </a:lnTo>
                    <a:lnTo>
                      <a:pt x="490" y="347"/>
                    </a:lnTo>
                    <a:lnTo>
                      <a:pt x="489" y="350"/>
                    </a:lnTo>
                    <a:lnTo>
                      <a:pt x="485" y="351"/>
                    </a:lnTo>
                    <a:lnTo>
                      <a:pt x="481" y="353"/>
                    </a:lnTo>
                    <a:lnTo>
                      <a:pt x="475" y="355"/>
                    </a:lnTo>
                    <a:lnTo>
                      <a:pt x="470" y="358"/>
                    </a:lnTo>
                    <a:lnTo>
                      <a:pt x="466" y="359"/>
                    </a:lnTo>
                    <a:lnTo>
                      <a:pt x="457" y="362"/>
                    </a:lnTo>
                    <a:lnTo>
                      <a:pt x="448" y="367"/>
                    </a:lnTo>
                    <a:lnTo>
                      <a:pt x="443" y="375"/>
                    </a:lnTo>
                    <a:lnTo>
                      <a:pt x="440" y="386"/>
                    </a:lnTo>
                    <a:lnTo>
                      <a:pt x="439" y="400"/>
                    </a:lnTo>
                    <a:lnTo>
                      <a:pt x="437" y="415"/>
                    </a:lnTo>
                    <a:lnTo>
                      <a:pt x="433" y="428"/>
                    </a:lnTo>
                    <a:lnTo>
                      <a:pt x="427" y="441"/>
                    </a:lnTo>
                    <a:lnTo>
                      <a:pt x="416" y="452"/>
                    </a:lnTo>
                    <a:lnTo>
                      <a:pt x="406" y="465"/>
                    </a:lnTo>
                    <a:lnTo>
                      <a:pt x="398" y="479"/>
                    </a:lnTo>
                    <a:lnTo>
                      <a:pt x="394" y="490"/>
                    </a:lnTo>
                    <a:lnTo>
                      <a:pt x="391" y="497"/>
                    </a:lnTo>
                    <a:lnTo>
                      <a:pt x="382" y="502"/>
                    </a:lnTo>
                    <a:lnTo>
                      <a:pt x="371" y="507"/>
                    </a:lnTo>
                    <a:lnTo>
                      <a:pt x="362" y="519"/>
                    </a:lnTo>
                    <a:lnTo>
                      <a:pt x="354" y="532"/>
                    </a:lnTo>
                    <a:lnTo>
                      <a:pt x="346" y="541"/>
                    </a:lnTo>
                    <a:lnTo>
                      <a:pt x="340" y="550"/>
                    </a:lnTo>
                    <a:lnTo>
                      <a:pt x="338" y="562"/>
                    </a:lnTo>
                    <a:lnTo>
                      <a:pt x="337" y="567"/>
                    </a:lnTo>
                    <a:lnTo>
                      <a:pt x="332" y="571"/>
                    </a:lnTo>
                    <a:lnTo>
                      <a:pt x="326" y="572"/>
                    </a:lnTo>
                    <a:lnTo>
                      <a:pt x="319" y="574"/>
                    </a:lnTo>
                    <a:lnTo>
                      <a:pt x="311" y="575"/>
                    </a:lnTo>
                    <a:lnTo>
                      <a:pt x="305" y="579"/>
                    </a:lnTo>
                    <a:lnTo>
                      <a:pt x="299" y="582"/>
                    </a:lnTo>
                    <a:lnTo>
                      <a:pt x="295" y="589"/>
                    </a:lnTo>
                    <a:lnTo>
                      <a:pt x="288" y="604"/>
                    </a:lnTo>
                    <a:lnTo>
                      <a:pt x="279" y="617"/>
                    </a:lnTo>
                    <a:lnTo>
                      <a:pt x="271" y="628"/>
                    </a:lnTo>
                    <a:lnTo>
                      <a:pt x="266" y="639"/>
                    </a:lnTo>
                    <a:lnTo>
                      <a:pt x="224" y="650"/>
                    </a:lnTo>
                    <a:lnTo>
                      <a:pt x="223" y="651"/>
                    </a:lnTo>
                    <a:lnTo>
                      <a:pt x="218" y="653"/>
                    </a:lnTo>
                    <a:lnTo>
                      <a:pt x="212" y="651"/>
                    </a:lnTo>
                    <a:lnTo>
                      <a:pt x="207" y="647"/>
                    </a:lnTo>
                    <a:lnTo>
                      <a:pt x="201" y="638"/>
                    </a:lnTo>
                    <a:lnTo>
                      <a:pt x="194" y="631"/>
                    </a:lnTo>
                    <a:lnTo>
                      <a:pt x="186" y="627"/>
                    </a:lnTo>
                    <a:lnTo>
                      <a:pt x="174" y="628"/>
                    </a:lnTo>
                    <a:lnTo>
                      <a:pt x="167" y="632"/>
                    </a:lnTo>
                    <a:lnTo>
                      <a:pt x="161" y="638"/>
                    </a:lnTo>
                    <a:lnTo>
                      <a:pt x="155" y="643"/>
                    </a:lnTo>
                    <a:lnTo>
                      <a:pt x="150" y="650"/>
                    </a:lnTo>
                    <a:lnTo>
                      <a:pt x="146" y="657"/>
                    </a:lnTo>
                    <a:lnTo>
                      <a:pt x="142" y="663"/>
                    </a:lnTo>
                    <a:lnTo>
                      <a:pt x="140" y="666"/>
                    </a:lnTo>
                    <a:lnTo>
                      <a:pt x="139" y="668"/>
                    </a:lnTo>
                    <a:lnTo>
                      <a:pt x="134" y="670"/>
                    </a:lnTo>
                    <a:lnTo>
                      <a:pt x="123" y="677"/>
                    </a:lnTo>
                    <a:lnTo>
                      <a:pt x="111" y="689"/>
                    </a:lnTo>
                    <a:lnTo>
                      <a:pt x="106" y="710"/>
                    </a:lnTo>
                    <a:lnTo>
                      <a:pt x="109" y="732"/>
                    </a:lnTo>
                    <a:lnTo>
                      <a:pt x="116" y="747"/>
                    </a:lnTo>
                    <a:lnTo>
                      <a:pt x="125" y="757"/>
                    </a:lnTo>
                    <a:lnTo>
                      <a:pt x="135" y="763"/>
                    </a:lnTo>
                    <a:lnTo>
                      <a:pt x="136" y="770"/>
                    </a:lnTo>
                    <a:lnTo>
                      <a:pt x="139" y="787"/>
                    </a:lnTo>
                    <a:lnTo>
                      <a:pt x="144" y="806"/>
                    </a:lnTo>
                    <a:lnTo>
                      <a:pt x="152" y="817"/>
                    </a:lnTo>
                    <a:lnTo>
                      <a:pt x="164" y="827"/>
                    </a:lnTo>
                    <a:lnTo>
                      <a:pt x="174" y="842"/>
                    </a:lnTo>
                    <a:lnTo>
                      <a:pt x="181" y="854"/>
                    </a:lnTo>
                    <a:lnTo>
                      <a:pt x="185" y="860"/>
                    </a:lnTo>
                    <a:lnTo>
                      <a:pt x="188" y="913"/>
                    </a:lnTo>
                    <a:lnTo>
                      <a:pt x="187" y="912"/>
                    </a:lnTo>
                    <a:lnTo>
                      <a:pt x="185" y="908"/>
                    </a:lnTo>
                    <a:lnTo>
                      <a:pt x="181" y="905"/>
                    </a:lnTo>
                    <a:lnTo>
                      <a:pt x="176" y="900"/>
                    </a:lnTo>
                    <a:lnTo>
                      <a:pt x="167" y="898"/>
                    </a:lnTo>
                    <a:lnTo>
                      <a:pt x="158" y="897"/>
                    </a:lnTo>
                    <a:lnTo>
                      <a:pt x="148" y="898"/>
                    </a:lnTo>
                    <a:lnTo>
                      <a:pt x="135" y="903"/>
                    </a:lnTo>
                    <a:lnTo>
                      <a:pt x="133" y="903"/>
                    </a:lnTo>
                    <a:lnTo>
                      <a:pt x="126" y="900"/>
                    </a:lnTo>
                    <a:lnTo>
                      <a:pt x="116" y="899"/>
                    </a:lnTo>
                    <a:lnTo>
                      <a:pt x="103" y="897"/>
                    </a:lnTo>
                    <a:lnTo>
                      <a:pt x="90" y="895"/>
                    </a:lnTo>
                    <a:lnTo>
                      <a:pt x="78" y="893"/>
                    </a:lnTo>
                    <a:lnTo>
                      <a:pt x="67" y="891"/>
                    </a:lnTo>
                    <a:lnTo>
                      <a:pt x="60" y="891"/>
                    </a:lnTo>
                    <a:lnTo>
                      <a:pt x="51" y="896"/>
                    </a:lnTo>
                    <a:lnTo>
                      <a:pt x="45" y="905"/>
                    </a:lnTo>
                    <a:lnTo>
                      <a:pt x="41" y="915"/>
                    </a:lnTo>
                    <a:lnTo>
                      <a:pt x="40" y="920"/>
                    </a:lnTo>
                    <a:lnTo>
                      <a:pt x="38" y="920"/>
                    </a:lnTo>
                    <a:lnTo>
                      <a:pt x="35" y="920"/>
                    </a:lnTo>
                    <a:lnTo>
                      <a:pt x="29" y="921"/>
                    </a:lnTo>
                    <a:lnTo>
                      <a:pt x="22" y="922"/>
                    </a:lnTo>
                    <a:lnTo>
                      <a:pt x="15" y="924"/>
                    </a:lnTo>
                    <a:lnTo>
                      <a:pt x="10" y="927"/>
                    </a:lnTo>
                    <a:lnTo>
                      <a:pt x="4" y="931"/>
                    </a:lnTo>
                    <a:lnTo>
                      <a:pt x="0" y="937"/>
                    </a:lnTo>
                    <a:lnTo>
                      <a:pt x="3" y="937"/>
                    </a:lnTo>
                    <a:lnTo>
                      <a:pt x="9" y="939"/>
                    </a:lnTo>
                    <a:lnTo>
                      <a:pt x="15" y="943"/>
                    </a:lnTo>
                    <a:lnTo>
                      <a:pt x="21" y="952"/>
                    </a:lnTo>
                    <a:lnTo>
                      <a:pt x="50" y="941"/>
                    </a:lnTo>
                    <a:lnTo>
                      <a:pt x="49" y="944"/>
                    </a:lnTo>
                    <a:lnTo>
                      <a:pt x="44" y="952"/>
                    </a:lnTo>
                    <a:lnTo>
                      <a:pt x="37" y="960"/>
                    </a:lnTo>
                    <a:lnTo>
                      <a:pt x="28" y="966"/>
                    </a:lnTo>
                    <a:lnTo>
                      <a:pt x="32" y="969"/>
                    </a:lnTo>
                    <a:lnTo>
                      <a:pt x="38" y="979"/>
                    </a:lnTo>
                    <a:lnTo>
                      <a:pt x="48" y="990"/>
                    </a:lnTo>
                    <a:lnTo>
                      <a:pt x="57" y="1002"/>
                    </a:lnTo>
                    <a:lnTo>
                      <a:pt x="62" y="1006"/>
                    </a:lnTo>
                    <a:lnTo>
                      <a:pt x="65" y="1011"/>
                    </a:lnTo>
                    <a:lnTo>
                      <a:pt x="71" y="1014"/>
                    </a:lnTo>
                    <a:lnTo>
                      <a:pt x="75" y="1017"/>
                    </a:lnTo>
                    <a:lnTo>
                      <a:pt x="81" y="1019"/>
                    </a:lnTo>
                    <a:lnTo>
                      <a:pt x="87" y="1021"/>
                    </a:lnTo>
                    <a:lnTo>
                      <a:pt x="93" y="1022"/>
                    </a:lnTo>
                    <a:lnTo>
                      <a:pt x="100" y="1022"/>
                    </a:lnTo>
                    <a:lnTo>
                      <a:pt x="106" y="1022"/>
                    </a:lnTo>
                    <a:lnTo>
                      <a:pt x="114" y="1021"/>
                    </a:lnTo>
                    <a:lnTo>
                      <a:pt x="121" y="1019"/>
                    </a:lnTo>
                    <a:lnTo>
                      <a:pt x="129" y="1017"/>
                    </a:lnTo>
                    <a:lnTo>
                      <a:pt x="135" y="1016"/>
                    </a:lnTo>
                    <a:lnTo>
                      <a:pt x="141" y="1013"/>
                    </a:lnTo>
                    <a:lnTo>
                      <a:pt x="144" y="1012"/>
                    </a:lnTo>
                    <a:lnTo>
                      <a:pt x="146" y="1012"/>
                    </a:lnTo>
                    <a:lnTo>
                      <a:pt x="147" y="1016"/>
                    </a:lnTo>
                    <a:lnTo>
                      <a:pt x="149" y="1024"/>
                    </a:lnTo>
                    <a:lnTo>
                      <a:pt x="149" y="1034"/>
                    </a:lnTo>
                    <a:lnTo>
                      <a:pt x="142" y="1041"/>
                    </a:lnTo>
                    <a:lnTo>
                      <a:pt x="133" y="1044"/>
                    </a:lnTo>
                    <a:lnTo>
                      <a:pt x="125" y="1045"/>
                    </a:lnTo>
                    <a:lnTo>
                      <a:pt x="118" y="1048"/>
                    </a:lnTo>
                    <a:lnTo>
                      <a:pt x="110" y="1051"/>
                    </a:lnTo>
                    <a:lnTo>
                      <a:pt x="101" y="1055"/>
                    </a:lnTo>
                    <a:lnTo>
                      <a:pt x="90" y="1056"/>
                    </a:lnTo>
                    <a:lnTo>
                      <a:pt x="82" y="1055"/>
                    </a:lnTo>
                    <a:lnTo>
                      <a:pt x="79" y="1055"/>
                    </a:lnTo>
                    <a:lnTo>
                      <a:pt x="60" y="1048"/>
                    </a:lnTo>
                    <a:lnTo>
                      <a:pt x="64" y="1065"/>
                    </a:lnTo>
                    <a:lnTo>
                      <a:pt x="67" y="1069"/>
                    </a:lnTo>
                    <a:lnTo>
                      <a:pt x="75" y="1075"/>
                    </a:lnTo>
                    <a:lnTo>
                      <a:pt x="86" y="1087"/>
                    </a:lnTo>
                    <a:lnTo>
                      <a:pt x="93" y="1097"/>
                    </a:lnTo>
                    <a:lnTo>
                      <a:pt x="96" y="1103"/>
                    </a:lnTo>
                    <a:lnTo>
                      <a:pt x="100" y="1111"/>
                    </a:lnTo>
                    <a:lnTo>
                      <a:pt x="104" y="1119"/>
                    </a:lnTo>
                    <a:lnTo>
                      <a:pt x="110" y="1128"/>
                    </a:lnTo>
                    <a:lnTo>
                      <a:pt x="117" y="1138"/>
                    </a:lnTo>
                    <a:lnTo>
                      <a:pt x="124" y="1147"/>
                    </a:lnTo>
                    <a:lnTo>
                      <a:pt x="131" y="1154"/>
                    </a:lnTo>
                    <a:lnTo>
                      <a:pt x="139" y="1161"/>
                    </a:lnTo>
                    <a:lnTo>
                      <a:pt x="146" y="1165"/>
                    </a:lnTo>
                    <a:lnTo>
                      <a:pt x="151" y="1169"/>
                    </a:lnTo>
                    <a:lnTo>
                      <a:pt x="156" y="1172"/>
                    </a:lnTo>
                    <a:lnTo>
                      <a:pt x="161" y="1174"/>
                    </a:lnTo>
                    <a:lnTo>
                      <a:pt x="164" y="1176"/>
                    </a:lnTo>
                    <a:lnTo>
                      <a:pt x="170" y="1177"/>
                    </a:lnTo>
                    <a:lnTo>
                      <a:pt x="177" y="1178"/>
                    </a:lnTo>
                    <a:lnTo>
                      <a:pt x="185" y="1178"/>
                    </a:lnTo>
                    <a:lnTo>
                      <a:pt x="195" y="1177"/>
                    </a:lnTo>
                    <a:lnTo>
                      <a:pt x="205" y="1174"/>
                    </a:lnTo>
                    <a:lnTo>
                      <a:pt x="216" y="1171"/>
                    </a:lnTo>
                    <a:lnTo>
                      <a:pt x="226" y="1168"/>
                    </a:lnTo>
                    <a:lnTo>
                      <a:pt x="235" y="1163"/>
                    </a:lnTo>
                    <a:lnTo>
                      <a:pt x="243" y="1160"/>
                    </a:lnTo>
                    <a:lnTo>
                      <a:pt x="250" y="1156"/>
                    </a:lnTo>
                    <a:lnTo>
                      <a:pt x="256" y="1154"/>
                    </a:lnTo>
                    <a:lnTo>
                      <a:pt x="264" y="1148"/>
                    </a:lnTo>
                    <a:lnTo>
                      <a:pt x="270" y="1140"/>
                    </a:lnTo>
                    <a:lnTo>
                      <a:pt x="275" y="1128"/>
                    </a:lnTo>
                    <a:lnTo>
                      <a:pt x="277" y="1116"/>
                    </a:lnTo>
                    <a:lnTo>
                      <a:pt x="278" y="1102"/>
                    </a:lnTo>
                    <a:lnTo>
                      <a:pt x="281" y="1090"/>
                    </a:lnTo>
                    <a:lnTo>
                      <a:pt x="287" y="1083"/>
                    </a:lnTo>
                    <a:lnTo>
                      <a:pt x="295" y="1083"/>
                    </a:lnTo>
                    <a:lnTo>
                      <a:pt x="301" y="1090"/>
                    </a:lnTo>
                    <a:lnTo>
                      <a:pt x="302" y="1098"/>
                    </a:lnTo>
                    <a:lnTo>
                      <a:pt x="302" y="1110"/>
                    </a:lnTo>
                    <a:lnTo>
                      <a:pt x="302" y="1123"/>
                    </a:lnTo>
                    <a:lnTo>
                      <a:pt x="305" y="1135"/>
                    </a:lnTo>
                    <a:lnTo>
                      <a:pt x="310" y="1149"/>
                    </a:lnTo>
                    <a:lnTo>
                      <a:pt x="315" y="1163"/>
                    </a:lnTo>
                    <a:lnTo>
                      <a:pt x="316" y="1178"/>
                    </a:lnTo>
                    <a:lnTo>
                      <a:pt x="313" y="1193"/>
                    </a:lnTo>
                    <a:lnTo>
                      <a:pt x="309" y="1208"/>
                    </a:lnTo>
                    <a:lnTo>
                      <a:pt x="306" y="1225"/>
                    </a:lnTo>
                    <a:lnTo>
                      <a:pt x="302" y="1246"/>
                    </a:lnTo>
                    <a:lnTo>
                      <a:pt x="303" y="1267"/>
                    </a:lnTo>
                    <a:lnTo>
                      <a:pt x="309" y="1283"/>
                    </a:lnTo>
                    <a:lnTo>
                      <a:pt x="315" y="1297"/>
                    </a:lnTo>
                    <a:lnTo>
                      <a:pt x="316" y="1309"/>
                    </a:lnTo>
                    <a:lnTo>
                      <a:pt x="313" y="1323"/>
                    </a:lnTo>
                    <a:lnTo>
                      <a:pt x="309" y="1338"/>
                    </a:lnTo>
                    <a:lnTo>
                      <a:pt x="308" y="1353"/>
                    </a:lnTo>
                    <a:lnTo>
                      <a:pt x="313" y="1367"/>
                    </a:lnTo>
                    <a:lnTo>
                      <a:pt x="317" y="1375"/>
                    </a:lnTo>
                    <a:lnTo>
                      <a:pt x="323" y="1386"/>
                    </a:lnTo>
                    <a:lnTo>
                      <a:pt x="329" y="1399"/>
                    </a:lnTo>
                    <a:lnTo>
                      <a:pt x="334" y="1413"/>
                    </a:lnTo>
                    <a:lnTo>
                      <a:pt x="339" y="1427"/>
                    </a:lnTo>
                    <a:lnTo>
                      <a:pt x="343" y="1441"/>
                    </a:lnTo>
                    <a:lnTo>
                      <a:pt x="345" y="1453"/>
                    </a:lnTo>
                    <a:lnTo>
                      <a:pt x="345" y="1463"/>
                    </a:lnTo>
                    <a:lnTo>
                      <a:pt x="343" y="1478"/>
                    </a:lnTo>
                    <a:lnTo>
                      <a:pt x="344" y="1492"/>
                    </a:lnTo>
                    <a:lnTo>
                      <a:pt x="347" y="1510"/>
                    </a:lnTo>
                    <a:lnTo>
                      <a:pt x="355" y="1533"/>
                    </a:lnTo>
                    <a:lnTo>
                      <a:pt x="361" y="1545"/>
                    </a:lnTo>
                    <a:lnTo>
                      <a:pt x="367" y="1558"/>
                    </a:lnTo>
                    <a:lnTo>
                      <a:pt x="372" y="1570"/>
                    </a:lnTo>
                    <a:lnTo>
                      <a:pt x="378" y="1580"/>
                    </a:lnTo>
                    <a:lnTo>
                      <a:pt x="384" y="1592"/>
                    </a:lnTo>
                    <a:lnTo>
                      <a:pt x="389" y="1602"/>
                    </a:lnTo>
                    <a:lnTo>
                      <a:pt x="393" y="1612"/>
                    </a:lnTo>
                    <a:lnTo>
                      <a:pt x="398" y="1623"/>
                    </a:lnTo>
                    <a:lnTo>
                      <a:pt x="402" y="1638"/>
                    </a:lnTo>
                    <a:lnTo>
                      <a:pt x="404" y="1647"/>
                    </a:lnTo>
                    <a:lnTo>
                      <a:pt x="405" y="1660"/>
                    </a:lnTo>
                    <a:lnTo>
                      <a:pt x="412" y="1683"/>
                    </a:lnTo>
                    <a:lnTo>
                      <a:pt x="417" y="1699"/>
                    </a:lnTo>
                    <a:lnTo>
                      <a:pt x="423" y="1714"/>
                    </a:lnTo>
                    <a:lnTo>
                      <a:pt x="430" y="1729"/>
                    </a:lnTo>
                    <a:lnTo>
                      <a:pt x="435" y="1743"/>
                    </a:lnTo>
                    <a:lnTo>
                      <a:pt x="440" y="1755"/>
                    </a:lnTo>
                    <a:lnTo>
                      <a:pt x="444" y="1767"/>
                    </a:lnTo>
                    <a:lnTo>
                      <a:pt x="446" y="1775"/>
                    </a:lnTo>
                    <a:lnTo>
                      <a:pt x="447" y="1782"/>
                    </a:lnTo>
                    <a:lnTo>
                      <a:pt x="448" y="1789"/>
                    </a:lnTo>
                    <a:lnTo>
                      <a:pt x="452" y="1796"/>
                    </a:lnTo>
                    <a:lnTo>
                      <a:pt x="457" y="1805"/>
                    </a:lnTo>
                    <a:lnTo>
                      <a:pt x="462" y="1813"/>
                    </a:lnTo>
                    <a:lnTo>
                      <a:pt x="469" y="1822"/>
                    </a:lnTo>
                    <a:lnTo>
                      <a:pt x="476" y="1829"/>
                    </a:lnTo>
                    <a:lnTo>
                      <a:pt x="483" y="1835"/>
                    </a:lnTo>
                    <a:lnTo>
                      <a:pt x="490" y="1839"/>
                    </a:lnTo>
                    <a:lnTo>
                      <a:pt x="493" y="1849"/>
                    </a:lnTo>
                    <a:lnTo>
                      <a:pt x="503" y="1869"/>
                    </a:lnTo>
                    <a:lnTo>
                      <a:pt x="513" y="1896"/>
                    </a:lnTo>
                    <a:lnTo>
                      <a:pt x="519" y="1921"/>
                    </a:lnTo>
                    <a:lnTo>
                      <a:pt x="523" y="1938"/>
                    </a:lnTo>
                    <a:lnTo>
                      <a:pt x="530" y="1951"/>
                    </a:lnTo>
                    <a:lnTo>
                      <a:pt x="537" y="1964"/>
                    </a:lnTo>
                    <a:lnTo>
                      <a:pt x="539" y="1978"/>
                    </a:lnTo>
                    <a:lnTo>
                      <a:pt x="542" y="1995"/>
                    </a:lnTo>
                    <a:lnTo>
                      <a:pt x="548" y="2012"/>
                    </a:lnTo>
                    <a:lnTo>
                      <a:pt x="556" y="2031"/>
                    </a:lnTo>
                    <a:lnTo>
                      <a:pt x="565" y="2046"/>
                    </a:lnTo>
                    <a:lnTo>
                      <a:pt x="571" y="2052"/>
                    </a:lnTo>
                    <a:lnTo>
                      <a:pt x="577" y="2062"/>
                    </a:lnTo>
                    <a:lnTo>
                      <a:pt x="586" y="2070"/>
                    </a:lnTo>
                    <a:lnTo>
                      <a:pt x="594" y="2079"/>
                    </a:lnTo>
                    <a:lnTo>
                      <a:pt x="600" y="2086"/>
                    </a:lnTo>
                    <a:lnTo>
                      <a:pt x="605" y="2093"/>
                    </a:lnTo>
                    <a:lnTo>
                      <a:pt x="610" y="2097"/>
                    </a:lnTo>
                    <a:lnTo>
                      <a:pt x="611" y="2099"/>
                    </a:lnTo>
                    <a:lnTo>
                      <a:pt x="612" y="2099"/>
                    </a:lnTo>
                    <a:lnTo>
                      <a:pt x="615" y="2100"/>
                    </a:lnTo>
                    <a:lnTo>
                      <a:pt x="620" y="2101"/>
                    </a:lnTo>
                    <a:lnTo>
                      <a:pt x="626" y="2101"/>
                    </a:lnTo>
                    <a:lnTo>
                      <a:pt x="629" y="2101"/>
                    </a:lnTo>
                    <a:lnTo>
                      <a:pt x="634" y="2101"/>
                    </a:lnTo>
                    <a:lnTo>
                      <a:pt x="637" y="2100"/>
                    </a:lnTo>
                    <a:lnTo>
                      <a:pt x="642" y="2099"/>
                    </a:lnTo>
                    <a:lnTo>
                      <a:pt x="647" y="2096"/>
                    </a:lnTo>
                    <a:lnTo>
                      <a:pt x="651" y="2095"/>
                    </a:lnTo>
                    <a:lnTo>
                      <a:pt x="656" y="2092"/>
                    </a:lnTo>
                    <a:lnTo>
                      <a:pt x="660" y="2088"/>
                    </a:lnTo>
                    <a:lnTo>
                      <a:pt x="673" y="2072"/>
                    </a:lnTo>
                    <a:lnTo>
                      <a:pt x="678" y="2057"/>
                    </a:lnTo>
                    <a:lnTo>
                      <a:pt x="680" y="2046"/>
                    </a:lnTo>
                    <a:lnTo>
                      <a:pt x="686" y="2037"/>
                    </a:lnTo>
                    <a:lnTo>
                      <a:pt x="691" y="2035"/>
                    </a:lnTo>
                    <a:lnTo>
                      <a:pt x="697" y="2032"/>
                    </a:lnTo>
                    <a:lnTo>
                      <a:pt x="704" y="2029"/>
                    </a:lnTo>
                    <a:lnTo>
                      <a:pt x="711" y="2026"/>
                    </a:lnTo>
                    <a:lnTo>
                      <a:pt x="716" y="2024"/>
                    </a:lnTo>
                    <a:lnTo>
                      <a:pt x="720" y="2021"/>
                    </a:lnTo>
                    <a:lnTo>
                      <a:pt x="724" y="2020"/>
                    </a:lnTo>
                    <a:lnTo>
                      <a:pt x="725" y="2020"/>
                    </a:lnTo>
                    <a:lnTo>
                      <a:pt x="725" y="2018"/>
                    </a:lnTo>
                    <a:lnTo>
                      <a:pt x="726" y="2012"/>
                    </a:lnTo>
                    <a:lnTo>
                      <a:pt x="728" y="2004"/>
                    </a:lnTo>
                    <a:lnTo>
                      <a:pt x="732" y="1995"/>
                    </a:lnTo>
                    <a:lnTo>
                      <a:pt x="738" y="1987"/>
                    </a:lnTo>
                    <a:lnTo>
                      <a:pt x="746" y="1978"/>
                    </a:lnTo>
                    <a:lnTo>
                      <a:pt x="752" y="1968"/>
                    </a:lnTo>
                    <a:lnTo>
                      <a:pt x="757" y="1959"/>
                    </a:lnTo>
                    <a:lnTo>
                      <a:pt x="761" y="1953"/>
                    </a:lnTo>
                    <a:lnTo>
                      <a:pt x="766" y="1950"/>
                    </a:lnTo>
                    <a:lnTo>
                      <a:pt x="773" y="1949"/>
                    </a:lnTo>
                    <a:lnTo>
                      <a:pt x="781" y="1949"/>
                    </a:lnTo>
                    <a:lnTo>
                      <a:pt x="789" y="1948"/>
                    </a:lnTo>
                    <a:lnTo>
                      <a:pt x="796" y="1943"/>
                    </a:lnTo>
                    <a:lnTo>
                      <a:pt x="801" y="1940"/>
                    </a:lnTo>
                    <a:lnTo>
                      <a:pt x="803" y="1938"/>
                    </a:lnTo>
                    <a:lnTo>
                      <a:pt x="803" y="1934"/>
                    </a:lnTo>
                    <a:lnTo>
                      <a:pt x="802" y="1922"/>
                    </a:lnTo>
                    <a:lnTo>
                      <a:pt x="802" y="1908"/>
                    </a:lnTo>
                    <a:lnTo>
                      <a:pt x="803" y="1896"/>
                    </a:lnTo>
                    <a:lnTo>
                      <a:pt x="802" y="1884"/>
                    </a:lnTo>
                    <a:lnTo>
                      <a:pt x="797" y="1872"/>
                    </a:lnTo>
                    <a:lnTo>
                      <a:pt x="791" y="1859"/>
                    </a:lnTo>
                    <a:lnTo>
                      <a:pt x="788" y="1850"/>
                    </a:lnTo>
                    <a:lnTo>
                      <a:pt x="789" y="1842"/>
                    </a:lnTo>
                    <a:lnTo>
                      <a:pt x="794" y="1834"/>
                    </a:lnTo>
                    <a:lnTo>
                      <a:pt x="801" y="1824"/>
                    </a:lnTo>
                    <a:lnTo>
                      <a:pt x="810" y="1810"/>
                    </a:lnTo>
                    <a:lnTo>
                      <a:pt x="820" y="1792"/>
                    </a:lnTo>
                    <a:lnTo>
                      <a:pt x="829" y="1764"/>
                    </a:lnTo>
                    <a:lnTo>
                      <a:pt x="829" y="1725"/>
                    </a:lnTo>
                    <a:lnTo>
                      <a:pt x="817" y="1669"/>
                    </a:lnTo>
                    <a:lnTo>
                      <a:pt x="817" y="1661"/>
                    </a:lnTo>
                    <a:lnTo>
                      <a:pt x="817" y="1640"/>
                    </a:lnTo>
                    <a:lnTo>
                      <a:pt x="816" y="1616"/>
                    </a:lnTo>
                    <a:lnTo>
                      <a:pt x="814" y="1594"/>
                    </a:lnTo>
                    <a:lnTo>
                      <a:pt x="814" y="1577"/>
                    </a:lnTo>
                    <a:lnTo>
                      <a:pt x="819" y="1563"/>
                    </a:lnTo>
                    <a:lnTo>
                      <a:pt x="830" y="1552"/>
                    </a:lnTo>
                    <a:lnTo>
                      <a:pt x="842" y="1548"/>
                    </a:lnTo>
                    <a:lnTo>
                      <a:pt x="853" y="1547"/>
                    </a:lnTo>
                    <a:lnTo>
                      <a:pt x="858" y="1548"/>
                    </a:lnTo>
                    <a:lnTo>
                      <a:pt x="861" y="1550"/>
                    </a:lnTo>
                    <a:lnTo>
                      <a:pt x="862" y="1551"/>
                    </a:lnTo>
                    <a:lnTo>
                      <a:pt x="867" y="1550"/>
                    </a:lnTo>
                    <a:lnTo>
                      <a:pt x="877" y="1545"/>
                    </a:lnTo>
                    <a:lnTo>
                      <a:pt x="887" y="1537"/>
                    </a:lnTo>
                    <a:lnTo>
                      <a:pt x="894" y="1526"/>
                    </a:lnTo>
                    <a:lnTo>
                      <a:pt x="900" y="1516"/>
                    </a:lnTo>
                    <a:lnTo>
                      <a:pt x="908" y="1509"/>
                    </a:lnTo>
                    <a:lnTo>
                      <a:pt x="915" y="1506"/>
                    </a:lnTo>
                    <a:lnTo>
                      <a:pt x="918" y="1505"/>
                    </a:lnTo>
                    <a:lnTo>
                      <a:pt x="921" y="1505"/>
                    </a:lnTo>
                    <a:lnTo>
                      <a:pt x="925" y="1505"/>
                    </a:lnTo>
                    <a:lnTo>
                      <a:pt x="933" y="1504"/>
                    </a:lnTo>
                    <a:lnTo>
                      <a:pt x="943" y="1503"/>
                    </a:lnTo>
                    <a:lnTo>
                      <a:pt x="952" y="1502"/>
                    </a:lnTo>
                    <a:lnTo>
                      <a:pt x="961" y="1499"/>
                    </a:lnTo>
                    <a:lnTo>
                      <a:pt x="968" y="1495"/>
                    </a:lnTo>
                    <a:lnTo>
                      <a:pt x="972" y="1490"/>
                    </a:lnTo>
                    <a:lnTo>
                      <a:pt x="974" y="1484"/>
                    </a:lnTo>
                    <a:lnTo>
                      <a:pt x="972" y="1479"/>
                    </a:lnTo>
                    <a:lnTo>
                      <a:pt x="969" y="1472"/>
                    </a:lnTo>
                    <a:lnTo>
                      <a:pt x="967" y="1465"/>
                    </a:lnTo>
                    <a:lnTo>
                      <a:pt x="966" y="1458"/>
                    </a:lnTo>
                    <a:lnTo>
                      <a:pt x="967" y="1451"/>
                    </a:lnTo>
                    <a:lnTo>
                      <a:pt x="972" y="1445"/>
                    </a:lnTo>
                    <a:lnTo>
                      <a:pt x="983" y="1441"/>
                    </a:lnTo>
                    <a:lnTo>
                      <a:pt x="995" y="1436"/>
                    </a:lnTo>
                    <a:lnTo>
                      <a:pt x="1005" y="1430"/>
                    </a:lnTo>
                    <a:lnTo>
                      <a:pt x="1013" y="1423"/>
                    </a:lnTo>
                    <a:lnTo>
                      <a:pt x="1021" y="1416"/>
                    </a:lnTo>
                    <a:lnTo>
                      <a:pt x="1028" y="1408"/>
                    </a:lnTo>
                    <a:lnTo>
                      <a:pt x="1033" y="1400"/>
                    </a:lnTo>
                    <a:lnTo>
                      <a:pt x="1042" y="1392"/>
                    </a:lnTo>
                    <a:lnTo>
                      <a:pt x="1050" y="1384"/>
                    </a:lnTo>
                    <a:lnTo>
                      <a:pt x="1060" y="1376"/>
                    </a:lnTo>
                    <a:lnTo>
                      <a:pt x="1070" y="1368"/>
                    </a:lnTo>
                    <a:lnTo>
                      <a:pt x="1082" y="1359"/>
                    </a:lnTo>
                    <a:lnTo>
                      <a:pt x="1093" y="1351"/>
                    </a:lnTo>
                    <a:lnTo>
                      <a:pt x="1104" y="1342"/>
                    </a:lnTo>
                    <a:lnTo>
                      <a:pt x="1113" y="1331"/>
                    </a:lnTo>
                    <a:lnTo>
                      <a:pt x="1122" y="1321"/>
                    </a:lnTo>
                    <a:lnTo>
                      <a:pt x="1128" y="1309"/>
                    </a:lnTo>
                    <a:lnTo>
                      <a:pt x="1135" y="1298"/>
                    </a:lnTo>
                    <a:lnTo>
                      <a:pt x="1142" y="1287"/>
                    </a:lnTo>
                    <a:lnTo>
                      <a:pt x="1151" y="1279"/>
                    </a:lnTo>
                    <a:lnTo>
                      <a:pt x="1160" y="1271"/>
                    </a:lnTo>
                    <a:lnTo>
                      <a:pt x="1169" y="1264"/>
                    </a:lnTo>
                    <a:lnTo>
                      <a:pt x="1179" y="1259"/>
                    </a:lnTo>
                    <a:lnTo>
                      <a:pt x="1186" y="1254"/>
                    </a:lnTo>
                    <a:lnTo>
                      <a:pt x="1192" y="1249"/>
                    </a:lnTo>
                    <a:lnTo>
                      <a:pt x="1198" y="1246"/>
                    </a:lnTo>
                    <a:lnTo>
                      <a:pt x="1206" y="1244"/>
                    </a:lnTo>
                    <a:lnTo>
                      <a:pt x="1214" y="1242"/>
                    </a:lnTo>
                    <a:lnTo>
                      <a:pt x="1222" y="1241"/>
                    </a:lnTo>
                    <a:lnTo>
                      <a:pt x="1230" y="1240"/>
                    </a:lnTo>
                    <a:lnTo>
                      <a:pt x="1237" y="1239"/>
                    </a:lnTo>
                    <a:lnTo>
                      <a:pt x="1243" y="1236"/>
                    </a:lnTo>
                    <a:lnTo>
                      <a:pt x="1245" y="1231"/>
                    </a:lnTo>
                    <a:lnTo>
                      <a:pt x="1250" y="1218"/>
                    </a:lnTo>
                    <a:lnTo>
                      <a:pt x="1259" y="1204"/>
                    </a:lnTo>
                    <a:lnTo>
                      <a:pt x="1268" y="1192"/>
                    </a:lnTo>
                    <a:lnTo>
                      <a:pt x="1278" y="1181"/>
                    </a:lnTo>
                    <a:lnTo>
                      <a:pt x="1281" y="1172"/>
                    </a:lnTo>
                    <a:lnTo>
                      <a:pt x="1278" y="1162"/>
                    </a:lnTo>
                    <a:lnTo>
                      <a:pt x="1273" y="1153"/>
                    </a:lnTo>
                    <a:lnTo>
                      <a:pt x="1271" y="1149"/>
                    </a:lnTo>
                    <a:lnTo>
                      <a:pt x="1270" y="1147"/>
                    </a:lnTo>
                    <a:lnTo>
                      <a:pt x="1270" y="1140"/>
                    </a:lnTo>
                    <a:lnTo>
                      <a:pt x="1274" y="1130"/>
                    </a:lnTo>
                    <a:lnTo>
                      <a:pt x="1288" y="1116"/>
                    </a:lnTo>
                    <a:lnTo>
                      <a:pt x="1297" y="1109"/>
                    </a:lnTo>
                    <a:lnTo>
                      <a:pt x="1306" y="1103"/>
                    </a:lnTo>
                    <a:lnTo>
                      <a:pt x="1315" y="1098"/>
                    </a:lnTo>
                    <a:lnTo>
                      <a:pt x="1321" y="1096"/>
                    </a:lnTo>
                    <a:lnTo>
                      <a:pt x="1328" y="1094"/>
                    </a:lnTo>
                    <a:lnTo>
                      <a:pt x="1335" y="1094"/>
                    </a:lnTo>
                    <a:lnTo>
                      <a:pt x="1340" y="1095"/>
                    </a:lnTo>
                    <a:lnTo>
                      <a:pt x="1344" y="1097"/>
                    </a:lnTo>
                    <a:lnTo>
                      <a:pt x="1349" y="1100"/>
                    </a:lnTo>
                    <a:lnTo>
                      <a:pt x="1354" y="1101"/>
                    </a:lnTo>
                    <a:lnTo>
                      <a:pt x="1358" y="1102"/>
                    </a:lnTo>
                    <a:lnTo>
                      <a:pt x="1363" y="1103"/>
                    </a:lnTo>
                    <a:lnTo>
                      <a:pt x="1369" y="1103"/>
                    </a:lnTo>
                    <a:lnTo>
                      <a:pt x="1373" y="1103"/>
                    </a:lnTo>
                    <a:lnTo>
                      <a:pt x="1379" y="1102"/>
                    </a:lnTo>
                    <a:lnTo>
                      <a:pt x="1384" y="1101"/>
                    </a:lnTo>
                    <a:lnTo>
                      <a:pt x="1395" y="1098"/>
                    </a:lnTo>
                    <a:lnTo>
                      <a:pt x="1405" y="1096"/>
                    </a:lnTo>
                    <a:lnTo>
                      <a:pt x="1412" y="1095"/>
                    </a:lnTo>
                    <a:lnTo>
                      <a:pt x="1416" y="1094"/>
                    </a:lnTo>
                    <a:lnTo>
                      <a:pt x="1415" y="1086"/>
                    </a:lnTo>
                    <a:lnTo>
                      <a:pt x="1414" y="1069"/>
                    </a:lnTo>
                    <a:lnTo>
                      <a:pt x="1411" y="1045"/>
                    </a:lnTo>
                    <a:lnTo>
                      <a:pt x="1409" y="1026"/>
                    </a:lnTo>
                    <a:lnTo>
                      <a:pt x="1404" y="1005"/>
                    </a:lnTo>
                    <a:lnTo>
                      <a:pt x="1397" y="981"/>
                    </a:lnTo>
                    <a:lnTo>
                      <a:pt x="1387" y="959"/>
                    </a:lnTo>
                    <a:lnTo>
                      <a:pt x="1377" y="949"/>
                    </a:lnTo>
                    <a:lnTo>
                      <a:pt x="1379" y="945"/>
                    </a:lnTo>
                    <a:lnTo>
                      <a:pt x="1384" y="937"/>
                    </a:lnTo>
                    <a:lnTo>
                      <a:pt x="1387" y="927"/>
                    </a:lnTo>
                    <a:lnTo>
                      <a:pt x="1387" y="916"/>
                    </a:lnTo>
                    <a:lnTo>
                      <a:pt x="1385" y="907"/>
                    </a:lnTo>
                    <a:lnTo>
                      <a:pt x="1381" y="901"/>
                    </a:lnTo>
                    <a:lnTo>
                      <a:pt x="1377" y="898"/>
                    </a:lnTo>
                    <a:lnTo>
                      <a:pt x="1370" y="895"/>
                    </a:lnTo>
                    <a:lnTo>
                      <a:pt x="1365" y="892"/>
                    </a:lnTo>
                    <a:lnTo>
                      <a:pt x="1359" y="890"/>
                    </a:lnTo>
                    <a:lnTo>
                      <a:pt x="1354" y="888"/>
                    </a:lnTo>
                    <a:lnTo>
                      <a:pt x="1348" y="884"/>
                    </a:lnTo>
                    <a:lnTo>
                      <a:pt x="1342" y="882"/>
                    </a:lnTo>
                    <a:lnTo>
                      <a:pt x="1339" y="880"/>
                    </a:lnTo>
                    <a:lnTo>
                      <a:pt x="1335" y="878"/>
                    </a:lnTo>
                    <a:lnTo>
                      <a:pt x="1334" y="877"/>
                    </a:lnTo>
                    <a:lnTo>
                      <a:pt x="1335" y="876"/>
                    </a:lnTo>
                    <a:lnTo>
                      <a:pt x="1339" y="873"/>
                    </a:lnTo>
                    <a:lnTo>
                      <a:pt x="1344" y="867"/>
                    </a:lnTo>
                    <a:lnTo>
                      <a:pt x="1350" y="861"/>
                    </a:lnTo>
                    <a:lnTo>
                      <a:pt x="1357" y="855"/>
                    </a:lnTo>
                    <a:lnTo>
                      <a:pt x="1364" y="850"/>
                    </a:lnTo>
                    <a:lnTo>
                      <a:pt x="1371" y="846"/>
                    </a:lnTo>
                    <a:lnTo>
                      <a:pt x="1377" y="845"/>
                    </a:lnTo>
                    <a:lnTo>
                      <a:pt x="1385" y="840"/>
                    </a:lnTo>
                    <a:lnTo>
                      <a:pt x="1387" y="829"/>
                    </a:lnTo>
                    <a:lnTo>
                      <a:pt x="1384" y="817"/>
                    </a:lnTo>
                    <a:lnTo>
                      <a:pt x="1373" y="813"/>
                    </a:lnTo>
                    <a:lnTo>
                      <a:pt x="1366" y="813"/>
                    </a:lnTo>
                    <a:lnTo>
                      <a:pt x="1361" y="810"/>
                    </a:lnTo>
                    <a:lnTo>
                      <a:pt x="1354" y="807"/>
                    </a:lnTo>
                    <a:lnTo>
                      <a:pt x="1349" y="802"/>
                    </a:lnTo>
                    <a:lnTo>
                      <a:pt x="1346" y="795"/>
                    </a:lnTo>
                    <a:lnTo>
                      <a:pt x="1343" y="786"/>
                    </a:lnTo>
                    <a:lnTo>
                      <a:pt x="1344" y="775"/>
                    </a:lnTo>
                    <a:lnTo>
                      <a:pt x="1348" y="760"/>
                    </a:lnTo>
                    <a:lnTo>
                      <a:pt x="1350" y="761"/>
                    </a:lnTo>
                    <a:lnTo>
                      <a:pt x="1356" y="763"/>
                    </a:lnTo>
                    <a:lnTo>
                      <a:pt x="1365" y="767"/>
                    </a:lnTo>
                    <a:lnTo>
                      <a:pt x="1376" y="772"/>
                    </a:lnTo>
                    <a:lnTo>
                      <a:pt x="1387" y="777"/>
                    </a:lnTo>
                    <a:lnTo>
                      <a:pt x="1397" y="783"/>
                    </a:lnTo>
                    <a:lnTo>
                      <a:pt x="1408" y="787"/>
                    </a:lnTo>
                    <a:lnTo>
                      <a:pt x="1416" y="792"/>
                    </a:lnTo>
                    <a:lnTo>
                      <a:pt x="1425" y="801"/>
                    </a:lnTo>
                    <a:lnTo>
                      <a:pt x="1430" y="814"/>
                    </a:lnTo>
                    <a:lnTo>
                      <a:pt x="1433" y="827"/>
                    </a:lnTo>
                    <a:lnTo>
                      <a:pt x="1441" y="838"/>
                    </a:lnTo>
                    <a:lnTo>
                      <a:pt x="1447" y="843"/>
                    </a:lnTo>
                    <a:lnTo>
                      <a:pt x="1454" y="845"/>
                    </a:lnTo>
                    <a:lnTo>
                      <a:pt x="1462" y="847"/>
                    </a:lnTo>
                    <a:lnTo>
                      <a:pt x="1470" y="848"/>
                    </a:lnTo>
                    <a:lnTo>
                      <a:pt x="1479" y="848"/>
                    </a:lnTo>
                    <a:lnTo>
                      <a:pt x="1488" y="847"/>
                    </a:lnTo>
                    <a:lnTo>
                      <a:pt x="1496" y="846"/>
                    </a:lnTo>
                    <a:lnTo>
                      <a:pt x="1505" y="845"/>
                    </a:lnTo>
                    <a:lnTo>
                      <a:pt x="1515" y="844"/>
                    </a:lnTo>
                    <a:lnTo>
                      <a:pt x="1528" y="844"/>
                    </a:lnTo>
                    <a:lnTo>
                      <a:pt x="1543" y="844"/>
                    </a:lnTo>
                    <a:lnTo>
                      <a:pt x="1558" y="844"/>
                    </a:lnTo>
                    <a:lnTo>
                      <a:pt x="1571" y="844"/>
                    </a:lnTo>
                    <a:lnTo>
                      <a:pt x="1583" y="845"/>
                    </a:lnTo>
                    <a:lnTo>
                      <a:pt x="1590" y="845"/>
                    </a:lnTo>
                    <a:lnTo>
                      <a:pt x="1593" y="845"/>
                    </a:lnTo>
                    <a:lnTo>
                      <a:pt x="1591" y="850"/>
                    </a:lnTo>
                    <a:lnTo>
                      <a:pt x="1586" y="862"/>
                    </a:lnTo>
                    <a:lnTo>
                      <a:pt x="1581" y="875"/>
                    </a:lnTo>
                    <a:lnTo>
                      <a:pt x="1572" y="884"/>
                    </a:lnTo>
                    <a:lnTo>
                      <a:pt x="1568" y="888"/>
                    </a:lnTo>
                    <a:lnTo>
                      <a:pt x="1561" y="892"/>
                    </a:lnTo>
                    <a:lnTo>
                      <a:pt x="1553" y="898"/>
                    </a:lnTo>
                    <a:lnTo>
                      <a:pt x="1545" y="905"/>
                    </a:lnTo>
                    <a:lnTo>
                      <a:pt x="1538" y="912"/>
                    </a:lnTo>
                    <a:lnTo>
                      <a:pt x="1531" y="919"/>
                    </a:lnTo>
                    <a:lnTo>
                      <a:pt x="1525" y="924"/>
                    </a:lnTo>
                    <a:lnTo>
                      <a:pt x="1523" y="930"/>
                    </a:lnTo>
                    <a:lnTo>
                      <a:pt x="1524" y="941"/>
                    </a:lnTo>
                    <a:lnTo>
                      <a:pt x="1530" y="951"/>
                    </a:lnTo>
                    <a:lnTo>
                      <a:pt x="1537" y="961"/>
                    </a:lnTo>
                    <a:lnTo>
                      <a:pt x="1544" y="973"/>
                    </a:lnTo>
                    <a:lnTo>
                      <a:pt x="1551" y="987"/>
                    </a:lnTo>
                    <a:lnTo>
                      <a:pt x="1561" y="997"/>
                    </a:lnTo>
                    <a:lnTo>
                      <a:pt x="1569" y="1005"/>
                    </a:lnTo>
                    <a:lnTo>
                      <a:pt x="1572" y="1009"/>
                    </a:lnTo>
                    <a:lnTo>
                      <a:pt x="1576" y="1006"/>
                    </a:lnTo>
                    <a:lnTo>
                      <a:pt x="1585" y="999"/>
                    </a:lnTo>
                    <a:lnTo>
                      <a:pt x="1593" y="989"/>
                    </a:lnTo>
                    <a:lnTo>
                      <a:pt x="1597" y="976"/>
                    </a:lnTo>
                    <a:lnTo>
                      <a:pt x="1598" y="963"/>
                    </a:lnTo>
                    <a:lnTo>
                      <a:pt x="1601" y="951"/>
                    </a:lnTo>
                    <a:lnTo>
                      <a:pt x="1606" y="949"/>
                    </a:lnTo>
                    <a:lnTo>
                      <a:pt x="1612" y="963"/>
                    </a:lnTo>
                    <a:lnTo>
                      <a:pt x="1619" y="987"/>
                    </a:lnTo>
                    <a:lnTo>
                      <a:pt x="1627" y="1010"/>
                    </a:lnTo>
                    <a:lnTo>
                      <a:pt x="1634" y="1029"/>
                    </a:lnTo>
                    <a:lnTo>
                      <a:pt x="1636" y="1041"/>
                    </a:lnTo>
                    <a:lnTo>
                      <a:pt x="1637" y="1044"/>
                    </a:lnTo>
                    <a:lnTo>
                      <a:pt x="1639" y="1049"/>
                    </a:lnTo>
                    <a:lnTo>
                      <a:pt x="1643" y="1052"/>
                    </a:lnTo>
                    <a:lnTo>
                      <a:pt x="1647" y="1056"/>
                    </a:lnTo>
                    <a:lnTo>
                      <a:pt x="1653" y="1059"/>
                    </a:lnTo>
                    <a:lnTo>
                      <a:pt x="1659" y="1062"/>
                    </a:lnTo>
                    <a:lnTo>
                      <a:pt x="1665" y="1062"/>
                    </a:lnTo>
                    <a:lnTo>
                      <a:pt x="1672" y="1062"/>
                    </a:lnTo>
                    <a:lnTo>
                      <a:pt x="1682" y="1057"/>
                    </a:lnTo>
                    <a:lnTo>
                      <a:pt x="1688" y="1049"/>
                    </a:lnTo>
                    <a:lnTo>
                      <a:pt x="1690" y="1040"/>
                    </a:lnTo>
                    <a:lnTo>
                      <a:pt x="1690" y="1030"/>
                    </a:lnTo>
                    <a:lnTo>
                      <a:pt x="1689" y="1020"/>
                    </a:lnTo>
                    <a:lnTo>
                      <a:pt x="1686" y="1006"/>
                    </a:lnTo>
                    <a:lnTo>
                      <a:pt x="1686" y="994"/>
                    </a:lnTo>
                    <a:lnTo>
                      <a:pt x="1690" y="983"/>
                    </a:lnTo>
                    <a:lnTo>
                      <a:pt x="1693" y="976"/>
                    </a:lnTo>
                    <a:lnTo>
                      <a:pt x="1696" y="971"/>
                    </a:lnTo>
                    <a:lnTo>
                      <a:pt x="1697" y="963"/>
                    </a:lnTo>
                    <a:lnTo>
                      <a:pt x="1697" y="949"/>
                    </a:lnTo>
                    <a:lnTo>
                      <a:pt x="1697" y="933"/>
                    </a:lnTo>
                    <a:lnTo>
                      <a:pt x="1697" y="922"/>
                    </a:lnTo>
                    <a:lnTo>
                      <a:pt x="1700" y="916"/>
                    </a:lnTo>
                    <a:lnTo>
                      <a:pt x="1707" y="916"/>
                    </a:lnTo>
                    <a:lnTo>
                      <a:pt x="1713" y="918"/>
                    </a:lnTo>
                    <a:lnTo>
                      <a:pt x="1718" y="919"/>
                    </a:lnTo>
                    <a:lnTo>
                      <a:pt x="1723" y="921"/>
                    </a:lnTo>
                    <a:lnTo>
                      <a:pt x="1729" y="921"/>
                    </a:lnTo>
                    <a:lnTo>
                      <a:pt x="1734" y="921"/>
                    </a:lnTo>
                    <a:lnTo>
                      <a:pt x="1738" y="920"/>
                    </a:lnTo>
                    <a:lnTo>
                      <a:pt x="1741" y="918"/>
                    </a:lnTo>
                    <a:lnTo>
                      <a:pt x="1743" y="913"/>
                    </a:lnTo>
                    <a:lnTo>
                      <a:pt x="1749" y="900"/>
                    </a:lnTo>
                    <a:lnTo>
                      <a:pt x="1757" y="884"/>
                    </a:lnTo>
                    <a:lnTo>
                      <a:pt x="1764" y="867"/>
                    </a:lnTo>
                    <a:lnTo>
                      <a:pt x="1767" y="848"/>
                    </a:lnTo>
                    <a:lnTo>
                      <a:pt x="1767" y="831"/>
                    </a:lnTo>
                    <a:lnTo>
                      <a:pt x="1767" y="816"/>
                    </a:lnTo>
                    <a:lnTo>
                      <a:pt x="1767" y="806"/>
                    </a:lnTo>
                    <a:lnTo>
                      <a:pt x="1767" y="802"/>
                    </a:lnTo>
                    <a:lnTo>
                      <a:pt x="1782" y="775"/>
                    </a:lnTo>
                    <a:lnTo>
                      <a:pt x="1783" y="771"/>
                    </a:lnTo>
                    <a:lnTo>
                      <a:pt x="1786" y="761"/>
                    </a:lnTo>
                    <a:lnTo>
                      <a:pt x="1787" y="746"/>
                    </a:lnTo>
                    <a:lnTo>
                      <a:pt x="1786" y="727"/>
                    </a:lnTo>
                    <a:lnTo>
                      <a:pt x="1786" y="712"/>
                    </a:lnTo>
                    <a:lnTo>
                      <a:pt x="1789" y="702"/>
                    </a:lnTo>
                    <a:lnTo>
                      <a:pt x="1795" y="696"/>
                    </a:lnTo>
                    <a:lnTo>
                      <a:pt x="1803" y="693"/>
                    </a:lnTo>
                    <a:lnTo>
                      <a:pt x="1810" y="689"/>
                    </a:lnTo>
                    <a:lnTo>
                      <a:pt x="1817" y="686"/>
                    </a:lnTo>
                    <a:lnTo>
                      <a:pt x="1821" y="680"/>
                    </a:lnTo>
                    <a:lnTo>
                      <a:pt x="1825" y="671"/>
                    </a:lnTo>
                    <a:lnTo>
                      <a:pt x="1826" y="666"/>
                    </a:lnTo>
                    <a:lnTo>
                      <a:pt x="1828" y="662"/>
                    </a:lnTo>
                    <a:lnTo>
                      <a:pt x="1832" y="658"/>
                    </a:lnTo>
                    <a:lnTo>
                      <a:pt x="1836" y="655"/>
                    </a:lnTo>
                    <a:lnTo>
                      <a:pt x="1842" y="653"/>
                    </a:lnTo>
                    <a:lnTo>
                      <a:pt x="1850" y="650"/>
                    </a:lnTo>
                    <a:lnTo>
                      <a:pt x="1862" y="648"/>
                    </a:lnTo>
                    <a:lnTo>
                      <a:pt x="1874" y="647"/>
                    </a:lnTo>
                    <a:lnTo>
                      <a:pt x="1885" y="632"/>
                    </a:lnTo>
                    <a:lnTo>
                      <a:pt x="1883" y="630"/>
                    </a:lnTo>
                    <a:lnTo>
                      <a:pt x="1882" y="625"/>
                    </a:lnTo>
                    <a:lnTo>
                      <a:pt x="1883" y="619"/>
                    </a:lnTo>
                    <a:lnTo>
                      <a:pt x="1888" y="615"/>
                    </a:lnTo>
                    <a:lnTo>
                      <a:pt x="1895" y="605"/>
                    </a:lnTo>
                    <a:lnTo>
                      <a:pt x="1900" y="590"/>
                    </a:lnTo>
                    <a:lnTo>
                      <a:pt x="1902" y="575"/>
                    </a:lnTo>
                    <a:lnTo>
                      <a:pt x="1903" y="568"/>
                    </a:lnTo>
                    <a:lnTo>
                      <a:pt x="1856" y="553"/>
                    </a:lnTo>
                    <a:close/>
                  </a:path>
                </a:pathLst>
              </a:custGeom>
              <a:gradFill flip="none" rotWithShape="1">
                <a:gsLst>
                  <a:gs pos="0">
                    <a:srgbClr val="007BA8">
                      <a:alpha val="94000"/>
                    </a:srgbClr>
                  </a:gs>
                  <a:gs pos="100000">
                    <a:srgbClr val="00ABAB"/>
                  </a:gs>
                </a:gsLst>
                <a:lin ang="16200000" scaled="1"/>
                <a:tileRect/>
              </a:gradFill>
              <a:ln w="6350">
                <a:noFill/>
                <a:round/>
                <a:headEnd/>
                <a:tailEn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sp>
            <p:nvSpPr>
              <p:cNvPr id="276" name="TextBox 290">
                <a:extLst>
                  <a:ext uri="{FF2B5EF4-FFF2-40B4-BE49-F238E27FC236}">
                    <a16:creationId xmlns:a16="http://schemas.microsoft.com/office/drawing/2014/main" id="{6D916647-E9B0-91C1-0410-8E84879C3D96}"/>
                  </a:ext>
                </a:extLst>
              </p:cNvPr>
              <p:cNvSpPr txBox="1">
                <a:spLocks noChangeArrowheads="1"/>
              </p:cNvSpPr>
              <p:nvPr/>
            </p:nvSpPr>
            <p:spPr bwMode="auto">
              <a:xfrm>
                <a:off x="1311659" y="2518436"/>
                <a:ext cx="489738" cy="114583"/>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rPr>
                  <a:t>New Delhi</a:t>
                </a:r>
              </a:p>
            </p:txBody>
          </p:sp>
          <p:sp>
            <p:nvSpPr>
              <p:cNvPr id="278" name="Oval 277">
                <a:extLst>
                  <a:ext uri="{FF2B5EF4-FFF2-40B4-BE49-F238E27FC236}">
                    <a16:creationId xmlns:a16="http://schemas.microsoft.com/office/drawing/2014/main" id="{A914C308-0873-E105-12C5-DEB29C5B4D7D}"/>
                  </a:ext>
                </a:extLst>
              </p:cNvPr>
              <p:cNvSpPr/>
              <p:nvPr/>
            </p:nvSpPr>
            <p:spPr>
              <a:xfrm>
                <a:off x="2030823" y="3069788"/>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279" name="Oval 278">
                <a:extLst>
                  <a:ext uri="{FF2B5EF4-FFF2-40B4-BE49-F238E27FC236}">
                    <a16:creationId xmlns:a16="http://schemas.microsoft.com/office/drawing/2014/main" id="{0A3CD58C-839E-88DC-B2F9-1D3932ED3691}"/>
                  </a:ext>
                </a:extLst>
              </p:cNvPr>
              <p:cNvSpPr/>
              <p:nvPr/>
            </p:nvSpPr>
            <p:spPr>
              <a:xfrm>
                <a:off x="2334872" y="3193508"/>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280" name="Oval 279">
                <a:extLst>
                  <a:ext uri="{FF2B5EF4-FFF2-40B4-BE49-F238E27FC236}">
                    <a16:creationId xmlns:a16="http://schemas.microsoft.com/office/drawing/2014/main" id="{A8498A75-2114-B736-000A-02A318A71323}"/>
                  </a:ext>
                </a:extLst>
              </p:cNvPr>
              <p:cNvSpPr/>
              <p:nvPr/>
            </p:nvSpPr>
            <p:spPr>
              <a:xfrm>
                <a:off x="1461723" y="2666488"/>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281" name="Oval 280">
                <a:extLst>
                  <a:ext uri="{FF2B5EF4-FFF2-40B4-BE49-F238E27FC236}">
                    <a16:creationId xmlns:a16="http://schemas.microsoft.com/office/drawing/2014/main" id="{A30BD528-D92A-9833-D578-F7EAAA2EE3D8}"/>
                  </a:ext>
                </a:extLst>
              </p:cNvPr>
              <p:cNvSpPr/>
              <p:nvPr/>
            </p:nvSpPr>
            <p:spPr>
              <a:xfrm>
                <a:off x="1112626" y="3154727"/>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283" name="Oval 282">
                <a:extLst>
                  <a:ext uri="{FF2B5EF4-FFF2-40B4-BE49-F238E27FC236}">
                    <a16:creationId xmlns:a16="http://schemas.microsoft.com/office/drawing/2014/main" id="{36E2F23F-6E1D-A1A0-912A-57936C19B641}"/>
                  </a:ext>
                </a:extLst>
              </p:cNvPr>
              <p:cNvSpPr/>
              <p:nvPr/>
            </p:nvSpPr>
            <p:spPr>
              <a:xfrm>
                <a:off x="1159881" y="3459400"/>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287" name="Oval 286">
                <a:extLst>
                  <a:ext uri="{FF2B5EF4-FFF2-40B4-BE49-F238E27FC236}">
                    <a16:creationId xmlns:a16="http://schemas.microsoft.com/office/drawing/2014/main" id="{1679852C-6E64-9F7D-38DF-BAB4B905ACF8}"/>
                  </a:ext>
                </a:extLst>
              </p:cNvPr>
              <p:cNvSpPr/>
              <p:nvPr/>
            </p:nvSpPr>
            <p:spPr>
              <a:xfrm>
                <a:off x="1680587" y="3594396"/>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288" name="Oval 287">
                <a:extLst>
                  <a:ext uri="{FF2B5EF4-FFF2-40B4-BE49-F238E27FC236}">
                    <a16:creationId xmlns:a16="http://schemas.microsoft.com/office/drawing/2014/main" id="{FA0CA01E-95C3-0125-23AC-A03534471342}"/>
                  </a:ext>
                </a:extLst>
              </p:cNvPr>
              <p:cNvSpPr/>
              <p:nvPr/>
            </p:nvSpPr>
            <p:spPr>
              <a:xfrm>
                <a:off x="1179594" y="3768050"/>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289" name="Oval 288">
                <a:extLst>
                  <a:ext uri="{FF2B5EF4-FFF2-40B4-BE49-F238E27FC236}">
                    <a16:creationId xmlns:a16="http://schemas.microsoft.com/office/drawing/2014/main" id="{580A2A3A-AEBC-6593-4C04-7F0C4ECBF4C4}"/>
                  </a:ext>
                </a:extLst>
              </p:cNvPr>
              <p:cNvSpPr/>
              <p:nvPr/>
            </p:nvSpPr>
            <p:spPr>
              <a:xfrm>
                <a:off x="1490724" y="4018330"/>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293" name="Oval 292">
                <a:extLst>
                  <a:ext uri="{FF2B5EF4-FFF2-40B4-BE49-F238E27FC236}">
                    <a16:creationId xmlns:a16="http://schemas.microsoft.com/office/drawing/2014/main" id="{E1BEB947-03DB-2448-C342-93AAD737EB47}"/>
                  </a:ext>
                </a:extLst>
              </p:cNvPr>
              <p:cNvSpPr/>
              <p:nvPr/>
            </p:nvSpPr>
            <p:spPr>
              <a:xfrm>
                <a:off x="1794309" y="4072523"/>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323" name="Oval 322">
                <a:extLst>
                  <a:ext uri="{FF2B5EF4-FFF2-40B4-BE49-F238E27FC236}">
                    <a16:creationId xmlns:a16="http://schemas.microsoft.com/office/drawing/2014/main" id="{07931F2F-43E4-F70C-042C-3A883D917112}"/>
                  </a:ext>
                </a:extLst>
              </p:cNvPr>
              <p:cNvSpPr/>
              <p:nvPr/>
            </p:nvSpPr>
            <p:spPr>
              <a:xfrm>
                <a:off x="1497560" y="4241617"/>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348" name="Oval 347">
                <a:extLst>
                  <a:ext uri="{FF2B5EF4-FFF2-40B4-BE49-F238E27FC236}">
                    <a16:creationId xmlns:a16="http://schemas.microsoft.com/office/drawing/2014/main" id="{A9369C52-A8E0-F17E-86AD-AD5417E8D7F4}"/>
                  </a:ext>
                </a:extLst>
              </p:cNvPr>
              <p:cNvSpPr/>
              <p:nvPr/>
            </p:nvSpPr>
            <p:spPr>
              <a:xfrm>
                <a:off x="1393176" y="4291325"/>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349" name="TextBox 290">
                <a:extLst>
                  <a:ext uri="{FF2B5EF4-FFF2-40B4-BE49-F238E27FC236}">
                    <a16:creationId xmlns:a16="http://schemas.microsoft.com/office/drawing/2014/main" id="{8E293708-545B-4290-9466-ECDA01BFB583}"/>
                  </a:ext>
                </a:extLst>
              </p:cNvPr>
              <p:cNvSpPr txBox="1">
                <a:spLocks noChangeArrowheads="1"/>
              </p:cNvSpPr>
              <p:nvPr/>
            </p:nvSpPr>
            <p:spPr bwMode="auto">
              <a:xfrm>
                <a:off x="1101600" y="3014760"/>
                <a:ext cx="568677" cy="114583"/>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rPr>
                  <a:t>Ahmedabad</a:t>
                </a:r>
              </a:p>
            </p:txBody>
          </p:sp>
          <p:sp>
            <p:nvSpPr>
              <p:cNvPr id="350" name="TextBox 290">
                <a:extLst>
                  <a:ext uri="{FF2B5EF4-FFF2-40B4-BE49-F238E27FC236}">
                    <a16:creationId xmlns:a16="http://schemas.microsoft.com/office/drawing/2014/main" id="{DA51B8BF-7DDB-5BF4-841F-D99504FB44A1}"/>
                  </a:ext>
                </a:extLst>
              </p:cNvPr>
              <p:cNvSpPr txBox="1">
                <a:spLocks noChangeArrowheads="1"/>
              </p:cNvSpPr>
              <p:nvPr/>
            </p:nvSpPr>
            <p:spPr bwMode="auto">
              <a:xfrm>
                <a:off x="725719" y="3449554"/>
                <a:ext cx="413766" cy="114583"/>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rPr>
                  <a:t>Mumbai</a:t>
                </a:r>
              </a:p>
            </p:txBody>
          </p:sp>
          <p:sp>
            <p:nvSpPr>
              <p:cNvPr id="351" name="TextBox 290">
                <a:extLst>
                  <a:ext uri="{FF2B5EF4-FFF2-40B4-BE49-F238E27FC236}">
                    <a16:creationId xmlns:a16="http://schemas.microsoft.com/office/drawing/2014/main" id="{6E4D952D-3058-6802-A96C-0317CD9148E6}"/>
                  </a:ext>
                </a:extLst>
              </p:cNvPr>
              <p:cNvSpPr txBox="1">
                <a:spLocks noChangeArrowheads="1"/>
              </p:cNvSpPr>
              <p:nvPr/>
            </p:nvSpPr>
            <p:spPr bwMode="auto">
              <a:xfrm>
                <a:off x="1217036" y="3618346"/>
                <a:ext cx="306396" cy="114583"/>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rPr>
                  <a:t>Pune</a:t>
                </a:r>
              </a:p>
            </p:txBody>
          </p:sp>
          <p:sp>
            <p:nvSpPr>
              <p:cNvPr id="352" name="TextBox 290">
                <a:extLst>
                  <a:ext uri="{FF2B5EF4-FFF2-40B4-BE49-F238E27FC236}">
                    <a16:creationId xmlns:a16="http://schemas.microsoft.com/office/drawing/2014/main" id="{F03543E1-156F-A62C-FE63-8E02B7E73AD7}"/>
                  </a:ext>
                </a:extLst>
              </p:cNvPr>
              <p:cNvSpPr txBox="1">
                <a:spLocks noChangeArrowheads="1"/>
              </p:cNvSpPr>
              <p:nvPr/>
            </p:nvSpPr>
            <p:spPr bwMode="auto">
              <a:xfrm>
                <a:off x="1293469" y="3741165"/>
                <a:ext cx="226739" cy="114583"/>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rPr>
                  <a:t>Goa</a:t>
                </a:r>
              </a:p>
            </p:txBody>
          </p:sp>
          <p:sp>
            <p:nvSpPr>
              <p:cNvPr id="353" name="TextBox 290">
                <a:extLst>
                  <a:ext uri="{FF2B5EF4-FFF2-40B4-BE49-F238E27FC236}">
                    <a16:creationId xmlns:a16="http://schemas.microsoft.com/office/drawing/2014/main" id="{394CEC29-F3A3-240B-2B71-F8C2D547B82A}"/>
                  </a:ext>
                </a:extLst>
              </p:cNvPr>
              <p:cNvSpPr txBox="1">
                <a:spLocks noChangeArrowheads="1"/>
              </p:cNvSpPr>
              <p:nvPr/>
            </p:nvSpPr>
            <p:spPr bwMode="auto">
              <a:xfrm>
                <a:off x="1560065" y="3478684"/>
                <a:ext cx="596657" cy="114583"/>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rPr>
                  <a:t>Hyderabad</a:t>
                </a:r>
              </a:p>
            </p:txBody>
          </p:sp>
          <p:sp>
            <p:nvSpPr>
              <p:cNvPr id="381" name="TextBox 290">
                <a:extLst>
                  <a:ext uri="{FF2B5EF4-FFF2-40B4-BE49-F238E27FC236}">
                    <a16:creationId xmlns:a16="http://schemas.microsoft.com/office/drawing/2014/main" id="{91F14081-4452-AD7E-F1A5-E124C1400BB1}"/>
                  </a:ext>
                </a:extLst>
              </p:cNvPr>
              <p:cNvSpPr txBox="1">
                <a:spLocks noChangeArrowheads="1"/>
              </p:cNvSpPr>
              <p:nvPr/>
            </p:nvSpPr>
            <p:spPr bwMode="auto">
              <a:xfrm>
                <a:off x="1785812" y="4123883"/>
                <a:ext cx="486762" cy="114583"/>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rPr>
                  <a:t>Chennai</a:t>
                </a:r>
              </a:p>
            </p:txBody>
          </p:sp>
          <p:sp>
            <p:nvSpPr>
              <p:cNvPr id="383" name="TextBox 290">
                <a:extLst>
                  <a:ext uri="{FF2B5EF4-FFF2-40B4-BE49-F238E27FC236}">
                    <a16:creationId xmlns:a16="http://schemas.microsoft.com/office/drawing/2014/main" id="{FF405EA5-C1B4-02DC-B922-F8B30ED56E90}"/>
                  </a:ext>
                </a:extLst>
              </p:cNvPr>
              <p:cNvSpPr txBox="1">
                <a:spLocks noChangeArrowheads="1"/>
              </p:cNvSpPr>
              <p:nvPr/>
            </p:nvSpPr>
            <p:spPr bwMode="auto">
              <a:xfrm>
                <a:off x="836581" y="4184540"/>
                <a:ext cx="574518" cy="114583"/>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rPr>
                  <a:t>Coimbatore</a:t>
                </a:r>
              </a:p>
            </p:txBody>
          </p:sp>
          <p:sp>
            <p:nvSpPr>
              <p:cNvPr id="384" name="TextBox 290">
                <a:extLst>
                  <a:ext uri="{FF2B5EF4-FFF2-40B4-BE49-F238E27FC236}">
                    <a16:creationId xmlns:a16="http://schemas.microsoft.com/office/drawing/2014/main" id="{F56B1765-F4FC-8049-CF0E-8AC90D7DC80D}"/>
                  </a:ext>
                </a:extLst>
              </p:cNvPr>
              <p:cNvSpPr txBox="1">
                <a:spLocks noChangeArrowheads="1"/>
              </p:cNvSpPr>
              <p:nvPr/>
            </p:nvSpPr>
            <p:spPr bwMode="auto">
              <a:xfrm>
                <a:off x="1190061" y="4331807"/>
                <a:ext cx="280987" cy="114583"/>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rPr>
                  <a:t>Kochi</a:t>
                </a:r>
              </a:p>
            </p:txBody>
          </p:sp>
          <p:sp>
            <p:nvSpPr>
              <p:cNvPr id="387" name="TextBox 290">
                <a:extLst>
                  <a:ext uri="{FF2B5EF4-FFF2-40B4-BE49-F238E27FC236}">
                    <a16:creationId xmlns:a16="http://schemas.microsoft.com/office/drawing/2014/main" id="{E0437FA3-2BD3-8BF9-BA79-D3B0A32F4324}"/>
                  </a:ext>
                </a:extLst>
              </p:cNvPr>
              <p:cNvSpPr txBox="1">
                <a:spLocks noChangeArrowheads="1"/>
              </p:cNvSpPr>
              <p:nvPr/>
            </p:nvSpPr>
            <p:spPr bwMode="auto">
              <a:xfrm>
                <a:off x="1309290" y="3902618"/>
                <a:ext cx="486762" cy="114583"/>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rPr>
                  <a:t>Bengaluru</a:t>
                </a:r>
              </a:p>
            </p:txBody>
          </p:sp>
          <p:sp>
            <p:nvSpPr>
              <p:cNvPr id="405" name="TextBox 290">
                <a:extLst>
                  <a:ext uri="{FF2B5EF4-FFF2-40B4-BE49-F238E27FC236}">
                    <a16:creationId xmlns:a16="http://schemas.microsoft.com/office/drawing/2014/main" id="{7230DADB-0C71-C059-D25C-4F844764CB93}"/>
                  </a:ext>
                </a:extLst>
              </p:cNvPr>
              <p:cNvSpPr txBox="1">
                <a:spLocks noChangeArrowheads="1"/>
              </p:cNvSpPr>
              <p:nvPr/>
            </p:nvSpPr>
            <p:spPr bwMode="auto">
              <a:xfrm>
                <a:off x="1904761" y="2950205"/>
                <a:ext cx="611014" cy="114583"/>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rPr>
                  <a:t>Jamshedpur</a:t>
                </a:r>
              </a:p>
            </p:txBody>
          </p:sp>
          <p:sp>
            <p:nvSpPr>
              <p:cNvPr id="406" name="TextBox 290">
                <a:extLst>
                  <a:ext uri="{FF2B5EF4-FFF2-40B4-BE49-F238E27FC236}">
                    <a16:creationId xmlns:a16="http://schemas.microsoft.com/office/drawing/2014/main" id="{99731CC7-42C1-D82D-3538-0FB1168C1DAA}"/>
                  </a:ext>
                </a:extLst>
              </p:cNvPr>
              <p:cNvSpPr txBox="1">
                <a:spLocks noChangeArrowheads="1"/>
              </p:cNvSpPr>
              <p:nvPr/>
            </p:nvSpPr>
            <p:spPr bwMode="auto">
              <a:xfrm>
                <a:off x="1993175" y="3230084"/>
                <a:ext cx="341697" cy="114583"/>
              </a:xfrm>
              <a:prstGeom prst="rect">
                <a:avLst/>
              </a:prstGeom>
              <a:noFill/>
              <a:ln w="9525">
                <a:noFill/>
                <a:miter lim="800000"/>
                <a:headEnd/>
                <a:tailEnd/>
              </a:ln>
            </p:spPr>
            <p:txBody>
              <a:bodyPr wrap="square" lIns="0" tIns="0" rIns="0" bIns="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rPr>
                  <a:t>Kolkata</a:t>
                </a:r>
              </a:p>
            </p:txBody>
          </p:sp>
          <p:sp>
            <p:nvSpPr>
              <p:cNvPr id="407" name="Oval 406">
                <a:extLst>
                  <a:ext uri="{FF2B5EF4-FFF2-40B4-BE49-F238E27FC236}">
                    <a16:creationId xmlns:a16="http://schemas.microsoft.com/office/drawing/2014/main" id="{DC67B305-ADF0-8DBD-947F-FFC8F529106C}"/>
                  </a:ext>
                </a:extLst>
              </p:cNvPr>
              <p:cNvSpPr/>
              <p:nvPr/>
            </p:nvSpPr>
            <p:spPr>
              <a:xfrm>
                <a:off x="2160590" y="3422255"/>
                <a:ext cx="55122" cy="50446"/>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sp>
            <p:nvSpPr>
              <p:cNvPr id="408" name="TextBox 290">
                <a:extLst>
                  <a:ext uri="{FF2B5EF4-FFF2-40B4-BE49-F238E27FC236}">
                    <a16:creationId xmlns:a16="http://schemas.microsoft.com/office/drawing/2014/main" id="{2B5C18E1-8FD6-F79E-21D5-1B9C2012777F}"/>
                  </a:ext>
                </a:extLst>
              </p:cNvPr>
              <p:cNvSpPr txBox="1">
                <a:spLocks noChangeArrowheads="1"/>
              </p:cNvSpPr>
              <p:nvPr/>
            </p:nvSpPr>
            <p:spPr bwMode="auto">
              <a:xfrm>
                <a:off x="1387794" y="3378953"/>
                <a:ext cx="754173" cy="114583"/>
              </a:xfrm>
              <a:prstGeom prst="rect">
                <a:avLst/>
              </a:prstGeom>
              <a:noFill/>
              <a:ln w="9525">
                <a:noFill/>
                <a:miter lim="800000"/>
                <a:headEnd/>
                <a:tailEnd/>
              </a:ln>
            </p:spPr>
            <p:txBody>
              <a:bodyPr wrap="square" lIns="0" tIns="0" rIns="0" bIns="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rPr>
                  <a:t>Bhubaneshwar</a:t>
                </a:r>
              </a:p>
            </p:txBody>
          </p:sp>
        </p:grpSp>
        <p:sp>
          <p:nvSpPr>
            <p:cNvPr id="273" name="TextBox 290">
              <a:extLst>
                <a:ext uri="{FF2B5EF4-FFF2-40B4-BE49-F238E27FC236}">
                  <a16:creationId xmlns:a16="http://schemas.microsoft.com/office/drawing/2014/main" id="{2A845B60-815C-C4AD-0C4A-2BA786F959B6}"/>
                </a:ext>
              </a:extLst>
            </p:cNvPr>
            <p:cNvSpPr txBox="1">
              <a:spLocks noChangeArrowheads="1"/>
            </p:cNvSpPr>
            <p:nvPr/>
          </p:nvSpPr>
          <p:spPr bwMode="auto">
            <a:xfrm>
              <a:off x="1657571" y="3589357"/>
              <a:ext cx="421237" cy="165386"/>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rPr>
                <a:t>Noida</a:t>
              </a:r>
            </a:p>
          </p:txBody>
        </p:sp>
        <p:sp>
          <p:nvSpPr>
            <p:cNvPr id="274" name="Oval 273">
              <a:extLst>
                <a:ext uri="{FF2B5EF4-FFF2-40B4-BE49-F238E27FC236}">
                  <a16:creationId xmlns:a16="http://schemas.microsoft.com/office/drawing/2014/main" id="{A74A2A71-1E57-D3BA-6292-1520C64A9C69}"/>
                </a:ext>
              </a:extLst>
            </p:cNvPr>
            <p:cNvSpPr/>
            <p:nvPr/>
          </p:nvSpPr>
          <p:spPr>
            <a:xfrm>
              <a:off x="1566153" y="3636610"/>
              <a:ext cx="72813" cy="72813"/>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grpSp>
      <p:grpSp>
        <p:nvGrpSpPr>
          <p:cNvPr id="4" name="Group 3">
            <a:extLst>
              <a:ext uri="{FF2B5EF4-FFF2-40B4-BE49-F238E27FC236}">
                <a16:creationId xmlns:a16="http://schemas.microsoft.com/office/drawing/2014/main" id="{F38C69E5-6741-7161-0260-0F494C58F8C4}"/>
              </a:ext>
            </a:extLst>
          </p:cNvPr>
          <p:cNvGrpSpPr/>
          <p:nvPr/>
        </p:nvGrpSpPr>
        <p:grpSpPr>
          <a:xfrm>
            <a:off x="824097" y="1211082"/>
            <a:ext cx="10092239" cy="1411356"/>
            <a:chOff x="1049881" y="1663590"/>
            <a:chExt cx="10092239" cy="1411356"/>
          </a:xfrm>
        </p:grpSpPr>
        <p:sp>
          <p:nvSpPr>
            <p:cNvPr id="5" name="Graphic 1194">
              <a:extLst>
                <a:ext uri="{FF2B5EF4-FFF2-40B4-BE49-F238E27FC236}">
                  <a16:creationId xmlns:a16="http://schemas.microsoft.com/office/drawing/2014/main" id="{6B0370B8-C3DD-4D45-0B61-9C180EBFEC3F}"/>
                </a:ext>
              </a:extLst>
            </p:cNvPr>
            <p:cNvSpPr/>
            <p:nvPr/>
          </p:nvSpPr>
          <p:spPr>
            <a:xfrm>
              <a:off x="4707973" y="1689316"/>
              <a:ext cx="717859" cy="331252"/>
            </a:xfrm>
            <a:custGeom>
              <a:avLst/>
              <a:gdLst>
                <a:gd name="connsiteX0" fmla="*/ 749150 w 1367991"/>
                <a:gd name="connsiteY0" fmla="*/ 631253 h 631252"/>
                <a:gd name="connsiteX1" fmla="*/ 0 w 1367991"/>
                <a:gd name="connsiteY1" fmla="*/ 631253 h 631252"/>
                <a:gd name="connsiteX2" fmla="*/ 0 w 1367991"/>
                <a:gd name="connsiteY2" fmla="*/ 613697 h 631252"/>
                <a:gd name="connsiteX3" fmla="*/ 741883 w 1367991"/>
                <a:gd name="connsiteY3" fmla="*/ 613697 h 631252"/>
                <a:gd name="connsiteX4" fmla="*/ 1355580 w 1367991"/>
                <a:gd name="connsiteY4" fmla="*/ 0 h 631252"/>
                <a:gd name="connsiteX5" fmla="*/ 1367991 w 1367991"/>
                <a:gd name="connsiteY5" fmla="*/ 12411 h 63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7991" h="631252">
                  <a:moveTo>
                    <a:pt x="749150" y="631253"/>
                  </a:moveTo>
                  <a:lnTo>
                    <a:pt x="0" y="631253"/>
                  </a:lnTo>
                  <a:lnTo>
                    <a:pt x="0" y="613697"/>
                  </a:lnTo>
                  <a:lnTo>
                    <a:pt x="741883" y="613697"/>
                  </a:lnTo>
                  <a:lnTo>
                    <a:pt x="1355580" y="0"/>
                  </a:lnTo>
                  <a:lnTo>
                    <a:pt x="1367991" y="12411"/>
                  </a:ln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 name="Graphic 1194">
              <a:extLst>
                <a:ext uri="{FF2B5EF4-FFF2-40B4-BE49-F238E27FC236}">
                  <a16:creationId xmlns:a16="http://schemas.microsoft.com/office/drawing/2014/main" id="{C966CD86-4796-1DB1-F617-EFEB4F4B5E1B}"/>
                </a:ext>
              </a:extLst>
            </p:cNvPr>
            <p:cNvSpPr/>
            <p:nvPr/>
          </p:nvSpPr>
          <p:spPr>
            <a:xfrm>
              <a:off x="4707973" y="2718070"/>
              <a:ext cx="717859" cy="331252"/>
            </a:xfrm>
            <a:custGeom>
              <a:avLst/>
              <a:gdLst>
                <a:gd name="connsiteX0" fmla="*/ 1355580 w 1367991"/>
                <a:gd name="connsiteY0" fmla="*/ 631253 h 631253"/>
                <a:gd name="connsiteX1" fmla="*/ 741883 w 1367991"/>
                <a:gd name="connsiteY1" fmla="*/ 17556 h 631253"/>
                <a:gd name="connsiteX2" fmla="*/ 0 w 1367991"/>
                <a:gd name="connsiteY2" fmla="*/ 17556 h 631253"/>
                <a:gd name="connsiteX3" fmla="*/ 0 w 1367991"/>
                <a:gd name="connsiteY3" fmla="*/ 0 h 631253"/>
                <a:gd name="connsiteX4" fmla="*/ 749150 w 1367991"/>
                <a:gd name="connsiteY4" fmla="*/ 0 h 631253"/>
                <a:gd name="connsiteX5" fmla="*/ 1367991 w 1367991"/>
                <a:gd name="connsiteY5" fmla="*/ 618841 h 63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7991" h="631253">
                  <a:moveTo>
                    <a:pt x="1355580" y="631253"/>
                  </a:moveTo>
                  <a:lnTo>
                    <a:pt x="741883" y="17556"/>
                  </a:lnTo>
                  <a:lnTo>
                    <a:pt x="0" y="17556"/>
                  </a:lnTo>
                  <a:lnTo>
                    <a:pt x="0" y="0"/>
                  </a:lnTo>
                  <a:lnTo>
                    <a:pt x="749150" y="0"/>
                  </a:lnTo>
                  <a:lnTo>
                    <a:pt x="1367991" y="618841"/>
                  </a:ln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 name="Graphic 1194">
              <a:extLst>
                <a:ext uri="{FF2B5EF4-FFF2-40B4-BE49-F238E27FC236}">
                  <a16:creationId xmlns:a16="http://schemas.microsoft.com/office/drawing/2014/main" id="{C01EA2EF-79BD-9388-D89B-3CFE66A4E951}"/>
                </a:ext>
              </a:extLst>
            </p:cNvPr>
            <p:cNvSpPr/>
            <p:nvPr/>
          </p:nvSpPr>
          <p:spPr>
            <a:xfrm>
              <a:off x="6757035" y="1689316"/>
              <a:ext cx="717858" cy="331252"/>
            </a:xfrm>
            <a:custGeom>
              <a:avLst/>
              <a:gdLst>
                <a:gd name="connsiteX0" fmla="*/ 1367991 w 1367990"/>
                <a:gd name="connsiteY0" fmla="*/ 631253 h 631252"/>
                <a:gd name="connsiteX1" fmla="*/ 618817 w 1367990"/>
                <a:gd name="connsiteY1" fmla="*/ 631253 h 631252"/>
                <a:gd name="connsiteX2" fmla="*/ 616257 w 1367990"/>
                <a:gd name="connsiteY2" fmla="*/ 628693 h 631252"/>
                <a:gd name="connsiteX3" fmla="*/ 0 w 1367990"/>
                <a:gd name="connsiteY3" fmla="*/ 12411 h 631252"/>
                <a:gd name="connsiteX4" fmla="*/ 12411 w 1367990"/>
                <a:gd name="connsiteY4" fmla="*/ 0 h 631252"/>
                <a:gd name="connsiteX5" fmla="*/ 626084 w 1367990"/>
                <a:gd name="connsiteY5" fmla="*/ 613697 h 631252"/>
                <a:gd name="connsiteX6" fmla="*/ 1367991 w 1367990"/>
                <a:gd name="connsiteY6" fmla="*/ 613697 h 63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990" h="631252">
                  <a:moveTo>
                    <a:pt x="1367991" y="631253"/>
                  </a:moveTo>
                  <a:lnTo>
                    <a:pt x="618817" y="631253"/>
                  </a:lnTo>
                  <a:lnTo>
                    <a:pt x="616257" y="628693"/>
                  </a:lnTo>
                  <a:lnTo>
                    <a:pt x="0" y="12411"/>
                  </a:lnTo>
                  <a:lnTo>
                    <a:pt x="12411" y="0"/>
                  </a:lnTo>
                  <a:lnTo>
                    <a:pt x="626084" y="613697"/>
                  </a:lnTo>
                  <a:lnTo>
                    <a:pt x="1367991" y="613697"/>
                  </a:ln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 name="Graphic 1194">
              <a:extLst>
                <a:ext uri="{FF2B5EF4-FFF2-40B4-BE49-F238E27FC236}">
                  <a16:creationId xmlns:a16="http://schemas.microsoft.com/office/drawing/2014/main" id="{27B520EE-D4C0-11CD-D3F2-29EC45115EF5}"/>
                </a:ext>
              </a:extLst>
            </p:cNvPr>
            <p:cNvSpPr/>
            <p:nvPr/>
          </p:nvSpPr>
          <p:spPr>
            <a:xfrm>
              <a:off x="6757035" y="2718070"/>
              <a:ext cx="717858" cy="331252"/>
            </a:xfrm>
            <a:custGeom>
              <a:avLst/>
              <a:gdLst>
                <a:gd name="connsiteX0" fmla="*/ 12411 w 1367990"/>
                <a:gd name="connsiteY0" fmla="*/ 631253 h 631253"/>
                <a:gd name="connsiteX1" fmla="*/ 0 w 1367990"/>
                <a:gd name="connsiteY1" fmla="*/ 618841 h 631253"/>
                <a:gd name="connsiteX2" fmla="*/ 618817 w 1367990"/>
                <a:gd name="connsiteY2" fmla="*/ 0 h 631253"/>
                <a:gd name="connsiteX3" fmla="*/ 1367991 w 1367990"/>
                <a:gd name="connsiteY3" fmla="*/ 0 h 631253"/>
                <a:gd name="connsiteX4" fmla="*/ 1367991 w 1367990"/>
                <a:gd name="connsiteY4" fmla="*/ 17556 h 631253"/>
                <a:gd name="connsiteX5" fmla="*/ 626084 w 1367990"/>
                <a:gd name="connsiteY5" fmla="*/ 17556 h 63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7990" h="631253">
                  <a:moveTo>
                    <a:pt x="12411" y="631253"/>
                  </a:moveTo>
                  <a:lnTo>
                    <a:pt x="0" y="618841"/>
                  </a:lnTo>
                  <a:lnTo>
                    <a:pt x="618817" y="0"/>
                  </a:lnTo>
                  <a:lnTo>
                    <a:pt x="1367991" y="0"/>
                  </a:lnTo>
                  <a:lnTo>
                    <a:pt x="1367991" y="17556"/>
                  </a:lnTo>
                  <a:lnTo>
                    <a:pt x="626084" y="17556"/>
                  </a:ln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 name="Graphic 1194">
              <a:extLst>
                <a:ext uri="{FF2B5EF4-FFF2-40B4-BE49-F238E27FC236}">
                  <a16:creationId xmlns:a16="http://schemas.microsoft.com/office/drawing/2014/main" id="{3D8E3D68-8435-F855-3E85-6890A0C3FD74}"/>
                </a:ext>
              </a:extLst>
            </p:cNvPr>
            <p:cNvSpPr/>
            <p:nvPr/>
          </p:nvSpPr>
          <p:spPr>
            <a:xfrm>
              <a:off x="6737674" y="1665695"/>
              <a:ext cx="53025" cy="53025"/>
            </a:xfrm>
            <a:custGeom>
              <a:avLst/>
              <a:gdLst>
                <a:gd name="connsiteX0" fmla="*/ 101047 w 101047"/>
                <a:gd name="connsiteY0" fmla="*/ 50524 h 101047"/>
                <a:gd name="connsiteX1" fmla="*/ 50524 w 101047"/>
                <a:gd name="connsiteY1" fmla="*/ 101047 h 101047"/>
                <a:gd name="connsiteX2" fmla="*/ 0 w 101047"/>
                <a:gd name="connsiteY2" fmla="*/ 50524 h 101047"/>
                <a:gd name="connsiteX3" fmla="*/ 50524 w 101047"/>
                <a:gd name="connsiteY3" fmla="*/ 0 h 101047"/>
                <a:gd name="connsiteX4" fmla="*/ 101047 w 101047"/>
                <a:gd name="connsiteY4" fmla="*/ 50524 h 10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47" h="101047">
                  <a:moveTo>
                    <a:pt x="101047" y="50524"/>
                  </a:moveTo>
                  <a:cubicBezTo>
                    <a:pt x="101047" y="78427"/>
                    <a:pt x="78427" y="101047"/>
                    <a:pt x="50524" y="101047"/>
                  </a:cubicBezTo>
                  <a:cubicBezTo>
                    <a:pt x="22620" y="101047"/>
                    <a:pt x="0" y="78427"/>
                    <a:pt x="0" y="50524"/>
                  </a:cubicBezTo>
                  <a:cubicBezTo>
                    <a:pt x="0" y="22620"/>
                    <a:pt x="22620" y="0"/>
                    <a:pt x="50524" y="0"/>
                  </a:cubicBezTo>
                  <a:cubicBezTo>
                    <a:pt x="78427" y="0"/>
                    <a:pt x="101047" y="22620"/>
                    <a:pt x="101047" y="50524"/>
                  </a:cubicBez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 name="Graphic 1194">
              <a:extLst>
                <a:ext uri="{FF2B5EF4-FFF2-40B4-BE49-F238E27FC236}">
                  <a16:creationId xmlns:a16="http://schemas.microsoft.com/office/drawing/2014/main" id="{76F5B2DE-C4B8-E9A2-347E-2672780FCA05}"/>
                </a:ext>
              </a:extLst>
            </p:cNvPr>
            <p:cNvSpPr/>
            <p:nvPr/>
          </p:nvSpPr>
          <p:spPr>
            <a:xfrm>
              <a:off x="6738006" y="3015157"/>
              <a:ext cx="53025" cy="53025"/>
            </a:xfrm>
            <a:custGeom>
              <a:avLst/>
              <a:gdLst>
                <a:gd name="connsiteX0" fmla="*/ 101047 w 101047"/>
                <a:gd name="connsiteY0" fmla="*/ 50524 h 101047"/>
                <a:gd name="connsiteX1" fmla="*/ 50524 w 101047"/>
                <a:gd name="connsiteY1" fmla="*/ 101047 h 101047"/>
                <a:gd name="connsiteX2" fmla="*/ 0 w 101047"/>
                <a:gd name="connsiteY2" fmla="*/ 50524 h 101047"/>
                <a:gd name="connsiteX3" fmla="*/ 50524 w 101047"/>
                <a:gd name="connsiteY3" fmla="*/ 0 h 101047"/>
                <a:gd name="connsiteX4" fmla="*/ 101047 w 101047"/>
                <a:gd name="connsiteY4" fmla="*/ 50524 h 10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47" h="101047">
                  <a:moveTo>
                    <a:pt x="101047" y="50524"/>
                  </a:moveTo>
                  <a:cubicBezTo>
                    <a:pt x="101047" y="78427"/>
                    <a:pt x="78427" y="101047"/>
                    <a:pt x="50524" y="101047"/>
                  </a:cubicBezTo>
                  <a:cubicBezTo>
                    <a:pt x="22620" y="101047"/>
                    <a:pt x="0" y="78427"/>
                    <a:pt x="0" y="50524"/>
                  </a:cubicBezTo>
                  <a:cubicBezTo>
                    <a:pt x="0" y="22620"/>
                    <a:pt x="22620" y="0"/>
                    <a:pt x="50524" y="0"/>
                  </a:cubicBezTo>
                  <a:cubicBezTo>
                    <a:pt x="78427" y="0"/>
                    <a:pt x="101047" y="22620"/>
                    <a:pt x="101047" y="50524"/>
                  </a:cubicBez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 name="Graphic 1194">
              <a:extLst>
                <a:ext uri="{FF2B5EF4-FFF2-40B4-BE49-F238E27FC236}">
                  <a16:creationId xmlns:a16="http://schemas.microsoft.com/office/drawing/2014/main" id="{0451EF7A-6588-3E35-2D97-7DA947237F59}"/>
                </a:ext>
              </a:extLst>
            </p:cNvPr>
            <p:cNvSpPr/>
            <p:nvPr/>
          </p:nvSpPr>
          <p:spPr>
            <a:xfrm>
              <a:off x="5395902" y="1665695"/>
              <a:ext cx="53025" cy="53025"/>
            </a:xfrm>
            <a:custGeom>
              <a:avLst/>
              <a:gdLst>
                <a:gd name="connsiteX0" fmla="*/ 101047 w 101047"/>
                <a:gd name="connsiteY0" fmla="*/ 50524 h 101047"/>
                <a:gd name="connsiteX1" fmla="*/ 50524 w 101047"/>
                <a:gd name="connsiteY1" fmla="*/ 101047 h 101047"/>
                <a:gd name="connsiteX2" fmla="*/ 0 w 101047"/>
                <a:gd name="connsiteY2" fmla="*/ 50524 h 101047"/>
                <a:gd name="connsiteX3" fmla="*/ 50524 w 101047"/>
                <a:gd name="connsiteY3" fmla="*/ 0 h 101047"/>
                <a:gd name="connsiteX4" fmla="*/ 101047 w 101047"/>
                <a:gd name="connsiteY4" fmla="*/ 50524 h 10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47" h="101047">
                  <a:moveTo>
                    <a:pt x="101047" y="50524"/>
                  </a:moveTo>
                  <a:cubicBezTo>
                    <a:pt x="101047" y="78427"/>
                    <a:pt x="78427" y="101047"/>
                    <a:pt x="50524" y="101047"/>
                  </a:cubicBezTo>
                  <a:cubicBezTo>
                    <a:pt x="22620" y="101047"/>
                    <a:pt x="0" y="78427"/>
                    <a:pt x="0" y="50524"/>
                  </a:cubicBezTo>
                  <a:cubicBezTo>
                    <a:pt x="0" y="22620"/>
                    <a:pt x="22620" y="0"/>
                    <a:pt x="50524" y="0"/>
                  </a:cubicBezTo>
                  <a:cubicBezTo>
                    <a:pt x="78427" y="0"/>
                    <a:pt x="101047" y="22620"/>
                    <a:pt x="101047" y="50524"/>
                  </a:cubicBez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 name="Graphic 1194">
              <a:extLst>
                <a:ext uri="{FF2B5EF4-FFF2-40B4-BE49-F238E27FC236}">
                  <a16:creationId xmlns:a16="http://schemas.microsoft.com/office/drawing/2014/main" id="{4A99CBD0-056B-9F49-3F8E-2FE417D86292}"/>
                </a:ext>
              </a:extLst>
            </p:cNvPr>
            <p:cNvSpPr/>
            <p:nvPr/>
          </p:nvSpPr>
          <p:spPr>
            <a:xfrm>
              <a:off x="5395570" y="3015157"/>
              <a:ext cx="53025" cy="53025"/>
            </a:xfrm>
            <a:custGeom>
              <a:avLst/>
              <a:gdLst>
                <a:gd name="connsiteX0" fmla="*/ 101047 w 101047"/>
                <a:gd name="connsiteY0" fmla="*/ 50524 h 101047"/>
                <a:gd name="connsiteX1" fmla="*/ 50524 w 101047"/>
                <a:gd name="connsiteY1" fmla="*/ 101047 h 101047"/>
                <a:gd name="connsiteX2" fmla="*/ 0 w 101047"/>
                <a:gd name="connsiteY2" fmla="*/ 50524 h 101047"/>
                <a:gd name="connsiteX3" fmla="*/ 50524 w 101047"/>
                <a:gd name="connsiteY3" fmla="*/ 0 h 101047"/>
                <a:gd name="connsiteX4" fmla="*/ 101047 w 101047"/>
                <a:gd name="connsiteY4" fmla="*/ 50524 h 10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47" h="101047">
                  <a:moveTo>
                    <a:pt x="101047" y="50524"/>
                  </a:moveTo>
                  <a:cubicBezTo>
                    <a:pt x="101047" y="78427"/>
                    <a:pt x="78427" y="101047"/>
                    <a:pt x="50524" y="101047"/>
                  </a:cubicBezTo>
                  <a:cubicBezTo>
                    <a:pt x="22620" y="101047"/>
                    <a:pt x="0" y="78427"/>
                    <a:pt x="0" y="50524"/>
                  </a:cubicBezTo>
                  <a:cubicBezTo>
                    <a:pt x="0" y="22620"/>
                    <a:pt x="22620" y="0"/>
                    <a:pt x="50524" y="0"/>
                  </a:cubicBezTo>
                  <a:cubicBezTo>
                    <a:pt x="78427" y="0"/>
                    <a:pt x="101047" y="22620"/>
                    <a:pt x="101047" y="50524"/>
                  </a:cubicBezTo>
                  <a:close/>
                </a:path>
              </a:pathLst>
            </a:custGeom>
            <a:solidFill>
              <a:srgbClr val="5D5D5D"/>
            </a:solidFill>
            <a:ln w="2438" cap="flat">
              <a:noFill/>
              <a:prstDash val="solid"/>
              <a:miter/>
            </a:ln>
            <a:extLst>
              <a:ext uri="{91240B29-F687-4F45-9708-019B960494DF}">
                <a14:hiddenLine xmlns:a14="http://schemas.microsoft.com/office/drawing/2010/main" w="2438" cap="flat">
                  <a:solidFill>
                    <a:srgbClr val="5D5D5D"/>
                  </a:solidFill>
                  <a:prstDash val="solid"/>
                  <a:miter/>
                </a14:hiddenLine>
              </a:ex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57" name="Group 56">
              <a:extLst>
                <a:ext uri="{FF2B5EF4-FFF2-40B4-BE49-F238E27FC236}">
                  <a16:creationId xmlns:a16="http://schemas.microsoft.com/office/drawing/2014/main" id="{10784EE4-066E-ECCA-79D8-DBB3831E5568}"/>
                </a:ext>
              </a:extLst>
            </p:cNvPr>
            <p:cNvGrpSpPr/>
            <p:nvPr/>
          </p:nvGrpSpPr>
          <p:grpSpPr>
            <a:xfrm>
              <a:off x="5390067" y="1663590"/>
              <a:ext cx="1411859" cy="1411356"/>
              <a:chOff x="5220424" y="1492878"/>
              <a:chExt cx="1753405" cy="1752780"/>
            </a:xfrm>
          </p:grpSpPr>
          <p:sp>
            <p:nvSpPr>
              <p:cNvPr id="478" name="Graphic 1194">
                <a:extLst>
                  <a:ext uri="{FF2B5EF4-FFF2-40B4-BE49-F238E27FC236}">
                    <a16:creationId xmlns:a16="http://schemas.microsoft.com/office/drawing/2014/main" id="{A0AF0713-78A1-34C2-1517-378AD53851B5}"/>
                  </a:ext>
                </a:extLst>
              </p:cNvPr>
              <p:cNvSpPr/>
              <p:nvPr/>
            </p:nvSpPr>
            <p:spPr>
              <a:xfrm>
                <a:off x="5220424" y="1492878"/>
                <a:ext cx="876318" cy="866339"/>
              </a:xfrm>
              <a:custGeom>
                <a:avLst/>
                <a:gdLst>
                  <a:gd name="connsiteX0" fmla="*/ 0 w 1669962"/>
                  <a:gd name="connsiteY0" fmla="*/ 1650943 h 1650943"/>
                  <a:gd name="connsiteX1" fmla="*/ 1669963 w 1669962"/>
                  <a:gd name="connsiteY1" fmla="*/ 0 h 1650943"/>
                  <a:gd name="connsiteX2" fmla="*/ 1669963 w 1669962"/>
                  <a:gd name="connsiteY2" fmla="*/ 1650943 h 1650943"/>
                  <a:gd name="connsiteX3" fmla="*/ 0 w 1669962"/>
                  <a:gd name="connsiteY3" fmla="*/ 1650943 h 1650943"/>
                </a:gdLst>
                <a:ahLst/>
                <a:cxnLst>
                  <a:cxn ang="0">
                    <a:pos x="connsiteX0" y="connsiteY0"/>
                  </a:cxn>
                  <a:cxn ang="0">
                    <a:pos x="connsiteX1" y="connsiteY1"/>
                  </a:cxn>
                  <a:cxn ang="0">
                    <a:pos x="connsiteX2" y="connsiteY2"/>
                  </a:cxn>
                  <a:cxn ang="0">
                    <a:pos x="connsiteX3" y="connsiteY3"/>
                  </a:cxn>
                </a:cxnLst>
                <a:rect l="l" t="t" r="r" b="b"/>
                <a:pathLst>
                  <a:path w="1669962" h="1650943">
                    <a:moveTo>
                      <a:pt x="0" y="1650943"/>
                    </a:moveTo>
                    <a:cubicBezTo>
                      <a:pt x="10266" y="737397"/>
                      <a:pt x="754002" y="0"/>
                      <a:pt x="1669963" y="0"/>
                    </a:cubicBezTo>
                    <a:lnTo>
                      <a:pt x="1669963" y="1650943"/>
                    </a:lnTo>
                    <a:lnTo>
                      <a:pt x="0" y="1650943"/>
                    </a:lnTo>
                    <a:close/>
                  </a:path>
                </a:pathLst>
              </a:custGeom>
              <a:solidFill>
                <a:srgbClr val="0076A8"/>
              </a:solidFill>
              <a:ln w="243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79" name="Graphic 1194">
                <a:extLst>
                  <a:ext uri="{FF2B5EF4-FFF2-40B4-BE49-F238E27FC236}">
                    <a16:creationId xmlns:a16="http://schemas.microsoft.com/office/drawing/2014/main" id="{133B7860-7D52-0CAD-6ABC-FBD2D39E64B8}"/>
                  </a:ext>
                </a:extLst>
              </p:cNvPr>
              <p:cNvSpPr/>
              <p:nvPr/>
            </p:nvSpPr>
            <p:spPr>
              <a:xfrm>
                <a:off x="5220424" y="2379115"/>
                <a:ext cx="876318" cy="866543"/>
              </a:xfrm>
              <a:custGeom>
                <a:avLst/>
                <a:gdLst>
                  <a:gd name="connsiteX0" fmla="*/ 1669963 w 1669962"/>
                  <a:gd name="connsiteY0" fmla="*/ 0 h 1651333"/>
                  <a:gd name="connsiteX1" fmla="*/ 1669963 w 1669962"/>
                  <a:gd name="connsiteY1" fmla="*/ 1651333 h 1651333"/>
                  <a:gd name="connsiteX2" fmla="*/ 0 w 1669962"/>
                  <a:gd name="connsiteY2" fmla="*/ 0 h 1651333"/>
                  <a:gd name="connsiteX3" fmla="*/ 1669963 w 1669962"/>
                  <a:gd name="connsiteY3" fmla="*/ 0 h 1651333"/>
                </a:gdLst>
                <a:ahLst/>
                <a:cxnLst>
                  <a:cxn ang="0">
                    <a:pos x="connsiteX0" y="connsiteY0"/>
                  </a:cxn>
                  <a:cxn ang="0">
                    <a:pos x="connsiteX1" y="connsiteY1"/>
                  </a:cxn>
                  <a:cxn ang="0">
                    <a:pos x="connsiteX2" y="connsiteY2"/>
                  </a:cxn>
                  <a:cxn ang="0">
                    <a:pos x="connsiteX3" y="connsiteY3"/>
                  </a:cxn>
                </a:cxnLst>
                <a:rect l="l" t="t" r="r" b="b"/>
                <a:pathLst>
                  <a:path w="1669962" h="1651333">
                    <a:moveTo>
                      <a:pt x="1669963" y="0"/>
                    </a:moveTo>
                    <a:lnTo>
                      <a:pt x="1669963" y="1651333"/>
                    </a:lnTo>
                    <a:cubicBezTo>
                      <a:pt x="753856" y="1651333"/>
                      <a:pt x="10046" y="913717"/>
                      <a:pt x="0" y="0"/>
                    </a:cubicBezTo>
                    <a:lnTo>
                      <a:pt x="1669963" y="0"/>
                    </a:lnTo>
                    <a:close/>
                  </a:path>
                </a:pathLst>
              </a:custGeom>
              <a:solidFill>
                <a:srgbClr val="00ABAB"/>
              </a:solidFill>
              <a:ln w="243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80" name="Graphic 1194">
                <a:extLst>
                  <a:ext uri="{FF2B5EF4-FFF2-40B4-BE49-F238E27FC236}">
                    <a16:creationId xmlns:a16="http://schemas.microsoft.com/office/drawing/2014/main" id="{E05070BD-5FF7-EC28-2840-34533F5C3F60}"/>
                  </a:ext>
                </a:extLst>
              </p:cNvPr>
              <p:cNvSpPr/>
              <p:nvPr/>
            </p:nvSpPr>
            <p:spPr>
              <a:xfrm>
                <a:off x="6097511" y="1492878"/>
                <a:ext cx="876318" cy="866339"/>
              </a:xfrm>
              <a:custGeom>
                <a:avLst/>
                <a:gdLst>
                  <a:gd name="connsiteX0" fmla="*/ 1669963 w 1669962"/>
                  <a:gd name="connsiteY0" fmla="*/ 1650943 h 1650943"/>
                  <a:gd name="connsiteX1" fmla="*/ 0 w 1669962"/>
                  <a:gd name="connsiteY1" fmla="*/ 0 h 1650943"/>
                  <a:gd name="connsiteX2" fmla="*/ 0 w 1669962"/>
                  <a:gd name="connsiteY2" fmla="*/ 1650943 h 1650943"/>
                  <a:gd name="connsiteX3" fmla="*/ 1669963 w 1669962"/>
                  <a:gd name="connsiteY3" fmla="*/ 1650943 h 1650943"/>
                </a:gdLst>
                <a:ahLst/>
                <a:cxnLst>
                  <a:cxn ang="0">
                    <a:pos x="connsiteX0" y="connsiteY0"/>
                  </a:cxn>
                  <a:cxn ang="0">
                    <a:pos x="connsiteX1" y="connsiteY1"/>
                  </a:cxn>
                  <a:cxn ang="0">
                    <a:pos x="connsiteX2" y="connsiteY2"/>
                  </a:cxn>
                  <a:cxn ang="0">
                    <a:pos x="connsiteX3" y="connsiteY3"/>
                  </a:cxn>
                </a:cxnLst>
                <a:rect l="l" t="t" r="r" b="b"/>
                <a:pathLst>
                  <a:path w="1669962" h="1650943">
                    <a:moveTo>
                      <a:pt x="1669963" y="1650943"/>
                    </a:moveTo>
                    <a:cubicBezTo>
                      <a:pt x="1659697" y="737397"/>
                      <a:pt x="915961" y="0"/>
                      <a:pt x="0" y="0"/>
                    </a:cubicBezTo>
                    <a:lnTo>
                      <a:pt x="0" y="1650943"/>
                    </a:lnTo>
                    <a:lnTo>
                      <a:pt x="1669963" y="1650943"/>
                    </a:lnTo>
                    <a:close/>
                  </a:path>
                </a:pathLst>
              </a:custGeom>
              <a:solidFill>
                <a:srgbClr val="00ABAB"/>
              </a:solidFill>
              <a:ln w="243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81" name="Graphic 1194">
                <a:extLst>
                  <a:ext uri="{FF2B5EF4-FFF2-40B4-BE49-F238E27FC236}">
                    <a16:creationId xmlns:a16="http://schemas.microsoft.com/office/drawing/2014/main" id="{51B6C634-1F10-20DC-8B7B-125286F60C30}"/>
                  </a:ext>
                </a:extLst>
              </p:cNvPr>
              <p:cNvSpPr/>
              <p:nvPr/>
            </p:nvSpPr>
            <p:spPr>
              <a:xfrm>
                <a:off x="6097497" y="2379115"/>
                <a:ext cx="876318" cy="866543"/>
              </a:xfrm>
              <a:custGeom>
                <a:avLst/>
                <a:gdLst>
                  <a:gd name="connsiteX0" fmla="*/ 0 w 1669962"/>
                  <a:gd name="connsiteY0" fmla="*/ 0 h 1651333"/>
                  <a:gd name="connsiteX1" fmla="*/ 0 w 1669962"/>
                  <a:gd name="connsiteY1" fmla="*/ 1651333 h 1651333"/>
                  <a:gd name="connsiteX2" fmla="*/ 1669963 w 1669962"/>
                  <a:gd name="connsiteY2" fmla="*/ 0 h 1651333"/>
                  <a:gd name="connsiteX3" fmla="*/ 0 w 1669962"/>
                  <a:gd name="connsiteY3" fmla="*/ 0 h 1651333"/>
                </a:gdLst>
                <a:ahLst/>
                <a:cxnLst>
                  <a:cxn ang="0">
                    <a:pos x="connsiteX0" y="connsiteY0"/>
                  </a:cxn>
                  <a:cxn ang="0">
                    <a:pos x="connsiteX1" y="connsiteY1"/>
                  </a:cxn>
                  <a:cxn ang="0">
                    <a:pos x="connsiteX2" y="connsiteY2"/>
                  </a:cxn>
                  <a:cxn ang="0">
                    <a:pos x="connsiteX3" y="connsiteY3"/>
                  </a:cxn>
                </a:cxnLst>
                <a:rect l="l" t="t" r="r" b="b"/>
                <a:pathLst>
                  <a:path w="1669962" h="1651333">
                    <a:moveTo>
                      <a:pt x="0" y="0"/>
                    </a:moveTo>
                    <a:lnTo>
                      <a:pt x="0" y="1651333"/>
                    </a:lnTo>
                    <a:cubicBezTo>
                      <a:pt x="916107" y="1651333"/>
                      <a:pt x="1659916" y="913717"/>
                      <a:pt x="1669963" y="0"/>
                    </a:cubicBezTo>
                    <a:lnTo>
                      <a:pt x="0" y="0"/>
                    </a:lnTo>
                    <a:close/>
                  </a:path>
                </a:pathLst>
              </a:custGeom>
              <a:solidFill>
                <a:srgbClr val="0076A8"/>
              </a:solidFill>
              <a:ln w="243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82" name="Graphic 1194">
                <a:extLst>
                  <a:ext uri="{FF2B5EF4-FFF2-40B4-BE49-F238E27FC236}">
                    <a16:creationId xmlns:a16="http://schemas.microsoft.com/office/drawing/2014/main" id="{3E8CBB66-6BB6-415E-3462-3D642E51F7D0}"/>
                  </a:ext>
                </a:extLst>
              </p:cNvPr>
              <p:cNvSpPr/>
              <p:nvPr/>
            </p:nvSpPr>
            <p:spPr>
              <a:xfrm>
                <a:off x="5428656" y="1700421"/>
                <a:ext cx="1337708" cy="1337719"/>
              </a:xfrm>
              <a:custGeom>
                <a:avLst/>
                <a:gdLst>
                  <a:gd name="connsiteX0" fmla="*/ 3134271 w 3134270"/>
                  <a:gd name="connsiteY0" fmla="*/ 1567135 h 3134295"/>
                  <a:gd name="connsiteX1" fmla="*/ 1567111 w 3134270"/>
                  <a:gd name="connsiteY1" fmla="*/ 3134295 h 3134295"/>
                  <a:gd name="connsiteX2" fmla="*/ 0 w 3134270"/>
                  <a:gd name="connsiteY2" fmla="*/ 1567135 h 3134295"/>
                  <a:gd name="connsiteX3" fmla="*/ 864754 w 3134270"/>
                  <a:gd name="connsiteY3" fmla="*/ 165884 h 3134295"/>
                  <a:gd name="connsiteX4" fmla="*/ 1206643 w 3134270"/>
                  <a:gd name="connsiteY4" fmla="*/ 41697 h 3134295"/>
                  <a:gd name="connsiteX5" fmla="*/ 1567135 w 3134270"/>
                  <a:gd name="connsiteY5" fmla="*/ 0 h 3134295"/>
                  <a:gd name="connsiteX6" fmla="*/ 3134271 w 3134270"/>
                  <a:gd name="connsiteY6" fmla="*/ 1567135 h 313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270" h="3134295">
                    <a:moveTo>
                      <a:pt x="3134271" y="1567135"/>
                    </a:moveTo>
                    <a:cubicBezTo>
                      <a:pt x="3134271" y="2432670"/>
                      <a:pt x="2432645" y="3134295"/>
                      <a:pt x="1567111" y="3134295"/>
                    </a:cubicBezTo>
                    <a:cubicBezTo>
                      <a:pt x="701625" y="3134295"/>
                      <a:pt x="0" y="2432670"/>
                      <a:pt x="0" y="1567135"/>
                    </a:cubicBezTo>
                    <a:cubicBezTo>
                      <a:pt x="0" y="954170"/>
                      <a:pt x="351959" y="423404"/>
                      <a:pt x="864754" y="165884"/>
                    </a:cubicBezTo>
                    <a:cubicBezTo>
                      <a:pt x="972239" y="111874"/>
                      <a:pt x="1086795" y="69860"/>
                      <a:pt x="1206643" y="41697"/>
                    </a:cubicBezTo>
                    <a:cubicBezTo>
                      <a:pt x="1322369" y="14411"/>
                      <a:pt x="1443094" y="0"/>
                      <a:pt x="1567135" y="0"/>
                    </a:cubicBezTo>
                    <a:cubicBezTo>
                      <a:pt x="2432645" y="0"/>
                      <a:pt x="3134271" y="701625"/>
                      <a:pt x="3134271" y="1567135"/>
                    </a:cubicBezTo>
                    <a:close/>
                  </a:path>
                </a:pathLst>
              </a:custGeom>
              <a:solidFill>
                <a:schemeClr val="bg1"/>
              </a:solidFill>
              <a:ln w="11301" cap="flat">
                <a:noFill/>
                <a:prstDash val="solid"/>
                <a:miter/>
              </a:ln>
              <a:effectLst>
                <a:outerShdw blurRad="50800" dist="38100" dir="5400000" algn="t" rotWithShape="0">
                  <a:prstClr val="black">
                    <a:alpha val="40000"/>
                  </a:prst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Times New Roman" panose="02020603050405020304" pitchFamily="18" charset="0"/>
                  </a:rPr>
                  <a:t>Services</a:t>
                </a:r>
                <a:br>
                  <a:rPr kumimoji="0" lang="en-US" sz="1400" b="1"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Times New Roman" panose="02020603050405020304" pitchFamily="18" charset="0"/>
                  </a:rPr>
                </a:b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Times New Roman" panose="02020603050405020304" pitchFamily="18" charset="0"/>
                  </a:rPr>
                  <a:t>in India</a:t>
                </a:r>
              </a:p>
            </p:txBody>
          </p:sp>
        </p:grpSp>
        <p:sp>
          <p:nvSpPr>
            <p:cNvPr id="58" name="Graphic 1194">
              <a:extLst>
                <a:ext uri="{FF2B5EF4-FFF2-40B4-BE49-F238E27FC236}">
                  <a16:creationId xmlns:a16="http://schemas.microsoft.com/office/drawing/2014/main" id="{DDDE3106-0B75-55AF-8DDE-A8493F16F4A9}"/>
                </a:ext>
              </a:extLst>
            </p:cNvPr>
            <p:cNvSpPr/>
            <p:nvPr/>
          </p:nvSpPr>
          <p:spPr>
            <a:xfrm>
              <a:off x="7635068" y="1858377"/>
              <a:ext cx="3507052" cy="313532"/>
            </a:xfrm>
            <a:prstGeom prst="roundRect">
              <a:avLst>
                <a:gd name="adj" fmla="val 50000"/>
              </a:avLst>
            </a:prstGeom>
            <a:solidFill>
              <a:srgbClr val="00ABAB"/>
            </a:solidFill>
            <a:ln w="2438" cap="flat">
              <a:noFill/>
              <a:prstDash val="solid"/>
              <a:miter/>
            </a:ln>
          </p:spPr>
          <p:txBody>
            <a:bodyPr lIns="9144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ptos" panose="020B0004020202020204" pitchFamily="34" charset="0"/>
                  <a:ea typeface="Verdana" panose="020B0604030504040204" pitchFamily="34" charset="0"/>
                  <a:cs typeface="Times New Roman" panose="02020603050405020304" pitchFamily="18" charset="0"/>
                </a:rPr>
                <a:t>Assurance</a:t>
              </a:r>
            </a:p>
          </p:txBody>
        </p:sp>
        <p:sp>
          <p:nvSpPr>
            <p:cNvPr id="448" name="Graphic 1194">
              <a:extLst>
                <a:ext uri="{FF2B5EF4-FFF2-40B4-BE49-F238E27FC236}">
                  <a16:creationId xmlns:a16="http://schemas.microsoft.com/office/drawing/2014/main" id="{64BFBE51-35C6-728B-3F3F-016BB7016654}"/>
                </a:ext>
              </a:extLst>
            </p:cNvPr>
            <p:cNvSpPr/>
            <p:nvPr/>
          </p:nvSpPr>
          <p:spPr>
            <a:xfrm>
              <a:off x="7635067" y="2568520"/>
              <a:ext cx="3507052" cy="313532"/>
            </a:xfrm>
            <a:prstGeom prst="roundRect">
              <a:avLst>
                <a:gd name="adj" fmla="val 50000"/>
              </a:avLst>
            </a:prstGeom>
            <a:solidFill>
              <a:srgbClr val="0076A8"/>
            </a:solidFill>
            <a:ln w="2438" cap="flat">
              <a:noFill/>
              <a:prstDash val="solid"/>
              <a:miter/>
            </a:ln>
          </p:spPr>
          <p:txBody>
            <a:bodyPr lIns="9144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ptos" panose="020B0004020202020204" pitchFamily="34" charset="0"/>
                  <a:ea typeface="Verdana" panose="020B0604030504040204" pitchFamily="34" charset="0"/>
                  <a:cs typeface="Times New Roman" panose="02020603050405020304" pitchFamily="18" charset="0"/>
                </a:rPr>
                <a:t>Tax </a:t>
              </a:r>
            </a:p>
          </p:txBody>
        </p:sp>
        <p:sp>
          <p:nvSpPr>
            <p:cNvPr id="449" name="Graphic 1194">
              <a:extLst>
                <a:ext uri="{FF2B5EF4-FFF2-40B4-BE49-F238E27FC236}">
                  <a16:creationId xmlns:a16="http://schemas.microsoft.com/office/drawing/2014/main" id="{0108F0CB-62E6-2751-C2ED-6638890342C2}"/>
                </a:ext>
              </a:extLst>
            </p:cNvPr>
            <p:cNvSpPr/>
            <p:nvPr/>
          </p:nvSpPr>
          <p:spPr>
            <a:xfrm>
              <a:off x="1049881" y="1856522"/>
              <a:ext cx="3507052" cy="313532"/>
            </a:xfrm>
            <a:prstGeom prst="roundRect">
              <a:avLst>
                <a:gd name="adj" fmla="val 50000"/>
              </a:avLst>
            </a:prstGeom>
            <a:solidFill>
              <a:srgbClr val="0076A8"/>
            </a:solidFill>
            <a:ln w="2438" cap="flat">
              <a:noFill/>
              <a:prstDash val="solid"/>
              <a:miter/>
            </a:ln>
          </p:spPr>
          <p:txBody>
            <a:bodyPr lIns="91440" rIns="7315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ptos" panose="020B0004020202020204" pitchFamily="34" charset="0"/>
                  <a:ea typeface="Verdana" panose="020B0604030504040204" pitchFamily="34" charset="0"/>
                  <a:cs typeface="Times New Roman" panose="02020603050405020304" pitchFamily="18" charset="0"/>
                </a:rPr>
                <a:t>Strategy, Risk &amp; Transactions</a:t>
              </a:r>
            </a:p>
          </p:txBody>
        </p:sp>
        <p:sp>
          <p:nvSpPr>
            <p:cNvPr id="453" name="Graphic 1194">
              <a:extLst>
                <a:ext uri="{FF2B5EF4-FFF2-40B4-BE49-F238E27FC236}">
                  <a16:creationId xmlns:a16="http://schemas.microsoft.com/office/drawing/2014/main" id="{9757C027-7804-49D7-C926-7445F6D5E0FA}"/>
                </a:ext>
              </a:extLst>
            </p:cNvPr>
            <p:cNvSpPr/>
            <p:nvPr/>
          </p:nvSpPr>
          <p:spPr>
            <a:xfrm>
              <a:off x="1049881" y="2566666"/>
              <a:ext cx="3507052" cy="313532"/>
            </a:xfrm>
            <a:prstGeom prst="roundRect">
              <a:avLst>
                <a:gd name="adj" fmla="val 50000"/>
              </a:avLst>
            </a:prstGeom>
            <a:solidFill>
              <a:srgbClr val="00ABAB"/>
            </a:solidFill>
            <a:ln w="2438" cap="flat">
              <a:noFill/>
              <a:prstDash val="solid"/>
              <a:miter/>
            </a:ln>
          </p:spPr>
          <p:txBody>
            <a:bodyPr rIns="7315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ptos" panose="020B0004020202020204" pitchFamily="34" charset="0"/>
                  <a:ea typeface="Verdana" panose="020B0604030504040204" pitchFamily="34" charset="0"/>
                  <a:cs typeface="Times New Roman" panose="02020603050405020304" pitchFamily="18" charset="0"/>
                </a:rPr>
                <a:t>Technology &amp; Transformation</a:t>
              </a:r>
            </a:p>
          </p:txBody>
        </p:sp>
        <p:sp>
          <p:nvSpPr>
            <p:cNvPr id="454" name="Graphic 1194">
              <a:extLst>
                <a:ext uri="{FF2B5EF4-FFF2-40B4-BE49-F238E27FC236}">
                  <a16:creationId xmlns:a16="http://schemas.microsoft.com/office/drawing/2014/main" id="{A5979D98-BDA4-C95A-CDE4-5CEB53C88465}"/>
                </a:ext>
              </a:extLst>
            </p:cNvPr>
            <p:cNvSpPr>
              <a:spLocks noChangeAspect="1"/>
            </p:cNvSpPr>
            <p:nvPr/>
          </p:nvSpPr>
          <p:spPr>
            <a:xfrm>
              <a:off x="7422698" y="1771668"/>
              <a:ext cx="486951" cy="486951"/>
            </a:xfrm>
            <a:custGeom>
              <a:avLst/>
              <a:gdLst>
                <a:gd name="connsiteX0" fmla="*/ 958730 w 958729"/>
                <a:gd name="connsiteY0" fmla="*/ 479365 h 958730"/>
                <a:gd name="connsiteX1" fmla="*/ 479365 w 958729"/>
                <a:gd name="connsiteY1" fmla="*/ 958730 h 958730"/>
                <a:gd name="connsiteX2" fmla="*/ 0 w 958729"/>
                <a:gd name="connsiteY2" fmla="*/ 479365 h 958730"/>
                <a:gd name="connsiteX3" fmla="*/ 264518 w 958729"/>
                <a:gd name="connsiteY3" fmla="*/ 50743 h 958730"/>
                <a:gd name="connsiteX4" fmla="*/ 369101 w 958729"/>
                <a:gd name="connsiteY4" fmla="*/ 12753 h 958730"/>
                <a:gd name="connsiteX5" fmla="*/ 479365 w 958729"/>
                <a:gd name="connsiteY5" fmla="*/ 0 h 958730"/>
                <a:gd name="connsiteX6" fmla="*/ 958730 w 958729"/>
                <a:gd name="connsiteY6" fmla="*/ 479365 h 9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729" h="958730">
                  <a:moveTo>
                    <a:pt x="958730" y="479365"/>
                  </a:moveTo>
                  <a:cubicBezTo>
                    <a:pt x="958730" y="744127"/>
                    <a:pt x="744102" y="958730"/>
                    <a:pt x="479365" y="958730"/>
                  </a:cubicBezTo>
                  <a:cubicBezTo>
                    <a:pt x="214628" y="958730"/>
                    <a:pt x="0" y="744102"/>
                    <a:pt x="0" y="479365"/>
                  </a:cubicBezTo>
                  <a:cubicBezTo>
                    <a:pt x="0" y="291876"/>
                    <a:pt x="107656" y="129503"/>
                    <a:pt x="264518" y="50743"/>
                  </a:cubicBezTo>
                  <a:cubicBezTo>
                    <a:pt x="297387" y="34211"/>
                    <a:pt x="332427" y="21385"/>
                    <a:pt x="369101" y="12753"/>
                  </a:cubicBezTo>
                  <a:cubicBezTo>
                    <a:pt x="404507" y="4413"/>
                    <a:pt x="441424" y="0"/>
                    <a:pt x="479365" y="0"/>
                  </a:cubicBezTo>
                  <a:cubicBezTo>
                    <a:pt x="744102" y="0"/>
                    <a:pt x="958730" y="214604"/>
                    <a:pt x="958730" y="479365"/>
                  </a:cubicBezTo>
                  <a:close/>
                </a:path>
              </a:pathLst>
            </a:custGeom>
            <a:solidFill>
              <a:schemeClr val="bg1"/>
            </a:solidFill>
            <a:ln w="11301" cap="flat">
              <a:noFill/>
              <a:prstDash val="solid"/>
              <a:miter/>
            </a:ln>
            <a:effectLst>
              <a:outerShdw blurRad="190500" dist="12700" dir="5400000" rotWithShape="0">
                <a:srgbClr val="000000">
                  <a:alpha val="20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55" name="Graphic 1194">
              <a:extLst>
                <a:ext uri="{FF2B5EF4-FFF2-40B4-BE49-F238E27FC236}">
                  <a16:creationId xmlns:a16="http://schemas.microsoft.com/office/drawing/2014/main" id="{97076F96-A051-604F-2AB7-7DB88578C89A}"/>
                </a:ext>
              </a:extLst>
            </p:cNvPr>
            <p:cNvSpPr>
              <a:spLocks noChangeAspect="1"/>
            </p:cNvSpPr>
            <p:nvPr/>
          </p:nvSpPr>
          <p:spPr>
            <a:xfrm>
              <a:off x="7422698" y="2481811"/>
              <a:ext cx="486951" cy="486951"/>
            </a:xfrm>
            <a:custGeom>
              <a:avLst/>
              <a:gdLst>
                <a:gd name="connsiteX0" fmla="*/ 958730 w 958729"/>
                <a:gd name="connsiteY0" fmla="*/ 479365 h 958730"/>
                <a:gd name="connsiteX1" fmla="*/ 479365 w 958729"/>
                <a:gd name="connsiteY1" fmla="*/ 958730 h 958730"/>
                <a:gd name="connsiteX2" fmla="*/ 0 w 958729"/>
                <a:gd name="connsiteY2" fmla="*/ 479365 h 958730"/>
                <a:gd name="connsiteX3" fmla="*/ 264518 w 958729"/>
                <a:gd name="connsiteY3" fmla="*/ 50743 h 958730"/>
                <a:gd name="connsiteX4" fmla="*/ 369101 w 958729"/>
                <a:gd name="connsiteY4" fmla="*/ 12753 h 958730"/>
                <a:gd name="connsiteX5" fmla="*/ 479365 w 958729"/>
                <a:gd name="connsiteY5" fmla="*/ 0 h 958730"/>
                <a:gd name="connsiteX6" fmla="*/ 958730 w 958729"/>
                <a:gd name="connsiteY6" fmla="*/ 479365 h 9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729" h="958730">
                  <a:moveTo>
                    <a:pt x="958730" y="479365"/>
                  </a:moveTo>
                  <a:cubicBezTo>
                    <a:pt x="958730" y="744127"/>
                    <a:pt x="744102" y="958730"/>
                    <a:pt x="479365" y="958730"/>
                  </a:cubicBezTo>
                  <a:cubicBezTo>
                    <a:pt x="214628" y="958730"/>
                    <a:pt x="0" y="744102"/>
                    <a:pt x="0" y="479365"/>
                  </a:cubicBezTo>
                  <a:cubicBezTo>
                    <a:pt x="0" y="291877"/>
                    <a:pt x="107656" y="129504"/>
                    <a:pt x="264518" y="50743"/>
                  </a:cubicBezTo>
                  <a:cubicBezTo>
                    <a:pt x="297387" y="34235"/>
                    <a:pt x="332427" y="21385"/>
                    <a:pt x="369101" y="12753"/>
                  </a:cubicBezTo>
                  <a:cubicBezTo>
                    <a:pt x="404507" y="4414"/>
                    <a:pt x="441424" y="0"/>
                    <a:pt x="479365" y="0"/>
                  </a:cubicBezTo>
                  <a:cubicBezTo>
                    <a:pt x="744102" y="24"/>
                    <a:pt x="958730" y="214628"/>
                    <a:pt x="958730" y="479365"/>
                  </a:cubicBezTo>
                  <a:close/>
                </a:path>
              </a:pathLst>
            </a:custGeom>
            <a:solidFill>
              <a:schemeClr val="bg1"/>
            </a:solidFill>
            <a:ln w="11301" cap="flat">
              <a:noFill/>
              <a:prstDash val="solid"/>
              <a:miter/>
            </a:ln>
            <a:effectLst>
              <a:outerShdw blurRad="190500" dist="12700" dir="5400000" rotWithShape="0">
                <a:srgbClr val="000000">
                  <a:alpha val="20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56" name="Graphic 1194">
              <a:extLst>
                <a:ext uri="{FF2B5EF4-FFF2-40B4-BE49-F238E27FC236}">
                  <a16:creationId xmlns:a16="http://schemas.microsoft.com/office/drawing/2014/main" id="{F19E25B0-16AF-A448-AF93-4FC00255AB6D}"/>
                </a:ext>
              </a:extLst>
            </p:cNvPr>
            <p:cNvSpPr>
              <a:spLocks noChangeAspect="1"/>
            </p:cNvSpPr>
            <p:nvPr/>
          </p:nvSpPr>
          <p:spPr>
            <a:xfrm>
              <a:off x="4282353" y="1771668"/>
              <a:ext cx="486951" cy="486951"/>
            </a:xfrm>
            <a:custGeom>
              <a:avLst/>
              <a:gdLst>
                <a:gd name="connsiteX0" fmla="*/ 958730 w 958730"/>
                <a:gd name="connsiteY0" fmla="*/ 479365 h 958730"/>
                <a:gd name="connsiteX1" fmla="*/ 479365 w 958730"/>
                <a:gd name="connsiteY1" fmla="*/ 958730 h 958730"/>
                <a:gd name="connsiteX2" fmla="*/ 0 w 958730"/>
                <a:gd name="connsiteY2" fmla="*/ 479365 h 958730"/>
                <a:gd name="connsiteX3" fmla="*/ 264518 w 958730"/>
                <a:gd name="connsiteY3" fmla="*/ 50743 h 958730"/>
                <a:gd name="connsiteX4" fmla="*/ 369101 w 958730"/>
                <a:gd name="connsiteY4" fmla="*/ 12753 h 958730"/>
                <a:gd name="connsiteX5" fmla="*/ 479365 w 958730"/>
                <a:gd name="connsiteY5" fmla="*/ 0 h 958730"/>
                <a:gd name="connsiteX6" fmla="*/ 958730 w 958730"/>
                <a:gd name="connsiteY6" fmla="*/ 479365 h 9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730" h="958730">
                  <a:moveTo>
                    <a:pt x="958730" y="479365"/>
                  </a:moveTo>
                  <a:cubicBezTo>
                    <a:pt x="958730" y="744127"/>
                    <a:pt x="744102" y="958730"/>
                    <a:pt x="479365" y="958730"/>
                  </a:cubicBezTo>
                  <a:cubicBezTo>
                    <a:pt x="214628" y="958730"/>
                    <a:pt x="0" y="744102"/>
                    <a:pt x="0" y="479365"/>
                  </a:cubicBezTo>
                  <a:cubicBezTo>
                    <a:pt x="0" y="291876"/>
                    <a:pt x="107655" y="129503"/>
                    <a:pt x="264518" y="50743"/>
                  </a:cubicBezTo>
                  <a:cubicBezTo>
                    <a:pt x="297387" y="34211"/>
                    <a:pt x="332427" y="21385"/>
                    <a:pt x="369101" y="12753"/>
                  </a:cubicBezTo>
                  <a:cubicBezTo>
                    <a:pt x="404506" y="4413"/>
                    <a:pt x="441424" y="0"/>
                    <a:pt x="479365" y="0"/>
                  </a:cubicBezTo>
                  <a:cubicBezTo>
                    <a:pt x="744102" y="0"/>
                    <a:pt x="958730" y="214604"/>
                    <a:pt x="958730" y="479365"/>
                  </a:cubicBezTo>
                  <a:close/>
                </a:path>
              </a:pathLst>
            </a:custGeom>
            <a:solidFill>
              <a:schemeClr val="bg1"/>
            </a:solidFill>
            <a:ln w="11301" cap="flat">
              <a:noFill/>
              <a:prstDash val="solid"/>
              <a:miter/>
            </a:ln>
            <a:effectLst>
              <a:outerShdw blurRad="190500" dist="12700" dir="5400000" rotWithShape="0">
                <a:srgbClr val="000000">
                  <a:alpha val="20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61" name="Graphic 1194">
              <a:extLst>
                <a:ext uri="{FF2B5EF4-FFF2-40B4-BE49-F238E27FC236}">
                  <a16:creationId xmlns:a16="http://schemas.microsoft.com/office/drawing/2014/main" id="{EDFB2430-A632-EC2C-3170-E29FBFBE701F}"/>
                </a:ext>
              </a:extLst>
            </p:cNvPr>
            <p:cNvSpPr>
              <a:spLocks noChangeAspect="1"/>
            </p:cNvSpPr>
            <p:nvPr/>
          </p:nvSpPr>
          <p:spPr>
            <a:xfrm>
              <a:off x="4282353" y="2481811"/>
              <a:ext cx="486951" cy="486951"/>
            </a:xfrm>
            <a:custGeom>
              <a:avLst/>
              <a:gdLst>
                <a:gd name="connsiteX0" fmla="*/ 958730 w 958730"/>
                <a:gd name="connsiteY0" fmla="*/ 479365 h 958730"/>
                <a:gd name="connsiteX1" fmla="*/ 479365 w 958730"/>
                <a:gd name="connsiteY1" fmla="*/ 958730 h 958730"/>
                <a:gd name="connsiteX2" fmla="*/ 0 w 958730"/>
                <a:gd name="connsiteY2" fmla="*/ 479365 h 958730"/>
                <a:gd name="connsiteX3" fmla="*/ 264518 w 958730"/>
                <a:gd name="connsiteY3" fmla="*/ 50743 h 958730"/>
                <a:gd name="connsiteX4" fmla="*/ 369101 w 958730"/>
                <a:gd name="connsiteY4" fmla="*/ 12753 h 958730"/>
                <a:gd name="connsiteX5" fmla="*/ 479365 w 958730"/>
                <a:gd name="connsiteY5" fmla="*/ 0 h 958730"/>
                <a:gd name="connsiteX6" fmla="*/ 958730 w 958730"/>
                <a:gd name="connsiteY6" fmla="*/ 479365 h 9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730" h="958730">
                  <a:moveTo>
                    <a:pt x="958730" y="479365"/>
                  </a:moveTo>
                  <a:cubicBezTo>
                    <a:pt x="958730" y="744127"/>
                    <a:pt x="744102" y="958730"/>
                    <a:pt x="479365" y="958730"/>
                  </a:cubicBezTo>
                  <a:cubicBezTo>
                    <a:pt x="214628" y="958730"/>
                    <a:pt x="0" y="744102"/>
                    <a:pt x="0" y="479365"/>
                  </a:cubicBezTo>
                  <a:cubicBezTo>
                    <a:pt x="0" y="291877"/>
                    <a:pt x="107655" y="129503"/>
                    <a:pt x="264518" y="50743"/>
                  </a:cubicBezTo>
                  <a:cubicBezTo>
                    <a:pt x="297387" y="34211"/>
                    <a:pt x="332427" y="21385"/>
                    <a:pt x="369101" y="12753"/>
                  </a:cubicBezTo>
                  <a:cubicBezTo>
                    <a:pt x="404506" y="4414"/>
                    <a:pt x="441424" y="0"/>
                    <a:pt x="479365" y="0"/>
                  </a:cubicBezTo>
                  <a:cubicBezTo>
                    <a:pt x="744102" y="0"/>
                    <a:pt x="958730" y="214604"/>
                    <a:pt x="958730" y="479365"/>
                  </a:cubicBezTo>
                  <a:close/>
                </a:path>
              </a:pathLst>
            </a:custGeom>
            <a:solidFill>
              <a:schemeClr val="bg1"/>
            </a:solidFill>
            <a:ln w="11301" cap="flat">
              <a:noFill/>
              <a:prstDash val="solid"/>
              <a:miter/>
            </a:ln>
            <a:effectLst>
              <a:outerShdw blurRad="190500" dist="12700" dir="5400000" rotWithShape="0">
                <a:srgbClr val="000000">
                  <a:alpha val="20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462" name="Graphic 4">
              <a:extLst>
                <a:ext uri="{FF2B5EF4-FFF2-40B4-BE49-F238E27FC236}">
                  <a16:creationId xmlns:a16="http://schemas.microsoft.com/office/drawing/2014/main" id="{38443D66-B60A-C438-3643-867D9B443C8B}"/>
                </a:ext>
              </a:extLst>
            </p:cNvPr>
            <p:cNvGrpSpPr>
              <a:grpSpLocks noChangeAspect="1"/>
            </p:cNvGrpSpPr>
            <p:nvPr/>
          </p:nvGrpSpPr>
          <p:grpSpPr>
            <a:xfrm>
              <a:off x="7485338" y="1834476"/>
              <a:ext cx="361670" cy="361334"/>
              <a:chOff x="6753524" y="2371173"/>
              <a:chExt cx="361670" cy="361333"/>
            </a:xfrm>
            <a:solidFill>
              <a:srgbClr val="0076A8"/>
            </a:solidFill>
          </p:grpSpPr>
          <p:sp>
            <p:nvSpPr>
              <p:cNvPr id="475" name="Graphic 4">
                <a:extLst>
                  <a:ext uri="{FF2B5EF4-FFF2-40B4-BE49-F238E27FC236}">
                    <a16:creationId xmlns:a16="http://schemas.microsoft.com/office/drawing/2014/main" id="{A811954B-7EBA-573F-3E35-DC483150F9A1}"/>
                  </a:ext>
                </a:extLst>
              </p:cNvPr>
              <p:cNvSpPr/>
              <p:nvPr/>
            </p:nvSpPr>
            <p:spPr>
              <a:xfrm>
                <a:off x="6753524"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0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1157" y="0"/>
                      <a:pt x="180835" y="0"/>
                    </a:cubicBezTo>
                    <a:close/>
                    <a:moveTo>
                      <a:pt x="180835" y="349204"/>
                    </a:moveTo>
                    <a:cubicBezTo>
                      <a:pt x="88181" y="349204"/>
                      <a:pt x="12780" y="273873"/>
                      <a:pt x="12780" y="181305"/>
                    </a:cubicBezTo>
                    <a:cubicBezTo>
                      <a:pt x="12780" y="88738"/>
                      <a:pt x="88181" y="13406"/>
                      <a:pt x="180835" y="13406"/>
                    </a:cubicBezTo>
                    <a:cubicBezTo>
                      <a:pt x="273489" y="13406"/>
                      <a:pt x="348890" y="88738"/>
                      <a:pt x="348890" y="181305"/>
                    </a:cubicBezTo>
                    <a:cubicBezTo>
                      <a:pt x="348890" y="273873"/>
                      <a:pt x="274128" y="349204"/>
                      <a:pt x="180835" y="349204"/>
                    </a:cubicBezTo>
                    <a:close/>
                  </a:path>
                </a:pathLst>
              </a:custGeom>
              <a:solidFill>
                <a:srgbClr val="00ABAB"/>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76" name="Graphic 4">
                <a:extLst>
                  <a:ext uri="{FF2B5EF4-FFF2-40B4-BE49-F238E27FC236}">
                    <a16:creationId xmlns:a16="http://schemas.microsoft.com/office/drawing/2014/main" id="{6BDE6995-E1BA-7A61-88A0-D6DA1BDE25CF}"/>
                  </a:ext>
                </a:extLst>
              </p:cNvPr>
              <p:cNvSpPr/>
              <p:nvPr/>
            </p:nvSpPr>
            <p:spPr>
              <a:xfrm>
                <a:off x="6818788" y="2535880"/>
                <a:ext cx="232507" cy="111719"/>
              </a:xfrm>
              <a:custGeom>
                <a:avLst/>
                <a:gdLst>
                  <a:gd name="connsiteX0" fmla="*/ 225479 w 232507"/>
                  <a:gd name="connsiteY0" fmla="*/ 55541 h 111719"/>
                  <a:gd name="connsiteX1" fmla="*/ 222922 w 232507"/>
                  <a:gd name="connsiteY1" fmla="*/ 55541 h 111719"/>
                  <a:gd name="connsiteX2" fmla="*/ 196085 w 232507"/>
                  <a:gd name="connsiteY2" fmla="*/ 63840 h 111719"/>
                  <a:gd name="connsiteX3" fmla="*/ 153272 w 232507"/>
                  <a:gd name="connsiteY3" fmla="*/ 92568 h 111719"/>
                  <a:gd name="connsiteX4" fmla="*/ 132824 w 232507"/>
                  <a:gd name="connsiteY4" fmla="*/ 98952 h 111719"/>
                  <a:gd name="connsiteX5" fmla="*/ 82983 w 232507"/>
                  <a:gd name="connsiteY5" fmla="*/ 98952 h 111719"/>
                  <a:gd name="connsiteX6" fmla="*/ 71481 w 232507"/>
                  <a:gd name="connsiteY6" fmla="*/ 96398 h 111719"/>
                  <a:gd name="connsiteX7" fmla="*/ 13332 w 232507"/>
                  <a:gd name="connsiteY7" fmla="*/ 70224 h 111719"/>
                  <a:gd name="connsiteX8" fmla="*/ 12693 w 232507"/>
                  <a:gd name="connsiteY8" fmla="*/ 69585 h 111719"/>
                  <a:gd name="connsiteX9" fmla="*/ 13972 w 232507"/>
                  <a:gd name="connsiteY9" fmla="*/ 67032 h 111719"/>
                  <a:gd name="connsiteX10" fmla="*/ 22278 w 232507"/>
                  <a:gd name="connsiteY10" fmla="*/ 63840 h 111719"/>
                  <a:gd name="connsiteX11" fmla="*/ 74676 w 232507"/>
                  <a:gd name="connsiteY11" fmla="*/ 76608 h 111719"/>
                  <a:gd name="connsiteX12" fmla="*/ 76593 w 232507"/>
                  <a:gd name="connsiteY12" fmla="*/ 84268 h 111719"/>
                  <a:gd name="connsiteX13" fmla="*/ 88095 w 232507"/>
                  <a:gd name="connsiteY13" fmla="*/ 91291 h 111719"/>
                  <a:gd name="connsiteX14" fmla="*/ 94485 w 232507"/>
                  <a:gd name="connsiteY14" fmla="*/ 90014 h 111719"/>
                  <a:gd name="connsiteX15" fmla="*/ 126435 w 232507"/>
                  <a:gd name="connsiteY15" fmla="*/ 82992 h 111719"/>
                  <a:gd name="connsiteX16" fmla="*/ 143048 w 232507"/>
                  <a:gd name="connsiteY16" fmla="*/ 75331 h 111719"/>
                  <a:gd name="connsiteX17" fmla="*/ 164135 w 232507"/>
                  <a:gd name="connsiteY17" fmla="*/ 59371 h 111719"/>
                  <a:gd name="connsiteX18" fmla="*/ 165413 w 232507"/>
                  <a:gd name="connsiteY18" fmla="*/ 50433 h 111719"/>
                  <a:gd name="connsiteX19" fmla="*/ 156467 w 232507"/>
                  <a:gd name="connsiteY19" fmla="*/ 49157 h 111719"/>
                  <a:gd name="connsiteX20" fmla="*/ 135381 w 232507"/>
                  <a:gd name="connsiteY20" fmla="*/ 65117 h 111719"/>
                  <a:gd name="connsiteX21" fmla="*/ 123240 w 232507"/>
                  <a:gd name="connsiteY21" fmla="*/ 70862 h 111719"/>
                  <a:gd name="connsiteX22" fmla="*/ 90651 w 232507"/>
                  <a:gd name="connsiteY22" fmla="*/ 77884 h 111719"/>
                  <a:gd name="connsiteX23" fmla="*/ 86816 w 232507"/>
                  <a:gd name="connsiteY23" fmla="*/ 78523 h 111719"/>
                  <a:gd name="connsiteX24" fmla="*/ 93206 w 232507"/>
                  <a:gd name="connsiteY24" fmla="*/ 65117 h 111719"/>
                  <a:gd name="connsiteX25" fmla="*/ 120045 w 232507"/>
                  <a:gd name="connsiteY25" fmla="*/ 51710 h 111719"/>
                  <a:gd name="connsiteX26" fmla="*/ 123240 w 232507"/>
                  <a:gd name="connsiteY26" fmla="*/ 48518 h 111719"/>
                  <a:gd name="connsiteX27" fmla="*/ 164774 w 232507"/>
                  <a:gd name="connsiteY27" fmla="*/ 12768 h 111719"/>
                  <a:gd name="connsiteX28" fmla="*/ 222922 w 232507"/>
                  <a:gd name="connsiteY28" fmla="*/ 12768 h 111719"/>
                  <a:gd name="connsiteX29" fmla="*/ 229312 w 232507"/>
                  <a:gd name="connsiteY29" fmla="*/ 6384 h 111719"/>
                  <a:gd name="connsiteX30" fmla="*/ 222922 w 232507"/>
                  <a:gd name="connsiteY30" fmla="*/ 0 h 111719"/>
                  <a:gd name="connsiteX31" fmla="*/ 164774 w 232507"/>
                  <a:gd name="connsiteY31" fmla="*/ 0 h 111719"/>
                  <a:gd name="connsiteX32" fmla="*/ 113016 w 232507"/>
                  <a:gd name="connsiteY32" fmla="*/ 40219 h 111719"/>
                  <a:gd name="connsiteX33" fmla="*/ 84900 w 232507"/>
                  <a:gd name="connsiteY33" fmla="*/ 54902 h 111719"/>
                  <a:gd name="connsiteX34" fmla="*/ 77232 w 232507"/>
                  <a:gd name="connsiteY34" fmla="*/ 64478 h 111719"/>
                  <a:gd name="connsiteX35" fmla="*/ 24196 w 232507"/>
                  <a:gd name="connsiteY35" fmla="*/ 51710 h 111719"/>
                  <a:gd name="connsiteX36" fmla="*/ 23557 w 232507"/>
                  <a:gd name="connsiteY36" fmla="*/ 51710 h 111719"/>
                  <a:gd name="connsiteX37" fmla="*/ 552 w 232507"/>
                  <a:gd name="connsiteY37" fmla="*/ 65755 h 111719"/>
                  <a:gd name="connsiteX38" fmla="*/ 8221 w 232507"/>
                  <a:gd name="connsiteY38" fmla="*/ 81715 h 111719"/>
                  <a:gd name="connsiteX39" fmla="*/ 66369 w 232507"/>
                  <a:gd name="connsiteY39" fmla="*/ 107889 h 111719"/>
                  <a:gd name="connsiteX40" fmla="*/ 83621 w 232507"/>
                  <a:gd name="connsiteY40" fmla="*/ 111720 h 111719"/>
                  <a:gd name="connsiteX41" fmla="*/ 133463 w 232507"/>
                  <a:gd name="connsiteY41" fmla="*/ 111720 h 111719"/>
                  <a:gd name="connsiteX42" fmla="*/ 160940 w 232507"/>
                  <a:gd name="connsiteY42" fmla="*/ 103420 h 111719"/>
                  <a:gd name="connsiteX43" fmla="*/ 203753 w 232507"/>
                  <a:gd name="connsiteY43" fmla="*/ 74692 h 111719"/>
                  <a:gd name="connsiteX44" fmla="*/ 223561 w 232507"/>
                  <a:gd name="connsiteY44" fmla="*/ 68947 h 111719"/>
                  <a:gd name="connsiteX45" fmla="*/ 226117 w 232507"/>
                  <a:gd name="connsiteY45" fmla="*/ 68947 h 111719"/>
                  <a:gd name="connsiteX46" fmla="*/ 232507 w 232507"/>
                  <a:gd name="connsiteY46" fmla="*/ 62563 h 111719"/>
                  <a:gd name="connsiteX47" fmla="*/ 225479 w 232507"/>
                  <a:gd name="connsiteY47" fmla="*/ 55541 h 11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32507" h="111719">
                    <a:moveTo>
                      <a:pt x="225479" y="55541"/>
                    </a:moveTo>
                    <a:lnTo>
                      <a:pt x="222922" y="55541"/>
                    </a:lnTo>
                    <a:cubicBezTo>
                      <a:pt x="213338" y="55541"/>
                      <a:pt x="203753" y="58094"/>
                      <a:pt x="196085" y="63840"/>
                    </a:cubicBezTo>
                    <a:lnTo>
                      <a:pt x="153272" y="92568"/>
                    </a:lnTo>
                    <a:cubicBezTo>
                      <a:pt x="147521" y="96398"/>
                      <a:pt x="140492" y="98952"/>
                      <a:pt x="132824" y="98952"/>
                    </a:cubicBezTo>
                    <a:lnTo>
                      <a:pt x="82983" y="98952"/>
                    </a:lnTo>
                    <a:cubicBezTo>
                      <a:pt x="79149" y="98952"/>
                      <a:pt x="74676" y="98313"/>
                      <a:pt x="71481" y="96398"/>
                    </a:cubicBezTo>
                    <a:lnTo>
                      <a:pt x="13332" y="70224"/>
                    </a:lnTo>
                    <a:cubicBezTo>
                      <a:pt x="12693" y="70224"/>
                      <a:pt x="12693" y="69585"/>
                      <a:pt x="12693" y="69585"/>
                    </a:cubicBezTo>
                    <a:cubicBezTo>
                      <a:pt x="12693" y="69585"/>
                      <a:pt x="12693" y="68308"/>
                      <a:pt x="13972" y="67032"/>
                    </a:cubicBezTo>
                    <a:cubicBezTo>
                      <a:pt x="14611" y="66393"/>
                      <a:pt x="17167" y="63840"/>
                      <a:pt x="22278" y="63840"/>
                    </a:cubicBezTo>
                    <a:lnTo>
                      <a:pt x="74676" y="76608"/>
                    </a:lnTo>
                    <a:cubicBezTo>
                      <a:pt x="74676" y="79161"/>
                      <a:pt x="75315" y="82353"/>
                      <a:pt x="76593" y="84268"/>
                    </a:cubicBezTo>
                    <a:cubicBezTo>
                      <a:pt x="77871" y="86184"/>
                      <a:pt x="81066" y="91291"/>
                      <a:pt x="88095" y="91291"/>
                    </a:cubicBezTo>
                    <a:cubicBezTo>
                      <a:pt x="90011" y="91291"/>
                      <a:pt x="91929" y="90652"/>
                      <a:pt x="94485" y="90014"/>
                    </a:cubicBezTo>
                    <a:lnTo>
                      <a:pt x="126435" y="82992"/>
                    </a:lnTo>
                    <a:cubicBezTo>
                      <a:pt x="132824" y="81715"/>
                      <a:pt x="138576" y="79161"/>
                      <a:pt x="143048" y="75331"/>
                    </a:cubicBezTo>
                    <a:lnTo>
                      <a:pt x="164135" y="59371"/>
                    </a:lnTo>
                    <a:cubicBezTo>
                      <a:pt x="166691" y="57456"/>
                      <a:pt x="167330" y="52987"/>
                      <a:pt x="165413" y="50433"/>
                    </a:cubicBezTo>
                    <a:cubicBezTo>
                      <a:pt x="163496" y="47880"/>
                      <a:pt x="159023" y="47241"/>
                      <a:pt x="156467" y="49157"/>
                    </a:cubicBezTo>
                    <a:lnTo>
                      <a:pt x="135381" y="65117"/>
                    </a:lnTo>
                    <a:cubicBezTo>
                      <a:pt x="132186" y="67670"/>
                      <a:pt x="127712" y="69585"/>
                      <a:pt x="123240" y="70862"/>
                    </a:cubicBezTo>
                    <a:lnTo>
                      <a:pt x="90651" y="77884"/>
                    </a:lnTo>
                    <a:cubicBezTo>
                      <a:pt x="88095" y="78523"/>
                      <a:pt x="86816" y="78523"/>
                      <a:pt x="86816" y="78523"/>
                    </a:cubicBezTo>
                    <a:cubicBezTo>
                      <a:pt x="85539" y="76608"/>
                      <a:pt x="87456" y="69585"/>
                      <a:pt x="93206" y="65117"/>
                    </a:cubicBezTo>
                    <a:cubicBezTo>
                      <a:pt x="99596" y="60009"/>
                      <a:pt x="109821" y="55541"/>
                      <a:pt x="120045" y="51710"/>
                    </a:cubicBezTo>
                    <a:cubicBezTo>
                      <a:pt x="121322" y="51072"/>
                      <a:pt x="122601" y="49795"/>
                      <a:pt x="123240" y="48518"/>
                    </a:cubicBezTo>
                    <a:cubicBezTo>
                      <a:pt x="123240" y="47880"/>
                      <a:pt x="139214" y="14045"/>
                      <a:pt x="164774" y="12768"/>
                    </a:cubicBezTo>
                    <a:lnTo>
                      <a:pt x="222922" y="12768"/>
                    </a:lnTo>
                    <a:cubicBezTo>
                      <a:pt x="226756" y="12768"/>
                      <a:pt x="229312" y="10214"/>
                      <a:pt x="229312" y="6384"/>
                    </a:cubicBezTo>
                    <a:cubicBezTo>
                      <a:pt x="229312" y="2554"/>
                      <a:pt x="226756" y="0"/>
                      <a:pt x="222922" y="0"/>
                    </a:cubicBezTo>
                    <a:lnTo>
                      <a:pt x="164774" y="0"/>
                    </a:lnTo>
                    <a:cubicBezTo>
                      <a:pt x="136019" y="1277"/>
                      <a:pt x="117488" y="31281"/>
                      <a:pt x="113016" y="40219"/>
                    </a:cubicBezTo>
                    <a:cubicBezTo>
                      <a:pt x="102152" y="44049"/>
                      <a:pt x="92568" y="48518"/>
                      <a:pt x="84900" y="54902"/>
                    </a:cubicBezTo>
                    <a:cubicBezTo>
                      <a:pt x="81705" y="57456"/>
                      <a:pt x="79149" y="60648"/>
                      <a:pt x="77232" y="64478"/>
                    </a:cubicBezTo>
                    <a:lnTo>
                      <a:pt x="24196" y="51710"/>
                    </a:lnTo>
                    <a:cubicBezTo>
                      <a:pt x="24196" y="51710"/>
                      <a:pt x="23557" y="51710"/>
                      <a:pt x="23557" y="51710"/>
                    </a:cubicBezTo>
                    <a:cubicBezTo>
                      <a:pt x="11416" y="50433"/>
                      <a:pt x="2470" y="58094"/>
                      <a:pt x="552" y="65755"/>
                    </a:cubicBezTo>
                    <a:cubicBezTo>
                      <a:pt x="-1364" y="72139"/>
                      <a:pt x="1831" y="78523"/>
                      <a:pt x="8221" y="81715"/>
                    </a:cubicBezTo>
                    <a:lnTo>
                      <a:pt x="66369" y="107889"/>
                    </a:lnTo>
                    <a:cubicBezTo>
                      <a:pt x="71481" y="110443"/>
                      <a:pt x="77232" y="111720"/>
                      <a:pt x="83621" y="111720"/>
                    </a:cubicBezTo>
                    <a:lnTo>
                      <a:pt x="133463" y="111720"/>
                    </a:lnTo>
                    <a:cubicBezTo>
                      <a:pt x="143048" y="111720"/>
                      <a:pt x="152633" y="109166"/>
                      <a:pt x="160940" y="103420"/>
                    </a:cubicBezTo>
                    <a:lnTo>
                      <a:pt x="203753" y="74692"/>
                    </a:lnTo>
                    <a:cubicBezTo>
                      <a:pt x="209504" y="70862"/>
                      <a:pt x="216532" y="68947"/>
                      <a:pt x="223561" y="68947"/>
                    </a:cubicBezTo>
                    <a:lnTo>
                      <a:pt x="226117" y="68947"/>
                    </a:lnTo>
                    <a:cubicBezTo>
                      <a:pt x="229951" y="68947"/>
                      <a:pt x="232507" y="66393"/>
                      <a:pt x="232507" y="62563"/>
                    </a:cubicBezTo>
                    <a:cubicBezTo>
                      <a:pt x="232507" y="58733"/>
                      <a:pt x="229312" y="55541"/>
                      <a:pt x="225479" y="55541"/>
                    </a:cubicBezTo>
                    <a:close/>
                  </a:path>
                </a:pathLst>
              </a:custGeom>
              <a:solidFill>
                <a:srgbClr val="00ABAB"/>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77" name="Graphic 4">
                <a:extLst>
                  <a:ext uri="{FF2B5EF4-FFF2-40B4-BE49-F238E27FC236}">
                    <a16:creationId xmlns:a16="http://schemas.microsoft.com/office/drawing/2014/main" id="{B05B7426-672A-B79B-9999-2426D267AAA7}"/>
                  </a:ext>
                </a:extLst>
              </p:cNvPr>
              <p:cNvSpPr/>
              <p:nvPr/>
            </p:nvSpPr>
            <p:spPr>
              <a:xfrm>
                <a:off x="6817424" y="2456080"/>
                <a:ext cx="232506" cy="111719"/>
              </a:xfrm>
              <a:custGeom>
                <a:avLst/>
                <a:gdLst>
                  <a:gd name="connsiteX0" fmla="*/ 7668 w 232506"/>
                  <a:gd name="connsiteY0" fmla="*/ 56179 h 111719"/>
                  <a:gd name="connsiteX1" fmla="*/ 10224 w 232506"/>
                  <a:gd name="connsiteY1" fmla="*/ 56179 h 111719"/>
                  <a:gd name="connsiteX2" fmla="*/ 37061 w 232506"/>
                  <a:gd name="connsiteY2" fmla="*/ 47880 h 111719"/>
                  <a:gd name="connsiteX3" fmla="*/ 79874 w 232506"/>
                  <a:gd name="connsiteY3" fmla="*/ 19152 h 111719"/>
                  <a:gd name="connsiteX4" fmla="*/ 100322 w 232506"/>
                  <a:gd name="connsiteY4" fmla="*/ 12768 h 111719"/>
                  <a:gd name="connsiteX5" fmla="*/ 150164 w 232506"/>
                  <a:gd name="connsiteY5" fmla="*/ 12768 h 111719"/>
                  <a:gd name="connsiteX6" fmla="*/ 161665 w 232506"/>
                  <a:gd name="connsiteY6" fmla="*/ 15322 h 111719"/>
                  <a:gd name="connsiteX7" fmla="*/ 219814 w 232506"/>
                  <a:gd name="connsiteY7" fmla="*/ 41496 h 111719"/>
                  <a:gd name="connsiteX8" fmla="*/ 220453 w 232506"/>
                  <a:gd name="connsiteY8" fmla="*/ 42134 h 111719"/>
                  <a:gd name="connsiteX9" fmla="*/ 219174 w 232506"/>
                  <a:gd name="connsiteY9" fmla="*/ 44688 h 111719"/>
                  <a:gd name="connsiteX10" fmla="*/ 210868 w 232506"/>
                  <a:gd name="connsiteY10" fmla="*/ 47880 h 111719"/>
                  <a:gd name="connsiteX11" fmla="*/ 158470 w 232506"/>
                  <a:gd name="connsiteY11" fmla="*/ 35112 h 111719"/>
                  <a:gd name="connsiteX12" fmla="*/ 156553 w 232506"/>
                  <a:gd name="connsiteY12" fmla="*/ 27451 h 111719"/>
                  <a:gd name="connsiteX13" fmla="*/ 138022 w 232506"/>
                  <a:gd name="connsiteY13" fmla="*/ 21706 h 111719"/>
                  <a:gd name="connsiteX14" fmla="*/ 106073 w 232506"/>
                  <a:gd name="connsiteY14" fmla="*/ 28728 h 111719"/>
                  <a:gd name="connsiteX15" fmla="*/ 89459 w 232506"/>
                  <a:gd name="connsiteY15" fmla="*/ 36389 h 111719"/>
                  <a:gd name="connsiteX16" fmla="*/ 68372 w 232506"/>
                  <a:gd name="connsiteY16" fmla="*/ 52349 h 111719"/>
                  <a:gd name="connsiteX17" fmla="*/ 67094 w 232506"/>
                  <a:gd name="connsiteY17" fmla="*/ 61286 h 111719"/>
                  <a:gd name="connsiteX18" fmla="*/ 76040 w 232506"/>
                  <a:gd name="connsiteY18" fmla="*/ 62563 h 111719"/>
                  <a:gd name="connsiteX19" fmla="*/ 97127 w 232506"/>
                  <a:gd name="connsiteY19" fmla="*/ 46603 h 111719"/>
                  <a:gd name="connsiteX20" fmla="*/ 109268 w 232506"/>
                  <a:gd name="connsiteY20" fmla="*/ 40857 h 111719"/>
                  <a:gd name="connsiteX21" fmla="*/ 141856 w 232506"/>
                  <a:gd name="connsiteY21" fmla="*/ 33835 h 111719"/>
                  <a:gd name="connsiteX22" fmla="*/ 145690 w 232506"/>
                  <a:gd name="connsiteY22" fmla="*/ 33197 h 111719"/>
                  <a:gd name="connsiteX23" fmla="*/ 139300 w 232506"/>
                  <a:gd name="connsiteY23" fmla="*/ 46603 h 111719"/>
                  <a:gd name="connsiteX24" fmla="*/ 112463 w 232506"/>
                  <a:gd name="connsiteY24" fmla="*/ 60009 h 111719"/>
                  <a:gd name="connsiteX25" fmla="*/ 109268 w 232506"/>
                  <a:gd name="connsiteY25" fmla="*/ 63201 h 111719"/>
                  <a:gd name="connsiteX26" fmla="*/ 67733 w 232506"/>
                  <a:gd name="connsiteY26" fmla="*/ 98952 h 111719"/>
                  <a:gd name="connsiteX27" fmla="*/ 9585 w 232506"/>
                  <a:gd name="connsiteY27" fmla="*/ 98952 h 111719"/>
                  <a:gd name="connsiteX28" fmla="*/ 3195 w 232506"/>
                  <a:gd name="connsiteY28" fmla="*/ 105336 h 111719"/>
                  <a:gd name="connsiteX29" fmla="*/ 9585 w 232506"/>
                  <a:gd name="connsiteY29" fmla="*/ 111720 h 111719"/>
                  <a:gd name="connsiteX30" fmla="*/ 67733 w 232506"/>
                  <a:gd name="connsiteY30" fmla="*/ 111720 h 111719"/>
                  <a:gd name="connsiteX31" fmla="*/ 119492 w 232506"/>
                  <a:gd name="connsiteY31" fmla="*/ 71500 h 111719"/>
                  <a:gd name="connsiteX32" fmla="*/ 147607 w 232506"/>
                  <a:gd name="connsiteY32" fmla="*/ 56817 h 111719"/>
                  <a:gd name="connsiteX33" fmla="*/ 155275 w 232506"/>
                  <a:gd name="connsiteY33" fmla="*/ 47241 h 111719"/>
                  <a:gd name="connsiteX34" fmla="*/ 208312 w 232506"/>
                  <a:gd name="connsiteY34" fmla="*/ 60009 h 111719"/>
                  <a:gd name="connsiteX35" fmla="*/ 208951 w 232506"/>
                  <a:gd name="connsiteY35" fmla="*/ 60009 h 111719"/>
                  <a:gd name="connsiteX36" fmla="*/ 211507 w 232506"/>
                  <a:gd name="connsiteY36" fmla="*/ 60009 h 111719"/>
                  <a:gd name="connsiteX37" fmla="*/ 231954 w 232506"/>
                  <a:gd name="connsiteY37" fmla="*/ 45965 h 111719"/>
                  <a:gd name="connsiteX38" fmla="*/ 224287 w 232506"/>
                  <a:gd name="connsiteY38" fmla="*/ 30005 h 111719"/>
                  <a:gd name="connsiteX39" fmla="*/ 166138 w 232506"/>
                  <a:gd name="connsiteY39" fmla="*/ 3830 h 111719"/>
                  <a:gd name="connsiteX40" fmla="*/ 148885 w 232506"/>
                  <a:gd name="connsiteY40" fmla="*/ 0 h 111719"/>
                  <a:gd name="connsiteX41" fmla="*/ 99044 w 232506"/>
                  <a:gd name="connsiteY41" fmla="*/ 0 h 111719"/>
                  <a:gd name="connsiteX42" fmla="*/ 71567 w 232506"/>
                  <a:gd name="connsiteY42" fmla="*/ 8299 h 111719"/>
                  <a:gd name="connsiteX43" fmla="*/ 28755 w 232506"/>
                  <a:gd name="connsiteY43" fmla="*/ 37027 h 111719"/>
                  <a:gd name="connsiteX44" fmla="*/ 8946 w 232506"/>
                  <a:gd name="connsiteY44" fmla="*/ 42773 h 111719"/>
                  <a:gd name="connsiteX45" fmla="*/ 6390 w 232506"/>
                  <a:gd name="connsiteY45" fmla="*/ 42773 h 111719"/>
                  <a:gd name="connsiteX46" fmla="*/ 0 w 232506"/>
                  <a:gd name="connsiteY46" fmla="*/ 49157 h 111719"/>
                  <a:gd name="connsiteX47" fmla="*/ 7668 w 232506"/>
                  <a:gd name="connsiteY47" fmla="*/ 56179 h 11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32506" h="111719">
                    <a:moveTo>
                      <a:pt x="7668" y="56179"/>
                    </a:moveTo>
                    <a:lnTo>
                      <a:pt x="10224" y="56179"/>
                    </a:lnTo>
                    <a:cubicBezTo>
                      <a:pt x="19809" y="56179"/>
                      <a:pt x="29394" y="53625"/>
                      <a:pt x="37061" y="47880"/>
                    </a:cubicBezTo>
                    <a:lnTo>
                      <a:pt x="79874" y="19152"/>
                    </a:lnTo>
                    <a:cubicBezTo>
                      <a:pt x="85625" y="15322"/>
                      <a:pt x="92654" y="12768"/>
                      <a:pt x="100322" y="12768"/>
                    </a:cubicBezTo>
                    <a:lnTo>
                      <a:pt x="150164" y="12768"/>
                    </a:lnTo>
                    <a:cubicBezTo>
                      <a:pt x="153997" y="12768"/>
                      <a:pt x="158470" y="13406"/>
                      <a:pt x="161665" y="15322"/>
                    </a:cubicBezTo>
                    <a:lnTo>
                      <a:pt x="219814" y="41496"/>
                    </a:lnTo>
                    <a:cubicBezTo>
                      <a:pt x="220453" y="41496"/>
                      <a:pt x="220453" y="42134"/>
                      <a:pt x="220453" y="42134"/>
                    </a:cubicBezTo>
                    <a:cubicBezTo>
                      <a:pt x="220453" y="42134"/>
                      <a:pt x="220453" y="43411"/>
                      <a:pt x="219174" y="44688"/>
                    </a:cubicBezTo>
                    <a:cubicBezTo>
                      <a:pt x="218536" y="45326"/>
                      <a:pt x="215979" y="47880"/>
                      <a:pt x="210868" y="47880"/>
                    </a:cubicBezTo>
                    <a:lnTo>
                      <a:pt x="158470" y="35112"/>
                    </a:lnTo>
                    <a:cubicBezTo>
                      <a:pt x="158470" y="32558"/>
                      <a:pt x="157831" y="29366"/>
                      <a:pt x="156553" y="27451"/>
                    </a:cubicBezTo>
                    <a:cubicBezTo>
                      <a:pt x="155275" y="24897"/>
                      <a:pt x="150164" y="17875"/>
                      <a:pt x="138022" y="21706"/>
                    </a:cubicBezTo>
                    <a:lnTo>
                      <a:pt x="106073" y="28728"/>
                    </a:lnTo>
                    <a:cubicBezTo>
                      <a:pt x="99683" y="30005"/>
                      <a:pt x="93932" y="32558"/>
                      <a:pt x="89459" y="36389"/>
                    </a:cubicBezTo>
                    <a:lnTo>
                      <a:pt x="68372" y="52349"/>
                    </a:lnTo>
                    <a:cubicBezTo>
                      <a:pt x="65816" y="54264"/>
                      <a:pt x="65177" y="58733"/>
                      <a:pt x="67094" y="61286"/>
                    </a:cubicBezTo>
                    <a:cubicBezTo>
                      <a:pt x="69011" y="63840"/>
                      <a:pt x="73484" y="64478"/>
                      <a:pt x="76040" y="62563"/>
                    </a:cubicBezTo>
                    <a:lnTo>
                      <a:pt x="97127" y="46603"/>
                    </a:lnTo>
                    <a:cubicBezTo>
                      <a:pt x="100322" y="44049"/>
                      <a:pt x="104795" y="42134"/>
                      <a:pt x="109268" y="40857"/>
                    </a:cubicBezTo>
                    <a:lnTo>
                      <a:pt x="141856" y="33835"/>
                    </a:lnTo>
                    <a:cubicBezTo>
                      <a:pt x="144412" y="33197"/>
                      <a:pt x="145690" y="33197"/>
                      <a:pt x="145690" y="33197"/>
                    </a:cubicBezTo>
                    <a:cubicBezTo>
                      <a:pt x="146969" y="35112"/>
                      <a:pt x="145051" y="42134"/>
                      <a:pt x="139300" y="46603"/>
                    </a:cubicBezTo>
                    <a:cubicBezTo>
                      <a:pt x="132910" y="51710"/>
                      <a:pt x="122686" y="56179"/>
                      <a:pt x="112463" y="60009"/>
                    </a:cubicBezTo>
                    <a:cubicBezTo>
                      <a:pt x="111185" y="60648"/>
                      <a:pt x="109907" y="61925"/>
                      <a:pt x="109268" y="63201"/>
                    </a:cubicBezTo>
                    <a:cubicBezTo>
                      <a:pt x="109268" y="63840"/>
                      <a:pt x="93293" y="97675"/>
                      <a:pt x="67733" y="98952"/>
                    </a:cubicBezTo>
                    <a:lnTo>
                      <a:pt x="9585" y="98952"/>
                    </a:lnTo>
                    <a:cubicBezTo>
                      <a:pt x="5751" y="98952"/>
                      <a:pt x="3195" y="101505"/>
                      <a:pt x="3195" y="105336"/>
                    </a:cubicBezTo>
                    <a:cubicBezTo>
                      <a:pt x="3195" y="109166"/>
                      <a:pt x="5751" y="111720"/>
                      <a:pt x="9585" y="111720"/>
                    </a:cubicBezTo>
                    <a:lnTo>
                      <a:pt x="67733" y="111720"/>
                    </a:lnTo>
                    <a:cubicBezTo>
                      <a:pt x="96488" y="110443"/>
                      <a:pt x="115019" y="80438"/>
                      <a:pt x="119492" y="71500"/>
                    </a:cubicBezTo>
                    <a:cubicBezTo>
                      <a:pt x="130355" y="67670"/>
                      <a:pt x="139940" y="63201"/>
                      <a:pt x="147607" y="56817"/>
                    </a:cubicBezTo>
                    <a:cubicBezTo>
                      <a:pt x="150802" y="54264"/>
                      <a:pt x="153358" y="51072"/>
                      <a:pt x="155275" y="47241"/>
                    </a:cubicBezTo>
                    <a:lnTo>
                      <a:pt x="208312" y="60009"/>
                    </a:lnTo>
                    <a:cubicBezTo>
                      <a:pt x="208312" y="60009"/>
                      <a:pt x="208951" y="60009"/>
                      <a:pt x="208951" y="60009"/>
                    </a:cubicBezTo>
                    <a:cubicBezTo>
                      <a:pt x="209589" y="60009"/>
                      <a:pt x="210868" y="60009"/>
                      <a:pt x="211507" y="60009"/>
                    </a:cubicBezTo>
                    <a:cubicBezTo>
                      <a:pt x="222369" y="60009"/>
                      <a:pt x="230038" y="52987"/>
                      <a:pt x="231954" y="45965"/>
                    </a:cubicBezTo>
                    <a:cubicBezTo>
                      <a:pt x="233872" y="39581"/>
                      <a:pt x="230677" y="33197"/>
                      <a:pt x="224287" y="30005"/>
                    </a:cubicBezTo>
                    <a:lnTo>
                      <a:pt x="166138" y="3830"/>
                    </a:lnTo>
                    <a:cubicBezTo>
                      <a:pt x="161026" y="1277"/>
                      <a:pt x="155275" y="0"/>
                      <a:pt x="148885" y="0"/>
                    </a:cubicBezTo>
                    <a:lnTo>
                      <a:pt x="99044" y="0"/>
                    </a:lnTo>
                    <a:cubicBezTo>
                      <a:pt x="89459" y="0"/>
                      <a:pt x="79874" y="2554"/>
                      <a:pt x="71567" y="8299"/>
                    </a:cubicBezTo>
                    <a:lnTo>
                      <a:pt x="28755" y="37027"/>
                    </a:lnTo>
                    <a:cubicBezTo>
                      <a:pt x="23004" y="40857"/>
                      <a:pt x="15975" y="42773"/>
                      <a:pt x="8946" y="42773"/>
                    </a:cubicBezTo>
                    <a:lnTo>
                      <a:pt x="6390" y="42773"/>
                    </a:lnTo>
                    <a:cubicBezTo>
                      <a:pt x="2556" y="42773"/>
                      <a:pt x="0" y="45326"/>
                      <a:pt x="0" y="49157"/>
                    </a:cubicBezTo>
                    <a:cubicBezTo>
                      <a:pt x="0" y="52987"/>
                      <a:pt x="3834" y="56179"/>
                      <a:pt x="7668" y="56179"/>
                    </a:cubicBezTo>
                    <a:close/>
                  </a:path>
                </a:pathLst>
              </a:custGeom>
              <a:solidFill>
                <a:srgbClr val="00ABAB"/>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463" name="Group 462">
              <a:extLst>
                <a:ext uri="{FF2B5EF4-FFF2-40B4-BE49-F238E27FC236}">
                  <a16:creationId xmlns:a16="http://schemas.microsoft.com/office/drawing/2014/main" id="{9F1B1ECE-F5A7-F670-19A9-2959B3A9164A}"/>
                </a:ext>
              </a:extLst>
            </p:cNvPr>
            <p:cNvGrpSpPr/>
            <p:nvPr/>
          </p:nvGrpSpPr>
          <p:grpSpPr>
            <a:xfrm>
              <a:off x="7464024" y="2524118"/>
              <a:ext cx="404298" cy="402336"/>
              <a:chOff x="11341003" y="1991092"/>
              <a:chExt cx="404298" cy="402336"/>
            </a:xfrm>
          </p:grpSpPr>
          <p:sp>
            <p:nvSpPr>
              <p:cNvPr id="470" name="Oval 469">
                <a:extLst>
                  <a:ext uri="{FF2B5EF4-FFF2-40B4-BE49-F238E27FC236}">
                    <a16:creationId xmlns:a16="http://schemas.microsoft.com/office/drawing/2014/main" id="{8407E2E4-E0CD-24CF-936D-8AC8AE38E67B}"/>
                  </a:ext>
                </a:extLst>
              </p:cNvPr>
              <p:cNvSpPr>
                <a:spLocks noChangeAspect="1"/>
              </p:cNvSpPr>
              <p:nvPr/>
            </p:nvSpPr>
            <p:spPr>
              <a:xfrm>
                <a:off x="11341003" y="1991092"/>
                <a:ext cx="404298" cy="40233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613"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grpSp>
            <p:nvGrpSpPr>
              <p:cNvPr id="471" name="Graphic 4">
                <a:extLst>
                  <a:ext uri="{FF2B5EF4-FFF2-40B4-BE49-F238E27FC236}">
                    <a16:creationId xmlns:a16="http://schemas.microsoft.com/office/drawing/2014/main" id="{702B35C2-32C9-E40C-2621-096FE8C64461}"/>
                  </a:ext>
                </a:extLst>
              </p:cNvPr>
              <p:cNvGrpSpPr>
                <a:grpSpLocks noChangeAspect="1"/>
              </p:cNvGrpSpPr>
              <p:nvPr/>
            </p:nvGrpSpPr>
            <p:grpSpPr>
              <a:xfrm>
                <a:off x="11362317" y="2011593"/>
                <a:ext cx="361670" cy="361334"/>
                <a:chOff x="467743" y="1402085"/>
                <a:chExt cx="361670" cy="361333"/>
              </a:xfrm>
              <a:solidFill>
                <a:srgbClr val="00ABAB"/>
              </a:solidFill>
            </p:grpSpPr>
            <p:sp>
              <p:nvSpPr>
                <p:cNvPr id="472" name="Graphic 4">
                  <a:extLst>
                    <a:ext uri="{FF2B5EF4-FFF2-40B4-BE49-F238E27FC236}">
                      <a16:creationId xmlns:a16="http://schemas.microsoft.com/office/drawing/2014/main" id="{D8954FE8-11A9-B75E-6344-634E9FA21388}"/>
                    </a:ext>
                  </a:extLst>
                </p:cNvPr>
                <p:cNvSpPr/>
                <p:nvPr/>
              </p:nvSpPr>
              <p:spPr>
                <a:xfrm>
                  <a:off x="467743"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solidFill>
                  <a:srgbClr val="0076A8"/>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73" name="Graphic 4">
                  <a:extLst>
                    <a:ext uri="{FF2B5EF4-FFF2-40B4-BE49-F238E27FC236}">
                      <a16:creationId xmlns:a16="http://schemas.microsoft.com/office/drawing/2014/main" id="{B7142E16-B033-8217-268B-2F92353B32E3}"/>
                    </a:ext>
                  </a:extLst>
                </p:cNvPr>
                <p:cNvSpPr/>
                <p:nvPr/>
              </p:nvSpPr>
              <p:spPr>
                <a:xfrm>
                  <a:off x="539310" y="1485076"/>
                  <a:ext cx="217896" cy="195988"/>
                </a:xfrm>
                <a:custGeom>
                  <a:avLst/>
                  <a:gdLst>
                    <a:gd name="connsiteX0" fmla="*/ 211507 w 217896"/>
                    <a:gd name="connsiteY0" fmla="*/ 66393 h 195988"/>
                    <a:gd name="connsiteX1" fmla="*/ 200644 w 217896"/>
                    <a:gd name="connsiteY1" fmla="*/ 66393 h 195988"/>
                    <a:gd name="connsiteX2" fmla="*/ 174445 w 217896"/>
                    <a:gd name="connsiteY2" fmla="*/ 33197 h 195988"/>
                    <a:gd name="connsiteX3" fmla="*/ 180835 w 217896"/>
                    <a:gd name="connsiteY3" fmla="*/ 8299 h 195988"/>
                    <a:gd name="connsiteX4" fmla="*/ 179557 w 217896"/>
                    <a:gd name="connsiteY4" fmla="*/ 2554 h 195988"/>
                    <a:gd name="connsiteX5" fmla="*/ 174445 w 217896"/>
                    <a:gd name="connsiteY5" fmla="*/ 0 h 195988"/>
                    <a:gd name="connsiteX6" fmla="*/ 135467 w 217896"/>
                    <a:gd name="connsiteY6" fmla="*/ 20429 h 195988"/>
                    <a:gd name="connsiteX7" fmla="*/ 94571 w 217896"/>
                    <a:gd name="connsiteY7" fmla="*/ 14683 h 195988"/>
                    <a:gd name="connsiteX8" fmla="*/ 0 w 217896"/>
                    <a:gd name="connsiteY8" fmla="*/ 109166 h 195988"/>
                    <a:gd name="connsiteX9" fmla="*/ 12780 w 217896"/>
                    <a:gd name="connsiteY9" fmla="*/ 156408 h 195988"/>
                    <a:gd name="connsiteX10" fmla="*/ 17892 w 217896"/>
                    <a:gd name="connsiteY10" fmla="*/ 159600 h 195988"/>
                    <a:gd name="connsiteX11" fmla="*/ 44091 w 217896"/>
                    <a:gd name="connsiteY11" fmla="*/ 189604 h 195988"/>
                    <a:gd name="connsiteX12" fmla="*/ 50481 w 217896"/>
                    <a:gd name="connsiteY12" fmla="*/ 195988 h 195988"/>
                    <a:gd name="connsiteX13" fmla="*/ 86903 w 217896"/>
                    <a:gd name="connsiteY13" fmla="*/ 195988 h 195988"/>
                    <a:gd name="connsiteX14" fmla="*/ 93293 w 217896"/>
                    <a:gd name="connsiteY14" fmla="*/ 189604 h 195988"/>
                    <a:gd name="connsiteX15" fmla="*/ 93293 w 217896"/>
                    <a:gd name="connsiteY15" fmla="*/ 181305 h 195988"/>
                    <a:gd name="connsiteX16" fmla="*/ 109907 w 217896"/>
                    <a:gd name="connsiteY16" fmla="*/ 181305 h 195988"/>
                    <a:gd name="connsiteX17" fmla="*/ 109907 w 217896"/>
                    <a:gd name="connsiteY17" fmla="*/ 189604 h 195988"/>
                    <a:gd name="connsiteX18" fmla="*/ 116297 w 217896"/>
                    <a:gd name="connsiteY18" fmla="*/ 195988 h 195988"/>
                    <a:gd name="connsiteX19" fmla="*/ 152720 w 217896"/>
                    <a:gd name="connsiteY19" fmla="*/ 195988 h 195988"/>
                    <a:gd name="connsiteX20" fmla="*/ 159109 w 217896"/>
                    <a:gd name="connsiteY20" fmla="*/ 189604 h 195988"/>
                    <a:gd name="connsiteX21" fmla="*/ 159109 w 217896"/>
                    <a:gd name="connsiteY21" fmla="*/ 176836 h 195988"/>
                    <a:gd name="connsiteX22" fmla="*/ 187225 w 217896"/>
                    <a:gd name="connsiteY22" fmla="*/ 122572 h 195988"/>
                    <a:gd name="connsiteX23" fmla="*/ 211507 w 217896"/>
                    <a:gd name="connsiteY23" fmla="*/ 122572 h 195988"/>
                    <a:gd name="connsiteX24" fmla="*/ 217897 w 217896"/>
                    <a:gd name="connsiteY24" fmla="*/ 116188 h 195988"/>
                    <a:gd name="connsiteX25" fmla="*/ 217897 w 217896"/>
                    <a:gd name="connsiteY25" fmla="*/ 72139 h 195988"/>
                    <a:gd name="connsiteX26" fmla="*/ 211507 w 217896"/>
                    <a:gd name="connsiteY26" fmla="*/ 66393 h 195988"/>
                    <a:gd name="connsiteX27" fmla="*/ 205117 w 217896"/>
                    <a:gd name="connsiteY27" fmla="*/ 110443 h 195988"/>
                    <a:gd name="connsiteX28" fmla="*/ 182113 w 217896"/>
                    <a:gd name="connsiteY28" fmla="*/ 110443 h 195988"/>
                    <a:gd name="connsiteX29" fmla="*/ 175723 w 217896"/>
                    <a:gd name="connsiteY29" fmla="*/ 116188 h 195988"/>
                    <a:gd name="connsiteX30" fmla="*/ 148247 w 217896"/>
                    <a:gd name="connsiteY30" fmla="*/ 169814 h 195988"/>
                    <a:gd name="connsiteX31" fmla="*/ 146330 w 217896"/>
                    <a:gd name="connsiteY31" fmla="*/ 174283 h 195988"/>
                    <a:gd name="connsiteX32" fmla="*/ 146330 w 217896"/>
                    <a:gd name="connsiteY32" fmla="*/ 183220 h 195988"/>
                    <a:gd name="connsiteX33" fmla="*/ 122687 w 217896"/>
                    <a:gd name="connsiteY33" fmla="*/ 183220 h 195988"/>
                    <a:gd name="connsiteX34" fmla="*/ 122687 w 217896"/>
                    <a:gd name="connsiteY34" fmla="*/ 174921 h 195988"/>
                    <a:gd name="connsiteX35" fmla="*/ 116297 w 217896"/>
                    <a:gd name="connsiteY35" fmla="*/ 168537 h 195988"/>
                    <a:gd name="connsiteX36" fmla="*/ 86903 w 217896"/>
                    <a:gd name="connsiteY36" fmla="*/ 168537 h 195988"/>
                    <a:gd name="connsiteX37" fmla="*/ 80513 w 217896"/>
                    <a:gd name="connsiteY37" fmla="*/ 174921 h 195988"/>
                    <a:gd name="connsiteX38" fmla="*/ 80513 w 217896"/>
                    <a:gd name="connsiteY38" fmla="*/ 183220 h 195988"/>
                    <a:gd name="connsiteX39" fmla="*/ 56231 w 217896"/>
                    <a:gd name="connsiteY39" fmla="*/ 183220 h 195988"/>
                    <a:gd name="connsiteX40" fmla="*/ 21726 w 217896"/>
                    <a:gd name="connsiteY40" fmla="*/ 146832 h 195988"/>
                    <a:gd name="connsiteX41" fmla="*/ 12141 w 217896"/>
                    <a:gd name="connsiteY41" fmla="*/ 109166 h 195988"/>
                    <a:gd name="connsiteX42" fmla="*/ 93932 w 217896"/>
                    <a:gd name="connsiteY42" fmla="*/ 27451 h 195988"/>
                    <a:gd name="connsiteX43" fmla="*/ 135467 w 217896"/>
                    <a:gd name="connsiteY43" fmla="*/ 34473 h 195988"/>
                    <a:gd name="connsiteX44" fmla="*/ 143135 w 217896"/>
                    <a:gd name="connsiteY44" fmla="*/ 31281 h 195988"/>
                    <a:gd name="connsiteX45" fmla="*/ 165499 w 217896"/>
                    <a:gd name="connsiteY45" fmla="*/ 14683 h 195988"/>
                    <a:gd name="connsiteX46" fmla="*/ 160387 w 217896"/>
                    <a:gd name="connsiteY46" fmla="*/ 34473 h 195988"/>
                    <a:gd name="connsiteX47" fmla="*/ 163582 w 217896"/>
                    <a:gd name="connsiteY47" fmla="*/ 41496 h 195988"/>
                    <a:gd name="connsiteX48" fmla="*/ 190420 w 217896"/>
                    <a:gd name="connsiteY48" fmla="*/ 75331 h 195988"/>
                    <a:gd name="connsiteX49" fmla="*/ 196171 w 217896"/>
                    <a:gd name="connsiteY49" fmla="*/ 79161 h 195988"/>
                    <a:gd name="connsiteX50" fmla="*/ 204478 w 217896"/>
                    <a:gd name="connsiteY50" fmla="*/ 79161 h 195988"/>
                    <a:gd name="connsiteX51" fmla="*/ 204478 w 217896"/>
                    <a:gd name="connsiteY51" fmla="*/ 110443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7896" h="195988">
                      <a:moveTo>
                        <a:pt x="211507" y="66393"/>
                      </a:moveTo>
                      <a:lnTo>
                        <a:pt x="200644" y="66393"/>
                      </a:lnTo>
                      <a:cubicBezTo>
                        <a:pt x="196810" y="59371"/>
                        <a:pt x="187225" y="42773"/>
                        <a:pt x="174445" y="33197"/>
                      </a:cubicBezTo>
                      <a:lnTo>
                        <a:pt x="180835" y="8299"/>
                      </a:lnTo>
                      <a:cubicBezTo>
                        <a:pt x="181474" y="6384"/>
                        <a:pt x="180835" y="4469"/>
                        <a:pt x="179557" y="2554"/>
                      </a:cubicBezTo>
                      <a:cubicBezTo>
                        <a:pt x="178279" y="1277"/>
                        <a:pt x="176362" y="0"/>
                        <a:pt x="174445" y="0"/>
                      </a:cubicBezTo>
                      <a:cubicBezTo>
                        <a:pt x="173167" y="0"/>
                        <a:pt x="148247" y="1277"/>
                        <a:pt x="135467" y="20429"/>
                      </a:cubicBezTo>
                      <a:cubicBezTo>
                        <a:pt x="122687" y="16598"/>
                        <a:pt x="109907" y="14683"/>
                        <a:pt x="94571" y="14683"/>
                      </a:cubicBezTo>
                      <a:cubicBezTo>
                        <a:pt x="42813" y="14683"/>
                        <a:pt x="0" y="56817"/>
                        <a:pt x="0" y="109166"/>
                      </a:cubicBezTo>
                      <a:cubicBezTo>
                        <a:pt x="0" y="125764"/>
                        <a:pt x="4473" y="141724"/>
                        <a:pt x="12780" y="156408"/>
                      </a:cubicBezTo>
                      <a:cubicBezTo>
                        <a:pt x="14058" y="158323"/>
                        <a:pt x="15975" y="159600"/>
                        <a:pt x="17892" y="159600"/>
                      </a:cubicBezTo>
                      <a:cubicBezTo>
                        <a:pt x="19170" y="159600"/>
                        <a:pt x="44091" y="160876"/>
                        <a:pt x="44091" y="189604"/>
                      </a:cubicBezTo>
                      <a:cubicBezTo>
                        <a:pt x="44091" y="193435"/>
                        <a:pt x="46647" y="195988"/>
                        <a:pt x="50481" y="195988"/>
                      </a:cubicBezTo>
                      <a:lnTo>
                        <a:pt x="86903" y="195988"/>
                      </a:lnTo>
                      <a:cubicBezTo>
                        <a:pt x="90737" y="195988"/>
                        <a:pt x="93293" y="193435"/>
                        <a:pt x="93293" y="189604"/>
                      </a:cubicBezTo>
                      <a:lnTo>
                        <a:pt x="93293" y="181305"/>
                      </a:lnTo>
                      <a:lnTo>
                        <a:pt x="109907" y="181305"/>
                      </a:lnTo>
                      <a:lnTo>
                        <a:pt x="109907" y="189604"/>
                      </a:lnTo>
                      <a:cubicBezTo>
                        <a:pt x="109907" y="193435"/>
                        <a:pt x="112463" y="195988"/>
                        <a:pt x="116297" y="195988"/>
                      </a:cubicBezTo>
                      <a:lnTo>
                        <a:pt x="152720" y="195988"/>
                      </a:lnTo>
                      <a:cubicBezTo>
                        <a:pt x="156553" y="195988"/>
                        <a:pt x="159109" y="193435"/>
                        <a:pt x="159109" y="189604"/>
                      </a:cubicBezTo>
                      <a:lnTo>
                        <a:pt x="159109" y="176836"/>
                      </a:lnTo>
                      <a:cubicBezTo>
                        <a:pt x="168694" y="166622"/>
                        <a:pt x="183391" y="147470"/>
                        <a:pt x="187225" y="122572"/>
                      </a:cubicBezTo>
                      <a:lnTo>
                        <a:pt x="211507" y="122572"/>
                      </a:lnTo>
                      <a:cubicBezTo>
                        <a:pt x="215341" y="122572"/>
                        <a:pt x="217897" y="120019"/>
                        <a:pt x="217897" y="116188"/>
                      </a:cubicBezTo>
                      <a:lnTo>
                        <a:pt x="217897" y="72139"/>
                      </a:lnTo>
                      <a:cubicBezTo>
                        <a:pt x="217897" y="68947"/>
                        <a:pt x="215341" y="66393"/>
                        <a:pt x="211507" y="66393"/>
                      </a:cubicBezTo>
                      <a:close/>
                      <a:moveTo>
                        <a:pt x="205117" y="110443"/>
                      </a:moveTo>
                      <a:lnTo>
                        <a:pt x="182113" y="110443"/>
                      </a:lnTo>
                      <a:cubicBezTo>
                        <a:pt x="178918" y="110443"/>
                        <a:pt x="175723" y="112996"/>
                        <a:pt x="175723" y="116188"/>
                      </a:cubicBezTo>
                      <a:cubicBezTo>
                        <a:pt x="174445" y="134702"/>
                        <a:pt x="164221" y="154492"/>
                        <a:pt x="148247" y="169814"/>
                      </a:cubicBezTo>
                      <a:cubicBezTo>
                        <a:pt x="146969" y="171091"/>
                        <a:pt x="146330" y="172368"/>
                        <a:pt x="146330" y="174283"/>
                      </a:cubicBezTo>
                      <a:lnTo>
                        <a:pt x="146330" y="183220"/>
                      </a:lnTo>
                      <a:lnTo>
                        <a:pt x="122687" y="183220"/>
                      </a:lnTo>
                      <a:lnTo>
                        <a:pt x="122687" y="174921"/>
                      </a:lnTo>
                      <a:cubicBezTo>
                        <a:pt x="122687" y="171091"/>
                        <a:pt x="120131" y="168537"/>
                        <a:pt x="116297" y="168537"/>
                      </a:cubicBezTo>
                      <a:lnTo>
                        <a:pt x="86903" y="168537"/>
                      </a:lnTo>
                      <a:cubicBezTo>
                        <a:pt x="83069" y="168537"/>
                        <a:pt x="80513" y="171091"/>
                        <a:pt x="80513" y="174921"/>
                      </a:cubicBezTo>
                      <a:lnTo>
                        <a:pt x="80513" y="183220"/>
                      </a:lnTo>
                      <a:lnTo>
                        <a:pt x="56231" y="183220"/>
                      </a:lnTo>
                      <a:cubicBezTo>
                        <a:pt x="53675" y="158323"/>
                        <a:pt x="34506" y="148747"/>
                        <a:pt x="21726" y="146832"/>
                      </a:cubicBezTo>
                      <a:cubicBezTo>
                        <a:pt x="15336" y="135340"/>
                        <a:pt x="12141" y="121934"/>
                        <a:pt x="12141" y="109166"/>
                      </a:cubicBezTo>
                      <a:cubicBezTo>
                        <a:pt x="12141" y="64478"/>
                        <a:pt x="48564" y="27451"/>
                        <a:pt x="93932" y="27451"/>
                      </a:cubicBezTo>
                      <a:cubicBezTo>
                        <a:pt x="109907" y="27451"/>
                        <a:pt x="122687" y="29366"/>
                        <a:pt x="135467" y="34473"/>
                      </a:cubicBezTo>
                      <a:cubicBezTo>
                        <a:pt x="138662" y="35750"/>
                        <a:pt x="141857" y="34473"/>
                        <a:pt x="143135" y="31281"/>
                      </a:cubicBezTo>
                      <a:cubicBezTo>
                        <a:pt x="148247" y="21067"/>
                        <a:pt x="157831" y="16598"/>
                        <a:pt x="165499" y="14683"/>
                      </a:cubicBezTo>
                      <a:lnTo>
                        <a:pt x="160387" y="34473"/>
                      </a:lnTo>
                      <a:cubicBezTo>
                        <a:pt x="159748" y="37027"/>
                        <a:pt x="161026" y="40219"/>
                        <a:pt x="163582" y="41496"/>
                      </a:cubicBezTo>
                      <a:cubicBezTo>
                        <a:pt x="178918" y="50433"/>
                        <a:pt x="190420" y="75331"/>
                        <a:pt x="190420" y="75331"/>
                      </a:cubicBezTo>
                      <a:cubicBezTo>
                        <a:pt x="191698" y="77885"/>
                        <a:pt x="193615" y="79161"/>
                        <a:pt x="196171" y="79161"/>
                      </a:cubicBezTo>
                      <a:lnTo>
                        <a:pt x="204478" y="79161"/>
                      </a:lnTo>
                      <a:lnTo>
                        <a:pt x="204478" y="110443"/>
                      </a:lnTo>
                      <a:close/>
                    </a:path>
                  </a:pathLst>
                </a:custGeom>
                <a:solidFill>
                  <a:srgbClr val="0076A8"/>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74" name="Graphic 4">
                  <a:extLst>
                    <a:ext uri="{FF2B5EF4-FFF2-40B4-BE49-F238E27FC236}">
                      <a16:creationId xmlns:a16="http://schemas.microsoft.com/office/drawing/2014/main" id="{BCF4CBE6-C51E-3C87-C55C-AAFF8F773B18}"/>
                    </a:ext>
                  </a:extLst>
                </p:cNvPr>
                <p:cNvSpPr/>
                <p:nvPr/>
              </p:nvSpPr>
              <p:spPr>
                <a:xfrm>
                  <a:off x="583691" y="1524535"/>
                  <a:ext cx="49887" cy="31403"/>
                </a:xfrm>
                <a:custGeom>
                  <a:avLst/>
                  <a:gdLst>
                    <a:gd name="connsiteX0" fmla="*/ 41245 w 49887"/>
                    <a:gd name="connsiteY0" fmla="*/ 122 h 31403"/>
                    <a:gd name="connsiteX1" fmla="*/ 2266 w 49887"/>
                    <a:gd name="connsiteY1" fmla="*/ 20551 h 31403"/>
                    <a:gd name="connsiteX2" fmla="*/ 1627 w 49887"/>
                    <a:gd name="connsiteY2" fmla="*/ 29489 h 31403"/>
                    <a:gd name="connsiteX3" fmla="*/ 6739 w 49887"/>
                    <a:gd name="connsiteY3" fmla="*/ 31404 h 31403"/>
                    <a:gd name="connsiteX4" fmla="*/ 11212 w 49887"/>
                    <a:gd name="connsiteY4" fmla="*/ 30127 h 31403"/>
                    <a:gd name="connsiteX5" fmla="*/ 45079 w 49887"/>
                    <a:gd name="connsiteY5" fmla="*/ 12252 h 31403"/>
                    <a:gd name="connsiteX6" fmla="*/ 49552 w 49887"/>
                    <a:gd name="connsiteY6" fmla="*/ 4591 h 31403"/>
                    <a:gd name="connsiteX7" fmla="*/ 41245 w 49887"/>
                    <a:gd name="connsiteY7" fmla="*/ 122 h 3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87" h="31403">
                      <a:moveTo>
                        <a:pt x="41245" y="122"/>
                      </a:moveTo>
                      <a:cubicBezTo>
                        <a:pt x="27187" y="3953"/>
                        <a:pt x="13768" y="10975"/>
                        <a:pt x="2266" y="20551"/>
                      </a:cubicBezTo>
                      <a:cubicBezTo>
                        <a:pt x="-290" y="23105"/>
                        <a:pt x="-929" y="26935"/>
                        <a:pt x="1627" y="29489"/>
                      </a:cubicBezTo>
                      <a:cubicBezTo>
                        <a:pt x="2905" y="30765"/>
                        <a:pt x="4822" y="31404"/>
                        <a:pt x="6739" y="31404"/>
                      </a:cubicBezTo>
                      <a:cubicBezTo>
                        <a:pt x="8017" y="31404"/>
                        <a:pt x="9934" y="30765"/>
                        <a:pt x="11212" y="30127"/>
                      </a:cubicBezTo>
                      <a:cubicBezTo>
                        <a:pt x="20797" y="21828"/>
                        <a:pt x="32299" y="15444"/>
                        <a:pt x="45079" y="12252"/>
                      </a:cubicBezTo>
                      <a:cubicBezTo>
                        <a:pt x="48274" y="11613"/>
                        <a:pt x="50830" y="7783"/>
                        <a:pt x="49552" y="4591"/>
                      </a:cubicBezTo>
                      <a:cubicBezTo>
                        <a:pt x="48274" y="1399"/>
                        <a:pt x="44440" y="-516"/>
                        <a:pt x="41245" y="122"/>
                      </a:cubicBezTo>
                      <a:close/>
                    </a:path>
                  </a:pathLst>
                </a:custGeom>
                <a:solidFill>
                  <a:srgbClr val="0076A8"/>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464" name="Graphic 4">
              <a:extLst>
                <a:ext uri="{FF2B5EF4-FFF2-40B4-BE49-F238E27FC236}">
                  <a16:creationId xmlns:a16="http://schemas.microsoft.com/office/drawing/2014/main" id="{8755852E-7EA9-B6AC-EA2C-6D917E356D14}"/>
                </a:ext>
              </a:extLst>
            </p:cNvPr>
            <p:cNvGrpSpPr>
              <a:grpSpLocks noChangeAspect="1"/>
            </p:cNvGrpSpPr>
            <p:nvPr/>
          </p:nvGrpSpPr>
          <p:grpSpPr>
            <a:xfrm>
              <a:off x="4326910" y="1816410"/>
              <a:ext cx="397837" cy="397467"/>
              <a:chOff x="467104" y="918179"/>
              <a:chExt cx="362309" cy="361971"/>
            </a:xfrm>
            <a:solidFill>
              <a:srgbClr val="0076A8"/>
            </a:solidFill>
          </p:grpSpPr>
          <p:sp>
            <p:nvSpPr>
              <p:cNvPr id="468" name="Graphic 4">
                <a:extLst>
                  <a:ext uri="{FF2B5EF4-FFF2-40B4-BE49-F238E27FC236}">
                    <a16:creationId xmlns:a16="http://schemas.microsoft.com/office/drawing/2014/main" id="{321E9FBC-0E8E-69A1-F47C-DE5E392ABB5C}"/>
                  </a:ext>
                </a:extLst>
              </p:cNvPr>
              <p:cNvSpPr/>
              <p:nvPr/>
            </p:nvSpPr>
            <p:spPr>
              <a:xfrm>
                <a:off x="467104" y="918179"/>
                <a:ext cx="362309" cy="361971"/>
              </a:xfrm>
              <a:custGeom>
                <a:avLst/>
                <a:gdLst>
                  <a:gd name="connsiteX0" fmla="*/ 181474 w 362309"/>
                  <a:gd name="connsiteY0" fmla="*/ 0 h 361971"/>
                  <a:gd name="connsiteX1" fmla="*/ 0 w 362309"/>
                  <a:gd name="connsiteY1" fmla="*/ 181305 h 361971"/>
                  <a:gd name="connsiteX2" fmla="*/ 181474 w 362309"/>
                  <a:gd name="connsiteY2" fmla="*/ 361972 h 361971"/>
                  <a:gd name="connsiteX3" fmla="*/ 362309 w 362309"/>
                  <a:gd name="connsiteY3" fmla="*/ 181305 h 361971"/>
                  <a:gd name="connsiteX4" fmla="*/ 181474 w 362309"/>
                  <a:gd name="connsiteY4" fmla="*/ 0 h 361971"/>
                  <a:gd name="connsiteX5" fmla="*/ 181474 w 362309"/>
                  <a:gd name="connsiteY5" fmla="*/ 0 h 361971"/>
                  <a:gd name="connsiteX6" fmla="*/ 181474 w 362309"/>
                  <a:gd name="connsiteY6" fmla="*/ 349204 h 361971"/>
                  <a:gd name="connsiteX7" fmla="*/ 13419 w 362309"/>
                  <a:gd name="connsiteY7" fmla="*/ 180667 h 361971"/>
                  <a:gd name="connsiteX8" fmla="*/ 181474 w 362309"/>
                  <a:gd name="connsiteY8" fmla="*/ 12768 h 361971"/>
                  <a:gd name="connsiteX9" fmla="*/ 349530 w 362309"/>
                  <a:gd name="connsiteY9" fmla="*/ 180667 h 361971"/>
                  <a:gd name="connsiteX10" fmla="*/ 181474 w 362309"/>
                  <a:gd name="connsiteY10"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close/>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69" name="Graphic 4">
                <a:extLst>
                  <a:ext uri="{FF2B5EF4-FFF2-40B4-BE49-F238E27FC236}">
                    <a16:creationId xmlns:a16="http://schemas.microsoft.com/office/drawing/2014/main" id="{8F037C34-114F-D342-DE10-744DA6FCAA6E}"/>
                  </a:ext>
                </a:extLst>
              </p:cNvPr>
              <p:cNvSpPr/>
              <p:nvPr/>
            </p:nvSpPr>
            <p:spPr>
              <a:xfrm>
                <a:off x="552594" y="1003724"/>
                <a:ext cx="190800" cy="203010"/>
              </a:xfrm>
              <a:custGeom>
                <a:avLst/>
                <a:gdLst>
                  <a:gd name="connsiteX0" fmla="*/ 186721 w 190800"/>
                  <a:gd name="connsiteY0" fmla="*/ 15322 h 203010"/>
                  <a:gd name="connsiteX1" fmla="*/ 180970 w 190800"/>
                  <a:gd name="connsiteY1" fmla="*/ 15322 h 203010"/>
                  <a:gd name="connsiteX2" fmla="*/ 100457 w 190800"/>
                  <a:gd name="connsiteY2" fmla="*/ 1915 h 203010"/>
                  <a:gd name="connsiteX3" fmla="*/ 91511 w 190800"/>
                  <a:gd name="connsiteY3" fmla="*/ 1915 h 203010"/>
                  <a:gd name="connsiteX4" fmla="*/ 10998 w 190800"/>
                  <a:gd name="connsiteY4" fmla="*/ 15322 h 203010"/>
                  <a:gd name="connsiteX5" fmla="*/ 2052 w 190800"/>
                  <a:gd name="connsiteY5" fmla="*/ 17875 h 203010"/>
                  <a:gd name="connsiteX6" fmla="*/ 1413 w 190800"/>
                  <a:gd name="connsiteY6" fmla="*/ 20429 h 203010"/>
                  <a:gd name="connsiteX7" fmla="*/ 92789 w 190800"/>
                  <a:gd name="connsiteY7" fmla="*/ 202372 h 203010"/>
                  <a:gd name="connsiteX8" fmla="*/ 93428 w 190800"/>
                  <a:gd name="connsiteY8" fmla="*/ 203011 h 203010"/>
                  <a:gd name="connsiteX9" fmla="*/ 94067 w 190800"/>
                  <a:gd name="connsiteY9" fmla="*/ 203011 h 203010"/>
                  <a:gd name="connsiteX10" fmla="*/ 95345 w 190800"/>
                  <a:gd name="connsiteY10" fmla="*/ 203011 h 203010"/>
                  <a:gd name="connsiteX11" fmla="*/ 95345 w 190800"/>
                  <a:gd name="connsiteY11" fmla="*/ 203011 h 203010"/>
                  <a:gd name="connsiteX12" fmla="*/ 96623 w 190800"/>
                  <a:gd name="connsiteY12" fmla="*/ 203011 h 203010"/>
                  <a:gd name="connsiteX13" fmla="*/ 97262 w 190800"/>
                  <a:gd name="connsiteY13" fmla="*/ 203011 h 203010"/>
                  <a:gd name="connsiteX14" fmla="*/ 97901 w 190800"/>
                  <a:gd name="connsiteY14" fmla="*/ 202372 h 203010"/>
                  <a:gd name="connsiteX15" fmla="*/ 189277 w 190800"/>
                  <a:gd name="connsiteY15" fmla="*/ 20429 h 203010"/>
                  <a:gd name="connsiteX16" fmla="*/ 186721 w 190800"/>
                  <a:gd name="connsiteY16" fmla="*/ 15322 h 203010"/>
                  <a:gd name="connsiteX17" fmla="*/ 13554 w 190800"/>
                  <a:gd name="connsiteY17" fmla="*/ 30643 h 203010"/>
                  <a:gd name="connsiteX18" fmla="*/ 95984 w 190800"/>
                  <a:gd name="connsiteY18" fmla="*/ 15322 h 203010"/>
                  <a:gd name="connsiteX19" fmla="*/ 126655 w 190800"/>
                  <a:gd name="connsiteY19" fmla="*/ 32558 h 203010"/>
                  <a:gd name="connsiteX20" fmla="*/ 33362 w 190800"/>
                  <a:gd name="connsiteY20" fmla="*/ 125764 h 203010"/>
                  <a:gd name="connsiteX21" fmla="*/ 13554 w 190800"/>
                  <a:gd name="connsiteY21" fmla="*/ 30643 h 203010"/>
                  <a:gd name="connsiteX22" fmla="*/ 13554 w 190800"/>
                  <a:gd name="connsiteY22" fmla="*/ 30643 h 203010"/>
                  <a:gd name="connsiteX23" fmla="*/ 48059 w 190800"/>
                  <a:gd name="connsiteY23" fmla="*/ 147470 h 203010"/>
                  <a:gd name="connsiteX24" fmla="*/ 40391 w 190800"/>
                  <a:gd name="connsiteY24" fmla="*/ 136617 h 203010"/>
                  <a:gd name="connsiteX25" fmla="*/ 141991 w 190800"/>
                  <a:gd name="connsiteY25" fmla="*/ 35112 h 203010"/>
                  <a:gd name="connsiteX26" fmla="*/ 161161 w 190800"/>
                  <a:gd name="connsiteY26" fmla="*/ 34474 h 203010"/>
                  <a:gd name="connsiteX27" fmla="*/ 48059 w 190800"/>
                  <a:gd name="connsiteY27" fmla="*/ 147470 h 203010"/>
                  <a:gd name="connsiteX28" fmla="*/ 95345 w 190800"/>
                  <a:gd name="connsiteY28" fmla="*/ 189604 h 203010"/>
                  <a:gd name="connsiteX29" fmla="*/ 55727 w 190800"/>
                  <a:gd name="connsiteY29" fmla="*/ 157684 h 203010"/>
                  <a:gd name="connsiteX30" fmla="*/ 177775 w 190800"/>
                  <a:gd name="connsiteY30" fmla="*/ 35750 h 203010"/>
                  <a:gd name="connsiteX31" fmla="*/ 95345 w 190800"/>
                  <a:gd name="connsiteY31" fmla="*/ 189604 h 203010"/>
                  <a:gd name="connsiteX32" fmla="*/ 95345 w 190800"/>
                  <a:gd name="connsiteY32" fmla="*/ 189604 h 2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800" h="203010">
                    <a:moveTo>
                      <a:pt x="186721" y="15322"/>
                    </a:moveTo>
                    <a:cubicBezTo>
                      <a:pt x="184804" y="14045"/>
                      <a:pt x="182248" y="14045"/>
                      <a:pt x="180970" y="15322"/>
                    </a:cubicBezTo>
                    <a:cubicBezTo>
                      <a:pt x="154132" y="29366"/>
                      <a:pt x="121543" y="23621"/>
                      <a:pt x="100457" y="1915"/>
                    </a:cubicBezTo>
                    <a:cubicBezTo>
                      <a:pt x="97901" y="-638"/>
                      <a:pt x="94067" y="-638"/>
                      <a:pt x="91511" y="1915"/>
                    </a:cubicBezTo>
                    <a:cubicBezTo>
                      <a:pt x="71063" y="24259"/>
                      <a:pt x="37835" y="29366"/>
                      <a:pt x="10998" y="15322"/>
                    </a:cubicBezTo>
                    <a:cubicBezTo>
                      <a:pt x="7803" y="13406"/>
                      <a:pt x="3969" y="14683"/>
                      <a:pt x="2052" y="17875"/>
                    </a:cubicBezTo>
                    <a:cubicBezTo>
                      <a:pt x="1413" y="18514"/>
                      <a:pt x="1413" y="19152"/>
                      <a:pt x="1413" y="20429"/>
                    </a:cubicBezTo>
                    <a:cubicBezTo>
                      <a:pt x="-13284" y="146193"/>
                      <a:pt x="91511" y="201734"/>
                      <a:pt x="92789" y="202372"/>
                    </a:cubicBezTo>
                    <a:lnTo>
                      <a:pt x="93428" y="203011"/>
                    </a:lnTo>
                    <a:lnTo>
                      <a:pt x="94067" y="203011"/>
                    </a:lnTo>
                    <a:lnTo>
                      <a:pt x="95345" y="203011"/>
                    </a:lnTo>
                    <a:lnTo>
                      <a:pt x="95345" y="203011"/>
                    </a:lnTo>
                    <a:lnTo>
                      <a:pt x="96623" y="203011"/>
                    </a:lnTo>
                    <a:lnTo>
                      <a:pt x="97262" y="203011"/>
                    </a:lnTo>
                    <a:lnTo>
                      <a:pt x="97901" y="202372"/>
                    </a:lnTo>
                    <a:cubicBezTo>
                      <a:pt x="99179" y="201734"/>
                      <a:pt x="204613" y="146193"/>
                      <a:pt x="189277" y="20429"/>
                    </a:cubicBezTo>
                    <a:cubicBezTo>
                      <a:pt x="189916" y="17875"/>
                      <a:pt x="188638" y="15960"/>
                      <a:pt x="186721" y="15322"/>
                    </a:cubicBezTo>
                    <a:close/>
                    <a:moveTo>
                      <a:pt x="13554" y="30643"/>
                    </a:moveTo>
                    <a:cubicBezTo>
                      <a:pt x="41669" y="41496"/>
                      <a:pt x="73619" y="35750"/>
                      <a:pt x="95984" y="15322"/>
                    </a:cubicBezTo>
                    <a:cubicBezTo>
                      <a:pt x="104930" y="23621"/>
                      <a:pt x="115154" y="29366"/>
                      <a:pt x="126655" y="32558"/>
                    </a:cubicBezTo>
                    <a:lnTo>
                      <a:pt x="33362" y="125764"/>
                    </a:lnTo>
                    <a:cubicBezTo>
                      <a:pt x="17387" y="96398"/>
                      <a:pt x="10359" y="63201"/>
                      <a:pt x="13554" y="30643"/>
                    </a:cubicBezTo>
                    <a:lnTo>
                      <a:pt x="13554" y="30643"/>
                    </a:lnTo>
                    <a:close/>
                    <a:moveTo>
                      <a:pt x="48059" y="147470"/>
                    </a:moveTo>
                    <a:cubicBezTo>
                      <a:pt x="45503" y="144278"/>
                      <a:pt x="42947" y="140448"/>
                      <a:pt x="40391" y="136617"/>
                    </a:cubicBezTo>
                    <a:lnTo>
                      <a:pt x="141991" y="35112"/>
                    </a:lnTo>
                    <a:cubicBezTo>
                      <a:pt x="148381" y="35750"/>
                      <a:pt x="154771" y="35112"/>
                      <a:pt x="161161" y="34474"/>
                    </a:cubicBezTo>
                    <a:lnTo>
                      <a:pt x="48059" y="147470"/>
                    </a:lnTo>
                    <a:close/>
                    <a:moveTo>
                      <a:pt x="95345" y="189604"/>
                    </a:moveTo>
                    <a:cubicBezTo>
                      <a:pt x="80648" y="180667"/>
                      <a:pt x="67229" y="170452"/>
                      <a:pt x="55727" y="157684"/>
                    </a:cubicBezTo>
                    <a:lnTo>
                      <a:pt x="177775" y="35750"/>
                    </a:lnTo>
                    <a:cubicBezTo>
                      <a:pt x="183526" y="132787"/>
                      <a:pt x="111959" y="180667"/>
                      <a:pt x="95345" y="189604"/>
                    </a:cubicBezTo>
                    <a:lnTo>
                      <a:pt x="95345" y="18960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465" name="Graphic 1100">
              <a:extLst>
                <a:ext uri="{FF2B5EF4-FFF2-40B4-BE49-F238E27FC236}">
                  <a16:creationId xmlns:a16="http://schemas.microsoft.com/office/drawing/2014/main" id="{42A25D17-50F6-85BB-9B54-1A0C44F67445}"/>
                </a:ext>
              </a:extLst>
            </p:cNvPr>
            <p:cNvGrpSpPr>
              <a:grpSpLocks noChangeAspect="1"/>
            </p:cNvGrpSpPr>
            <p:nvPr/>
          </p:nvGrpSpPr>
          <p:grpSpPr>
            <a:xfrm>
              <a:off x="4326910" y="2526553"/>
              <a:ext cx="397837" cy="397467"/>
              <a:chOff x="1515054" y="4312706"/>
              <a:chExt cx="362309" cy="361971"/>
            </a:xfrm>
            <a:solidFill>
              <a:srgbClr val="00ABAB"/>
            </a:solidFill>
          </p:grpSpPr>
          <p:sp>
            <p:nvSpPr>
              <p:cNvPr id="466" name="Graphic 1100">
                <a:extLst>
                  <a:ext uri="{FF2B5EF4-FFF2-40B4-BE49-F238E27FC236}">
                    <a16:creationId xmlns:a16="http://schemas.microsoft.com/office/drawing/2014/main" id="{60C45A34-84F9-EA72-11C6-9A0A839BC781}"/>
                  </a:ext>
                </a:extLst>
              </p:cNvPr>
              <p:cNvSpPr/>
              <p:nvPr/>
            </p:nvSpPr>
            <p:spPr>
              <a:xfrm>
                <a:off x="1515054" y="4312706"/>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0 h 361971"/>
                  <a:gd name="connsiteX7" fmla="*/ 180835 w 362309"/>
                  <a:gd name="connsiteY7" fmla="*/ 349204 h 361971"/>
                  <a:gd name="connsiteX8" fmla="*/ 12780 w 362309"/>
                  <a:gd name="connsiteY8" fmla="*/ 180667 h 361971"/>
                  <a:gd name="connsiteX9" fmla="*/ 180835 w 362309"/>
                  <a:gd name="connsiteY9" fmla="*/ 12768 h 361971"/>
                  <a:gd name="connsiteX10" fmla="*/ 349529 w 362309"/>
                  <a:gd name="connsiteY10" fmla="*/ 181305 h 361971"/>
                  <a:gd name="connsiteX11" fmla="*/ 349529 w 362309"/>
                  <a:gd name="connsiteY11" fmla="*/ 181305 h 361971"/>
                  <a:gd name="connsiteX12" fmla="*/ 180835 w 362309"/>
                  <a:gd name="connsiteY12" fmla="*/ 349204 h 361971"/>
                  <a:gd name="connsiteX13" fmla="*/ 180835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1077"/>
                      <a:pt x="281157" y="0"/>
                      <a:pt x="180835" y="0"/>
                    </a:cubicBezTo>
                    <a:cubicBezTo>
                      <a:pt x="180835" y="0"/>
                      <a:pt x="180835" y="0"/>
                      <a:pt x="180835" y="0"/>
                    </a:cubicBezTo>
                    <a:close/>
                    <a:moveTo>
                      <a:pt x="180835" y="349204"/>
                    </a:moveTo>
                    <a:cubicBezTo>
                      <a:pt x="87542" y="349204"/>
                      <a:pt x="12780" y="273873"/>
                      <a:pt x="12780" y="180667"/>
                    </a:cubicBezTo>
                    <a:cubicBezTo>
                      <a:pt x="12780" y="87461"/>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67" name="Graphic 1100">
                <a:extLst>
                  <a:ext uri="{FF2B5EF4-FFF2-40B4-BE49-F238E27FC236}">
                    <a16:creationId xmlns:a16="http://schemas.microsoft.com/office/drawing/2014/main" id="{1BFA60EF-EC2E-D795-5793-4DA6EF405128}"/>
                  </a:ext>
                </a:extLst>
              </p:cNvPr>
              <p:cNvSpPr/>
              <p:nvPr/>
            </p:nvSpPr>
            <p:spPr>
              <a:xfrm>
                <a:off x="1567962" y="4417914"/>
                <a:ext cx="254617" cy="151427"/>
              </a:xfrm>
              <a:custGeom>
                <a:avLst/>
                <a:gdLst>
                  <a:gd name="connsiteX0" fmla="*/ 252530 w 254617"/>
                  <a:gd name="connsiteY0" fmla="*/ 70351 h 151427"/>
                  <a:gd name="connsiteX1" fmla="*/ 218025 w 254617"/>
                  <a:gd name="connsiteY1" fmla="*/ 44815 h 151427"/>
                  <a:gd name="connsiteX2" fmla="*/ 209079 w 254617"/>
                  <a:gd name="connsiteY2" fmla="*/ 46092 h 151427"/>
                  <a:gd name="connsiteX3" fmla="*/ 207801 w 254617"/>
                  <a:gd name="connsiteY3" fmla="*/ 49922 h 151427"/>
                  <a:gd name="connsiteX4" fmla="*/ 207801 w 254617"/>
                  <a:gd name="connsiteY4" fmla="*/ 69074 h 151427"/>
                  <a:gd name="connsiteX5" fmla="*/ 74251 w 254617"/>
                  <a:gd name="connsiteY5" fmla="*/ 69074 h 151427"/>
                  <a:gd name="connsiteX6" fmla="*/ 106201 w 254617"/>
                  <a:gd name="connsiteY6" fmla="*/ 37155 h 151427"/>
                  <a:gd name="connsiteX7" fmla="*/ 127288 w 254617"/>
                  <a:gd name="connsiteY7" fmla="*/ 30132 h 151427"/>
                  <a:gd name="connsiteX8" fmla="*/ 130482 w 254617"/>
                  <a:gd name="connsiteY8" fmla="*/ 30132 h 151427"/>
                  <a:gd name="connsiteX9" fmla="*/ 159876 w 254617"/>
                  <a:gd name="connsiteY9" fmla="*/ 46730 h 151427"/>
                  <a:gd name="connsiteX10" fmla="*/ 176490 w 254617"/>
                  <a:gd name="connsiteY10" fmla="*/ 17364 h 151427"/>
                  <a:gd name="connsiteX11" fmla="*/ 147096 w 254617"/>
                  <a:gd name="connsiteY11" fmla="*/ 766 h 151427"/>
                  <a:gd name="connsiteX12" fmla="*/ 130482 w 254617"/>
                  <a:gd name="connsiteY12" fmla="*/ 17364 h 151427"/>
                  <a:gd name="connsiteX13" fmla="*/ 127288 w 254617"/>
                  <a:gd name="connsiteY13" fmla="*/ 17364 h 151427"/>
                  <a:gd name="connsiteX14" fmla="*/ 96616 w 254617"/>
                  <a:gd name="connsiteY14" fmla="*/ 27579 h 151427"/>
                  <a:gd name="connsiteX15" fmla="*/ 55720 w 254617"/>
                  <a:gd name="connsiteY15" fmla="*/ 69074 h 151427"/>
                  <a:gd name="connsiteX16" fmla="*/ 46774 w 254617"/>
                  <a:gd name="connsiteY16" fmla="*/ 69074 h 151427"/>
                  <a:gd name="connsiteX17" fmla="*/ 17381 w 254617"/>
                  <a:gd name="connsiteY17" fmla="*/ 52476 h 151427"/>
                  <a:gd name="connsiteX18" fmla="*/ 767 w 254617"/>
                  <a:gd name="connsiteY18" fmla="*/ 81842 h 151427"/>
                  <a:gd name="connsiteX19" fmla="*/ 30161 w 254617"/>
                  <a:gd name="connsiteY19" fmla="*/ 98441 h 151427"/>
                  <a:gd name="connsiteX20" fmla="*/ 46774 w 254617"/>
                  <a:gd name="connsiteY20" fmla="*/ 81842 h 151427"/>
                  <a:gd name="connsiteX21" fmla="*/ 64666 w 254617"/>
                  <a:gd name="connsiteY21" fmla="*/ 81842 h 151427"/>
                  <a:gd name="connsiteX22" fmla="*/ 106201 w 254617"/>
                  <a:gd name="connsiteY22" fmla="*/ 123338 h 151427"/>
                  <a:gd name="connsiteX23" fmla="*/ 136234 w 254617"/>
                  <a:gd name="connsiteY23" fmla="*/ 134191 h 151427"/>
                  <a:gd name="connsiteX24" fmla="*/ 138790 w 254617"/>
                  <a:gd name="connsiteY24" fmla="*/ 134191 h 151427"/>
                  <a:gd name="connsiteX25" fmla="*/ 138790 w 254617"/>
                  <a:gd name="connsiteY25" fmla="*/ 145044 h 151427"/>
                  <a:gd name="connsiteX26" fmla="*/ 145179 w 254617"/>
                  <a:gd name="connsiteY26" fmla="*/ 151428 h 151427"/>
                  <a:gd name="connsiteX27" fmla="*/ 179685 w 254617"/>
                  <a:gd name="connsiteY27" fmla="*/ 151428 h 151427"/>
                  <a:gd name="connsiteX28" fmla="*/ 186075 w 254617"/>
                  <a:gd name="connsiteY28" fmla="*/ 145044 h 151427"/>
                  <a:gd name="connsiteX29" fmla="*/ 186075 w 254617"/>
                  <a:gd name="connsiteY29" fmla="*/ 109932 h 151427"/>
                  <a:gd name="connsiteX30" fmla="*/ 179685 w 254617"/>
                  <a:gd name="connsiteY30" fmla="*/ 103548 h 151427"/>
                  <a:gd name="connsiteX31" fmla="*/ 144540 w 254617"/>
                  <a:gd name="connsiteY31" fmla="*/ 103548 h 151427"/>
                  <a:gd name="connsiteX32" fmla="*/ 138150 w 254617"/>
                  <a:gd name="connsiteY32" fmla="*/ 109932 h 151427"/>
                  <a:gd name="connsiteX33" fmla="*/ 138150 w 254617"/>
                  <a:gd name="connsiteY33" fmla="*/ 120785 h 151427"/>
                  <a:gd name="connsiteX34" fmla="*/ 135595 w 254617"/>
                  <a:gd name="connsiteY34" fmla="*/ 120785 h 151427"/>
                  <a:gd name="connsiteX35" fmla="*/ 114508 w 254617"/>
                  <a:gd name="connsiteY35" fmla="*/ 114401 h 151427"/>
                  <a:gd name="connsiteX36" fmla="*/ 82558 w 254617"/>
                  <a:gd name="connsiteY36" fmla="*/ 82481 h 151427"/>
                  <a:gd name="connsiteX37" fmla="*/ 207162 w 254617"/>
                  <a:gd name="connsiteY37" fmla="*/ 82481 h 151427"/>
                  <a:gd name="connsiteX38" fmla="*/ 207162 w 254617"/>
                  <a:gd name="connsiteY38" fmla="*/ 101633 h 151427"/>
                  <a:gd name="connsiteX39" fmla="*/ 213552 w 254617"/>
                  <a:gd name="connsiteY39" fmla="*/ 108017 h 151427"/>
                  <a:gd name="connsiteX40" fmla="*/ 217386 w 254617"/>
                  <a:gd name="connsiteY40" fmla="*/ 106740 h 151427"/>
                  <a:gd name="connsiteX41" fmla="*/ 251891 w 254617"/>
                  <a:gd name="connsiteY41" fmla="*/ 81204 h 151427"/>
                  <a:gd name="connsiteX42" fmla="*/ 254447 w 254617"/>
                  <a:gd name="connsiteY42" fmla="*/ 76097 h 151427"/>
                  <a:gd name="connsiteX43" fmla="*/ 252530 w 254617"/>
                  <a:gd name="connsiteY43" fmla="*/ 70351 h 151427"/>
                  <a:gd name="connsiteX44" fmla="*/ 153486 w 254617"/>
                  <a:gd name="connsiteY44" fmla="*/ 12895 h 151427"/>
                  <a:gd name="connsiteX45" fmla="*/ 164349 w 254617"/>
                  <a:gd name="connsiteY45" fmla="*/ 23748 h 151427"/>
                  <a:gd name="connsiteX46" fmla="*/ 153486 w 254617"/>
                  <a:gd name="connsiteY46" fmla="*/ 34601 h 151427"/>
                  <a:gd name="connsiteX47" fmla="*/ 142624 w 254617"/>
                  <a:gd name="connsiteY47" fmla="*/ 23748 h 151427"/>
                  <a:gd name="connsiteX48" fmla="*/ 153486 w 254617"/>
                  <a:gd name="connsiteY48" fmla="*/ 12895 h 151427"/>
                  <a:gd name="connsiteX49" fmla="*/ 153486 w 254617"/>
                  <a:gd name="connsiteY49" fmla="*/ 12895 h 151427"/>
                  <a:gd name="connsiteX50" fmla="*/ 151569 w 254617"/>
                  <a:gd name="connsiteY50" fmla="*/ 116316 h 151427"/>
                  <a:gd name="connsiteX51" fmla="*/ 173295 w 254617"/>
                  <a:gd name="connsiteY51" fmla="*/ 116316 h 151427"/>
                  <a:gd name="connsiteX52" fmla="*/ 173295 w 254617"/>
                  <a:gd name="connsiteY52" fmla="*/ 138022 h 151427"/>
                  <a:gd name="connsiteX53" fmla="*/ 151569 w 254617"/>
                  <a:gd name="connsiteY53" fmla="*/ 138022 h 151427"/>
                  <a:gd name="connsiteX54" fmla="*/ 151569 w 254617"/>
                  <a:gd name="connsiteY54" fmla="*/ 116316 h 151427"/>
                  <a:gd name="connsiteX55" fmla="*/ 24410 w 254617"/>
                  <a:gd name="connsiteY55" fmla="*/ 86311 h 151427"/>
                  <a:gd name="connsiteX56" fmla="*/ 13547 w 254617"/>
                  <a:gd name="connsiteY56" fmla="*/ 75458 h 151427"/>
                  <a:gd name="connsiteX57" fmla="*/ 24410 w 254617"/>
                  <a:gd name="connsiteY57" fmla="*/ 64606 h 151427"/>
                  <a:gd name="connsiteX58" fmla="*/ 35272 w 254617"/>
                  <a:gd name="connsiteY58" fmla="*/ 75458 h 151427"/>
                  <a:gd name="connsiteX59" fmla="*/ 35272 w 254617"/>
                  <a:gd name="connsiteY59" fmla="*/ 75458 h 151427"/>
                  <a:gd name="connsiteX60" fmla="*/ 24410 w 254617"/>
                  <a:gd name="connsiteY60" fmla="*/ 86311 h 151427"/>
                  <a:gd name="connsiteX61" fmla="*/ 24410 w 254617"/>
                  <a:gd name="connsiteY61" fmla="*/ 86311 h 151427"/>
                  <a:gd name="connsiteX62" fmla="*/ 24410 w 254617"/>
                  <a:gd name="connsiteY62" fmla="*/ 86311 h 151427"/>
                  <a:gd name="connsiteX63" fmla="*/ 220581 w 254617"/>
                  <a:gd name="connsiteY63" fmla="*/ 88226 h 151427"/>
                  <a:gd name="connsiteX64" fmla="*/ 220581 w 254617"/>
                  <a:gd name="connsiteY64" fmla="*/ 62052 h 151427"/>
                  <a:gd name="connsiteX65" fmla="*/ 237834 w 254617"/>
                  <a:gd name="connsiteY65" fmla="*/ 74820 h 151427"/>
                  <a:gd name="connsiteX66" fmla="*/ 220581 w 254617"/>
                  <a:gd name="connsiteY66" fmla="*/ 88226 h 151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54617" h="151427">
                    <a:moveTo>
                      <a:pt x="252530" y="70351"/>
                    </a:moveTo>
                    <a:lnTo>
                      <a:pt x="218025" y="44815"/>
                    </a:lnTo>
                    <a:cubicBezTo>
                      <a:pt x="215469" y="42900"/>
                      <a:pt x="210996" y="43538"/>
                      <a:pt x="209079" y="46092"/>
                    </a:cubicBezTo>
                    <a:cubicBezTo>
                      <a:pt x="208440" y="47369"/>
                      <a:pt x="207801" y="48646"/>
                      <a:pt x="207801" y="49922"/>
                    </a:cubicBezTo>
                    <a:lnTo>
                      <a:pt x="207801" y="69074"/>
                    </a:lnTo>
                    <a:lnTo>
                      <a:pt x="74251" y="69074"/>
                    </a:lnTo>
                    <a:lnTo>
                      <a:pt x="106201" y="37155"/>
                    </a:lnTo>
                    <a:cubicBezTo>
                      <a:pt x="112591" y="32686"/>
                      <a:pt x="119620" y="30132"/>
                      <a:pt x="127288" y="30132"/>
                    </a:cubicBezTo>
                    <a:lnTo>
                      <a:pt x="130482" y="30132"/>
                    </a:lnTo>
                    <a:cubicBezTo>
                      <a:pt x="134316" y="42900"/>
                      <a:pt x="147096" y="49922"/>
                      <a:pt x="159876" y="46730"/>
                    </a:cubicBezTo>
                    <a:cubicBezTo>
                      <a:pt x="172656" y="42900"/>
                      <a:pt x="179685" y="30132"/>
                      <a:pt x="176490" y="17364"/>
                    </a:cubicBezTo>
                    <a:cubicBezTo>
                      <a:pt x="173295" y="4596"/>
                      <a:pt x="159876" y="-2426"/>
                      <a:pt x="147096" y="766"/>
                    </a:cubicBezTo>
                    <a:cubicBezTo>
                      <a:pt x="139429" y="2681"/>
                      <a:pt x="133039" y="9065"/>
                      <a:pt x="130482" y="17364"/>
                    </a:cubicBezTo>
                    <a:lnTo>
                      <a:pt x="127288" y="17364"/>
                    </a:lnTo>
                    <a:cubicBezTo>
                      <a:pt x="126649" y="17364"/>
                      <a:pt x="107479" y="16726"/>
                      <a:pt x="96616" y="27579"/>
                    </a:cubicBezTo>
                    <a:lnTo>
                      <a:pt x="55720" y="69074"/>
                    </a:lnTo>
                    <a:lnTo>
                      <a:pt x="46774" y="69074"/>
                    </a:lnTo>
                    <a:cubicBezTo>
                      <a:pt x="42940" y="56306"/>
                      <a:pt x="30161" y="49284"/>
                      <a:pt x="17381" y="52476"/>
                    </a:cubicBezTo>
                    <a:cubicBezTo>
                      <a:pt x="4601" y="56306"/>
                      <a:pt x="-2428" y="69074"/>
                      <a:pt x="767" y="81842"/>
                    </a:cubicBezTo>
                    <a:cubicBezTo>
                      <a:pt x="4601" y="94610"/>
                      <a:pt x="17381" y="101633"/>
                      <a:pt x="30161" y="98441"/>
                    </a:cubicBezTo>
                    <a:cubicBezTo>
                      <a:pt x="37828" y="96526"/>
                      <a:pt x="44218" y="90142"/>
                      <a:pt x="46774" y="81842"/>
                    </a:cubicBezTo>
                    <a:lnTo>
                      <a:pt x="64666" y="81842"/>
                    </a:lnTo>
                    <a:lnTo>
                      <a:pt x="106201" y="123338"/>
                    </a:lnTo>
                    <a:cubicBezTo>
                      <a:pt x="114508" y="130361"/>
                      <a:pt x="125371" y="134191"/>
                      <a:pt x="136234" y="134191"/>
                    </a:cubicBezTo>
                    <a:lnTo>
                      <a:pt x="138790" y="134191"/>
                    </a:lnTo>
                    <a:lnTo>
                      <a:pt x="138790" y="145044"/>
                    </a:lnTo>
                    <a:cubicBezTo>
                      <a:pt x="138790" y="148874"/>
                      <a:pt x="141345" y="151428"/>
                      <a:pt x="145179" y="151428"/>
                    </a:cubicBezTo>
                    <a:lnTo>
                      <a:pt x="179685" y="151428"/>
                    </a:lnTo>
                    <a:cubicBezTo>
                      <a:pt x="183519" y="151428"/>
                      <a:pt x="186075" y="148874"/>
                      <a:pt x="186075" y="145044"/>
                    </a:cubicBezTo>
                    <a:lnTo>
                      <a:pt x="186075" y="109932"/>
                    </a:lnTo>
                    <a:cubicBezTo>
                      <a:pt x="186075" y="106102"/>
                      <a:pt x="183519" y="103548"/>
                      <a:pt x="179685" y="103548"/>
                    </a:cubicBezTo>
                    <a:lnTo>
                      <a:pt x="144540" y="103548"/>
                    </a:lnTo>
                    <a:cubicBezTo>
                      <a:pt x="140706" y="103548"/>
                      <a:pt x="138150" y="106102"/>
                      <a:pt x="138150" y="109932"/>
                    </a:cubicBezTo>
                    <a:lnTo>
                      <a:pt x="138150" y="120785"/>
                    </a:lnTo>
                    <a:lnTo>
                      <a:pt x="135595" y="120785"/>
                    </a:lnTo>
                    <a:cubicBezTo>
                      <a:pt x="127927" y="121423"/>
                      <a:pt x="120259" y="118870"/>
                      <a:pt x="114508" y="114401"/>
                    </a:cubicBezTo>
                    <a:lnTo>
                      <a:pt x="82558" y="82481"/>
                    </a:lnTo>
                    <a:lnTo>
                      <a:pt x="207162" y="82481"/>
                    </a:lnTo>
                    <a:lnTo>
                      <a:pt x="207162" y="101633"/>
                    </a:lnTo>
                    <a:cubicBezTo>
                      <a:pt x="207162" y="105463"/>
                      <a:pt x="209718" y="108017"/>
                      <a:pt x="213552" y="108017"/>
                    </a:cubicBezTo>
                    <a:cubicBezTo>
                      <a:pt x="214830" y="108017"/>
                      <a:pt x="216108" y="107378"/>
                      <a:pt x="217386" y="106740"/>
                    </a:cubicBezTo>
                    <a:lnTo>
                      <a:pt x="251891" y="81204"/>
                    </a:lnTo>
                    <a:cubicBezTo>
                      <a:pt x="253808" y="79927"/>
                      <a:pt x="254447" y="78012"/>
                      <a:pt x="254447" y="76097"/>
                    </a:cubicBezTo>
                    <a:cubicBezTo>
                      <a:pt x="255086" y="73543"/>
                      <a:pt x="253808" y="71628"/>
                      <a:pt x="252530" y="70351"/>
                    </a:cubicBezTo>
                    <a:close/>
                    <a:moveTo>
                      <a:pt x="153486" y="12895"/>
                    </a:moveTo>
                    <a:cubicBezTo>
                      <a:pt x="159237" y="12895"/>
                      <a:pt x="164349" y="18003"/>
                      <a:pt x="164349" y="23748"/>
                    </a:cubicBezTo>
                    <a:cubicBezTo>
                      <a:pt x="164349" y="29494"/>
                      <a:pt x="159237" y="34601"/>
                      <a:pt x="153486" y="34601"/>
                    </a:cubicBezTo>
                    <a:cubicBezTo>
                      <a:pt x="147735" y="34601"/>
                      <a:pt x="142624" y="29494"/>
                      <a:pt x="142624" y="23748"/>
                    </a:cubicBezTo>
                    <a:cubicBezTo>
                      <a:pt x="142624" y="18003"/>
                      <a:pt x="147735" y="12895"/>
                      <a:pt x="153486" y="12895"/>
                    </a:cubicBezTo>
                    <a:lnTo>
                      <a:pt x="153486" y="12895"/>
                    </a:lnTo>
                    <a:close/>
                    <a:moveTo>
                      <a:pt x="151569" y="116316"/>
                    </a:moveTo>
                    <a:lnTo>
                      <a:pt x="173295" y="116316"/>
                    </a:lnTo>
                    <a:lnTo>
                      <a:pt x="173295" y="138022"/>
                    </a:lnTo>
                    <a:lnTo>
                      <a:pt x="151569" y="138022"/>
                    </a:lnTo>
                    <a:lnTo>
                      <a:pt x="151569" y="116316"/>
                    </a:lnTo>
                    <a:close/>
                    <a:moveTo>
                      <a:pt x="24410" y="86311"/>
                    </a:moveTo>
                    <a:cubicBezTo>
                      <a:pt x="18659" y="86311"/>
                      <a:pt x="13547" y="81204"/>
                      <a:pt x="13547" y="75458"/>
                    </a:cubicBezTo>
                    <a:cubicBezTo>
                      <a:pt x="13547" y="69713"/>
                      <a:pt x="18659" y="64606"/>
                      <a:pt x="24410" y="64606"/>
                    </a:cubicBezTo>
                    <a:cubicBezTo>
                      <a:pt x="30161" y="64606"/>
                      <a:pt x="35272" y="69713"/>
                      <a:pt x="35272" y="75458"/>
                    </a:cubicBezTo>
                    <a:cubicBezTo>
                      <a:pt x="35272" y="75458"/>
                      <a:pt x="35272" y="75458"/>
                      <a:pt x="35272" y="75458"/>
                    </a:cubicBezTo>
                    <a:cubicBezTo>
                      <a:pt x="35272" y="81204"/>
                      <a:pt x="30800" y="86311"/>
                      <a:pt x="24410" y="86311"/>
                    </a:cubicBezTo>
                    <a:cubicBezTo>
                      <a:pt x="24410" y="86311"/>
                      <a:pt x="24410" y="86311"/>
                      <a:pt x="24410" y="86311"/>
                    </a:cubicBezTo>
                    <a:lnTo>
                      <a:pt x="24410" y="86311"/>
                    </a:lnTo>
                    <a:close/>
                    <a:moveTo>
                      <a:pt x="220581" y="88226"/>
                    </a:moveTo>
                    <a:lnTo>
                      <a:pt x="220581" y="62052"/>
                    </a:lnTo>
                    <a:lnTo>
                      <a:pt x="237834" y="74820"/>
                    </a:lnTo>
                    <a:lnTo>
                      <a:pt x="220581" y="8822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0" name="Oval 9">
            <a:extLst>
              <a:ext uri="{FF2B5EF4-FFF2-40B4-BE49-F238E27FC236}">
                <a16:creationId xmlns:a16="http://schemas.microsoft.com/office/drawing/2014/main" id="{220C096F-6556-084F-0F5A-389377064823}"/>
              </a:ext>
            </a:extLst>
          </p:cNvPr>
          <p:cNvSpPr/>
          <p:nvPr/>
        </p:nvSpPr>
        <p:spPr>
          <a:xfrm>
            <a:off x="1006186" y="4679724"/>
            <a:ext cx="67751" cy="67751"/>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0B0004020202020204" pitchFamily="34" charset="0"/>
              <a:ea typeface="+mn-ea"/>
              <a:cs typeface="Calibri" panose="020F0502020204030204" pitchFamily="34" charset="0"/>
            </a:endParaRPr>
          </a:p>
        </p:txBody>
      </p:sp>
      <p:grpSp>
        <p:nvGrpSpPr>
          <p:cNvPr id="53" name="Group 52">
            <a:extLst>
              <a:ext uri="{FF2B5EF4-FFF2-40B4-BE49-F238E27FC236}">
                <a16:creationId xmlns:a16="http://schemas.microsoft.com/office/drawing/2014/main" id="{EDC662DF-75D3-2985-104E-071902D5FD85}"/>
              </a:ext>
            </a:extLst>
          </p:cNvPr>
          <p:cNvGrpSpPr/>
          <p:nvPr/>
        </p:nvGrpSpPr>
        <p:grpSpPr>
          <a:xfrm>
            <a:off x="4114849" y="3625858"/>
            <a:ext cx="1517329" cy="445653"/>
            <a:chOff x="501652" y="3848567"/>
            <a:chExt cx="1077092" cy="685950"/>
          </a:xfrm>
        </p:grpSpPr>
        <p:sp>
          <p:nvSpPr>
            <p:cNvPr id="483" name="Freeform: Shape 482">
              <a:extLst>
                <a:ext uri="{FF2B5EF4-FFF2-40B4-BE49-F238E27FC236}">
                  <a16:creationId xmlns:a16="http://schemas.microsoft.com/office/drawing/2014/main" id="{5831F068-F503-4656-7E2D-17C9E4957904}"/>
                </a:ext>
              </a:extLst>
            </p:cNvPr>
            <p:cNvSpPr/>
            <p:nvPr/>
          </p:nvSpPr>
          <p:spPr>
            <a:xfrm rot="16200000">
              <a:off x="490391" y="4453317"/>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5" name="Freeform: Shape 484">
              <a:extLst>
                <a:ext uri="{FF2B5EF4-FFF2-40B4-BE49-F238E27FC236}">
                  <a16:creationId xmlns:a16="http://schemas.microsoft.com/office/drawing/2014/main" id="{C37DA573-BF66-372A-5FCC-9B629290ADBF}"/>
                </a:ext>
              </a:extLst>
            </p:cNvPr>
            <p:cNvSpPr/>
            <p:nvPr/>
          </p:nvSpPr>
          <p:spPr>
            <a:xfrm>
              <a:off x="501652" y="3848567"/>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6" name="Arrow: Pentagon 485">
              <a:extLst>
                <a:ext uri="{FF2B5EF4-FFF2-40B4-BE49-F238E27FC236}">
                  <a16:creationId xmlns:a16="http://schemas.microsoft.com/office/drawing/2014/main" id="{EF9E9ED4-3301-D8C4-9226-B6BD0D3D428F}"/>
                </a:ext>
              </a:extLst>
            </p:cNvPr>
            <p:cNvSpPr/>
            <p:nvPr/>
          </p:nvSpPr>
          <p:spPr>
            <a:xfrm>
              <a:off x="501653" y="3928914"/>
              <a:ext cx="1077091" cy="516448"/>
            </a:xfrm>
            <a:prstGeom prst="homePlate">
              <a:avLst>
                <a:gd name="adj" fmla="val 15719"/>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ptos" panose="020B0004020202020204" pitchFamily="34" charset="0"/>
                  <a:ea typeface="+mn-ea"/>
                  <a:cs typeface="+mn-cs"/>
                </a:rPr>
                <a:t>Energy, resources &amp; Industrials</a:t>
              </a:r>
            </a:p>
          </p:txBody>
        </p:sp>
      </p:grpSp>
      <p:grpSp>
        <p:nvGrpSpPr>
          <p:cNvPr id="487" name="Group 486">
            <a:extLst>
              <a:ext uri="{FF2B5EF4-FFF2-40B4-BE49-F238E27FC236}">
                <a16:creationId xmlns:a16="http://schemas.microsoft.com/office/drawing/2014/main" id="{6F17D969-165D-8E2F-9CDB-F65B4B63FB2B}"/>
              </a:ext>
            </a:extLst>
          </p:cNvPr>
          <p:cNvGrpSpPr/>
          <p:nvPr/>
        </p:nvGrpSpPr>
        <p:grpSpPr>
          <a:xfrm>
            <a:off x="4106721" y="4560787"/>
            <a:ext cx="1517329" cy="445653"/>
            <a:chOff x="501652" y="3848567"/>
            <a:chExt cx="1077092" cy="685950"/>
          </a:xfrm>
        </p:grpSpPr>
        <p:sp>
          <p:nvSpPr>
            <p:cNvPr id="488" name="Freeform: Shape 487">
              <a:extLst>
                <a:ext uri="{FF2B5EF4-FFF2-40B4-BE49-F238E27FC236}">
                  <a16:creationId xmlns:a16="http://schemas.microsoft.com/office/drawing/2014/main" id="{1F04B20B-0C15-12A5-6F72-DD2FD9530AEB}"/>
                </a:ext>
              </a:extLst>
            </p:cNvPr>
            <p:cNvSpPr/>
            <p:nvPr/>
          </p:nvSpPr>
          <p:spPr>
            <a:xfrm rot="16200000">
              <a:off x="490391" y="4453317"/>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9" name="Freeform: Shape 488">
              <a:extLst>
                <a:ext uri="{FF2B5EF4-FFF2-40B4-BE49-F238E27FC236}">
                  <a16:creationId xmlns:a16="http://schemas.microsoft.com/office/drawing/2014/main" id="{4251E57E-4FF4-80EE-8450-828F7A1BA795}"/>
                </a:ext>
              </a:extLst>
            </p:cNvPr>
            <p:cNvSpPr/>
            <p:nvPr/>
          </p:nvSpPr>
          <p:spPr>
            <a:xfrm>
              <a:off x="501652" y="3848567"/>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0" name="Arrow: Pentagon 489">
              <a:extLst>
                <a:ext uri="{FF2B5EF4-FFF2-40B4-BE49-F238E27FC236}">
                  <a16:creationId xmlns:a16="http://schemas.microsoft.com/office/drawing/2014/main" id="{4710EE9D-82C2-6E6A-3C7F-4645BE6258AB}"/>
                </a:ext>
              </a:extLst>
            </p:cNvPr>
            <p:cNvSpPr/>
            <p:nvPr/>
          </p:nvSpPr>
          <p:spPr>
            <a:xfrm>
              <a:off x="501653" y="3928914"/>
              <a:ext cx="1077091" cy="516448"/>
            </a:xfrm>
            <a:prstGeom prst="homePlate">
              <a:avLst>
                <a:gd name="adj" fmla="val 15719"/>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ptos" panose="020B0004020202020204" pitchFamily="34" charset="0"/>
                  <a:ea typeface="+mn-ea"/>
                  <a:cs typeface="+mn-cs"/>
                </a:rPr>
                <a:t>Life sciences &amp; healthcare </a:t>
              </a:r>
            </a:p>
          </p:txBody>
        </p:sp>
      </p:grpSp>
      <p:grpSp>
        <p:nvGrpSpPr>
          <p:cNvPr id="491" name="Group 490">
            <a:extLst>
              <a:ext uri="{FF2B5EF4-FFF2-40B4-BE49-F238E27FC236}">
                <a16:creationId xmlns:a16="http://schemas.microsoft.com/office/drawing/2014/main" id="{7806EBC2-6288-2A8A-2891-D77D7C9B94D6}"/>
              </a:ext>
            </a:extLst>
          </p:cNvPr>
          <p:cNvGrpSpPr/>
          <p:nvPr/>
        </p:nvGrpSpPr>
        <p:grpSpPr>
          <a:xfrm>
            <a:off x="4098493" y="5521526"/>
            <a:ext cx="1517329" cy="445653"/>
            <a:chOff x="501652" y="3848567"/>
            <a:chExt cx="1077092" cy="685950"/>
          </a:xfrm>
        </p:grpSpPr>
        <p:sp>
          <p:nvSpPr>
            <p:cNvPr id="492" name="Freeform: Shape 491">
              <a:extLst>
                <a:ext uri="{FF2B5EF4-FFF2-40B4-BE49-F238E27FC236}">
                  <a16:creationId xmlns:a16="http://schemas.microsoft.com/office/drawing/2014/main" id="{6A924DD3-2ED5-C498-8140-7DD7FED578DA}"/>
                </a:ext>
              </a:extLst>
            </p:cNvPr>
            <p:cNvSpPr/>
            <p:nvPr/>
          </p:nvSpPr>
          <p:spPr>
            <a:xfrm rot="16200000">
              <a:off x="490391" y="4453317"/>
              <a:ext cx="92463" cy="6993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3" name="Freeform: Shape 492">
              <a:extLst>
                <a:ext uri="{FF2B5EF4-FFF2-40B4-BE49-F238E27FC236}">
                  <a16:creationId xmlns:a16="http://schemas.microsoft.com/office/drawing/2014/main" id="{01EA7888-4AA6-E209-A419-66A06C468D0D}"/>
                </a:ext>
              </a:extLst>
            </p:cNvPr>
            <p:cNvSpPr/>
            <p:nvPr/>
          </p:nvSpPr>
          <p:spPr>
            <a:xfrm>
              <a:off x="501652" y="3848567"/>
              <a:ext cx="69936" cy="83657"/>
            </a:xfrm>
            <a:custGeom>
              <a:avLst/>
              <a:gdLst>
                <a:gd name="connsiteX0" fmla="*/ 46231 w 92462"/>
                <a:gd name="connsiteY0" fmla="*/ 0 h 83657"/>
                <a:gd name="connsiteX1" fmla="*/ 92462 w 92462"/>
                <a:gd name="connsiteY1" fmla="*/ 0 h 83657"/>
                <a:gd name="connsiteX2" fmla="*/ 92462 w 92462"/>
                <a:gd name="connsiteY2" fmla="*/ 83657 h 83657"/>
                <a:gd name="connsiteX3" fmla="*/ 0 w 92462"/>
                <a:gd name="connsiteY3" fmla="*/ 83657 h 83657"/>
                <a:gd name="connsiteX4" fmla="*/ 0 w 92462"/>
                <a:gd name="connsiteY4" fmla="*/ 46231 h 83657"/>
                <a:gd name="connsiteX5" fmla="*/ 46231 w 92462"/>
                <a:gd name="connsiteY5" fmla="*/ 0 h 8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62" h="83657">
                  <a:moveTo>
                    <a:pt x="46231" y="0"/>
                  </a:moveTo>
                  <a:lnTo>
                    <a:pt x="92462" y="0"/>
                  </a:lnTo>
                  <a:lnTo>
                    <a:pt x="92462" y="83657"/>
                  </a:lnTo>
                  <a:lnTo>
                    <a:pt x="0" y="83657"/>
                  </a:lnTo>
                  <a:lnTo>
                    <a:pt x="0" y="46231"/>
                  </a:lnTo>
                  <a:cubicBezTo>
                    <a:pt x="0" y="20698"/>
                    <a:pt x="20698" y="0"/>
                    <a:pt x="46231"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4" name="Arrow: Pentagon 493">
              <a:extLst>
                <a:ext uri="{FF2B5EF4-FFF2-40B4-BE49-F238E27FC236}">
                  <a16:creationId xmlns:a16="http://schemas.microsoft.com/office/drawing/2014/main" id="{F647245D-1285-7DA9-0007-298DF554EC23}"/>
                </a:ext>
              </a:extLst>
            </p:cNvPr>
            <p:cNvSpPr/>
            <p:nvPr/>
          </p:nvSpPr>
          <p:spPr>
            <a:xfrm>
              <a:off x="501653" y="3928914"/>
              <a:ext cx="1077091" cy="516448"/>
            </a:xfrm>
            <a:prstGeom prst="homePlate">
              <a:avLst>
                <a:gd name="adj" fmla="val 15719"/>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ptos" panose="020B0004020202020204" pitchFamily="34" charset="0"/>
                  <a:ea typeface="+mn-ea"/>
                  <a:cs typeface="+mn-cs"/>
                </a:rPr>
                <a:t>Government &amp; Public services</a:t>
              </a:r>
            </a:p>
          </p:txBody>
        </p:sp>
      </p:grpSp>
      <p:grpSp>
        <p:nvGrpSpPr>
          <p:cNvPr id="495" name="Group 494">
            <a:extLst>
              <a:ext uri="{FF2B5EF4-FFF2-40B4-BE49-F238E27FC236}">
                <a16:creationId xmlns:a16="http://schemas.microsoft.com/office/drawing/2014/main" id="{8904C6E7-3678-F488-35CF-02C771B79664}"/>
              </a:ext>
            </a:extLst>
          </p:cNvPr>
          <p:cNvGrpSpPr/>
          <p:nvPr/>
        </p:nvGrpSpPr>
        <p:grpSpPr>
          <a:xfrm>
            <a:off x="8169625" y="2792291"/>
            <a:ext cx="1521533" cy="626366"/>
            <a:chOff x="2641205" y="4993111"/>
            <a:chExt cx="1521533" cy="626366"/>
          </a:xfrm>
        </p:grpSpPr>
        <p:sp>
          <p:nvSpPr>
            <p:cNvPr id="496" name="Rectangle: Rounded Corners 495">
              <a:extLst>
                <a:ext uri="{FF2B5EF4-FFF2-40B4-BE49-F238E27FC236}">
                  <a16:creationId xmlns:a16="http://schemas.microsoft.com/office/drawing/2014/main" id="{19046CA8-F3F2-7430-7000-EFC787446F66}"/>
                </a:ext>
              </a:extLst>
            </p:cNvPr>
            <p:cNvSpPr/>
            <p:nvPr/>
          </p:nvSpPr>
          <p:spPr>
            <a:xfrm>
              <a:off x="2694422" y="5030357"/>
              <a:ext cx="1468316" cy="589120"/>
            </a:xfrm>
            <a:prstGeom prst="roundRect">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97" name="Freeform: Shape 496">
              <a:extLst>
                <a:ext uri="{FF2B5EF4-FFF2-40B4-BE49-F238E27FC236}">
                  <a16:creationId xmlns:a16="http://schemas.microsoft.com/office/drawing/2014/main" id="{7B0A5408-B2EC-DF68-4771-7E8185175056}"/>
                </a:ext>
              </a:extLst>
            </p:cNvPr>
            <p:cNvSpPr/>
            <p:nvPr/>
          </p:nvSpPr>
          <p:spPr>
            <a:xfrm>
              <a:off x="2641205" y="4993111"/>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Power Sector Experts</a:t>
              </a:r>
            </a:p>
          </p:txBody>
        </p:sp>
        <p:sp>
          <p:nvSpPr>
            <p:cNvPr id="498" name="Rectangle: Rounded Corners 497">
              <a:extLst>
                <a:ext uri="{FF2B5EF4-FFF2-40B4-BE49-F238E27FC236}">
                  <a16:creationId xmlns:a16="http://schemas.microsoft.com/office/drawing/2014/main" id="{974D18DF-CAAA-05C8-2131-03E1E21152B6}"/>
                </a:ext>
              </a:extLst>
            </p:cNvPr>
            <p:cNvSpPr/>
            <p:nvPr/>
          </p:nvSpPr>
          <p:spPr>
            <a:xfrm>
              <a:off x="3337311" y="5291845"/>
              <a:ext cx="809212" cy="278970"/>
            </a:xfrm>
            <a:prstGeom prst="roundRect">
              <a:avLst>
                <a:gd name="adj" fmla="val 50000"/>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99" name="Rectangle 498">
              <a:extLst>
                <a:ext uri="{FF2B5EF4-FFF2-40B4-BE49-F238E27FC236}">
                  <a16:creationId xmlns:a16="http://schemas.microsoft.com/office/drawing/2014/main" id="{802DFDF7-6B0A-A881-F8C3-C1F878546B72}"/>
                </a:ext>
              </a:extLst>
            </p:cNvPr>
            <p:cNvSpPr/>
            <p:nvPr/>
          </p:nvSpPr>
          <p:spPr>
            <a:xfrm>
              <a:off x="3429329" y="5317347"/>
              <a:ext cx="723886" cy="232653"/>
            </a:xfrm>
            <a:prstGeom prst="rect">
              <a:avLst/>
            </a:prstGeom>
            <a:no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t>400+</a:t>
              </a:r>
            </a:p>
          </p:txBody>
        </p:sp>
      </p:grpSp>
      <p:grpSp>
        <p:nvGrpSpPr>
          <p:cNvPr id="501" name="Group 500">
            <a:extLst>
              <a:ext uri="{FF2B5EF4-FFF2-40B4-BE49-F238E27FC236}">
                <a16:creationId xmlns:a16="http://schemas.microsoft.com/office/drawing/2014/main" id="{610BAC64-E7A5-0D52-7206-B8AEBE795DC9}"/>
              </a:ext>
            </a:extLst>
          </p:cNvPr>
          <p:cNvGrpSpPr/>
          <p:nvPr/>
        </p:nvGrpSpPr>
        <p:grpSpPr>
          <a:xfrm>
            <a:off x="9780562" y="2819191"/>
            <a:ext cx="1521533" cy="626366"/>
            <a:chOff x="2641205" y="4993111"/>
            <a:chExt cx="1521533" cy="626366"/>
          </a:xfrm>
        </p:grpSpPr>
        <p:sp>
          <p:nvSpPr>
            <p:cNvPr id="502" name="Rectangle: Rounded Corners 501">
              <a:extLst>
                <a:ext uri="{FF2B5EF4-FFF2-40B4-BE49-F238E27FC236}">
                  <a16:creationId xmlns:a16="http://schemas.microsoft.com/office/drawing/2014/main" id="{931CF2B4-C8D1-9EAB-7734-1A470E4C14C6}"/>
                </a:ext>
              </a:extLst>
            </p:cNvPr>
            <p:cNvSpPr/>
            <p:nvPr/>
          </p:nvSpPr>
          <p:spPr>
            <a:xfrm>
              <a:off x="2694422" y="5030357"/>
              <a:ext cx="1468316" cy="589120"/>
            </a:xfrm>
            <a:prstGeom prst="roundRect">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3" name="Freeform: Shape 502">
              <a:extLst>
                <a:ext uri="{FF2B5EF4-FFF2-40B4-BE49-F238E27FC236}">
                  <a16:creationId xmlns:a16="http://schemas.microsoft.com/office/drawing/2014/main" id="{E6B85ADC-B666-3D68-8B17-C6DDCD1D428E}"/>
                </a:ext>
              </a:extLst>
            </p:cNvPr>
            <p:cNvSpPr/>
            <p:nvPr/>
          </p:nvSpPr>
          <p:spPr>
            <a:xfrm>
              <a:off x="2641205" y="4993111"/>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IT Experts</a:t>
              </a:r>
            </a:p>
          </p:txBody>
        </p:sp>
        <p:sp>
          <p:nvSpPr>
            <p:cNvPr id="504" name="Rectangle: Rounded Corners 503">
              <a:extLst>
                <a:ext uri="{FF2B5EF4-FFF2-40B4-BE49-F238E27FC236}">
                  <a16:creationId xmlns:a16="http://schemas.microsoft.com/office/drawing/2014/main" id="{ACD2F07C-A18C-A695-091D-EC470E29F6C7}"/>
                </a:ext>
              </a:extLst>
            </p:cNvPr>
            <p:cNvSpPr/>
            <p:nvPr/>
          </p:nvSpPr>
          <p:spPr>
            <a:xfrm>
              <a:off x="3337311" y="5291845"/>
              <a:ext cx="809212" cy="278970"/>
            </a:xfrm>
            <a:prstGeom prst="roundRect">
              <a:avLst>
                <a:gd name="adj" fmla="val 50000"/>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5" name="Rectangle 504">
              <a:extLst>
                <a:ext uri="{FF2B5EF4-FFF2-40B4-BE49-F238E27FC236}">
                  <a16:creationId xmlns:a16="http://schemas.microsoft.com/office/drawing/2014/main" id="{427A83E5-1C12-FD00-24B4-0A5969B128B3}"/>
                </a:ext>
              </a:extLst>
            </p:cNvPr>
            <p:cNvSpPr/>
            <p:nvPr/>
          </p:nvSpPr>
          <p:spPr>
            <a:xfrm>
              <a:off x="3429329" y="5317347"/>
              <a:ext cx="723886" cy="232653"/>
            </a:xfrm>
            <a:prstGeom prst="rect">
              <a:avLst/>
            </a:prstGeom>
            <a:no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t>10000+</a:t>
              </a:r>
            </a:p>
          </p:txBody>
        </p:sp>
      </p:grpSp>
      <p:sp>
        <p:nvSpPr>
          <p:cNvPr id="507" name="TextBox 506">
            <a:extLst>
              <a:ext uri="{FF2B5EF4-FFF2-40B4-BE49-F238E27FC236}">
                <a16:creationId xmlns:a16="http://schemas.microsoft.com/office/drawing/2014/main" id="{587BE0A0-A889-76FE-C4D4-C73E2DF13D45}"/>
              </a:ext>
            </a:extLst>
          </p:cNvPr>
          <p:cNvSpPr txBox="1"/>
          <p:nvPr/>
        </p:nvSpPr>
        <p:spPr>
          <a:xfrm>
            <a:off x="6439990" y="3600658"/>
            <a:ext cx="5034019" cy="2739211"/>
          </a:xfrm>
          <a:prstGeom prst="rect">
            <a:avLst/>
          </a:prstGeom>
          <a:noFill/>
        </p:spPr>
        <p:txBody>
          <a:bodyPr wrap="square">
            <a:spAutoFit/>
          </a:bodyPr>
          <a:lstStyle/>
          <a:p>
            <a:pPr marL="182880" marR="0" lvl="0" indent="-182880" algn="l" defTabSz="914400" rtl="0" eaLnBrk="1" fontAlgn="auto" latinLnBrk="0" hangingPunct="1">
              <a:lnSpc>
                <a:spcPct val="100000"/>
              </a:lnSpc>
              <a:spcBef>
                <a:spcPts val="600"/>
              </a:spcBef>
              <a:spcAft>
                <a:spcPts val="600"/>
              </a:spcAft>
              <a:buClrTx/>
              <a:buSzPct val="100000"/>
              <a:buFont typeface="Arial"/>
              <a:buChar char="•"/>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Deloitte serves </a:t>
            </a:r>
            <a:r>
              <a:rPr kumimoji="0" lang="en-US" sz="1200" b="1" i="0" u="none" strike="noStrike" kern="1200" cap="none" spc="0" normalizeH="0" baseline="0" noProof="0">
                <a:ln>
                  <a:noFill/>
                </a:ln>
                <a:solidFill>
                  <a:srgbClr val="00ABAB"/>
                </a:solidFill>
                <a:effectLst/>
                <a:uLnTx/>
                <a:uFillTx/>
                <a:latin typeface="Aptos" panose="020B0004020202020204" pitchFamily="34" charset="0"/>
                <a:ea typeface="+mn-ea"/>
                <a:cs typeface="+mn-cs"/>
              </a:rPr>
              <a:t>61% of FG500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2023 ENERGY, resources and industrials companies</a:t>
            </a:r>
          </a:p>
          <a:p>
            <a:pPr marL="182880" marR="0" lvl="0" indent="-182880" algn="l" defTabSz="914400" rtl="0" eaLnBrk="1" fontAlgn="auto" latinLnBrk="0" hangingPunct="1">
              <a:lnSpc>
                <a:spcPct val="100000"/>
              </a:lnSpc>
              <a:spcBef>
                <a:spcPts val="600"/>
              </a:spcBef>
              <a:spcAft>
                <a:spcPts val="600"/>
              </a:spcAft>
              <a:buClrTx/>
              <a:buSzPct val="100000"/>
              <a:buFont typeface="Arial"/>
              <a:buChar char="•"/>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Deloitte is a Leader in </a:t>
            </a:r>
            <a:r>
              <a:rPr kumimoji="0" lang="en-US" sz="1200" b="1" i="0" u="none" strike="noStrike" kern="1200" cap="none" spc="0" normalizeH="0" baseline="0" noProof="0">
                <a:ln>
                  <a:noFill/>
                </a:ln>
                <a:solidFill>
                  <a:srgbClr val="00ABAB"/>
                </a:solidFill>
                <a:effectLst/>
                <a:uLnTx/>
                <a:uFillTx/>
                <a:latin typeface="Aptos" panose="020B0004020202020204" pitchFamily="34" charset="0"/>
                <a:ea typeface="+mn-ea"/>
                <a:cs typeface="+mn-cs"/>
              </a:rPr>
              <a:t>2025 Gartner® Magic Quadrant™ for Custom Software Development Services!</a:t>
            </a:r>
          </a:p>
          <a:p>
            <a:pPr marL="182880" marR="0" lvl="0" indent="-182880" algn="l" defTabSz="914400" rtl="0" eaLnBrk="1" fontAlgn="auto" latinLnBrk="0" hangingPunct="1">
              <a:lnSpc>
                <a:spcPct val="100000"/>
              </a:lnSpc>
              <a:spcBef>
                <a:spcPts val="600"/>
              </a:spcBef>
              <a:spcAft>
                <a:spcPts val="600"/>
              </a:spcAft>
              <a:buClrTx/>
              <a:buSzPct val="100000"/>
              <a:buFont typeface="Arial"/>
              <a:buChar char="•"/>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Deloitte scored highest among all providers in the </a:t>
            </a:r>
            <a:r>
              <a:rPr kumimoji="0" lang="en-US" sz="1200" b="1" i="0" u="none" strike="noStrike" kern="1200" cap="none" spc="0" normalizeH="0" baseline="0" noProof="0">
                <a:ln>
                  <a:noFill/>
                </a:ln>
                <a:solidFill>
                  <a:srgbClr val="00ABAB"/>
                </a:solidFill>
                <a:effectLst/>
                <a:uLnTx/>
                <a:uFillTx/>
                <a:latin typeface="Aptos" panose="020B0004020202020204" pitchFamily="34" charset="0"/>
                <a:ea typeface="+mn-ea"/>
                <a:cs typeface="+mn-cs"/>
              </a:rPr>
              <a:t>Unique Products Use Case for the 2025 Gartner® Critical Capabilities for Custom Software Development Services	</a:t>
            </a:r>
          </a:p>
          <a:p>
            <a:pPr marL="182880" marR="0" lvl="0" indent="-18288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Deloitte is a </a:t>
            </a:r>
            <a:r>
              <a:rPr kumimoji="0" lang="en-US" sz="1200" b="1" i="0" u="none" strike="noStrike" kern="1200" cap="none" spc="0" normalizeH="0" baseline="0" noProof="0">
                <a:ln>
                  <a:noFill/>
                </a:ln>
                <a:solidFill>
                  <a:srgbClr val="00ABAB"/>
                </a:solidFill>
                <a:effectLst/>
                <a:uLnTx/>
                <a:uFillTx/>
                <a:latin typeface="Aptos" panose="020B0004020202020204" pitchFamily="34" charset="0"/>
                <a:ea typeface="+mn-ea"/>
                <a:cs typeface="+mn-cs"/>
              </a:rPr>
              <a:t>Leader in the 2025 Gartner® Magic Quadrant™ for Public Cloud IT Transformation Services!</a:t>
            </a:r>
          </a:p>
          <a:p>
            <a:pPr marL="182880" marR="0" lvl="0" indent="-18288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Deloitte scores in </a:t>
            </a:r>
            <a:r>
              <a:rPr kumimoji="0" lang="en-US" sz="1200" b="1" i="0" u="none" strike="noStrike" kern="1200" cap="none" spc="0" normalizeH="0" baseline="0" noProof="0">
                <a:ln>
                  <a:noFill/>
                </a:ln>
                <a:solidFill>
                  <a:srgbClr val="00ABAB"/>
                </a:solidFill>
                <a:effectLst/>
                <a:uLnTx/>
                <a:uFillTx/>
                <a:latin typeface="Aptos" panose="020B0004020202020204" pitchFamily="34" charset="0"/>
                <a:ea typeface="+mn-ea"/>
                <a:cs typeface="+mn-cs"/>
              </a:rPr>
              <a:t>top 3 across all Use Cases in the 2025 Gartner Critical Capabilities for Public Cloud IT Transformation report!</a:t>
            </a:r>
          </a:p>
        </p:txBody>
      </p:sp>
    </p:spTree>
    <p:extLst>
      <p:ext uri="{BB962C8B-B14F-4D97-AF65-F5344CB8AC3E}">
        <p14:creationId xmlns:p14="http://schemas.microsoft.com/office/powerpoint/2010/main" val="26711867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154">
            <a:extLst>
              <a:ext uri="{FF2B5EF4-FFF2-40B4-BE49-F238E27FC236}">
                <a16:creationId xmlns:a16="http://schemas.microsoft.com/office/drawing/2014/main" id="{85D8097C-229C-482B-7B5E-27F1BF766A49}"/>
              </a:ext>
            </a:extLst>
          </p:cNvPr>
          <p:cNvCxnSpPr>
            <a:cxnSpLocks/>
          </p:cNvCxnSpPr>
          <p:nvPr/>
        </p:nvCxnSpPr>
        <p:spPr>
          <a:xfrm flipV="1">
            <a:off x="1480788" y="1813452"/>
            <a:ext cx="0" cy="3228307"/>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467" name="Text Placeholder 466">
            <a:extLst>
              <a:ext uri="{FF2B5EF4-FFF2-40B4-BE49-F238E27FC236}">
                <a16:creationId xmlns:a16="http://schemas.microsoft.com/office/drawing/2014/main" id="{842F43C6-667B-467A-3CAA-A3E9EA27D2CD}"/>
              </a:ext>
            </a:extLst>
          </p:cNvPr>
          <p:cNvSpPr>
            <a:spLocks noGrp="1"/>
          </p:cNvSpPr>
          <p:nvPr>
            <p:ph type="body" sz="quarter" idx="13"/>
          </p:nvPr>
        </p:nvSpPr>
        <p:spPr/>
        <p:txBody>
          <a:bodyPr/>
          <a:lstStyle/>
          <a:p>
            <a:r>
              <a:rPr lang="en-US" sz="1400" i="1">
                <a:latin typeface="Aptos" panose="020B0004020202020204" pitchFamily="34" charset="0"/>
              </a:rPr>
              <a:t>Deloitte brings “best-in-class” capabilities across all aspects of strategy and innovation coupled with the experience of partnering with some of the leading clients across the world</a:t>
            </a:r>
          </a:p>
        </p:txBody>
      </p:sp>
      <p:sp>
        <p:nvSpPr>
          <p:cNvPr id="7" name="Title 2"/>
          <p:cNvSpPr>
            <a:spLocks noGrp="1"/>
          </p:cNvSpPr>
          <p:nvPr>
            <p:ph type="title"/>
          </p:nvPr>
        </p:nvSpPr>
        <p:spPr/>
        <p:txBody>
          <a:bodyPr/>
          <a:lstStyle/>
          <a:p>
            <a:r>
              <a:rPr lang="en-IN">
                <a:latin typeface="Aptos" panose="020B0004020202020204" pitchFamily="34" charset="0"/>
              </a:rPr>
              <a:t>Our proven credentials | An exceptional partner to support you</a:t>
            </a:r>
            <a:endParaRPr lang="en-US">
              <a:latin typeface="Aptos" panose="020B0004020202020204" pitchFamily="34" charset="0"/>
            </a:endParaRPr>
          </a:p>
        </p:txBody>
      </p:sp>
      <p:sp>
        <p:nvSpPr>
          <p:cNvPr id="475" name="TextBox 474">
            <a:extLst>
              <a:ext uri="{FF2B5EF4-FFF2-40B4-BE49-F238E27FC236}">
                <a16:creationId xmlns:a16="http://schemas.microsoft.com/office/drawing/2014/main" id="{746826DE-B0F0-4B96-A90D-AF68157603E1}"/>
              </a:ext>
            </a:extLst>
          </p:cNvPr>
          <p:cNvSpPr txBox="1"/>
          <p:nvPr/>
        </p:nvSpPr>
        <p:spPr>
          <a:xfrm>
            <a:off x="4837199" y="5933440"/>
            <a:ext cx="3056316" cy="543755"/>
          </a:xfrm>
          <a:prstGeom prst="rect">
            <a:avLst/>
          </a:prstGeom>
          <a:solidFill>
            <a:schemeClr val="bg1">
              <a:lumMod val="65000"/>
            </a:schemeClr>
          </a:solidFill>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Verdana" panose="020B0604030504040204" pitchFamily="34" charset="0"/>
                <a:cs typeface="Verdana" panose="020B0604030504040204" pitchFamily="34" charset="0"/>
              </a:rPr>
              <a:t>Steered by more than 300 practitioners in India with deep P&amp;U consulting experience</a:t>
            </a:r>
          </a:p>
        </p:txBody>
      </p:sp>
      <p:sp>
        <p:nvSpPr>
          <p:cNvPr id="476" name="TextBox 475">
            <a:extLst>
              <a:ext uri="{FF2B5EF4-FFF2-40B4-BE49-F238E27FC236}">
                <a16:creationId xmlns:a16="http://schemas.microsoft.com/office/drawing/2014/main" id="{060A006E-D2C6-443B-B2D9-93B41560795B}"/>
              </a:ext>
            </a:extLst>
          </p:cNvPr>
          <p:cNvSpPr txBox="1"/>
          <p:nvPr/>
        </p:nvSpPr>
        <p:spPr>
          <a:xfrm>
            <a:off x="1766056" y="5933440"/>
            <a:ext cx="2936146" cy="543755"/>
          </a:xfrm>
          <a:prstGeom prst="rect">
            <a:avLst/>
          </a:prstGeom>
          <a:solidFill>
            <a:schemeClr val="bg1">
              <a:lumMod val="65000"/>
            </a:schemeClr>
          </a:solidFill>
        </p:spPr>
        <p:txBody>
          <a:bodyPr anchor="ctr"/>
          <a:lstStyle>
            <a:defPPr>
              <a:defRPr lang="en-US"/>
            </a:defPPr>
            <a:lvl1pPr fontAlgn="auto">
              <a:spcBef>
                <a:spcPts val="0"/>
              </a:spcBef>
              <a:spcAft>
                <a:spcPts val="0"/>
              </a:spcAft>
              <a:defRPr sz="1400">
                <a:solidFill>
                  <a:schemeClr val="bg1"/>
                </a:solidFill>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Verdana" panose="020B0604030504040204" pitchFamily="34" charset="0"/>
              </a:rPr>
              <a:t>We provide audit &amp; advisory services to most of the top Energy &amp; resources companies in India </a:t>
            </a:r>
          </a:p>
        </p:txBody>
      </p:sp>
      <p:sp>
        <p:nvSpPr>
          <p:cNvPr id="477" name="TextBox 476">
            <a:extLst>
              <a:ext uri="{FF2B5EF4-FFF2-40B4-BE49-F238E27FC236}">
                <a16:creationId xmlns:a16="http://schemas.microsoft.com/office/drawing/2014/main" id="{79BA3DE1-CC5D-4420-B4DD-085AD7D61571}"/>
              </a:ext>
            </a:extLst>
          </p:cNvPr>
          <p:cNvSpPr txBox="1"/>
          <p:nvPr/>
        </p:nvSpPr>
        <p:spPr>
          <a:xfrm>
            <a:off x="8041310" y="5933440"/>
            <a:ext cx="3663618" cy="543755"/>
          </a:xfrm>
          <a:prstGeom prst="rect">
            <a:avLst/>
          </a:prstGeom>
          <a:solidFill>
            <a:schemeClr val="bg1">
              <a:lumMod val="65000"/>
            </a:schemeClr>
          </a:solidFill>
        </p:spPr>
        <p:txBody>
          <a:bodyPr anchor="ctr"/>
          <a:lstStyle>
            <a:defPPr>
              <a:defRPr lang="en-US"/>
            </a:defPPr>
            <a:lvl1pPr fontAlgn="auto">
              <a:spcBef>
                <a:spcPts val="0"/>
              </a:spcBef>
              <a:spcAft>
                <a:spcPts val="0"/>
              </a:spcAft>
              <a:defRPr sz="1400">
                <a:solidFill>
                  <a:schemeClr val="bg1"/>
                </a:solidFill>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ptos" panose="020B0004020202020204" pitchFamily="34" charset="0"/>
                <a:ea typeface="Verdana" panose="020B0604030504040204" pitchFamily="34" charset="0"/>
              </a:rPr>
              <a:t>Our integrated experienced professionals focus addressing challenges linked to global energy industry. </a:t>
            </a:r>
          </a:p>
        </p:txBody>
      </p:sp>
      <p:sp>
        <p:nvSpPr>
          <p:cNvPr id="520" name="Freeform 5">
            <a:extLst>
              <a:ext uri="{FF2B5EF4-FFF2-40B4-BE49-F238E27FC236}">
                <a16:creationId xmlns:a16="http://schemas.microsoft.com/office/drawing/2014/main" id="{DCDD3B6E-77DB-42CD-91E0-A622F483041E}"/>
              </a:ext>
            </a:extLst>
          </p:cNvPr>
          <p:cNvSpPr>
            <a:spLocks/>
          </p:cNvSpPr>
          <p:nvPr/>
        </p:nvSpPr>
        <p:spPr bwMode="auto">
          <a:xfrm>
            <a:off x="7773816" y="3679886"/>
            <a:ext cx="1889467" cy="1043746"/>
          </a:xfrm>
          <a:custGeom>
            <a:avLst/>
            <a:gdLst/>
            <a:ahLst/>
            <a:cxnLst>
              <a:cxn ang="0">
                <a:pos x="5483" y="814"/>
              </a:cxn>
              <a:cxn ang="0">
                <a:pos x="1315" y="814"/>
              </a:cxn>
              <a:cxn ang="0">
                <a:pos x="0" y="0"/>
              </a:cxn>
            </a:cxnLst>
            <a:rect l="0" t="0" r="r" b="b"/>
            <a:pathLst>
              <a:path w="5483" h="814">
                <a:moveTo>
                  <a:pt x="5483" y="814"/>
                </a:moveTo>
                <a:lnTo>
                  <a:pt x="1315" y="814"/>
                </a:lnTo>
                <a:lnTo>
                  <a:pt x="0" y="0"/>
                </a:lnTo>
              </a:path>
            </a:pathLst>
          </a:custGeom>
          <a:noFill/>
          <a:ln w="12700" cap="rnd">
            <a:solidFill>
              <a:schemeClr val="accent5">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tos" panose="020B0004020202020204" pitchFamily="34" charset="0"/>
              <a:ea typeface="Microsoft YaHei"/>
              <a:cs typeface="+mn-cs"/>
            </a:endParaRPr>
          </a:p>
        </p:txBody>
      </p:sp>
      <p:sp>
        <p:nvSpPr>
          <p:cNvPr id="20" name="Freeform 24">
            <a:extLst>
              <a:ext uri="{FF2B5EF4-FFF2-40B4-BE49-F238E27FC236}">
                <a16:creationId xmlns:a16="http://schemas.microsoft.com/office/drawing/2014/main" id="{66B38638-24E7-467A-A3B4-3BE375351BAC}"/>
              </a:ext>
            </a:extLst>
          </p:cNvPr>
          <p:cNvSpPr>
            <a:spLocks/>
          </p:cNvSpPr>
          <p:nvPr/>
        </p:nvSpPr>
        <p:spPr bwMode="auto">
          <a:xfrm>
            <a:off x="7528053" y="1922577"/>
            <a:ext cx="2120340" cy="1270346"/>
          </a:xfrm>
          <a:custGeom>
            <a:avLst/>
            <a:gdLst/>
            <a:ahLst/>
            <a:cxnLst>
              <a:cxn ang="0">
                <a:pos x="5483" y="0"/>
              </a:cxn>
              <a:cxn ang="0">
                <a:pos x="1315" y="0"/>
              </a:cxn>
              <a:cxn ang="0">
                <a:pos x="0" y="813"/>
              </a:cxn>
            </a:cxnLst>
            <a:rect l="0" t="0" r="r" b="b"/>
            <a:pathLst>
              <a:path w="5483" h="813">
                <a:moveTo>
                  <a:pt x="5483" y="0"/>
                </a:moveTo>
                <a:lnTo>
                  <a:pt x="1315" y="0"/>
                </a:lnTo>
                <a:lnTo>
                  <a:pt x="0" y="813"/>
                </a:lnTo>
              </a:path>
            </a:pathLst>
          </a:custGeom>
          <a:noFill/>
          <a:ln w="12700" cap="rnd">
            <a:solidFill>
              <a:schemeClr val="accent5">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tos" panose="020B0004020202020204" pitchFamily="34" charset="0"/>
              <a:ea typeface="Microsoft YaHei"/>
              <a:cs typeface="+mn-cs"/>
            </a:endParaRPr>
          </a:p>
        </p:txBody>
      </p:sp>
      <p:sp>
        <p:nvSpPr>
          <p:cNvPr id="486" name="Freeform 6">
            <a:extLst>
              <a:ext uri="{FF2B5EF4-FFF2-40B4-BE49-F238E27FC236}">
                <a16:creationId xmlns:a16="http://schemas.microsoft.com/office/drawing/2014/main" id="{998C4136-B281-4562-BF16-A55516B19493}"/>
              </a:ext>
            </a:extLst>
          </p:cNvPr>
          <p:cNvSpPr>
            <a:spLocks/>
          </p:cNvSpPr>
          <p:nvPr/>
        </p:nvSpPr>
        <p:spPr bwMode="auto">
          <a:xfrm>
            <a:off x="7758552" y="3381392"/>
            <a:ext cx="1917666" cy="594250"/>
          </a:xfrm>
          <a:custGeom>
            <a:avLst/>
            <a:gdLst/>
            <a:ahLst/>
            <a:cxnLst>
              <a:cxn ang="0">
                <a:pos x="5483" y="0"/>
              </a:cxn>
              <a:cxn ang="0">
                <a:pos x="1315" y="0"/>
              </a:cxn>
              <a:cxn ang="0">
                <a:pos x="0" y="400"/>
              </a:cxn>
            </a:cxnLst>
            <a:rect l="0" t="0" r="r" b="b"/>
            <a:pathLst>
              <a:path w="5483" h="400">
                <a:moveTo>
                  <a:pt x="5483" y="0"/>
                </a:moveTo>
                <a:lnTo>
                  <a:pt x="1315" y="0"/>
                </a:lnTo>
                <a:lnTo>
                  <a:pt x="0" y="400"/>
                </a:lnTo>
              </a:path>
            </a:pathLst>
          </a:custGeom>
          <a:noFill/>
          <a:ln w="12700" cap="rnd">
            <a:solidFill>
              <a:schemeClr val="accent5">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tos" panose="020B0004020202020204" pitchFamily="34" charset="0"/>
              <a:ea typeface="Microsoft YaHei"/>
              <a:cs typeface="+mn-cs"/>
            </a:endParaRPr>
          </a:p>
        </p:txBody>
      </p:sp>
      <p:sp>
        <p:nvSpPr>
          <p:cNvPr id="454" name="Freeform 6">
            <a:extLst>
              <a:ext uri="{FF2B5EF4-FFF2-40B4-BE49-F238E27FC236}">
                <a16:creationId xmlns:a16="http://schemas.microsoft.com/office/drawing/2014/main" id="{D0B7BB3F-73A5-442B-B571-80C4DA3413C5}"/>
              </a:ext>
            </a:extLst>
          </p:cNvPr>
          <p:cNvSpPr>
            <a:spLocks/>
          </p:cNvSpPr>
          <p:nvPr/>
        </p:nvSpPr>
        <p:spPr bwMode="auto">
          <a:xfrm>
            <a:off x="7802565" y="2882980"/>
            <a:ext cx="1936582" cy="760964"/>
          </a:xfrm>
          <a:custGeom>
            <a:avLst/>
            <a:gdLst/>
            <a:ahLst/>
            <a:cxnLst>
              <a:cxn ang="0">
                <a:pos x="5483" y="0"/>
              </a:cxn>
              <a:cxn ang="0">
                <a:pos x="1315" y="0"/>
              </a:cxn>
              <a:cxn ang="0">
                <a:pos x="0" y="400"/>
              </a:cxn>
            </a:cxnLst>
            <a:rect l="0" t="0" r="r" b="b"/>
            <a:pathLst>
              <a:path w="5483" h="400">
                <a:moveTo>
                  <a:pt x="5483" y="0"/>
                </a:moveTo>
                <a:lnTo>
                  <a:pt x="1315" y="0"/>
                </a:lnTo>
                <a:lnTo>
                  <a:pt x="0" y="400"/>
                </a:lnTo>
              </a:path>
            </a:pathLst>
          </a:custGeom>
          <a:noFill/>
          <a:ln w="12700" cap="rnd">
            <a:solidFill>
              <a:schemeClr val="accent5">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tos" panose="020B0004020202020204" pitchFamily="34" charset="0"/>
              <a:ea typeface="Microsoft YaHei"/>
              <a:cs typeface="+mn-cs"/>
            </a:endParaRPr>
          </a:p>
        </p:txBody>
      </p:sp>
      <p:sp>
        <p:nvSpPr>
          <p:cNvPr id="453" name="Freeform 7">
            <a:extLst>
              <a:ext uri="{FF2B5EF4-FFF2-40B4-BE49-F238E27FC236}">
                <a16:creationId xmlns:a16="http://schemas.microsoft.com/office/drawing/2014/main" id="{D1E75ABA-1CC7-4A62-8792-92494A63FF33}"/>
              </a:ext>
            </a:extLst>
          </p:cNvPr>
          <p:cNvSpPr>
            <a:spLocks/>
          </p:cNvSpPr>
          <p:nvPr/>
        </p:nvSpPr>
        <p:spPr bwMode="auto">
          <a:xfrm>
            <a:off x="7545573" y="2442800"/>
            <a:ext cx="2042304" cy="1207813"/>
          </a:xfrm>
          <a:custGeom>
            <a:avLst/>
            <a:gdLst/>
            <a:ahLst/>
            <a:cxnLst>
              <a:cxn ang="0">
                <a:pos x="5483" y="0"/>
              </a:cxn>
              <a:cxn ang="0">
                <a:pos x="1315" y="0"/>
              </a:cxn>
              <a:cxn ang="0">
                <a:pos x="0" y="813"/>
              </a:cxn>
            </a:cxnLst>
            <a:rect l="0" t="0" r="r" b="b"/>
            <a:pathLst>
              <a:path w="5483" h="813">
                <a:moveTo>
                  <a:pt x="5483" y="0"/>
                </a:moveTo>
                <a:lnTo>
                  <a:pt x="1315" y="0"/>
                </a:lnTo>
                <a:lnTo>
                  <a:pt x="0" y="813"/>
                </a:lnTo>
              </a:path>
            </a:pathLst>
          </a:custGeom>
          <a:noFill/>
          <a:ln w="12700" cap="rnd">
            <a:solidFill>
              <a:schemeClr val="accent5">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tos" panose="020B0004020202020204" pitchFamily="34" charset="0"/>
              <a:ea typeface="Microsoft YaHei"/>
              <a:cs typeface="+mn-cs"/>
            </a:endParaRPr>
          </a:p>
        </p:txBody>
      </p:sp>
      <p:sp>
        <p:nvSpPr>
          <p:cNvPr id="21" name="Freeform 7">
            <a:extLst>
              <a:ext uri="{FF2B5EF4-FFF2-40B4-BE49-F238E27FC236}">
                <a16:creationId xmlns:a16="http://schemas.microsoft.com/office/drawing/2014/main" id="{64205B5C-A707-4AFC-9AF8-DA73278AD998}"/>
              </a:ext>
            </a:extLst>
          </p:cNvPr>
          <p:cNvSpPr>
            <a:spLocks/>
          </p:cNvSpPr>
          <p:nvPr/>
        </p:nvSpPr>
        <p:spPr bwMode="auto">
          <a:xfrm>
            <a:off x="8213814" y="3833272"/>
            <a:ext cx="1440413" cy="44772"/>
          </a:xfrm>
          <a:custGeom>
            <a:avLst/>
            <a:gdLst/>
            <a:ahLst/>
            <a:cxnLst>
              <a:cxn ang="0">
                <a:pos x="5483" y="0"/>
              </a:cxn>
              <a:cxn ang="0">
                <a:pos x="1315" y="0"/>
              </a:cxn>
              <a:cxn ang="0">
                <a:pos x="0" y="0"/>
              </a:cxn>
            </a:cxnLst>
            <a:rect l="0" t="0" r="r" b="b"/>
            <a:pathLst>
              <a:path w="5483">
                <a:moveTo>
                  <a:pt x="5483" y="0"/>
                </a:moveTo>
                <a:lnTo>
                  <a:pt x="1315" y="0"/>
                </a:lnTo>
                <a:lnTo>
                  <a:pt x="0" y="0"/>
                </a:lnTo>
              </a:path>
            </a:pathLst>
          </a:custGeom>
          <a:noFill/>
          <a:ln w="12700" cap="rnd">
            <a:solidFill>
              <a:schemeClr val="accent5">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tos" panose="020B0004020202020204" pitchFamily="34" charset="0"/>
              <a:ea typeface="Microsoft YaHei"/>
              <a:cs typeface="+mn-cs"/>
            </a:endParaRPr>
          </a:p>
        </p:txBody>
      </p:sp>
      <p:sp>
        <p:nvSpPr>
          <p:cNvPr id="22" name="Freeform 8">
            <a:extLst>
              <a:ext uri="{FF2B5EF4-FFF2-40B4-BE49-F238E27FC236}">
                <a16:creationId xmlns:a16="http://schemas.microsoft.com/office/drawing/2014/main" id="{327EDE9A-115D-49CC-8484-7502C8FCDCB3}"/>
              </a:ext>
            </a:extLst>
          </p:cNvPr>
          <p:cNvSpPr>
            <a:spLocks/>
          </p:cNvSpPr>
          <p:nvPr/>
        </p:nvSpPr>
        <p:spPr bwMode="auto">
          <a:xfrm>
            <a:off x="7936385" y="3705892"/>
            <a:ext cx="1737947" cy="604650"/>
          </a:xfrm>
          <a:custGeom>
            <a:avLst/>
            <a:gdLst/>
            <a:ahLst/>
            <a:cxnLst>
              <a:cxn ang="0">
                <a:pos x="5483" y="407"/>
              </a:cxn>
              <a:cxn ang="0">
                <a:pos x="1315" y="407"/>
              </a:cxn>
              <a:cxn ang="0">
                <a:pos x="0" y="0"/>
              </a:cxn>
            </a:cxnLst>
            <a:rect l="0" t="0" r="r" b="b"/>
            <a:pathLst>
              <a:path w="5483" h="407">
                <a:moveTo>
                  <a:pt x="5483" y="407"/>
                </a:moveTo>
                <a:lnTo>
                  <a:pt x="1315" y="407"/>
                </a:lnTo>
                <a:lnTo>
                  <a:pt x="0" y="0"/>
                </a:lnTo>
              </a:path>
            </a:pathLst>
          </a:custGeom>
          <a:noFill/>
          <a:ln w="12700" cap="rnd">
            <a:solidFill>
              <a:schemeClr val="accent5">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tos" panose="020B0004020202020204" pitchFamily="34" charset="0"/>
              <a:ea typeface="Microsoft YaHei"/>
              <a:cs typeface="+mn-cs"/>
            </a:endParaRPr>
          </a:p>
        </p:txBody>
      </p:sp>
      <p:sp>
        <p:nvSpPr>
          <p:cNvPr id="23" name="Freeform 5">
            <a:extLst>
              <a:ext uri="{FF2B5EF4-FFF2-40B4-BE49-F238E27FC236}">
                <a16:creationId xmlns:a16="http://schemas.microsoft.com/office/drawing/2014/main" id="{88E0D5A8-69FB-492F-8341-BA95B4DB5BF6}"/>
              </a:ext>
            </a:extLst>
          </p:cNvPr>
          <p:cNvSpPr>
            <a:spLocks/>
          </p:cNvSpPr>
          <p:nvPr/>
        </p:nvSpPr>
        <p:spPr bwMode="auto">
          <a:xfrm>
            <a:off x="7589344" y="3954663"/>
            <a:ext cx="2094573" cy="1126382"/>
          </a:xfrm>
          <a:custGeom>
            <a:avLst/>
            <a:gdLst/>
            <a:ahLst/>
            <a:cxnLst>
              <a:cxn ang="0">
                <a:pos x="5483" y="814"/>
              </a:cxn>
              <a:cxn ang="0">
                <a:pos x="1315" y="814"/>
              </a:cxn>
              <a:cxn ang="0">
                <a:pos x="0" y="0"/>
              </a:cxn>
            </a:cxnLst>
            <a:rect l="0" t="0" r="r" b="b"/>
            <a:pathLst>
              <a:path w="5483" h="814">
                <a:moveTo>
                  <a:pt x="5483" y="814"/>
                </a:moveTo>
                <a:lnTo>
                  <a:pt x="1315" y="814"/>
                </a:lnTo>
                <a:lnTo>
                  <a:pt x="0" y="0"/>
                </a:lnTo>
              </a:path>
            </a:pathLst>
          </a:custGeom>
          <a:noFill/>
          <a:ln w="12700" cap="rnd">
            <a:solidFill>
              <a:schemeClr val="accent5">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tos" panose="020B0004020202020204" pitchFamily="34" charset="0"/>
              <a:ea typeface="Microsoft YaHei"/>
              <a:cs typeface="+mn-cs"/>
            </a:endParaRPr>
          </a:p>
        </p:txBody>
      </p:sp>
      <p:sp>
        <p:nvSpPr>
          <p:cNvPr id="26" name="Freeform 14">
            <a:extLst>
              <a:ext uri="{FF2B5EF4-FFF2-40B4-BE49-F238E27FC236}">
                <a16:creationId xmlns:a16="http://schemas.microsoft.com/office/drawing/2014/main" id="{E61FD7EE-B569-4362-87DD-D9DCB971EEDF}"/>
              </a:ext>
            </a:extLst>
          </p:cNvPr>
          <p:cNvSpPr>
            <a:spLocks/>
          </p:cNvSpPr>
          <p:nvPr/>
        </p:nvSpPr>
        <p:spPr bwMode="auto">
          <a:xfrm>
            <a:off x="7223805" y="2572642"/>
            <a:ext cx="1064661" cy="2421567"/>
          </a:xfrm>
          <a:custGeom>
            <a:avLst/>
            <a:gdLst/>
            <a:ahLst/>
            <a:cxnLst>
              <a:cxn ang="0">
                <a:pos x="0" y="0"/>
              </a:cxn>
              <a:cxn ang="0">
                <a:pos x="0" y="1089"/>
              </a:cxn>
              <a:cxn ang="0">
                <a:pos x="544" y="544"/>
              </a:cxn>
              <a:cxn ang="0">
                <a:pos x="0" y="0"/>
              </a:cxn>
            </a:cxnLst>
            <a:rect l="0" t="0" r="r" b="b"/>
            <a:pathLst>
              <a:path w="544" h="1089">
                <a:moveTo>
                  <a:pt x="0" y="0"/>
                </a:moveTo>
                <a:cubicBezTo>
                  <a:pt x="0" y="1089"/>
                  <a:pt x="0" y="1089"/>
                  <a:pt x="0" y="1089"/>
                </a:cubicBezTo>
                <a:cubicBezTo>
                  <a:pt x="301" y="1089"/>
                  <a:pt x="544" y="845"/>
                  <a:pt x="544" y="544"/>
                </a:cubicBezTo>
                <a:cubicBezTo>
                  <a:pt x="544" y="244"/>
                  <a:pt x="301" y="0"/>
                  <a:pt x="0" y="0"/>
                </a:cubicBezTo>
                <a:close/>
              </a:path>
            </a:pathLst>
          </a:custGeom>
          <a:gradFill flip="none" rotWithShape="1">
            <a:gsLst>
              <a:gs pos="0">
                <a:srgbClr val="0D8390"/>
              </a:gs>
              <a:gs pos="100000">
                <a:srgbClr val="FFFFFF"/>
              </a:gs>
            </a:gsLst>
            <a:lin ang="108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tos" panose="020B0004020202020204" pitchFamily="34" charset="0"/>
              <a:ea typeface="Microsoft YaHei"/>
              <a:cs typeface="+mn-cs"/>
            </a:endParaRPr>
          </a:p>
        </p:txBody>
      </p:sp>
      <p:sp>
        <p:nvSpPr>
          <p:cNvPr id="27" name="Freeform 6">
            <a:extLst>
              <a:ext uri="{FF2B5EF4-FFF2-40B4-BE49-F238E27FC236}">
                <a16:creationId xmlns:a16="http://schemas.microsoft.com/office/drawing/2014/main" id="{9E4B49C2-EAA5-47AC-A800-D08D5A428582}"/>
              </a:ext>
            </a:extLst>
          </p:cNvPr>
          <p:cNvSpPr>
            <a:spLocks/>
          </p:cNvSpPr>
          <p:nvPr/>
        </p:nvSpPr>
        <p:spPr bwMode="auto">
          <a:xfrm>
            <a:off x="7746056" y="2177885"/>
            <a:ext cx="755405" cy="3238206"/>
          </a:xfrm>
          <a:custGeom>
            <a:avLst/>
            <a:gdLst/>
            <a:ahLst/>
            <a:cxnLst>
              <a:cxn ang="0">
                <a:pos x="2" y="1205"/>
              </a:cxn>
              <a:cxn ang="0">
                <a:pos x="385" y="602"/>
              </a:cxn>
              <a:cxn ang="0">
                <a:pos x="2" y="0"/>
              </a:cxn>
              <a:cxn ang="0">
                <a:pos x="349" y="602"/>
              </a:cxn>
              <a:cxn ang="0">
                <a:pos x="0" y="1206"/>
              </a:cxn>
            </a:cxnLst>
            <a:rect l="0" t="0" r="r" b="b"/>
            <a:pathLst>
              <a:path w="385" h="1206">
                <a:moveTo>
                  <a:pt x="2" y="1205"/>
                </a:moveTo>
                <a:cubicBezTo>
                  <a:pt x="217" y="1104"/>
                  <a:pt x="385" y="860"/>
                  <a:pt x="385" y="602"/>
                </a:cubicBezTo>
                <a:cubicBezTo>
                  <a:pt x="385" y="345"/>
                  <a:pt x="217" y="101"/>
                  <a:pt x="2" y="0"/>
                </a:cubicBezTo>
                <a:cubicBezTo>
                  <a:pt x="210" y="120"/>
                  <a:pt x="349" y="345"/>
                  <a:pt x="349" y="602"/>
                </a:cubicBezTo>
                <a:cubicBezTo>
                  <a:pt x="349" y="861"/>
                  <a:pt x="209" y="1086"/>
                  <a:pt x="0" y="1206"/>
                </a:cubicBezTo>
              </a:path>
            </a:pathLst>
          </a:custGeom>
          <a:solidFill>
            <a:schemeClr val="accent1">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tos" panose="020B0004020202020204" pitchFamily="34" charset="0"/>
              <a:ea typeface="Microsoft YaHei"/>
              <a:cs typeface="+mn-cs"/>
            </a:endParaRPr>
          </a:p>
        </p:txBody>
      </p:sp>
      <p:sp>
        <p:nvSpPr>
          <p:cNvPr id="28" name="Rectangle 27">
            <a:extLst>
              <a:ext uri="{FF2B5EF4-FFF2-40B4-BE49-F238E27FC236}">
                <a16:creationId xmlns:a16="http://schemas.microsoft.com/office/drawing/2014/main" id="{92F9D1C2-B360-43B3-91EA-FCDF6A67E41C}"/>
              </a:ext>
            </a:extLst>
          </p:cNvPr>
          <p:cNvSpPr/>
          <p:nvPr/>
        </p:nvSpPr>
        <p:spPr>
          <a:xfrm rot="16200000">
            <a:off x="4991411" y="3577838"/>
            <a:ext cx="1920240" cy="158090"/>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D8390"/>
                </a:solidFill>
                <a:effectLst/>
                <a:uLnTx/>
                <a:uFillTx/>
                <a:latin typeface="Aptos" panose="020B0004020202020204" pitchFamily="34" charset="0"/>
                <a:ea typeface="Microsoft YaHei"/>
                <a:cs typeface="+mn-cs"/>
              </a:rPr>
              <a:t>Services in Power &amp; Utilities</a:t>
            </a:r>
          </a:p>
        </p:txBody>
      </p:sp>
      <p:sp>
        <p:nvSpPr>
          <p:cNvPr id="29" name="Oval 28">
            <a:extLst>
              <a:ext uri="{FF2B5EF4-FFF2-40B4-BE49-F238E27FC236}">
                <a16:creationId xmlns:a16="http://schemas.microsoft.com/office/drawing/2014/main" id="{FC56E105-3189-417D-8502-3847D1C2F89C}"/>
              </a:ext>
            </a:extLst>
          </p:cNvPr>
          <p:cNvSpPr/>
          <p:nvPr/>
        </p:nvSpPr>
        <p:spPr>
          <a:xfrm>
            <a:off x="8218370" y="4643727"/>
            <a:ext cx="118509" cy="134774"/>
          </a:xfrm>
          <a:prstGeom prst="ellipse">
            <a:avLst/>
          </a:prstGeom>
          <a:solidFill>
            <a:srgbClr val="E3E48D"/>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0B0004020202020204" pitchFamily="34" charset="0"/>
              <a:ea typeface="Microsoft YaHei"/>
              <a:cs typeface="+mn-cs"/>
            </a:endParaRPr>
          </a:p>
        </p:txBody>
      </p:sp>
      <p:sp>
        <p:nvSpPr>
          <p:cNvPr id="30" name="Oval 29">
            <a:extLst>
              <a:ext uri="{FF2B5EF4-FFF2-40B4-BE49-F238E27FC236}">
                <a16:creationId xmlns:a16="http://schemas.microsoft.com/office/drawing/2014/main" id="{2831CCA6-E883-4751-97E2-F824C7CD9D1F}"/>
              </a:ext>
            </a:extLst>
          </p:cNvPr>
          <p:cNvSpPr/>
          <p:nvPr/>
        </p:nvSpPr>
        <p:spPr>
          <a:xfrm>
            <a:off x="8386457" y="3305773"/>
            <a:ext cx="118509" cy="134774"/>
          </a:xfrm>
          <a:prstGeom prst="ellipse">
            <a:avLst/>
          </a:prstGeom>
          <a:solidFill>
            <a:schemeClr val="accent4">
              <a:lumMod val="75000"/>
            </a:schemeClr>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8E258D"/>
              </a:solidFill>
              <a:effectLst/>
              <a:uLnTx/>
              <a:uFillTx/>
              <a:latin typeface="Aptos" panose="020B0004020202020204" pitchFamily="34" charset="0"/>
              <a:ea typeface="Microsoft YaHei"/>
              <a:cs typeface="+mn-cs"/>
            </a:endParaRPr>
          </a:p>
        </p:txBody>
      </p:sp>
      <p:sp>
        <p:nvSpPr>
          <p:cNvPr id="31" name="Oval 30">
            <a:extLst>
              <a:ext uri="{FF2B5EF4-FFF2-40B4-BE49-F238E27FC236}">
                <a16:creationId xmlns:a16="http://schemas.microsoft.com/office/drawing/2014/main" id="{1C565674-82F8-4DE9-A06D-247222F301D0}"/>
              </a:ext>
            </a:extLst>
          </p:cNvPr>
          <p:cNvSpPr/>
          <p:nvPr/>
        </p:nvSpPr>
        <p:spPr>
          <a:xfrm>
            <a:off x="8411331" y="3772047"/>
            <a:ext cx="118509" cy="134774"/>
          </a:xfrm>
          <a:prstGeom prst="ellipse">
            <a:avLst/>
          </a:prstGeom>
          <a:solidFill>
            <a:schemeClr val="accent2">
              <a:lumMod val="60000"/>
              <a:lumOff val="40000"/>
            </a:schemeClr>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FFFFF"/>
              </a:solidFill>
              <a:effectLst/>
              <a:uLnTx/>
              <a:uFillTx/>
              <a:latin typeface="Aptos" panose="020B0004020202020204" pitchFamily="34" charset="0"/>
              <a:ea typeface="Microsoft YaHei"/>
              <a:cs typeface="+mn-cs"/>
            </a:endParaRPr>
          </a:p>
        </p:txBody>
      </p:sp>
      <p:sp>
        <p:nvSpPr>
          <p:cNvPr id="32" name="Oval 31">
            <a:extLst>
              <a:ext uri="{FF2B5EF4-FFF2-40B4-BE49-F238E27FC236}">
                <a16:creationId xmlns:a16="http://schemas.microsoft.com/office/drawing/2014/main" id="{5BFF70F8-DDD1-4DED-9C92-B0F12C6B7A3E}"/>
              </a:ext>
            </a:extLst>
          </p:cNvPr>
          <p:cNvSpPr/>
          <p:nvPr/>
        </p:nvSpPr>
        <p:spPr>
          <a:xfrm>
            <a:off x="8351306" y="4243179"/>
            <a:ext cx="118509" cy="134774"/>
          </a:xfrm>
          <a:prstGeom prst="ellipse">
            <a:avLst/>
          </a:prstGeom>
          <a:solidFill>
            <a:srgbClr val="A0DCFF"/>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0B0004020202020204" pitchFamily="34" charset="0"/>
              <a:ea typeface="Microsoft YaHei"/>
              <a:cs typeface="+mn-cs"/>
            </a:endParaRPr>
          </a:p>
        </p:txBody>
      </p:sp>
      <p:sp>
        <p:nvSpPr>
          <p:cNvPr id="33" name="Oval 32">
            <a:extLst>
              <a:ext uri="{FF2B5EF4-FFF2-40B4-BE49-F238E27FC236}">
                <a16:creationId xmlns:a16="http://schemas.microsoft.com/office/drawing/2014/main" id="{2B11B100-17E9-4E18-8B2E-06AEBBC2618C}"/>
              </a:ext>
            </a:extLst>
          </p:cNvPr>
          <p:cNvSpPr/>
          <p:nvPr/>
        </p:nvSpPr>
        <p:spPr>
          <a:xfrm>
            <a:off x="8033069" y="4993308"/>
            <a:ext cx="118509" cy="134774"/>
          </a:xfrm>
          <a:prstGeom prst="ellipse">
            <a:avLst/>
          </a:prstGeom>
          <a:solidFill>
            <a:schemeClr val="accent5">
              <a:lumMod val="60000"/>
              <a:lumOff val="40000"/>
            </a:schemeClr>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0B0004020202020204" pitchFamily="34" charset="0"/>
              <a:ea typeface="Microsoft YaHei"/>
              <a:cs typeface="+mn-cs"/>
            </a:endParaRPr>
          </a:p>
        </p:txBody>
      </p:sp>
      <p:sp>
        <p:nvSpPr>
          <p:cNvPr id="34" name="Oval 33">
            <a:extLst>
              <a:ext uri="{FF2B5EF4-FFF2-40B4-BE49-F238E27FC236}">
                <a16:creationId xmlns:a16="http://schemas.microsoft.com/office/drawing/2014/main" id="{59017516-68F4-40EC-939C-F1F66F727D89}"/>
              </a:ext>
            </a:extLst>
          </p:cNvPr>
          <p:cNvSpPr/>
          <p:nvPr/>
        </p:nvSpPr>
        <p:spPr>
          <a:xfrm>
            <a:off x="7827113" y="2223231"/>
            <a:ext cx="121671" cy="134774"/>
          </a:xfrm>
          <a:prstGeom prst="ellipse">
            <a:avLst/>
          </a:prstGeom>
          <a:solidFill>
            <a:srgbClr val="009A44"/>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0B0004020202020204" pitchFamily="34" charset="0"/>
              <a:ea typeface="Microsoft YaHei"/>
              <a:cs typeface="+mn-cs"/>
            </a:endParaRPr>
          </a:p>
        </p:txBody>
      </p:sp>
      <p:sp>
        <p:nvSpPr>
          <p:cNvPr id="35" name="Oval 34">
            <a:extLst>
              <a:ext uri="{FF2B5EF4-FFF2-40B4-BE49-F238E27FC236}">
                <a16:creationId xmlns:a16="http://schemas.microsoft.com/office/drawing/2014/main" id="{7A0AE5E4-FB54-41E0-8BD0-03749DF9D939}"/>
              </a:ext>
            </a:extLst>
          </p:cNvPr>
          <p:cNvSpPr/>
          <p:nvPr/>
        </p:nvSpPr>
        <p:spPr>
          <a:xfrm>
            <a:off x="7836102" y="5225106"/>
            <a:ext cx="121671" cy="134774"/>
          </a:xfrm>
          <a:prstGeom prst="ellipse">
            <a:avLst/>
          </a:prstGeom>
          <a:solidFill>
            <a:schemeClr val="accent4">
              <a:lumMod val="60000"/>
              <a:lumOff val="40000"/>
            </a:schemeClr>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0B0004020202020204" pitchFamily="34" charset="0"/>
              <a:ea typeface="Microsoft YaHei"/>
              <a:cs typeface="+mn-cs"/>
            </a:endParaRPr>
          </a:p>
        </p:txBody>
      </p:sp>
      <p:grpSp>
        <p:nvGrpSpPr>
          <p:cNvPr id="44" name="Group 43">
            <a:extLst>
              <a:ext uri="{FF2B5EF4-FFF2-40B4-BE49-F238E27FC236}">
                <a16:creationId xmlns:a16="http://schemas.microsoft.com/office/drawing/2014/main" id="{4AB93319-7953-4975-BE78-596212FA85DF}"/>
              </a:ext>
            </a:extLst>
          </p:cNvPr>
          <p:cNvGrpSpPr/>
          <p:nvPr/>
        </p:nvGrpSpPr>
        <p:grpSpPr>
          <a:xfrm>
            <a:off x="6188510" y="2537012"/>
            <a:ext cx="1940621" cy="2075565"/>
            <a:chOff x="2776308" y="1027974"/>
            <a:chExt cx="4916912" cy="5258817"/>
          </a:xfrm>
          <a:solidFill>
            <a:schemeClr val="tx2"/>
          </a:solidFill>
        </p:grpSpPr>
        <p:sp>
          <p:nvSpPr>
            <p:cNvPr id="45" name="Freeform 8">
              <a:extLst>
                <a:ext uri="{FF2B5EF4-FFF2-40B4-BE49-F238E27FC236}">
                  <a16:creationId xmlns:a16="http://schemas.microsoft.com/office/drawing/2014/main" id="{4446A388-384E-433B-9CFE-F2B0077CA424}"/>
                </a:ext>
              </a:extLst>
            </p:cNvPr>
            <p:cNvSpPr>
              <a:spLocks/>
            </p:cNvSpPr>
            <p:nvPr/>
          </p:nvSpPr>
          <p:spPr bwMode="auto">
            <a:xfrm>
              <a:off x="3077510" y="2257202"/>
              <a:ext cx="1457164" cy="1259077"/>
            </a:xfrm>
            <a:custGeom>
              <a:avLst/>
              <a:gdLst>
                <a:gd name="T0" fmla="*/ 572 w 3484"/>
                <a:gd name="T1" fmla="*/ 2149 h 3003"/>
                <a:gd name="T2" fmla="*/ 342 w 3484"/>
                <a:gd name="T3" fmla="*/ 1739 h 3003"/>
                <a:gd name="T4" fmla="*/ 136 w 3484"/>
                <a:gd name="T5" fmla="*/ 1347 h 3003"/>
                <a:gd name="T6" fmla="*/ 84 w 3484"/>
                <a:gd name="T7" fmla="*/ 1064 h 3003"/>
                <a:gd name="T8" fmla="*/ 497 w 3484"/>
                <a:gd name="T9" fmla="*/ 873 h 3003"/>
                <a:gd name="T10" fmla="*/ 878 w 3484"/>
                <a:gd name="T11" fmla="*/ 895 h 3003"/>
                <a:gd name="T12" fmla="*/ 1155 w 3484"/>
                <a:gd name="T13" fmla="*/ 634 h 3003"/>
                <a:gd name="T14" fmla="*/ 1634 w 3484"/>
                <a:gd name="T15" fmla="*/ 135 h 3003"/>
                <a:gd name="T16" fmla="*/ 1847 w 3484"/>
                <a:gd name="T17" fmla="*/ 0 h 3003"/>
                <a:gd name="T18" fmla="*/ 2103 w 3484"/>
                <a:gd name="T19" fmla="*/ 178 h 3003"/>
                <a:gd name="T20" fmla="*/ 2155 w 3484"/>
                <a:gd name="T21" fmla="*/ 357 h 3003"/>
                <a:gd name="T22" fmla="*/ 2389 w 3484"/>
                <a:gd name="T23" fmla="*/ 426 h 3003"/>
                <a:gd name="T24" fmla="*/ 2458 w 3484"/>
                <a:gd name="T25" fmla="*/ 659 h 3003"/>
                <a:gd name="T26" fmla="*/ 2561 w 3484"/>
                <a:gd name="T27" fmla="*/ 776 h 3003"/>
                <a:gd name="T28" fmla="*/ 2644 w 3484"/>
                <a:gd name="T29" fmla="*/ 1030 h 3003"/>
                <a:gd name="T30" fmla="*/ 2836 w 3484"/>
                <a:gd name="T31" fmla="*/ 950 h 3003"/>
                <a:gd name="T32" fmla="*/ 2984 w 3484"/>
                <a:gd name="T33" fmla="*/ 1018 h 3003"/>
                <a:gd name="T34" fmla="*/ 3125 w 3484"/>
                <a:gd name="T35" fmla="*/ 1098 h 3003"/>
                <a:gd name="T36" fmla="*/ 3253 w 3484"/>
                <a:gd name="T37" fmla="*/ 1331 h 3003"/>
                <a:gd name="T38" fmla="*/ 3199 w 3484"/>
                <a:gd name="T39" fmla="*/ 1474 h 3003"/>
                <a:gd name="T40" fmla="*/ 3281 w 3484"/>
                <a:gd name="T41" fmla="*/ 1461 h 3003"/>
                <a:gd name="T42" fmla="*/ 3429 w 3484"/>
                <a:gd name="T43" fmla="*/ 1462 h 3003"/>
                <a:gd name="T44" fmla="*/ 3356 w 3484"/>
                <a:gd name="T45" fmla="*/ 1571 h 3003"/>
                <a:gd name="T46" fmla="*/ 3130 w 3484"/>
                <a:gd name="T47" fmla="*/ 1693 h 3003"/>
                <a:gd name="T48" fmla="*/ 2878 w 3484"/>
                <a:gd name="T49" fmla="*/ 1867 h 3003"/>
                <a:gd name="T50" fmla="*/ 2849 w 3484"/>
                <a:gd name="T51" fmla="*/ 2082 h 3003"/>
                <a:gd name="T52" fmla="*/ 2939 w 3484"/>
                <a:gd name="T53" fmla="*/ 2215 h 3003"/>
                <a:gd name="T54" fmla="*/ 2954 w 3484"/>
                <a:gd name="T55" fmla="*/ 2368 h 3003"/>
                <a:gd name="T56" fmla="*/ 2919 w 3484"/>
                <a:gd name="T57" fmla="*/ 2476 h 3003"/>
                <a:gd name="T58" fmla="*/ 2839 w 3484"/>
                <a:gd name="T59" fmla="*/ 2619 h 3003"/>
                <a:gd name="T60" fmla="*/ 2665 w 3484"/>
                <a:gd name="T61" fmla="*/ 2581 h 3003"/>
                <a:gd name="T62" fmla="*/ 2486 w 3484"/>
                <a:gd name="T63" fmla="*/ 2640 h 3003"/>
                <a:gd name="T64" fmla="*/ 2425 w 3484"/>
                <a:gd name="T65" fmla="*/ 2579 h 3003"/>
                <a:gd name="T66" fmla="*/ 2453 w 3484"/>
                <a:gd name="T67" fmla="*/ 2382 h 3003"/>
                <a:gd name="T68" fmla="*/ 2341 w 3484"/>
                <a:gd name="T69" fmla="*/ 2350 h 3003"/>
                <a:gd name="T70" fmla="*/ 2232 w 3484"/>
                <a:gd name="T71" fmla="*/ 2244 h 3003"/>
                <a:gd name="T72" fmla="*/ 2122 w 3484"/>
                <a:gd name="T73" fmla="*/ 2249 h 3003"/>
                <a:gd name="T74" fmla="*/ 2059 w 3484"/>
                <a:gd name="T75" fmla="*/ 2309 h 3003"/>
                <a:gd name="T76" fmla="*/ 2078 w 3484"/>
                <a:gd name="T77" fmla="*/ 2520 h 3003"/>
                <a:gd name="T78" fmla="*/ 1949 w 3484"/>
                <a:gd name="T79" fmla="*/ 2916 h 3003"/>
                <a:gd name="T80" fmla="*/ 1711 w 3484"/>
                <a:gd name="T81" fmla="*/ 2914 h 3003"/>
                <a:gd name="T82" fmla="*/ 1511 w 3484"/>
                <a:gd name="T83" fmla="*/ 2755 h 3003"/>
                <a:gd name="T84" fmla="*/ 1427 w 3484"/>
                <a:gd name="T85" fmla="*/ 2559 h 3003"/>
                <a:gd name="T86" fmla="*/ 1366 w 3484"/>
                <a:gd name="T87" fmla="*/ 2405 h 3003"/>
                <a:gd name="T88" fmla="*/ 1035 w 3484"/>
                <a:gd name="T89" fmla="*/ 2295 h 3003"/>
                <a:gd name="T90" fmla="*/ 817 w 3484"/>
                <a:gd name="T91" fmla="*/ 2253 h 3003"/>
                <a:gd name="T92" fmla="*/ 657 w 3484"/>
                <a:gd name="T93" fmla="*/ 2196 h 3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4" h="3003">
                  <a:moveTo>
                    <a:pt x="657" y="2196"/>
                  </a:moveTo>
                  <a:cubicBezTo>
                    <a:pt x="622" y="2192"/>
                    <a:pt x="594" y="2184"/>
                    <a:pt x="572" y="2149"/>
                  </a:cubicBezTo>
                  <a:cubicBezTo>
                    <a:pt x="506" y="2042"/>
                    <a:pt x="432" y="1938"/>
                    <a:pt x="418" y="1809"/>
                  </a:cubicBezTo>
                  <a:cubicBezTo>
                    <a:pt x="412" y="1756"/>
                    <a:pt x="392" y="1744"/>
                    <a:pt x="342" y="1739"/>
                  </a:cubicBezTo>
                  <a:cubicBezTo>
                    <a:pt x="227" y="1727"/>
                    <a:pt x="181" y="1642"/>
                    <a:pt x="227" y="1535"/>
                  </a:cubicBezTo>
                  <a:cubicBezTo>
                    <a:pt x="278" y="1412"/>
                    <a:pt x="261" y="1383"/>
                    <a:pt x="136" y="1347"/>
                  </a:cubicBezTo>
                  <a:cubicBezTo>
                    <a:pt x="81" y="1331"/>
                    <a:pt x="16" y="1296"/>
                    <a:pt x="9" y="1242"/>
                  </a:cubicBezTo>
                  <a:cubicBezTo>
                    <a:pt x="0" y="1178"/>
                    <a:pt x="17" y="1100"/>
                    <a:pt x="84" y="1064"/>
                  </a:cubicBezTo>
                  <a:cubicBezTo>
                    <a:pt x="180" y="1012"/>
                    <a:pt x="249" y="933"/>
                    <a:pt x="314" y="849"/>
                  </a:cubicBezTo>
                  <a:cubicBezTo>
                    <a:pt x="385" y="758"/>
                    <a:pt x="447" y="767"/>
                    <a:pt x="497" y="873"/>
                  </a:cubicBezTo>
                  <a:cubicBezTo>
                    <a:pt x="524" y="930"/>
                    <a:pt x="573" y="955"/>
                    <a:pt x="632" y="929"/>
                  </a:cubicBezTo>
                  <a:cubicBezTo>
                    <a:pt x="712" y="895"/>
                    <a:pt x="788" y="867"/>
                    <a:pt x="878" y="895"/>
                  </a:cubicBezTo>
                  <a:cubicBezTo>
                    <a:pt x="913" y="906"/>
                    <a:pt x="969" y="891"/>
                    <a:pt x="981" y="864"/>
                  </a:cubicBezTo>
                  <a:cubicBezTo>
                    <a:pt x="1020" y="771"/>
                    <a:pt x="1128" y="735"/>
                    <a:pt x="1155" y="634"/>
                  </a:cubicBezTo>
                  <a:cubicBezTo>
                    <a:pt x="1168" y="588"/>
                    <a:pt x="1205" y="549"/>
                    <a:pt x="1253" y="535"/>
                  </a:cubicBezTo>
                  <a:cubicBezTo>
                    <a:pt x="1460" y="477"/>
                    <a:pt x="1581" y="336"/>
                    <a:pt x="1634" y="135"/>
                  </a:cubicBezTo>
                  <a:cubicBezTo>
                    <a:pt x="1650" y="72"/>
                    <a:pt x="1677" y="45"/>
                    <a:pt x="1737" y="57"/>
                  </a:cubicBezTo>
                  <a:cubicBezTo>
                    <a:pt x="1791" y="67"/>
                    <a:pt x="1819" y="34"/>
                    <a:pt x="1847" y="0"/>
                  </a:cubicBezTo>
                  <a:cubicBezTo>
                    <a:pt x="1887" y="27"/>
                    <a:pt x="1932" y="41"/>
                    <a:pt x="1978" y="46"/>
                  </a:cubicBezTo>
                  <a:cubicBezTo>
                    <a:pt x="2059" y="56"/>
                    <a:pt x="2096" y="101"/>
                    <a:pt x="2103" y="178"/>
                  </a:cubicBezTo>
                  <a:cubicBezTo>
                    <a:pt x="2109" y="220"/>
                    <a:pt x="2120" y="262"/>
                    <a:pt x="2106" y="305"/>
                  </a:cubicBezTo>
                  <a:cubicBezTo>
                    <a:pt x="2093" y="348"/>
                    <a:pt x="2121" y="357"/>
                    <a:pt x="2155" y="357"/>
                  </a:cubicBezTo>
                  <a:cubicBezTo>
                    <a:pt x="2165" y="357"/>
                    <a:pt x="2174" y="357"/>
                    <a:pt x="2184" y="356"/>
                  </a:cubicBezTo>
                  <a:cubicBezTo>
                    <a:pt x="2257" y="363"/>
                    <a:pt x="2311" y="424"/>
                    <a:pt x="2389" y="426"/>
                  </a:cubicBezTo>
                  <a:cubicBezTo>
                    <a:pt x="2421" y="427"/>
                    <a:pt x="2424" y="478"/>
                    <a:pt x="2435" y="510"/>
                  </a:cubicBezTo>
                  <a:cubicBezTo>
                    <a:pt x="2451" y="559"/>
                    <a:pt x="2445" y="611"/>
                    <a:pt x="2458" y="659"/>
                  </a:cubicBezTo>
                  <a:cubicBezTo>
                    <a:pt x="2467" y="700"/>
                    <a:pt x="2481" y="737"/>
                    <a:pt x="2524" y="753"/>
                  </a:cubicBezTo>
                  <a:cubicBezTo>
                    <a:pt x="2538" y="759"/>
                    <a:pt x="2550" y="766"/>
                    <a:pt x="2561" y="776"/>
                  </a:cubicBezTo>
                  <a:cubicBezTo>
                    <a:pt x="2605" y="827"/>
                    <a:pt x="2647" y="878"/>
                    <a:pt x="2627" y="952"/>
                  </a:cubicBezTo>
                  <a:cubicBezTo>
                    <a:pt x="2623" y="980"/>
                    <a:pt x="2602" y="1014"/>
                    <a:pt x="2644" y="1030"/>
                  </a:cubicBezTo>
                  <a:cubicBezTo>
                    <a:pt x="2679" y="1044"/>
                    <a:pt x="2685" y="1006"/>
                    <a:pt x="2704" y="989"/>
                  </a:cubicBezTo>
                  <a:cubicBezTo>
                    <a:pt x="2741" y="956"/>
                    <a:pt x="2778" y="919"/>
                    <a:pt x="2836" y="950"/>
                  </a:cubicBezTo>
                  <a:cubicBezTo>
                    <a:pt x="2881" y="974"/>
                    <a:pt x="2917" y="920"/>
                    <a:pt x="2962" y="931"/>
                  </a:cubicBezTo>
                  <a:cubicBezTo>
                    <a:pt x="3002" y="951"/>
                    <a:pt x="2980" y="988"/>
                    <a:pt x="2984" y="1018"/>
                  </a:cubicBezTo>
                  <a:cubicBezTo>
                    <a:pt x="2988" y="1048"/>
                    <a:pt x="2970" y="1084"/>
                    <a:pt x="3007" y="1105"/>
                  </a:cubicBezTo>
                  <a:cubicBezTo>
                    <a:pt x="3046" y="1103"/>
                    <a:pt x="3084" y="1072"/>
                    <a:pt x="3125" y="1098"/>
                  </a:cubicBezTo>
                  <a:cubicBezTo>
                    <a:pt x="3166" y="1155"/>
                    <a:pt x="3167" y="1236"/>
                    <a:pt x="3233" y="1277"/>
                  </a:cubicBezTo>
                  <a:cubicBezTo>
                    <a:pt x="3246" y="1293"/>
                    <a:pt x="3255" y="1310"/>
                    <a:pt x="3253" y="1331"/>
                  </a:cubicBezTo>
                  <a:cubicBezTo>
                    <a:pt x="3235" y="1369"/>
                    <a:pt x="3231" y="1412"/>
                    <a:pt x="3215" y="1452"/>
                  </a:cubicBezTo>
                  <a:cubicBezTo>
                    <a:pt x="3210" y="1460"/>
                    <a:pt x="3197" y="1469"/>
                    <a:pt x="3199" y="1474"/>
                  </a:cubicBezTo>
                  <a:cubicBezTo>
                    <a:pt x="3204" y="1493"/>
                    <a:pt x="3216" y="1478"/>
                    <a:pt x="3225" y="1476"/>
                  </a:cubicBezTo>
                  <a:cubicBezTo>
                    <a:pt x="3244" y="1473"/>
                    <a:pt x="3262" y="1466"/>
                    <a:pt x="3281" y="1461"/>
                  </a:cubicBezTo>
                  <a:cubicBezTo>
                    <a:pt x="3290" y="1459"/>
                    <a:pt x="3299" y="1458"/>
                    <a:pt x="3308" y="1457"/>
                  </a:cubicBezTo>
                  <a:cubicBezTo>
                    <a:pt x="3349" y="1456"/>
                    <a:pt x="3389" y="1460"/>
                    <a:pt x="3429" y="1462"/>
                  </a:cubicBezTo>
                  <a:cubicBezTo>
                    <a:pt x="3483" y="1464"/>
                    <a:pt x="3484" y="1490"/>
                    <a:pt x="3457" y="1527"/>
                  </a:cubicBezTo>
                  <a:cubicBezTo>
                    <a:pt x="3429" y="1556"/>
                    <a:pt x="3389" y="1557"/>
                    <a:pt x="3356" y="1571"/>
                  </a:cubicBezTo>
                  <a:cubicBezTo>
                    <a:pt x="3309" y="1591"/>
                    <a:pt x="3271" y="1624"/>
                    <a:pt x="3230" y="1650"/>
                  </a:cubicBezTo>
                  <a:cubicBezTo>
                    <a:pt x="3198" y="1669"/>
                    <a:pt x="3163" y="1678"/>
                    <a:pt x="3130" y="1693"/>
                  </a:cubicBezTo>
                  <a:cubicBezTo>
                    <a:pt x="3121" y="1698"/>
                    <a:pt x="3113" y="1702"/>
                    <a:pt x="3105" y="1705"/>
                  </a:cubicBezTo>
                  <a:cubicBezTo>
                    <a:pt x="3025" y="1754"/>
                    <a:pt x="2926" y="1775"/>
                    <a:pt x="2878" y="1867"/>
                  </a:cubicBezTo>
                  <a:cubicBezTo>
                    <a:pt x="2861" y="1892"/>
                    <a:pt x="2831" y="1888"/>
                    <a:pt x="2808" y="1900"/>
                  </a:cubicBezTo>
                  <a:cubicBezTo>
                    <a:pt x="2763" y="1970"/>
                    <a:pt x="2780" y="2049"/>
                    <a:pt x="2849" y="2082"/>
                  </a:cubicBezTo>
                  <a:cubicBezTo>
                    <a:pt x="2882" y="2097"/>
                    <a:pt x="2921" y="2100"/>
                    <a:pt x="2946" y="2131"/>
                  </a:cubicBezTo>
                  <a:cubicBezTo>
                    <a:pt x="2961" y="2160"/>
                    <a:pt x="2952" y="2188"/>
                    <a:pt x="2939" y="2215"/>
                  </a:cubicBezTo>
                  <a:cubicBezTo>
                    <a:pt x="2927" y="2235"/>
                    <a:pt x="2921" y="2257"/>
                    <a:pt x="2919" y="2281"/>
                  </a:cubicBezTo>
                  <a:cubicBezTo>
                    <a:pt x="2909" y="2319"/>
                    <a:pt x="2930" y="2342"/>
                    <a:pt x="2954" y="2368"/>
                  </a:cubicBezTo>
                  <a:cubicBezTo>
                    <a:pt x="2984" y="2402"/>
                    <a:pt x="2990" y="2440"/>
                    <a:pt x="2944" y="2470"/>
                  </a:cubicBezTo>
                  <a:cubicBezTo>
                    <a:pt x="2936" y="2473"/>
                    <a:pt x="2928" y="2474"/>
                    <a:pt x="2919" y="2476"/>
                  </a:cubicBezTo>
                  <a:cubicBezTo>
                    <a:pt x="2887" y="2491"/>
                    <a:pt x="2902" y="2521"/>
                    <a:pt x="2899" y="2545"/>
                  </a:cubicBezTo>
                  <a:cubicBezTo>
                    <a:pt x="2893" y="2582"/>
                    <a:pt x="2887" y="2617"/>
                    <a:pt x="2839" y="2619"/>
                  </a:cubicBezTo>
                  <a:cubicBezTo>
                    <a:pt x="2820" y="2617"/>
                    <a:pt x="2804" y="2608"/>
                    <a:pt x="2789" y="2597"/>
                  </a:cubicBezTo>
                  <a:cubicBezTo>
                    <a:pt x="2752" y="2564"/>
                    <a:pt x="2705" y="2593"/>
                    <a:pt x="2665" y="2581"/>
                  </a:cubicBezTo>
                  <a:cubicBezTo>
                    <a:pt x="2656" y="2579"/>
                    <a:pt x="2647" y="2577"/>
                    <a:pt x="2639" y="2575"/>
                  </a:cubicBezTo>
                  <a:cubicBezTo>
                    <a:pt x="2567" y="2549"/>
                    <a:pt x="2551" y="2653"/>
                    <a:pt x="2486" y="2640"/>
                  </a:cubicBezTo>
                  <a:cubicBezTo>
                    <a:pt x="2476" y="2639"/>
                    <a:pt x="2466" y="2635"/>
                    <a:pt x="2458" y="2630"/>
                  </a:cubicBezTo>
                  <a:cubicBezTo>
                    <a:pt x="2440" y="2617"/>
                    <a:pt x="2430" y="2600"/>
                    <a:pt x="2425" y="2579"/>
                  </a:cubicBezTo>
                  <a:cubicBezTo>
                    <a:pt x="2418" y="2543"/>
                    <a:pt x="2419" y="2508"/>
                    <a:pt x="2440" y="2476"/>
                  </a:cubicBezTo>
                  <a:cubicBezTo>
                    <a:pt x="2471" y="2448"/>
                    <a:pt x="2482" y="2418"/>
                    <a:pt x="2453" y="2382"/>
                  </a:cubicBezTo>
                  <a:cubicBezTo>
                    <a:pt x="2443" y="2364"/>
                    <a:pt x="2434" y="2343"/>
                    <a:pt x="2407" y="2346"/>
                  </a:cubicBezTo>
                  <a:cubicBezTo>
                    <a:pt x="2385" y="2348"/>
                    <a:pt x="2363" y="2353"/>
                    <a:pt x="2341" y="2350"/>
                  </a:cubicBezTo>
                  <a:cubicBezTo>
                    <a:pt x="2314" y="2343"/>
                    <a:pt x="2287" y="2341"/>
                    <a:pt x="2260" y="2344"/>
                  </a:cubicBezTo>
                  <a:cubicBezTo>
                    <a:pt x="2168" y="2334"/>
                    <a:pt x="2208" y="2287"/>
                    <a:pt x="2232" y="2244"/>
                  </a:cubicBezTo>
                  <a:cubicBezTo>
                    <a:pt x="2249" y="2206"/>
                    <a:pt x="2235" y="2193"/>
                    <a:pt x="2198" y="2209"/>
                  </a:cubicBezTo>
                  <a:cubicBezTo>
                    <a:pt x="2172" y="2221"/>
                    <a:pt x="2156" y="2251"/>
                    <a:pt x="2122" y="2249"/>
                  </a:cubicBezTo>
                  <a:cubicBezTo>
                    <a:pt x="2104" y="2248"/>
                    <a:pt x="2084" y="2238"/>
                    <a:pt x="2073" y="2262"/>
                  </a:cubicBezTo>
                  <a:cubicBezTo>
                    <a:pt x="2067" y="2278"/>
                    <a:pt x="2063" y="2293"/>
                    <a:pt x="2059" y="2309"/>
                  </a:cubicBezTo>
                  <a:cubicBezTo>
                    <a:pt x="2054" y="2336"/>
                    <a:pt x="2045" y="2361"/>
                    <a:pt x="2037" y="2386"/>
                  </a:cubicBezTo>
                  <a:cubicBezTo>
                    <a:pt x="2037" y="2435"/>
                    <a:pt x="2054" y="2477"/>
                    <a:pt x="2078" y="2520"/>
                  </a:cubicBezTo>
                  <a:cubicBezTo>
                    <a:pt x="2129" y="2610"/>
                    <a:pt x="2093" y="2765"/>
                    <a:pt x="2012" y="2830"/>
                  </a:cubicBezTo>
                  <a:cubicBezTo>
                    <a:pt x="1980" y="2851"/>
                    <a:pt x="1915" y="2846"/>
                    <a:pt x="1949" y="2916"/>
                  </a:cubicBezTo>
                  <a:cubicBezTo>
                    <a:pt x="1965" y="3001"/>
                    <a:pt x="1903" y="3003"/>
                    <a:pt x="1851" y="3000"/>
                  </a:cubicBezTo>
                  <a:cubicBezTo>
                    <a:pt x="1792" y="2997"/>
                    <a:pt x="1742" y="2967"/>
                    <a:pt x="1711" y="2914"/>
                  </a:cubicBezTo>
                  <a:cubicBezTo>
                    <a:pt x="1668" y="2887"/>
                    <a:pt x="1622" y="2867"/>
                    <a:pt x="1576" y="2845"/>
                  </a:cubicBezTo>
                  <a:cubicBezTo>
                    <a:pt x="1540" y="2826"/>
                    <a:pt x="1538" y="2781"/>
                    <a:pt x="1511" y="2755"/>
                  </a:cubicBezTo>
                  <a:cubicBezTo>
                    <a:pt x="1493" y="2727"/>
                    <a:pt x="1471" y="2701"/>
                    <a:pt x="1467" y="2666"/>
                  </a:cubicBezTo>
                  <a:cubicBezTo>
                    <a:pt x="1481" y="2620"/>
                    <a:pt x="1497" y="2579"/>
                    <a:pt x="1427" y="2559"/>
                  </a:cubicBezTo>
                  <a:cubicBezTo>
                    <a:pt x="1388" y="2548"/>
                    <a:pt x="1376" y="2507"/>
                    <a:pt x="1387" y="2465"/>
                  </a:cubicBezTo>
                  <a:cubicBezTo>
                    <a:pt x="1393" y="2441"/>
                    <a:pt x="1411" y="2411"/>
                    <a:pt x="1366" y="2405"/>
                  </a:cubicBezTo>
                  <a:cubicBezTo>
                    <a:pt x="1346" y="2414"/>
                    <a:pt x="1330" y="2430"/>
                    <a:pt x="1306" y="2428"/>
                  </a:cubicBezTo>
                  <a:cubicBezTo>
                    <a:pt x="1203" y="2409"/>
                    <a:pt x="1133" y="2323"/>
                    <a:pt x="1035" y="2295"/>
                  </a:cubicBezTo>
                  <a:cubicBezTo>
                    <a:pt x="1009" y="2288"/>
                    <a:pt x="989" y="2267"/>
                    <a:pt x="962" y="2264"/>
                  </a:cubicBezTo>
                  <a:cubicBezTo>
                    <a:pt x="913" y="2271"/>
                    <a:pt x="865" y="2266"/>
                    <a:pt x="817" y="2253"/>
                  </a:cubicBezTo>
                  <a:cubicBezTo>
                    <a:pt x="808" y="2251"/>
                    <a:pt x="800" y="2249"/>
                    <a:pt x="791" y="2246"/>
                  </a:cubicBezTo>
                  <a:cubicBezTo>
                    <a:pt x="750" y="2221"/>
                    <a:pt x="678" y="2274"/>
                    <a:pt x="657" y="219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6" name="Freeform 9">
              <a:extLst>
                <a:ext uri="{FF2B5EF4-FFF2-40B4-BE49-F238E27FC236}">
                  <a16:creationId xmlns:a16="http://schemas.microsoft.com/office/drawing/2014/main" id="{A0D2C6DF-439B-4EF8-9AD8-92ED0F930B61}"/>
                </a:ext>
              </a:extLst>
            </p:cNvPr>
            <p:cNvSpPr>
              <a:spLocks/>
            </p:cNvSpPr>
            <p:nvPr/>
          </p:nvSpPr>
          <p:spPr bwMode="auto">
            <a:xfrm>
              <a:off x="3484539" y="3722507"/>
              <a:ext cx="1470732" cy="1112546"/>
            </a:xfrm>
            <a:custGeom>
              <a:avLst/>
              <a:gdLst>
                <a:gd name="T0" fmla="*/ 190 w 3514"/>
                <a:gd name="T1" fmla="*/ 2443 h 2659"/>
                <a:gd name="T2" fmla="*/ 94 w 3514"/>
                <a:gd name="T3" fmla="*/ 1628 h 2659"/>
                <a:gd name="T4" fmla="*/ 105 w 3514"/>
                <a:gd name="T5" fmla="*/ 1203 h 2659"/>
                <a:gd name="T6" fmla="*/ 50 w 3514"/>
                <a:gd name="T7" fmla="*/ 1165 h 2659"/>
                <a:gd name="T8" fmla="*/ 56 w 3514"/>
                <a:gd name="T9" fmla="*/ 753 h 2659"/>
                <a:gd name="T10" fmla="*/ 168 w 3514"/>
                <a:gd name="T11" fmla="*/ 692 h 2659"/>
                <a:gd name="T12" fmla="*/ 356 w 3514"/>
                <a:gd name="T13" fmla="*/ 583 h 2659"/>
                <a:gd name="T14" fmla="*/ 543 w 3514"/>
                <a:gd name="T15" fmla="*/ 516 h 2659"/>
                <a:gd name="T16" fmla="*/ 557 w 3514"/>
                <a:gd name="T17" fmla="*/ 284 h 2659"/>
                <a:gd name="T18" fmla="*/ 651 w 3514"/>
                <a:gd name="T19" fmla="*/ 191 h 2659"/>
                <a:gd name="T20" fmla="*/ 637 w 3514"/>
                <a:gd name="T21" fmla="*/ 38 h 2659"/>
                <a:gd name="T22" fmla="*/ 897 w 3514"/>
                <a:gd name="T23" fmla="*/ 82 h 2659"/>
                <a:gd name="T24" fmla="*/ 1082 w 3514"/>
                <a:gd name="T25" fmla="*/ 168 h 2659"/>
                <a:gd name="T26" fmla="*/ 1524 w 3514"/>
                <a:gd name="T27" fmla="*/ 324 h 2659"/>
                <a:gd name="T28" fmla="*/ 1748 w 3514"/>
                <a:gd name="T29" fmla="*/ 278 h 2659"/>
                <a:gd name="T30" fmla="*/ 2112 w 3514"/>
                <a:gd name="T31" fmla="*/ 210 h 2659"/>
                <a:gd name="T32" fmla="*/ 2354 w 3514"/>
                <a:gd name="T33" fmla="*/ 246 h 2659"/>
                <a:gd name="T34" fmla="*/ 2789 w 3514"/>
                <a:gd name="T35" fmla="*/ 222 h 2659"/>
                <a:gd name="T36" fmla="*/ 3124 w 3514"/>
                <a:gd name="T37" fmla="*/ 286 h 2659"/>
                <a:gd name="T38" fmla="*/ 3374 w 3514"/>
                <a:gd name="T39" fmla="*/ 387 h 2659"/>
                <a:gd name="T40" fmla="*/ 3383 w 3514"/>
                <a:gd name="T41" fmla="*/ 442 h 2659"/>
                <a:gd name="T42" fmla="*/ 3355 w 3514"/>
                <a:gd name="T43" fmla="*/ 638 h 2659"/>
                <a:gd name="T44" fmla="*/ 3292 w 3514"/>
                <a:gd name="T45" fmla="*/ 878 h 2659"/>
                <a:gd name="T46" fmla="*/ 3340 w 3514"/>
                <a:gd name="T47" fmla="*/ 1028 h 2659"/>
                <a:gd name="T48" fmla="*/ 3444 w 3514"/>
                <a:gd name="T49" fmla="*/ 1248 h 2659"/>
                <a:gd name="T50" fmla="*/ 3274 w 3514"/>
                <a:gd name="T51" fmla="*/ 1267 h 2659"/>
                <a:gd name="T52" fmla="*/ 3226 w 3514"/>
                <a:gd name="T53" fmla="*/ 1399 h 2659"/>
                <a:gd name="T54" fmla="*/ 3087 w 3514"/>
                <a:gd name="T55" fmla="*/ 1475 h 2659"/>
                <a:gd name="T56" fmla="*/ 3044 w 3514"/>
                <a:gd name="T57" fmla="*/ 1173 h 2659"/>
                <a:gd name="T58" fmla="*/ 2732 w 3514"/>
                <a:gd name="T59" fmla="*/ 1115 h 2659"/>
                <a:gd name="T60" fmla="*/ 2617 w 3514"/>
                <a:gd name="T61" fmla="*/ 1045 h 2659"/>
                <a:gd name="T62" fmla="*/ 2530 w 3514"/>
                <a:gd name="T63" fmla="*/ 999 h 2659"/>
                <a:gd name="T64" fmla="*/ 2380 w 3514"/>
                <a:gd name="T65" fmla="*/ 1128 h 2659"/>
                <a:gd name="T66" fmla="*/ 2225 w 3514"/>
                <a:gd name="T67" fmla="*/ 1191 h 2659"/>
                <a:gd name="T68" fmla="*/ 2171 w 3514"/>
                <a:gd name="T69" fmla="*/ 1275 h 2659"/>
                <a:gd name="T70" fmla="*/ 2125 w 3514"/>
                <a:gd name="T71" fmla="*/ 1456 h 2659"/>
                <a:gd name="T72" fmla="*/ 2057 w 3514"/>
                <a:gd name="T73" fmla="*/ 1518 h 2659"/>
                <a:gd name="T74" fmla="*/ 1690 w 3514"/>
                <a:gd name="T75" fmla="*/ 1829 h 2659"/>
                <a:gd name="T76" fmla="*/ 1542 w 3514"/>
                <a:gd name="T77" fmla="*/ 1836 h 2659"/>
                <a:gd name="T78" fmla="*/ 1484 w 3514"/>
                <a:gd name="T79" fmla="*/ 1989 h 2659"/>
                <a:gd name="T80" fmla="*/ 1203 w 3514"/>
                <a:gd name="T81" fmla="*/ 2087 h 2659"/>
                <a:gd name="T82" fmla="*/ 870 w 3514"/>
                <a:gd name="T83" fmla="*/ 2165 h 2659"/>
                <a:gd name="T84" fmla="*/ 662 w 3514"/>
                <a:gd name="T85" fmla="*/ 2269 h 2659"/>
                <a:gd name="T86" fmla="*/ 613 w 3514"/>
                <a:gd name="T87" fmla="*/ 2497 h 2659"/>
                <a:gd name="T88" fmla="*/ 513 w 3514"/>
                <a:gd name="T89" fmla="*/ 2608 h 2659"/>
                <a:gd name="T90" fmla="*/ 318 w 3514"/>
                <a:gd name="T91" fmla="*/ 2596 h 2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14" h="2659">
                  <a:moveTo>
                    <a:pt x="299" y="2576"/>
                  </a:moveTo>
                  <a:cubicBezTo>
                    <a:pt x="215" y="2571"/>
                    <a:pt x="207" y="2501"/>
                    <a:pt x="190" y="2443"/>
                  </a:cubicBezTo>
                  <a:cubicBezTo>
                    <a:pt x="135" y="2252"/>
                    <a:pt x="170" y="2051"/>
                    <a:pt x="134" y="1858"/>
                  </a:cubicBezTo>
                  <a:cubicBezTo>
                    <a:pt x="120" y="1781"/>
                    <a:pt x="105" y="1705"/>
                    <a:pt x="94" y="1628"/>
                  </a:cubicBezTo>
                  <a:cubicBezTo>
                    <a:pt x="79" y="1529"/>
                    <a:pt x="73" y="1429"/>
                    <a:pt x="56" y="1330"/>
                  </a:cubicBezTo>
                  <a:cubicBezTo>
                    <a:pt x="50" y="1295"/>
                    <a:pt x="89" y="1247"/>
                    <a:pt x="105" y="1203"/>
                  </a:cubicBezTo>
                  <a:cubicBezTo>
                    <a:pt x="115" y="1176"/>
                    <a:pt x="134" y="1152"/>
                    <a:pt x="107" y="1136"/>
                  </a:cubicBezTo>
                  <a:cubicBezTo>
                    <a:pt x="83" y="1121"/>
                    <a:pt x="91" y="1181"/>
                    <a:pt x="50" y="1165"/>
                  </a:cubicBezTo>
                  <a:cubicBezTo>
                    <a:pt x="0" y="1124"/>
                    <a:pt x="71" y="1073"/>
                    <a:pt x="53" y="1014"/>
                  </a:cubicBezTo>
                  <a:cubicBezTo>
                    <a:pt x="30" y="936"/>
                    <a:pt x="37" y="840"/>
                    <a:pt x="56" y="753"/>
                  </a:cubicBezTo>
                  <a:cubicBezTo>
                    <a:pt x="61" y="730"/>
                    <a:pt x="77" y="731"/>
                    <a:pt x="93" y="726"/>
                  </a:cubicBezTo>
                  <a:cubicBezTo>
                    <a:pt x="110" y="696"/>
                    <a:pt x="135" y="686"/>
                    <a:pt x="168" y="692"/>
                  </a:cubicBezTo>
                  <a:cubicBezTo>
                    <a:pt x="210" y="698"/>
                    <a:pt x="250" y="734"/>
                    <a:pt x="296" y="706"/>
                  </a:cubicBezTo>
                  <a:cubicBezTo>
                    <a:pt x="336" y="675"/>
                    <a:pt x="349" y="631"/>
                    <a:pt x="356" y="583"/>
                  </a:cubicBezTo>
                  <a:cubicBezTo>
                    <a:pt x="362" y="546"/>
                    <a:pt x="368" y="506"/>
                    <a:pt x="423" y="522"/>
                  </a:cubicBezTo>
                  <a:cubicBezTo>
                    <a:pt x="464" y="541"/>
                    <a:pt x="505" y="555"/>
                    <a:pt x="543" y="516"/>
                  </a:cubicBezTo>
                  <a:cubicBezTo>
                    <a:pt x="580" y="476"/>
                    <a:pt x="566" y="435"/>
                    <a:pt x="539" y="398"/>
                  </a:cubicBezTo>
                  <a:cubicBezTo>
                    <a:pt x="507" y="353"/>
                    <a:pt x="519" y="317"/>
                    <a:pt x="557" y="284"/>
                  </a:cubicBezTo>
                  <a:cubicBezTo>
                    <a:pt x="606" y="247"/>
                    <a:pt x="668" y="236"/>
                    <a:pt x="725" y="205"/>
                  </a:cubicBezTo>
                  <a:cubicBezTo>
                    <a:pt x="702" y="176"/>
                    <a:pt x="675" y="192"/>
                    <a:pt x="651" y="191"/>
                  </a:cubicBezTo>
                  <a:cubicBezTo>
                    <a:pt x="613" y="191"/>
                    <a:pt x="591" y="172"/>
                    <a:pt x="585" y="134"/>
                  </a:cubicBezTo>
                  <a:cubicBezTo>
                    <a:pt x="581" y="91"/>
                    <a:pt x="600" y="60"/>
                    <a:pt x="637" y="38"/>
                  </a:cubicBezTo>
                  <a:cubicBezTo>
                    <a:pt x="691" y="0"/>
                    <a:pt x="755" y="13"/>
                    <a:pt x="814" y="6"/>
                  </a:cubicBezTo>
                  <a:cubicBezTo>
                    <a:pt x="862" y="0"/>
                    <a:pt x="884" y="42"/>
                    <a:pt x="897" y="82"/>
                  </a:cubicBezTo>
                  <a:cubicBezTo>
                    <a:pt x="912" y="127"/>
                    <a:pt x="938" y="150"/>
                    <a:pt x="988" y="141"/>
                  </a:cubicBezTo>
                  <a:cubicBezTo>
                    <a:pt x="1024" y="134"/>
                    <a:pt x="1060" y="140"/>
                    <a:pt x="1082" y="168"/>
                  </a:cubicBezTo>
                  <a:cubicBezTo>
                    <a:pt x="1162" y="272"/>
                    <a:pt x="1274" y="267"/>
                    <a:pt x="1386" y="260"/>
                  </a:cubicBezTo>
                  <a:cubicBezTo>
                    <a:pt x="1446" y="257"/>
                    <a:pt x="1493" y="271"/>
                    <a:pt x="1524" y="324"/>
                  </a:cubicBezTo>
                  <a:cubicBezTo>
                    <a:pt x="1540" y="396"/>
                    <a:pt x="1586" y="406"/>
                    <a:pt x="1647" y="383"/>
                  </a:cubicBezTo>
                  <a:cubicBezTo>
                    <a:pt x="1704" y="370"/>
                    <a:pt x="1720" y="318"/>
                    <a:pt x="1748" y="278"/>
                  </a:cubicBezTo>
                  <a:cubicBezTo>
                    <a:pt x="1812" y="150"/>
                    <a:pt x="1942" y="181"/>
                    <a:pt x="2048" y="157"/>
                  </a:cubicBezTo>
                  <a:cubicBezTo>
                    <a:pt x="2079" y="150"/>
                    <a:pt x="2102" y="177"/>
                    <a:pt x="2112" y="210"/>
                  </a:cubicBezTo>
                  <a:cubicBezTo>
                    <a:pt x="2077" y="272"/>
                    <a:pt x="2102" y="298"/>
                    <a:pt x="2167" y="300"/>
                  </a:cubicBezTo>
                  <a:cubicBezTo>
                    <a:pt x="2235" y="303"/>
                    <a:pt x="2299" y="290"/>
                    <a:pt x="2354" y="246"/>
                  </a:cubicBezTo>
                  <a:cubicBezTo>
                    <a:pt x="2381" y="236"/>
                    <a:pt x="2408" y="243"/>
                    <a:pt x="2433" y="253"/>
                  </a:cubicBezTo>
                  <a:cubicBezTo>
                    <a:pt x="2557" y="303"/>
                    <a:pt x="2675" y="291"/>
                    <a:pt x="2789" y="222"/>
                  </a:cubicBezTo>
                  <a:cubicBezTo>
                    <a:pt x="2876" y="220"/>
                    <a:pt x="2945" y="286"/>
                    <a:pt x="3033" y="283"/>
                  </a:cubicBezTo>
                  <a:cubicBezTo>
                    <a:pt x="3063" y="282"/>
                    <a:pt x="3095" y="295"/>
                    <a:pt x="3124" y="286"/>
                  </a:cubicBezTo>
                  <a:cubicBezTo>
                    <a:pt x="3199" y="263"/>
                    <a:pt x="3257" y="287"/>
                    <a:pt x="3307" y="341"/>
                  </a:cubicBezTo>
                  <a:cubicBezTo>
                    <a:pt x="3326" y="361"/>
                    <a:pt x="3352" y="371"/>
                    <a:pt x="3374" y="387"/>
                  </a:cubicBezTo>
                  <a:cubicBezTo>
                    <a:pt x="3382" y="394"/>
                    <a:pt x="3387" y="403"/>
                    <a:pt x="3389" y="414"/>
                  </a:cubicBezTo>
                  <a:cubicBezTo>
                    <a:pt x="3390" y="424"/>
                    <a:pt x="3388" y="433"/>
                    <a:pt x="3383" y="442"/>
                  </a:cubicBezTo>
                  <a:cubicBezTo>
                    <a:pt x="3275" y="467"/>
                    <a:pt x="3329" y="528"/>
                    <a:pt x="3353" y="582"/>
                  </a:cubicBezTo>
                  <a:cubicBezTo>
                    <a:pt x="3358" y="601"/>
                    <a:pt x="3358" y="619"/>
                    <a:pt x="3355" y="638"/>
                  </a:cubicBezTo>
                  <a:cubicBezTo>
                    <a:pt x="3334" y="683"/>
                    <a:pt x="3394" y="723"/>
                    <a:pt x="3363" y="768"/>
                  </a:cubicBezTo>
                  <a:cubicBezTo>
                    <a:pt x="3242" y="788"/>
                    <a:pt x="3242" y="788"/>
                    <a:pt x="3292" y="878"/>
                  </a:cubicBezTo>
                  <a:cubicBezTo>
                    <a:pt x="3341" y="899"/>
                    <a:pt x="3339" y="936"/>
                    <a:pt x="3317" y="974"/>
                  </a:cubicBezTo>
                  <a:cubicBezTo>
                    <a:pt x="3299" y="1006"/>
                    <a:pt x="3305" y="1022"/>
                    <a:pt x="3340" y="1028"/>
                  </a:cubicBezTo>
                  <a:cubicBezTo>
                    <a:pt x="3365" y="1043"/>
                    <a:pt x="3379" y="1069"/>
                    <a:pt x="3398" y="1090"/>
                  </a:cubicBezTo>
                  <a:cubicBezTo>
                    <a:pt x="3437" y="1135"/>
                    <a:pt x="3514" y="1170"/>
                    <a:pt x="3444" y="1248"/>
                  </a:cubicBezTo>
                  <a:cubicBezTo>
                    <a:pt x="3406" y="1269"/>
                    <a:pt x="3370" y="1255"/>
                    <a:pt x="3334" y="1240"/>
                  </a:cubicBezTo>
                  <a:cubicBezTo>
                    <a:pt x="3297" y="1210"/>
                    <a:pt x="3294" y="1257"/>
                    <a:pt x="3274" y="1267"/>
                  </a:cubicBezTo>
                  <a:cubicBezTo>
                    <a:pt x="3269" y="1275"/>
                    <a:pt x="3264" y="1282"/>
                    <a:pt x="3259" y="1289"/>
                  </a:cubicBezTo>
                  <a:cubicBezTo>
                    <a:pt x="3234" y="1321"/>
                    <a:pt x="3224" y="1357"/>
                    <a:pt x="3226" y="1399"/>
                  </a:cubicBezTo>
                  <a:cubicBezTo>
                    <a:pt x="3227" y="1440"/>
                    <a:pt x="3203" y="1473"/>
                    <a:pt x="3169" y="1497"/>
                  </a:cubicBezTo>
                  <a:cubicBezTo>
                    <a:pt x="3137" y="1507"/>
                    <a:pt x="3111" y="1495"/>
                    <a:pt x="3087" y="1475"/>
                  </a:cubicBezTo>
                  <a:cubicBezTo>
                    <a:pt x="3055" y="1404"/>
                    <a:pt x="3031" y="1332"/>
                    <a:pt x="3065" y="1253"/>
                  </a:cubicBezTo>
                  <a:cubicBezTo>
                    <a:pt x="3078" y="1224"/>
                    <a:pt x="3075" y="1193"/>
                    <a:pt x="3044" y="1173"/>
                  </a:cubicBezTo>
                  <a:cubicBezTo>
                    <a:pt x="3030" y="1161"/>
                    <a:pt x="3017" y="1148"/>
                    <a:pt x="3002" y="1137"/>
                  </a:cubicBezTo>
                  <a:cubicBezTo>
                    <a:pt x="2912" y="1126"/>
                    <a:pt x="2825" y="1092"/>
                    <a:pt x="2732" y="1115"/>
                  </a:cubicBezTo>
                  <a:cubicBezTo>
                    <a:pt x="2711" y="1120"/>
                    <a:pt x="2692" y="1113"/>
                    <a:pt x="2675" y="1099"/>
                  </a:cubicBezTo>
                  <a:cubicBezTo>
                    <a:pt x="2658" y="1078"/>
                    <a:pt x="2640" y="1059"/>
                    <a:pt x="2617" y="1045"/>
                  </a:cubicBezTo>
                  <a:cubicBezTo>
                    <a:pt x="2610" y="1040"/>
                    <a:pt x="2605" y="1033"/>
                    <a:pt x="2599" y="1026"/>
                  </a:cubicBezTo>
                  <a:cubicBezTo>
                    <a:pt x="2583" y="999"/>
                    <a:pt x="2556" y="1000"/>
                    <a:pt x="2530" y="999"/>
                  </a:cubicBezTo>
                  <a:cubicBezTo>
                    <a:pt x="2484" y="1017"/>
                    <a:pt x="2440" y="947"/>
                    <a:pt x="2395" y="997"/>
                  </a:cubicBezTo>
                  <a:cubicBezTo>
                    <a:pt x="2376" y="1039"/>
                    <a:pt x="2393" y="1085"/>
                    <a:pt x="2380" y="1128"/>
                  </a:cubicBezTo>
                  <a:cubicBezTo>
                    <a:pt x="2374" y="1141"/>
                    <a:pt x="2364" y="1150"/>
                    <a:pt x="2351" y="1155"/>
                  </a:cubicBezTo>
                  <a:cubicBezTo>
                    <a:pt x="2308" y="1163"/>
                    <a:pt x="2270" y="1189"/>
                    <a:pt x="2225" y="1191"/>
                  </a:cubicBezTo>
                  <a:cubicBezTo>
                    <a:pt x="2198" y="1202"/>
                    <a:pt x="2193" y="1229"/>
                    <a:pt x="2183" y="1252"/>
                  </a:cubicBezTo>
                  <a:cubicBezTo>
                    <a:pt x="2180" y="1260"/>
                    <a:pt x="2175" y="1267"/>
                    <a:pt x="2171" y="1275"/>
                  </a:cubicBezTo>
                  <a:cubicBezTo>
                    <a:pt x="2151" y="1301"/>
                    <a:pt x="2171" y="1324"/>
                    <a:pt x="2178" y="1348"/>
                  </a:cubicBezTo>
                  <a:cubicBezTo>
                    <a:pt x="2186" y="1396"/>
                    <a:pt x="2148" y="1422"/>
                    <a:pt x="2125" y="1456"/>
                  </a:cubicBezTo>
                  <a:cubicBezTo>
                    <a:pt x="2111" y="1473"/>
                    <a:pt x="2093" y="1486"/>
                    <a:pt x="2075" y="1499"/>
                  </a:cubicBezTo>
                  <a:cubicBezTo>
                    <a:pt x="2069" y="1506"/>
                    <a:pt x="2063" y="1512"/>
                    <a:pt x="2057" y="1518"/>
                  </a:cubicBezTo>
                  <a:cubicBezTo>
                    <a:pt x="2051" y="1580"/>
                    <a:pt x="2025" y="1623"/>
                    <a:pt x="1954" y="1620"/>
                  </a:cubicBezTo>
                  <a:cubicBezTo>
                    <a:pt x="1851" y="1671"/>
                    <a:pt x="1773" y="1753"/>
                    <a:pt x="1690" y="1829"/>
                  </a:cubicBezTo>
                  <a:cubicBezTo>
                    <a:pt x="1662" y="1843"/>
                    <a:pt x="1632" y="1843"/>
                    <a:pt x="1602" y="1843"/>
                  </a:cubicBezTo>
                  <a:cubicBezTo>
                    <a:pt x="1582" y="1842"/>
                    <a:pt x="1562" y="1838"/>
                    <a:pt x="1542" y="1836"/>
                  </a:cubicBezTo>
                  <a:cubicBezTo>
                    <a:pt x="1476" y="1828"/>
                    <a:pt x="1446" y="1849"/>
                    <a:pt x="1481" y="1917"/>
                  </a:cubicBezTo>
                  <a:cubicBezTo>
                    <a:pt x="1494" y="1941"/>
                    <a:pt x="1513" y="1964"/>
                    <a:pt x="1484" y="1989"/>
                  </a:cubicBezTo>
                  <a:cubicBezTo>
                    <a:pt x="1438" y="2002"/>
                    <a:pt x="1394" y="1985"/>
                    <a:pt x="1350" y="1981"/>
                  </a:cubicBezTo>
                  <a:cubicBezTo>
                    <a:pt x="1213" y="1924"/>
                    <a:pt x="1213" y="1924"/>
                    <a:pt x="1203" y="2087"/>
                  </a:cubicBezTo>
                  <a:cubicBezTo>
                    <a:pt x="1160" y="2175"/>
                    <a:pt x="1069" y="2133"/>
                    <a:pt x="1004" y="2160"/>
                  </a:cubicBezTo>
                  <a:cubicBezTo>
                    <a:pt x="959" y="2176"/>
                    <a:pt x="913" y="2139"/>
                    <a:pt x="870" y="2165"/>
                  </a:cubicBezTo>
                  <a:cubicBezTo>
                    <a:pt x="832" y="2213"/>
                    <a:pt x="775" y="2231"/>
                    <a:pt x="727" y="2262"/>
                  </a:cubicBezTo>
                  <a:cubicBezTo>
                    <a:pt x="706" y="2277"/>
                    <a:pt x="684" y="2274"/>
                    <a:pt x="662" y="2269"/>
                  </a:cubicBezTo>
                  <a:cubicBezTo>
                    <a:pt x="546" y="2301"/>
                    <a:pt x="536" y="2332"/>
                    <a:pt x="617" y="2418"/>
                  </a:cubicBezTo>
                  <a:cubicBezTo>
                    <a:pt x="643" y="2446"/>
                    <a:pt x="632" y="2471"/>
                    <a:pt x="613" y="2497"/>
                  </a:cubicBezTo>
                  <a:cubicBezTo>
                    <a:pt x="605" y="2502"/>
                    <a:pt x="596" y="2506"/>
                    <a:pt x="587" y="2508"/>
                  </a:cubicBezTo>
                  <a:cubicBezTo>
                    <a:pt x="499" y="2494"/>
                    <a:pt x="518" y="2560"/>
                    <a:pt x="513" y="2608"/>
                  </a:cubicBezTo>
                  <a:cubicBezTo>
                    <a:pt x="491" y="2648"/>
                    <a:pt x="455" y="2659"/>
                    <a:pt x="412" y="2657"/>
                  </a:cubicBezTo>
                  <a:cubicBezTo>
                    <a:pt x="372" y="2651"/>
                    <a:pt x="352" y="2612"/>
                    <a:pt x="318" y="2596"/>
                  </a:cubicBezTo>
                  <a:cubicBezTo>
                    <a:pt x="311" y="2590"/>
                    <a:pt x="305" y="2583"/>
                    <a:pt x="299" y="257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7" name="Freeform 10">
              <a:extLst>
                <a:ext uri="{FF2B5EF4-FFF2-40B4-BE49-F238E27FC236}">
                  <a16:creationId xmlns:a16="http://schemas.microsoft.com/office/drawing/2014/main" id="{794470F8-2B86-47FD-9AE5-FCDC8986EC9F}"/>
                </a:ext>
              </a:extLst>
            </p:cNvPr>
            <p:cNvSpPr>
              <a:spLocks/>
            </p:cNvSpPr>
            <p:nvPr/>
          </p:nvSpPr>
          <p:spPr bwMode="auto">
            <a:xfrm>
              <a:off x="4135785" y="4121396"/>
              <a:ext cx="1476159" cy="1310634"/>
            </a:xfrm>
            <a:custGeom>
              <a:avLst/>
              <a:gdLst>
                <a:gd name="T0" fmla="*/ 1493 w 3523"/>
                <a:gd name="T1" fmla="*/ 204 h 3129"/>
                <a:gd name="T2" fmla="*/ 1543 w 3523"/>
                <a:gd name="T3" fmla="*/ 523 h 3129"/>
                <a:gd name="T4" fmla="*/ 1849 w 3523"/>
                <a:gd name="T5" fmla="*/ 739 h 3129"/>
                <a:gd name="T6" fmla="*/ 2036 w 3523"/>
                <a:gd name="T7" fmla="*/ 924 h 3129"/>
                <a:gd name="T8" fmla="*/ 2343 w 3523"/>
                <a:gd name="T9" fmla="*/ 865 h 3129"/>
                <a:gd name="T10" fmla="*/ 2503 w 3523"/>
                <a:gd name="T11" fmla="*/ 794 h 3129"/>
                <a:gd name="T12" fmla="*/ 2627 w 3523"/>
                <a:gd name="T13" fmla="*/ 724 h 3129"/>
                <a:gd name="T14" fmla="*/ 2799 w 3523"/>
                <a:gd name="T15" fmla="*/ 673 h 3129"/>
                <a:gd name="T16" fmla="*/ 3039 w 3523"/>
                <a:gd name="T17" fmla="*/ 435 h 3129"/>
                <a:gd name="T18" fmla="*/ 3400 w 3523"/>
                <a:gd name="T19" fmla="*/ 482 h 3129"/>
                <a:gd name="T20" fmla="*/ 3353 w 3523"/>
                <a:gd name="T21" fmla="*/ 643 h 3129"/>
                <a:gd name="T22" fmla="*/ 2910 w 3523"/>
                <a:gd name="T23" fmla="*/ 1003 h 3129"/>
                <a:gd name="T24" fmla="*/ 2511 w 3523"/>
                <a:gd name="T25" fmla="*/ 1258 h 3129"/>
                <a:gd name="T26" fmla="*/ 2244 w 3523"/>
                <a:gd name="T27" fmla="*/ 1551 h 3129"/>
                <a:gd name="T28" fmla="*/ 1810 w 3523"/>
                <a:gd name="T29" fmla="*/ 1731 h 3129"/>
                <a:gd name="T30" fmla="*/ 1540 w 3523"/>
                <a:gd name="T31" fmla="*/ 2249 h 3129"/>
                <a:gd name="T32" fmla="*/ 1535 w 3523"/>
                <a:gd name="T33" fmla="*/ 2605 h 3129"/>
                <a:gd name="T34" fmla="*/ 1494 w 3523"/>
                <a:gd name="T35" fmla="*/ 2599 h 3129"/>
                <a:gd name="T36" fmla="*/ 1437 w 3523"/>
                <a:gd name="T37" fmla="*/ 2734 h 3129"/>
                <a:gd name="T38" fmla="*/ 1340 w 3523"/>
                <a:gd name="T39" fmla="*/ 2884 h 3129"/>
                <a:gd name="T40" fmla="*/ 1142 w 3523"/>
                <a:gd name="T41" fmla="*/ 2904 h 3129"/>
                <a:gd name="T42" fmla="*/ 839 w 3523"/>
                <a:gd name="T43" fmla="*/ 2953 h 3129"/>
                <a:gd name="T44" fmla="*/ 673 w 3523"/>
                <a:gd name="T45" fmla="*/ 3109 h 3129"/>
                <a:gd name="T46" fmla="*/ 715 w 3523"/>
                <a:gd name="T47" fmla="*/ 2978 h 3129"/>
                <a:gd name="T48" fmla="*/ 758 w 3523"/>
                <a:gd name="T49" fmla="*/ 2837 h 3129"/>
                <a:gd name="T50" fmla="*/ 617 w 3523"/>
                <a:gd name="T51" fmla="*/ 2689 h 3129"/>
                <a:gd name="T52" fmla="*/ 578 w 3523"/>
                <a:gd name="T53" fmla="*/ 2607 h 3129"/>
                <a:gd name="T54" fmla="*/ 468 w 3523"/>
                <a:gd name="T55" fmla="*/ 2548 h 3129"/>
                <a:gd name="T56" fmla="*/ 317 w 3523"/>
                <a:gd name="T57" fmla="*/ 2535 h 3129"/>
                <a:gd name="T58" fmla="*/ 258 w 3523"/>
                <a:gd name="T59" fmla="*/ 2392 h 3129"/>
                <a:gd name="T60" fmla="*/ 44 w 3523"/>
                <a:gd name="T61" fmla="*/ 2292 h 3129"/>
                <a:gd name="T62" fmla="*/ 58 w 3523"/>
                <a:gd name="T63" fmla="*/ 2161 h 3129"/>
                <a:gd name="T64" fmla="*/ 267 w 3523"/>
                <a:gd name="T65" fmla="*/ 2017 h 3129"/>
                <a:gd name="T66" fmla="*/ 145 w 3523"/>
                <a:gd name="T67" fmla="*/ 1878 h 3129"/>
                <a:gd name="T68" fmla="*/ 208 w 3523"/>
                <a:gd name="T69" fmla="*/ 1688 h 3129"/>
                <a:gd name="T70" fmla="*/ 374 w 3523"/>
                <a:gd name="T71" fmla="*/ 1659 h 3129"/>
                <a:gd name="T72" fmla="*/ 336 w 3523"/>
                <a:gd name="T73" fmla="*/ 1498 h 3129"/>
                <a:gd name="T74" fmla="*/ 388 w 3523"/>
                <a:gd name="T75" fmla="*/ 1193 h 3129"/>
                <a:gd name="T76" fmla="*/ 408 w 3523"/>
                <a:gd name="T77" fmla="*/ 1096 h 3129"/>
                <a:gd name="T78" fmla="*/ 472 w 3523"/>
                <a:gd name="T79" fmla="*/ 1041 h 3129"/>
                <a:gd name="T80" fmla="*/ 415 w 3523"/>
                <a:gd name="T81" fmla="*/ 962 h 3129"/>
                <a:gd name="T82" fmla="*/ 484 w 3523"/>
                <a:gd name="T83" fmla="*/ 534 h 3129"/>
                <a:gd name="T84" fmla="*/ 562 w 3523"/>
                <a:gd name="T85" fmla="*/ 491 h 3129"/>
                <a:gd name="T86" fmla="*/ 610 w 3523"/>
                <a:gd name="T87" fmla="*/ 306 h 3129"/>
                <a:gd name="T88" fmla="*/ 667 w 3523"/>
                <a:gd name="T89" fmla="*/ 236 h 3129"/>
                <a:gd name="T90" fmla="*/ 815 w 3523"/>
                <a:gd name="T91" fmla="*/ 168 h 3129"/>
                <a:gd name="T92" fmla="*/ 967 w 3523"/>
                <a:gd name="T93" fmla="*/ 35 h 3129"/>
                <a:gd name="T94" fmla="*/ 1061 w 3523"/>
                <a:gd name="T95" fmla="*/ 77 h 3129"/>
                <a:gd name="T96" fmla="*/ 1371 w 3523"/>
                <a:gd name="T97" fmla="*/ 155 h 3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23" h="3129">
                  <a:moveTo>
                    <a:pt x="1471" y="161"/>
                  </a:moveTo>
                  <a:cubicBezTo>
                    <a:pt x="1478" y="175"/>
                    <a:pt x="1486" y="190"/>
                    <a:pt x="1493" y="204"/>
                  </a:cubicBezTo>
                  <a:cubicBezTo>
                    <a:pt x="1531" y="224"/>
                    <a:pt x="1534" y="257"/>
                    <a:pt x="1517" y="291"/>
                  </a:cubicBezTo>
                  <a:cubicBezTo>
                    <a:pt x="1473" y="375"/>
                    <a:pt x="1516" y="448"/>
                    <a:pt x="1543" y="523"/>
                  </a:cubicBezTo>
                  <a:cubicBezTo>
                    <a:pt x="1568" y="535"/>
                    <a:pt x="1594" y="540"/>
                    <a:pt x="1622" y="543"/>
                  </a:cubicBezTo>
                  <a:cubicBezTo>
                    <a:pt x="1739" y="558"/>
                    <a:pt x="1829" y="609"/>
                    <a:pt x="1849" y="739"/>
                  </a:cubicBezTo>
                  <a:cubicBezTo>
                    <a:pt x="1879" y="791"/>
                    <a:pt x="1954" y="808"/>
                    <a:pt x="1960" y="879"/>
                  </a:cubicBezTo>
                  <a:cubicBezTo>
                    <a:pt x="1969" y="921"/>
                    <a:pt x="2001" y="924"/>
                    <a:pt x="2036" y="924"/>
                  </a:cubicBezTo>
                  <a:cubicBezTo>
                    <a:pt x="2092" y="922"/>
                    <a:pt x="2148" y="916"/>
                    <a:pt x="2204" y="916"/>
                  </a:cubicBezTo>
                  <a:cubicBezTo>
                    <a:pt x="2257" y="918"/>
                    <a:pt x="2297" y="883"/>
                    <a:pt x="2343" y="865"/>
                  </a:cubicBezTo>
                  <a:cubicBezTo>
                    <a:pt x="2374" y="847"/>
                    <a:pt x="2405" y="840"/>
                    <a:pt x="2440" y="849"/>
                  </a:cubicBezTo>
                  <a:cubicBezTo>
                    <a:pt x="2485" y="859"/>
                    <a:pt x="2503" y="836"/>
                    <a:pt x="2503" y="794"/>
                  </a:cubicBezTo>
                  <a:cubicBezTo>
                    <a:pt x="2502" y="785"/>
                    <a:pt x="2503" y="775"/>
                    <a:pt x="2504" y="766"/>
                  </a:cubicBezTo>
                  <a:cubicBezTo>
                    <a:pt x="2540" y="665"/>
                    <a:pt x="2540" y="665"/>
                    <a:pt x="2627" y="724"/>
                  </a:cubicBezTo>
                  <a:cubicBezTo>
                    <a:pt x="2671" y="753"/>
                    <a:pt x="2697" y="689"/>
                    <a:pt x="2737" y="703"/>
                  </a:cubicBezTo>
                  <a:cubicBezTo>
                    <a:pt x="2765" y="705"/>
                    <a:pt x="2804" y="708"/>
                    <a:pt x="2799" y="673"/>
                  </a:cubicBezTo>
                  <a:cubicBezTo>
                    <a:pt x="2789" y="582"/>
                    <a:pt x="2853" y="559"/>
                    <a:pt x="2913" y="529"/>
                  </a:cubicBezTo>
                  <a:cubicBezTo>
                    <a:pt x="2953" y="494"/>
                    <a:pt x="2984" y="448"/>
                    <a:pt x="3039" y="435"/>
                  </a:cubicBezTo>
                  <a:cubicBezTo>
                    <a:pt x="3092" y="424"/>
                    <a:pt x="3127" y="454"/>
                    <a:pt x="3164" y="488"/>
                  </a:cubicBezTo>
                  <a:cubicBezTo>
                    <a:pt x="3248" y="565"/>
                    <a:pt x="3318" y="561"/>
                    <a:pt x="3400" y="482"/>
                  </a:cubicBezTo>
                  <a:cubicBezTo>
                    <a:pt x="3434" y="450"/>
                    <a:pt x="3468" y="413"/>
                    <a:pt x="3523" y="433"/>
                  </a:cubicBezTo>
                  <a:cubicBezTo>
                    <a:pt x="3489" y="520"/>
                    <a:pt x="3415" y="579"/>
                    <a:pt x="3353" y="643"/>
                  </a:cubicBezTo>
                  <a:cubicBezTo>
                    <a:pt x="3258" y="740"/>
                    <a:pt x="3154" y="832"/>
                    <a:pt x="3028" y="892"/>
                  </a:cubicBezTo>
                  <a:cubicBezTo>
                    <a:pt x="2978" y="916"/>
                    <a:pt x="2938" y="954"/>
                    <a:pt x="2910" y="1003"/>
                  </a:cubicBezTo>
                  <a:cubicBezTo>
                    <a:pt x="2888" y="1041"/>
                    <a:pt x="2858" y="1071"/>
                    <a:pt x="2818" y="1080"/>
                  </a:cubicBezTo>
                  <a:cubicBezTo>
                    <a:pt x="2696" y="1106"/>
                    <a:pt x="2613" y="1199"/>
                    <a:pt x="2511" y="1258"/>
                  </a:cubicBezTo>
                  <a:cubicBezTo>
                    <a:pt x="2470" y="1281"/>
                    <a:pt x="2456" y="1324"/>
                    <a:pt x="2461" y="1373"/>
                  </a:cubicBezTo>
                  <a:cubicBezTo>
                    <a:pt x="2473" y="1484"/>
                    <a:pt x="2357" y="1579"/>
                    <a:pt x="2244" y="1551"/>
                  </a:cubicBezTo>
                  <a:cubicBezTo>
                    <a:pt x="2095" y="1513"/>
                    <a:pt x="2062" y="1528"/>
                    <a:pt x="1987" y="1663"/>
                  </a:cubicBezTo>
                  <a:cubicBezTo>
                    <a:pt x="1948" y="1733"/>
                    <a:pt x="1920" y="1804"/>
                    <a:pt x="1810" y="1731"/>
                  </a:cubicBezTo>
                  <a:cubicBezTo>
                    <a:pt x="1756" y="1696"/>
                    <a:pt x="1665" y="1748"/>
                    <a:pt x="1624" y="1801"/>
                  </a:cubicBezTo>
                  <a:cubicBezTo>
                    <a:pt x="1522" y="1932"/>
                    <a:pt x="1469" y="2080"/>
                    <a:pt x="1540" y="2249"/>
                  </a:cubicBezTo>
                  <a:cubicBezTo>
                    <a:pt x="1549" y="2270"/>
                    <a:pt x="1559" y="2304"/>
                    <a:pt x="1549" y="2317"/>
                  </a:cubicBezTo>
                  <a:cubicBezTo>
                    <a:pt x="1472" y="2411"/>
                    <a:pt x="1537" y="2510"/>
                    <a:pt x="1535" y="2605"/>
                  </a:cubicBezTo>
                  <a:cubicBezTo>
                    <a:pt x="1541" y="2626"/>
                    <a:pt x="1534" y="2631"/>
                    <a:pt x="1516" y="2622"/>
                  </a:cubicBezTo>
                  <a:cubicBezTo>
                    <a:pt x="1513" y="2610"/>
                    <a:pt x="1508" y="2593"/>
                    <a:pt x="1494" y="2599"/>
                  </a:cubicBezTo>
                  <a:cubicBezTo>
                    <a:pt x="1465" y="2612"/>
                    <a:pt x="1476" y="2643"/>
                    <a:pt x="1472" y="2667"/>
                  </a:cubicBezTo>
                  <a:cubicBezTo>
                    <a:pt x="1496" y="2708"/>
                    <a:pt x="1464" y="2722"/>
                    <a:pt x="1437" y="2734"/>
                  </a:cubicBezTo>
                  <a:cubicBezTo>
                    <a:pt x="1402" y="2750"/>
                    <a:pt x="1381" y="2772"/>
                    <a:pt x="1383" y="2811"/>
                  </a:cubicBezTo>
                  <a:cubicBezTo>
                    <a:pt x="1376" y="2840"/>
                    <a:pt x="1356" y="2861"/>
                    <a:pt x="1340" y="2884"/>
                  </a:cubicBezTo>
                  <a:cubicBezTo>
                    <a:pt x="1330" y="2895"/>
                    <a:pt x="1318" y="2901"/>
                    <a:pt x="1302" y="2896"/>
                  </a:cubicBezTo>
                  <a:cubicBezTo>
                    <a:pt x="1247" y="2853"/>
                    <a:pt x="1194" y="2805"/>
                    <a:pt x="1142" y="2904"/>
                  </a:cubicBezTo>
                  <a:cubicBezTo>
                    <a:pt x="1122" y="2941"/>
                    <a:pt x="1076" y="2948"/>
                    <a:pt x="1034" y="2953"/>
                  </a:cubicBezTo>
                  <a:cubicBezTo>
                    <a:pt x="969" y="2949"/>
                    <a:pt x="904" y="2924"/>
                    <a:pt x="839" y="2953"/>
                  </a:cubicBezTo>
                  <a:cubicBezTo>
                    <a:pt x="813" y="2977"/>
                    <a:pt x="821" y="3015"/>
                    <a:pt x="804" y="3044"/>
                  </a:cubicBezTo>
                  <a:cubicBezTo>
                    <a:pt x="771" y="3088"/>
                    <a:pt x="737" y="3129"/>
                    <a:pt x="673" y="3109"/>
                  </a:cubicBezTo>
                  <a:cubicBezTo>
                    <a:pt x="635" y="3084"/>
                    <a:pt x="629" y="3053"/>
                    <a:pt x="657" y="3016"/>
                  </a:cubicBezTo>
                  <a:cubicBezTo>
                    <a:pt x="673" y="3000"/>
                    <a:pt x="697" y="2994"/>
                    <a:pt x="715" y="2978"/>
                  </a:cubicBezTo>
                  <a:cubicBezTo>
                    <a:pt x="738" y="2952"/>
                    <a:pt x="750" y="2919"/>
                    <a:pt x="765" y="2888"/>
                  </a:cubicBezTo>
                  <a:cubicBezTo>
                    <a:pt x="768" y="2870"/>
                    <a:pt x="767" y="2853"/>
                    <a:pt x="758" y="2837"/>
                  </a:cubicBezTo>
                  <a:cubicBezTo>
                    <a:pt x="745" y="2815"/>
                    <a:pt x="717" y="2809"/>
                    <a:pt x="702" y="2788"/>
                  </a:cubicBezTo>
                  <a:cubicBezTo>
                    <a:pt x="692" y="2739"/>
                    <a:pt x="663" y="2707"/>
                    <a:pt x="617" y="2689"/>
                  </a:cubicBezTo>
                  <a:cubicBezTo>
                    <a:pt x="610" y="2683"/>
                    <a:pt x="604" y="2676"/>
                    <a:pt x="599" y="2669"/>
                  </a:cubicBezTo>
                  <a:cubicBezTo>
                    <a:pt x="590" y="2649"/>
                    <a:pt x="588" y="2627"/>
                    <a:pt x="578" y="2607"/>
                  </a:cubicBezTo>
                  <a:cubicBezTo>
                    <a:pt x="572" y="2601"/>
                    <a:pt x="567" y="2594"/>
                    <a:pt x="561" y="2588"/>
                  </a:cubicBezTo>
                  <a:cubicBezTo>
                    <a:pt x="536" y="2561"/>
                    <a:pt x="505" y="2546"/>
                    <a:pt x="468" y="2548"/>
                  </a:cubicBezTo>
                  <a:cubicBezTo>
                    <a:pt x="458" y="2549"/>
                    <a:pt x="449" y="2549"/>
                    <a:pt x="440" y="2549"/>
                  </a:cubicBezTo>
                  <a:cubicBezTo>
                    <a:pt x="398" y="2551"/>
                    <a:pt x="356" y="2561"/>
                    <a:pt x="317" y="2535"/>
                  </a:cubicBezTo>
                  <a:cubicBezTo>
                    <a:pt x="287" y="2511"/>
                    <a:pt x="264" y="2484"/>
                    <a:pt x="286" y="2443"/>
                  </a:cubicBezTo>
                  <a:cubicBezTo>
                    <a:pt x="303" y="2411"/>
                    <a:pt x="278" y="2403"/>
                    <a:pt x="258" y="2392"/>
                  </a:cubicBezTo>
                  <a:cubicBezTo>
                    <a:pt x="204" y="2361"/>
                    <a:pt x="134" y="2439"/>
                    <a:pt x="85" y="2368"/>
                  </a:cubicBezTo>
                  <a:cubicBezTo>
                    <a:pt x="76" y="2340"/>
                    <a:pt x="83" y="2304"/>
                    <a:pt x="44" y="2292"/>
                  </a:cubicBezTo>
                  <a:cubicBezTo>
                    <a:pt x="0" y="2265"/>
                    <a:pt x="1" y="2230"/>
                    <a:pt x="24" y="2190"/>
                  </a:cubicBezTo>
                  <a:cubicBezTo>
                    <a:pt x="33" y="2177"/>
                    <a:pt x="45" y="2168"/>
                    <a:pt x="58" y="2161"/>
                  </a:cubicBezTo>
                  <a:cubicBezTo>
                    <a:pt x="96" y="2145"/>
                    <a:pt x="137" y="2139"/>
                    <a:pt x="176" y="2129"/>
                  </a:cubicBezTo>
                  <a:cubicBezTo>
                    <a:pt x="235" y="2114"/>
                    <a:pt x="256" y="2068"/>
                    <a:pt x="267" y="2017"/>
                  </a:cubicBezTo>
                  <a:cubicBezTo>
                    <a:pt x="277" y="1965"/>
                    <a:pt x="232" y="1959"/>
                    <a:pt x="198" y="1945"/>
                  </a:cubicBezTo>
                  <a:cubicBezTo>
                    <a:pt x="167" y="1934"/>
                    <a:pt x="145" y="1914"/>
                    <a:pt x="145" y="1878"/>
                  </a:cubicBezTo>
                  <a:cubicBezTo>
                    <a:pt x="169" y="1824"/>
                    <a:pt x="188" y="1769"/>
                    <a:pt x="187" y="1708"/>
                  </a:cubicBezTo>
                  <a:cubicBezTo>
                    <a:pt x="192" y="1700"/>
                    <a:pt x="199" y="1693"/>
                    <a:pt x="208" y="1688"/>
                  </a:cubicBezTo>
                  <a:cubicBezTo>
                    <a:pt x="235" y="1677"/>
                    <a:pt x="264" y="1678"/>
                    <a:pt x="293" y="1677"/>
                  </a:cubicBezTo>
                  <a:cubicBezTo>
                    <a:pt x="321" y="1674"/>
                    <a:pt x="352" y="1687"/>
                    <a:pt x="374" y="1659"/>
                  </a:cubicBezTo>
                  <a:cubicBezTo>
                    <a:pt x="380" y="1639"/>
                    <a:pt x="380" y="1618"/>
                    <a:pt x="382" y="1598"/>
                  </a:cubicBezTo>
                  <a:cubicBezTo>
                    <a:pt x="400" y="1549"/>
                    <a:pt x="407" y="1505"/>
                    <a:pt x="336" y="1498"/>
                  </a:cubicBezTo>
                  <a:cubicBezTo>
                    <a:pt x="248" y="1443"/>
                    <a:pt x="355" y="1436"/>
                    <a:pt x="359" y="1404"/>
                  </a:cubicBezTo>
                  <a:cubicBezTo>
                    <a:pt x="366" y="1333"/>
                    <a:pt x="398" y="1266"/>
                    <a:pt x="388" y="1193"/>
                  </a:cubicBezTo>
                  <a:cubicBezTo>
                    <a:pt x="383" y="1185"/>
                    <a:pt x="380" y="1177"/>
                    <a:pt x="377" y="1169"/>
                  </a:cubicBezTo>
                  <a:cubicBezTo>
                    <a:pt x="374" y="1139"/>
                    <a:pt x="393" y="1118"/>
                    <a:pt x="408" y="1096"/>
                  </a:cubicBezTo>
                  <a:cubicBezTo>
                    <a:pt x="416" y="1085"/>
                    <a:pt x="426" y="1076"/>
                    <a:pt x="437" y="1069"/>
                  </a:cubicBezTo>
                  <a:cubicBezTo>
                    <a:pt x="449" y="1060"/>
                    <a:pt x="464" y="1055"/>
                    <a:pt x="472" y="1041"/>
                  </a:cubicBezTo>
                  <a:cubicBezTo>
                    <a:pt x="462" y="1016"/>
                    <a:pt x="429" y="1025"/>
                    <a:pt x="417" y="1003"/>
                  </a:cubicBezTo>
                  <a:cubicBezTo>
                    <a:pt x="411" y="990"/>
                    <a:pt x="411" y="976"/>
                    <a:pt x="415" y="962"/>
                  </a:cubicBezTo>
                  <a:cubicBezTo>
                    <a:pt x="444" y="905"/>
                    <a:pt x="518" y="870"/>
                    <a:pt x="502" y="789"/>
                  </a:cubicBezTo>
                  <a:cubicBezTo>
                    <a:pt x="514" y="703"/>
                    <a:pt x="447" y="622"/>
                    <a:pt x="484" y="534"/>
                  </a:cubicBezTo>
                  <a:cubicBezTo>
                    <a:pt x="491" y="533"/>
                    <a:pt x="498" y="533"/>
                    <a:pt x="504" y="532"/>
                  </a:cubicBezTo>
                  <a:cubicBezTo>
                    <a:pt x="535" y="535"/>
                    <a:pt x="555" y="523"/>
                    <a:pt x="562" y="491"/>
                  </a:cubicBezTo>
                  <a:cubicBezTo>
                    <a:pt x="576" y="452"/>
                    <a:pt x="662" y="438"/>
                    <a:pt x="605" y="372"/>
                  </a:cubicBezTo>
                  <a:cubicBezTo>
                    <a:pt x="580" y="348"/>
                    <a:pt x="578" y="326"/>
                    <a:pt x="610" y="306"/>
                  </a:cubicBezTo>
                  <a:cubicBezTo>
                    <a:pt x="609" y="307"/>
                    <a:pt x="609" y="307"/>
                    <a:pt x="609" y="307"/>
                  </a:cubicBezTo>
                  <a:cubicBezTo>
                    <a:pt x="627" y="282"/>
                    <a:pt x="624" y="240"/>
                    <a:pt x="667" y="236"/>
                  </a:cubicBezTo>
                  <a:cubicBezTo>
                    <a:pt x="733" y="271"/>
                    <a:pt x="748" y="180"/>
                    <a:pt x="801" y="182"/>
                  </a:cubicBezTo>
                  <a:cubicBezTo>
                    <a:pt x="805" y="177"/>
                    <a:pt x="810" y="172"/>
                    <a:pt x="815" y="168"/>
                  </a:cubicBezTo>
                  <a:cubicBezTo>
                    <a:pt x="834" y="121"/>
                    <a:pt x="809" y="66"/>
                    <a:pt x="845" y="23"/>
                  </a:cubicBezTo>
                  <a:cubicBezTo>
                    <a:pt x="888" y="0"/>
                    <a:pt x="924" y="54"/>
                    <a:pt x="967" y="35"/>
                  </a:cubicBezTo>
                  <a:cubicBezTo>
                    <a:pt x="998" y="45"/>
                    <a:pt x="1038" y="29"/>
                    <a:pt x="1062" y="64"/>
                  </a:cubicBezTo>
                  <a:cubicBezTo>
                    <a:pt x="1062" y="68"/>
                    <a:pt x="1061" y="73"/>
                    <a:pt x="1061" y="77"/>
                  </a:cubicBezTo>
                  <a:cubicBezTo>
                    <a:pt x="1072" y="106"/>
                    <a:pt x="1089" y="130"/>
                    <a:pt x="1108" y="153"/>
                  </a:cubicBezTo>
                  <a:cubicBezTo>
                    <a:pt x="1196" y="159"/>
                    <a:pt x="1284" y="146"/>
                    <a:pt x="1371" y="155"/>
                  </a:cubicBezTo>
                  <a:cubicBezTo>
                    <a:pt x="1404" y="159"/>
                    <a:pt x="1439" y="146"/>
                    <a:pt x="1471" y="16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8" name="Freeform 11">
              <a:extLst>
                <a:ext uri="{FF2B5EF4-FFF2-40B4-BE49-F238E27FC236}">
                  <a16:creationId xmlns:a16="http://schemas.microsoft.com/office/drawing/2014/main" id="{380BF54F-81DF-4E8A-87CD-9C702710FBF5}"/>
                </a:ext>
              </a:extLst>
            </p:cNvPr>
            <p:cNvSpPr>
              <a:spLocks/>
            </p:cNvSpPr>
            <p:nvPr/>
          </p:nvSpPr>
          <p:spPr bwMode="auto">
            <a:xfrm>
              <a:off x="4344727" y="2249062"/>
              <a:ext cx="1248223" cy="1126114"/>
            </a:xfrm>
            <a:custGeom>
              <a:avLst/>
              <a:gdLst>
                <a:gd name="T0" fmla="*/ 1471 w 2978"/>
                <a:gd name="T1" fmla="*/ 830 h 2687"/>
                <a:gd name="T2" fmla="*/ 1952 w 2978"/>
                <a:gd name="T3" fmla="*/ 1118 h 2687"/>
                <a:gd name="T4" fmla="*/ 2219 w 2978"/>
                <a:gd name="T5" fmla="*/ 1214 h 2687"/>
                <a:gd name="T6" fmla="*/ 2677 w 2978"/>
                <a:gd name="T7" fmla="*/ 1353 h 2687"/>
                <a:gd name="T8" fmla="*/ 2808 w 2978"/>
                <a:gd name="T9" fmla="*/ 1553 h 2687"/>
                <a:gd name="T10" fmla="*/ 2883 w 2978"/>
                <a:gd name="T11" fmla="*/ 1615 h 2687"/>
                <a:gd name="T12" fmla="*/ 2762 w 2978"/>
                <a:gd name="T13" fmla="*/ 1727 h 2687"/>
                <a:gd name="T14" fmla="*/ 2955 w 2978"/>
                <a:gd name="T15" fmla="*/ 1979 h 2687"/>
                <a:gd name="T16" fmla="*/ 2855 w 2978"/>
                <a:gd name="T17" fmla="*/ 2070 h 2687"/>
                <a:gd name="T18" fmla="*/ 2685 w 2978"/>
                <a:gd name="T19" fmla="*/ 2167 h 2687"/>
                <a:gd name="T20" fmla="*/ 2503 w 2978"/>
                <a:gd name="T21" fmla="*/ 2395 h 2687"/>
                <a:gd name="T22" fmla="*/ 2549 w 2978"/>
                <a:gd name="T23" fmla="*/ 2467 h 2687"/>
                <a:gd name="T24" fmla="*/ 2408 w 2978"/>
                <a:gd name="T25" fmla="*/ 2679 h 2687"/>
                <a:gd name="T26" fmla="*/ 2239 w 2978"/>
                <a:gd name="T27" fmla="*/ 2611 h 2687"/>
                <a:gd name="T28" fmla="*/ 2236 w 2978"/>
                <a:gd name="T29" fmla="*/ 2502 h 2687"/>
                <a:gd name="T30" fmla="*/ 1921 w 2978"/>
                <a:gd name="T31" fmla="*/ 2408 h 2687"/>
                <a:gd name="T32" fmla="*/ 1826 w 2978"/>
                <a:gd name="T33" fmla="*/ 2324 h 2687"/>
                <a:gd name="T34" fmla="*/ 1620 w 2978"/>
                <a:gd name="T35" fmla="*/ 2333 h 2687"/>
                <a:gd name="T36" fmla="*/ 1371 w 2978"/>
                <a:gd name="T37" fmla="*/ 2283 h 2687"/>
                <a:gd name="T38" fmla="*/ 1244 w 2978"/>
                <a:gd name="T39" fmla="*/ 2181 h 2687"/>
                <a:gd name="T40" fmla="*/ 1134 w 2978"/>
                <a:gd name="T41" fmla="*/ 2205 h 2687"/>
                <a:gd name="T42" fmla="*/ 999 w 2978"/>
                <a:gd name="T43" fmla="*/ 2253 h 2687"/>
                <a:gd name="T44" fmla="*/ 741 w 2978"/>
                <a:gd name="T45" fmla="*/ 2180 h 2687"/>
                <a:gd name="T46" fmla="*/ 700 w 2978"/>
                <a:gd name="T47" fmla="*/ 2104 h 2687"/>
                <a:gd name="T48" fmla="*/ 576 w 2978"/>
                <a:gd name="T49" fmla="*/ 2126 h 2687"/>
                <a:gd name="T50" fmla="*/ 487 w 2978"/>
                <a:gd name="T51" fmla="*/ 2175 h 2687"/>
                <a:gd name="T52" fmla="*/ 586 w 2978"/>
                <a:gd name="T53" fmla="*/ 2020 h 2687"/>
                <a:gd name="T54" fmla="*/ 675 w 2978"/>
                <a:gd name="T55" fmla="*/ 1919 h 2687"/>
                <a:gd name="T56" fmla="*/ 751 w 2978"/>
                <a:gd name="T57" fmla="*/ 1753 h 2687"/>
                <a:gd name="T58" fmla="*/ 746 w 2978"/>
                <a:gd name="T59" fmla="*/ 1629 h 2687"/>
                <a:gd name="T60" fmla="*/ 462 w 2978"/>
                <a:gd name="T61" fmla="*/ 1505 h 2687"/>
                <a:gd name="T62" fmla="*/ 216 w 2978"/>
                <a:gd name="T63" fmla="*/ 1372 h 2687"/>
                <a:gd name="T64" fmla="*/ 168 w 2978"/>
                <a:gd name="T65" fmla="*/ 1015 h 2687"/>
                <a:gd name="T66" fmla="*/ 106 w 2978"/>
                <a:gd name="T67" fmla="*/ 838 h 2687"/>
                <a:gd name="T68" fmla="*/ 22 w 2978"/>
                <a:gd name="T69" fmla="*/ 500 h 2687"/>
                <a:gd name="T70" fmla="*/ 187 w 2978"/>
                <a:gd name="T71" fmla="*/ 81 h 2687"/>
                <a:gd name="T72" fmla="*/ 320 w 2978"/>
                <a:gd name="T73" fmla="*/ 186 h 2687"/>
                <a:gd name="T74" fmla="*/ 319 w 2978"/>
                <a:gd name="T75" fmla="*/ 262 h 2687"/>
                <a:gd name="T76" fmla="*/ 566 w 2978"/>
                <a:gd name="T77" fmla="*/ 271 h 2687"/>
                <a:gd name="T78" fmla="*/ 751 w 2978"/>
                <a:gd name="T79" fmla="*/ 519 h 2687"/>
                <a:gd name="T80" fmla="*/ 1240 w 2978"/>
                <a:gd name="T81" fmla="*/ 73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78" h="2687">
                  <a:moveTo>
                    <a:pt x="1240" y="733"/>
                  </a:moveTo>
                  <a:cubicBezTo>
                    <a:pt x="1294" y="815"/>
                    <a:pt x="1395" y="797"/>
                    <a:pt x="1471" y="830"/>
                  </a:cubicBezTo>
                  <a:cubicBezTo>
                    <a:pt x="1586" y="880"/>
                    <a:pt x="1653" y="978"/>
                    <a:pt x="1752" y="1040"/>
                  </a:cubicBezTo>
                  <a:cubicBezTo>
                    <a:pt x="1813" y="1079"/>
                    <a:pt x="1868" y="1119"/>
                    <a:pt x="1952" y="1118"/>
                  </a:cubicBezTo>
                  <a:cubicBezTo>
                    <a:pt x="2038" y="1118"/>
                    <a:pt x="2101" y="1224"/>
                    <a:pt x="2204" y="1201"/>
                  </a:cubicBezTo>
                  <a:cubicBezTo>
                    <a:pt x="2208" y="1201"/>
                    <a:pt x="2215" y="1209"/>
                    <a:pt x="2219" y="1214"/>
                  </a:cubicBezTo>
                  <a:cubicBezTo>
                    <a:pt x="2296" y="1332"/>
                    <a:pt x="2404" y="1351"/>
                    <a:pt x="2532" y="1312"/>
                  </a:cubicBezTo>
                  <a:cubicBezTo>
                    <a:pt x="2586" y="1296"/>
                    <a:pt x="2627" y="1344"/>
                    <a:pt x="2677" y="1353"/>
                  </a:cubicBezTo>
                  <a:cubicBezTo>
                    <a:pt x="2724" y="1365"/>
                    <a:pt x="2729" y="1408"/>
                    <a:pt x="2743" y="1444"/>
                  </a:cubicBezTo>
                  <a:cubicBezTo>
                    <a:pt x="2759" y="1484"/>
                    <a:pt x="2771" y="1526"/>
                    <a:pt x="2808" y="1553"/>
                  </a:cubicBezTo>
                  <a:cubicBezTo>
                    <a:pt x="2827" y="1566"/>
                    <a:pt x="2825" y="1611"/>
                    <a:pt x="2866" y="1593"/>
                  </a:cubicBezTo>
                  <a:cubicBezTo>
                    <a:pt x="2873" y="1599"/>
                    <a:pt x="2878" y="1607"/>
                    <a:pt x="2883" y="1615"/>
                  </a:cubicBezTo>
                  <a:cubicBezTo>
                    <a:pt x="2899" y="1665"/>
                    <a:pt x="2865" y="1671"/>
                    <a:pt x="2830" y="1681"/>
                  </a:cubicBezTo>
                  <a:cubicBezTo>
                    <a:pt x="2803" y="1688"/>
                    <a:pt x="2755" y="1669"/>
                    <a:pt x="2762" y="1727"/>
                  </a:cubicBezTo>
                  <a:cubicBezTo>
                    <a:pt x="2831" y="1749"/>
                    <a:pt x="2790" y="1808"/>
                    <a:pt x="2804" y="1849"/>
                  </a:cubicBezTo>
                  <a:cubicBezTo>
                    <a:pt x="2838" y="1912"/>
                    <a:pt x="2905" y="1935"/>
                    <a:pt x="2955" y="1979"/>
                  </a:cubicBezTo>
                  <a:cubicBezTo>
                    <a:pt x="2978" y="2013"/>
                    <a:pt x="2969" y="2035"/>
                    <a:pt x="2931" y="2046"/>
                  </a:cubicBezTo>
                  <a:cubicBezTo>
                    <a:pt x="2905" y="2053"/>
                    <a:pt x="2878" y="2054"/>
                    <a:pt x="2855" y="2070"/>
                  </a:cubicBezTo>
                  <a:cubicBezTo>
                    <a:pt x="2827" y="2083"/>
                    <a:pt x="2794" y="2076"/>
                    <a:pt x="2766" y="2091"/>
                  </a:cubicBezTo>
                  <a:cubicBezTo>
                    <a:pt x="2731" y="2107"/>
                    <a:pt x="2695" y="2123"/>
                    <a:pt x="2685" y="2167"/>
                  </a:cubicBezTo>
                  <a:cubicBezTo>
                    <a:pt x="2680" y="2175"/>
                    <a:pt x="2674" y="2181"/>
                    <a:pt x="2666" y="2186"/>
                  </a:cubicBezTo>
                  <a:cubicBezTo>
                    <a:pt x="2500" y="2248"/>
                    <a:pt x="2476" y="2280"/>
                    <a:pt x="2503" y="2395"/>
                  </a:cubicBezTo>
                  <a:cubicBezTo>
                    <a:pt x="2506" y="2409"/>
                    <a:pt x="2518" y="2417"/>
                    <a:pt x="2526" y="2428"/>
                  </a:cubicBezTo>
                  <a:cubicBezTo>
                    <a:pt x="2536" y="2440"/>
                    <a:pt x="2544" y="2452"/>
                    <a:pt x="2549" y="2467"/>
                  </a:cubicBezTo>
                  <a:cubicBezTo>
                    <a:pt x="2558" y="2505"/>
                    <a:pt x="2553" y="2538"/>
                    <a:pt x="2514" y="2557"/>
                  </a:cubicBezTo>
                  <a:cubicBezTo>
                    <a:pt x="2436" y="2560"/>
                    <a:pt x="2462" y="2654"/>
                    <a:pt x="2408" y="2679"/>
                  </a:cubicBezTo>
                  <a:cubicBezTo>
                    <a:pt x="2378" y="2687"/>
                    <a:pt x="2350" y="2679"/>
                    <a:pt x="2323" y="2670"/>
                  </a:cubicBezTo>
                  <a:cubicBezTo>
                    <a:pt x="2289" y="2659"/>
                    <a:pt x="2260" y="2641"/>
                    <a:pt x="2239" y="2611"/>
                  </a:cubicBezTo>
                  <a:cubicBezTo>
                    <a:pt x="2235" y="2603"/>
                    <a:pt x="2232" y="2595"/>
                    <a:pt x="2230" y="2586"/>
                  </a:cubicBezTo>
                  <a:cubicBezTo>
                    <a:pt x="2222" y="2557"/>
                    <a:pt x="2254" y="2531"/>
                    <a:pt x="2236" y="2502"/>
                  </a:cubicBezTo>
                  <a:cubicBezTo>
                    <a:pt x="2179" y="2459"/>
                    <a:pt x="2110" y="2507"/>
                    <a:pt x="2052" y="2475"/>
                  </a:cubicBezTo>
                  <a:cubicBezTo>
                    <a:pt x="2014" y="2442"/>
                    <a:pt x="1969" y="2423"/>
                    <a:pt x="1921" y="2408"/>
                  </a:cubicBezTo>
                  <a:cubicBezTo>
                    <a:pt x="1894" y="2388"/>
                    <a:pt x="1890" y="2344"/>
                    <a:pt x="1851" y="2336"/>
                  </a:cubicBezTo>
                  <a:cubicBezTo>
                    <a:pt x="1842" y="2333"/>
                    <a:pt x="1834" y="2329"/>
                    <a:pt x="1826" y="2324"/>
                  </a:cubicBezTo>
                  <a:cubicBezTo>
                    <a:pt x="1792" y="2304"/>
                    <a:pt x="1771" y="2248"/>
                    <a:pt x="1716" y="2282"/>
                  </a:cubicBezTo>
                  <a:cubicBezTo>
                    <a:pt x="1670" y="2272"/>
                    <a:pt x="1643" y="2299"/>
                    <a:pt x="1620" y="2333"/>
                  </a:cubicBezTo>
                  <a:cubicBezTo>
                    <a:pt x="1564" y="2367"/>
                    <a:pt x="1510" y="2377"/>
                    <a:pt x="1471" y="2312"/>
                  </a:cubicBezTo>
                  <a:cubicBezTo>
                    <a:pt x="1444" y="2267"/>
                    <a:pt x="1404" y="2292"/>
                    <a:pt x="1371" y="2283"/>
                  </a:cubicBezTo>
                  <a:cubicBezTo>
                    <a:pt x="1344" y="2285"/>
                    <a:pt x="1315" y="2294"/>
                    <a:pt x="1295" y="2266"/>
                  </a:cubicBezTo>
                  <a:cubicBezTo>
                    <a:pt x="1289" y="2231"/>
                    <a:pt x="1268" y="2205"/>
                    <a:pt x="1244" y="2181"/>
                  </a:cubicBezTo>
                  <a:cubicBezTo>
                    <a:pt x="1211" y="2147"/>
                    <a:pt x="1183" y="2173"/>
                    <a:pt x="1155" y="2190"/>
                  </a:cubicBezTo>
                  <a:cubicBezTo>
                    <a:pt x="1149" y="2196"/>
                    <a:pt x="1141" y="2201"/>
                    <a:pt x="1134" y="2205"/>
                  </a:cubicBezTo>
                  <a:cubicBezTo>
                    <a:pt x="1109" y="2215"/>
                    <a:pt x="1090" y="2234"/>
                    <a:pt x="1067" y="2246"/>
                  </a:cubicBezTo>
                  <a:cubicBezTo>
                    <a:pt x="1045" y="2255"/>
                    <a:pt x="1022" y="2255"/>
                    <a:pt x="999" y="2253"/>
                  </a:cubicBezTo>
                  <a:cubicBezTo>
                    <a:pt x="936" y="2255"/>
                    <a:pt x="908" y="2199"/>
                    <a:pt x="864" y="2170"/>
                  </a:cubicBezTo>
                  <a:cubicBezTo>
                    <a:pt x="820" y="2138"/>
                    <a:pt x="783" y="2188"/>
                    <a:pt x="741" y="2180"/>
                  </a:cubicBezTo>
                  <a:cubicBezTo>
                    <a:pt x="716" y="2172"/>
                    <a:pt x="709" y="2151"/>
                    <a:pt x="705" y="2128"/>
                  </a:cubicBezTo>
                  <a:cubicBezTo>
                    <a:pt x="703" y="2120"/>
                    <a:pt x="702" y="2112"/>
                    <a:pt x="700" y="2104"/>
                  </a:cubicBezTo>
                  <a:cubicBezTo>
                    <a:pt x="693" y="2092"/>
                    <a:pt x="682" y="2093"/>
                    <a:pt x="671" y="2097"/>
                  </a:cubicBezTo>
                  <a:cubicBezTo>
                    <a:pt x="644" y="2121"/>
                    <a:pt x="609" y="2122"/>
                    <a:pt x="576" y="2126"/>
                  </a:cubicBezTo>
                  <a:cubicBezTo>
                    <a:pt x="560" y="2132"/>
                    <a:pt x="546" y="2141"/>
                    <a:pt x="533" y="2151"/>
                  </a:cubicBezTo>
                  <a:cubicBezTo>
                    <a:pt x="519" y="2162"/>
                    <a:pt x="507" y="2178"/>
                    <a:pt x="487" y="2175"/>
                  </a:cubicBezTo>
                  <a:cubicBezTo>
                    <a:pt x="462" y="2160"/>
                    <a:pt x="462" y="2137"/>
                    <a:pt x="467" y="2112"/>
                  </a:cubicBezTo>
                  <a:cubicBezTo>
                    <a:pt x="489" y="2059"/>
                    <a:pt x="527" y="2026"/>
                    <a:pt x="586" y="2020"/>
                  </a:cubicBezTo>
                  <a:cubicBezTo>
                    <a:pt x="632" y="2016"/>
                    <a:pt x="654" y="1986"/>
                    <a:pt x="663" y="1943"/>
                  </a:cubicBezTo>
                  <a:cubicBezTo>
                    <a:pt x="666" y="1935"/>
                    <a:pt x="670" y="1926"/>
                    <a:pt x="675" y="1919"/>
                  </a:cubicBezTo>
                  <a:cubicBezTo>
                    <a:pt x="690" y="1897"/>
                    <a:pt x="705" y="1876"/>
                    <a:pt x="717" y="1851"/>
                  </a:cubicBezTo>
                  <a:cubicBezTo>
                    <a:pt x="734" y="1821"/>
                    <a:pt x="742" y="1787"/>
                    <a:pt x="751" y="1753"/>
                  </a:cubicBezTo>
                  <a:cubicBezTo>
                    <a:pt x="754" y="1744"/>
                    <a:pt x="758" y="1736"/>
                    <a:pt x="763" y="1729"/>
                  </a:cubicBezTo>
                  <a:cubicBezTo>
                    <a:pt x="789" y="1690"/>
                    <a:pt x="761" y="1660"/>
                    <a:pt x="746" y="1629"/>
                  </a:cubicBezTo>
                  <a:cubicBezTo>
                    <a:pt x="715" y="1583"/>
                    <a:pt x="674" y="1552"/>
                    <a:pt x="619" y="1541"/>
                  </a:cubicBezTo>
                  <a:cubicBezTo>
                    <a:pt x="565" y="1536"/>
                    <a:pt x="512" y="1527"/>
                    <a:pt x="462" y="1505"/>
                  </a:cubicBezTo>
                  <a:cubicBezTo>
                    <a:pt x="408" y="1454"/>
                    <a:pt x="340" y="1503"/>
                    <a:pt x="282" y="1481"/>
                  </a:cubicBezTo>
                  <a:cubicBezTo>
                    <a:pt x="251" y="1450"/>
                    <a:pt x="200" y="1431"/>
                    <a:pt x="216" y="1372"/>
                  </a:cubicBezTo>
                  <a:cubicBezTo>
                    <a:pt x="242" y="1336"/>
                    <a:pt x="216" y="1314"/>
                    <a:pt x="194" y="1292"/>
                  </a:cubicBezTo>
                  <a:cubicBezTo>
                    <a:pt x="95" y="1222"/>
                    <a:pt x="87" y="1136"/>
                    <a:pt x="168" y="1015"/>
                  </a:cubicBezTo>
                  <a:cubicBezTo>
                    <a:pt x="171" y="997"/>
                    <a:pt x="169" y="979"/>
                    <a:pt x="167" y="962"/>
                  </a:cubicBezTo>
                  <a:cubicBezTo>
                    <a:pt x="162" y="913"/>
                    <a:pt x="126" y="879"/>
                    <a:pt x="106" y="838"/>
                  </a:cubicBezTo>
                  <a:cubicBezTo>
                    <a:pt x="79" y="789"/>
                    <a:pt x="93" y="728"/>
                    <a:pt x="62" y="680"/>
                  </a:cubicBezTo>
                  <a:cubicBezTo>
                    <a:pt x="23" y="626"/>
                    <a:pt x="21" y="563"/>
                    <a:pt x="22" y="500"/>
                  </a:cubicBezTo>
                  <a:cubicBezTo>
                    <a:pt x="0" y="342"/>
                    <a:pt x="72" y="219"/>
                    <a:pt x="169" y="105"/>
                  </a:cubicBezTo>
                  <a:cubicBezTo>
                    <a:pt x="175" y="96"/>
                    <a:pt x="181" y="88"/>
                    <a:pt x="187" y="81"/>
                  </a:cubicBezTo>
                  <a:cubicBezTo>
                    <a:pt x="276" y="0"/>
                    <a:pt x="299" y="1"/>
                    <a:pt x="365" y="86"/>
                  </a:cubicBezTo>
                  <a:cubicBezTo>
                    <a:pt x="364" y="126"/>
                    <a:pt x="337" y="154"/>
                    <a:pt x="320" y="186"/>
                  </a:cubicBezTo>
                  <a:cubicBezTo>
                    <a:pt x="317" y="193"/>
                    <a:pt x="313" y="201"/>
                    <a:pt x="309" y="208"/>
                  </a:cubicBezTo>
                  <a:cubicBezTo>
                    <a:pt x="301" y="228"/>
                    <a:pt x="305" y="246"/>
                    <a:pt x="319" y="262"/>
                  </a:cubicBezTo>
                  <a:cubicBezTo>
                    <a:pt x="376" y="299"/>
                    <a:pt x="431" y="345"/>
                    <a:pt x="497" y="275"/>
                  </a:cubicBezTo>
                  <a:cubicBezTo>
                    <a:pt x="514" y="258"/>
                    <a:pt x="542" y="262"/>
                    <a:pt x="566" y="271"/>
                  </a:cubicBezTo>
                  <a:cubicBezTo>
                    <a:pt x="628" y="332"/>
                    <a:pt x="714" y="370"/>
                    <a:pt x="738" y="464"/>
                  </a:cubicBezTo>
                  <a:cubicBezTo>
                    <a:pt x="735" y="484"/>
                    <a:pt x="729" y="510"/>
                    <a:pt x="751" y="519"/>
                  </a:cubicBezTo>
                  <a:cubicBezTo>
                    <a:pt x="859" y="563"/>
                    <a:pt x="937" y="671"/>
                    <a:pt x="1067" y="670"/>
                  </a:cubicBezTo>
                  <a:cubicBezTo>
                    <a:pt x="1132" y="669"/>
                    <a:pt x="1169" y="749"/>
                    <a:pt x="1240" y="73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9" name="Freeform 12">
              <a:extLst>
                <a:ext uri="{FF2B5EF4-FFF2-40B4-BE49-F238E27FC236}">
                  <a16:creationId xmlns:a16="http://schemas.microsoft.com/office/drawing/2014/main" id="{EC8C8F43-7E25-4C90-BA64-53256D2F9EC8}"/>
                </a:ext>
              </a:extLst>
            </p:cNvPr>
            <p:cNvSpPr>
              <a:spLocks/>
            </p:cNvSpPr>
            <p:nvPr/>
          </p:nvSpPr>
          <p:spPr bwMode="auto">
            <a:xfrm>
              <a:off x="3736897" y="1027974"/>
              <a:ext cx="1196666" cy="865615"/>
            </a:xfrm>
            <a:custGeom>
              <a:avLst/>
              <a:gdLst>
                <a:gd name="T0" fmla="*/ 910 w 2857"/>
                <a:gd name="T1" fmla="*/ 1987 h 2068"/>
                <a:gd name="T2" fmla="*/ 773 w 2857"/>
                <a:gd name="T3" fmla="*/ 1919 h 2068"/>
                <a:gd name="T4" fmla="*/ 685 w 2857"/>
                <a:gd name="T5" fmla="*/ 1756 h 2068"/>
                <a:gd name="T6" fmla="*/ 486 w 2857"/>
                <a:gd name="T7" fmla="*/ 1727 h 2068"/>
                <a:gd name="T8" fmla="*/ 361 w 2857"/>
                <a:gd name="T9" fmla="*/ 1661 h 2068"/>
                <a:gd name="T10" fmla="*/ 292 w 2857"/>
                <a:gd name="T11" fmla="*/ 1561 h 2068"/>
                <a:gd name="T12" fmla="*/ 269 w 2857"/>
                <a:gd name="T13" fmla="*/ 1112 h 2068"/>
                <a:gd name="T14" fmla="*/ 330 w 2857"/>
                <a:gd name="T15" fmla="*/ 998 h 2068"/>
                <a:gd name="T16" fmla="*/ 504 w 2857"/>
                <a:gd name="T17" fmla="*/ 877 h 2068"/>
                <a:gd name="T18" fmla="*/ 480 w 2857"/>
                <a:gd name="T19" fmla="*/ 744 h 2068"/>
                <a:gd name="T20" fmla="*/ 426 w 2857"/>
                <a:gd name="T21" fmla="*/ 633 h 2068"/>
                <a:gd name="T22" fmla="*/ 382 w 2857"/>
                <a:gd name="T23" fmla="*/ 587 h 2068"/>
                <a:gd name="T24" fmla="*/ 199 w 2857"/>
                <a:gd name="T25" fmla="*/ 460 h 2068"/>
                <a:gd name="T26" fmla="*/ 88 w 2857"/>
                <a:gd name="T27" fmla="*/ 430 h 2068"/>
                <a:gd name="T28" fmla="*/ 7 w 2857"/>
                <a:gd name="T29" fmla="*/ 374 h 2068"/>
                <a:gd name="T30" fmla="*/ 45 w 2857"/>
                <a:gd name="T31" fmla="*/ 282 h 2068"/>
                <a:gd name="T32" fmla="*/ 214 w 2857"/>
                <a:gd name="T33" fmla="*/ 138 h 2068"/>
                <a:gd name="T34" fmla="*/ 354 w 2857"/>
                <a:gd name="T35" fmla="*/ 106 h 2068"/>
                <a:gd name="T36" fmla="*/ 521 w 2857"/>
                <a:gd name="T37" fmla="*/ 78 h 2068"/>
                <a:gd name="T38" fmla="*/ 836 w 2857"/>
                <a:gd name="T39" fmla="*/ 23 h 2068"/>
                <a:gd name="T40" fmla="*/ 984 w 2857"/>
                <a:gd name="T41" fmla="*/ 46 h 2068"/>
                <a:gd name="T42" fmla="*/ 1074 w 2857"/>
                <a:gd name="T43" fmla="*/ 120 h 2068"/>
                <a:gd name="T44" fmla="*/ 1107 w 2857"/>
                <a:gd name="T45" fmla="*/ 150 h 2068"/>
                <a:gd name="T46" fmla="*/ 1246 w 2857"/>
                <a:gd name="T47" fmla="*/ 246 h 2068"/>
                <a:gd name="T48" fmla="*/ 1464 w 2857"/>
                <a:gd name="T49" fmla="*/ 412 h 2068"/>
                <a:gd name="T50" fmla="*/ 1504 w 2857"/>
                <a:gd name="T51" fmla="*/ 441 h 2068"/>
                <a:gd name="T52" fmla="*/ 1701 w 2857"/>
                <a:gd name="T53" fmla="*/ 606 h 2068"/>
                <a:gd name="T54" fmla="*/ 1736 w 2857"/>
                <a:gd name="T55" fmla="*/ 710 h 2068"/>
                <a:gd name="T56" fmla="*/ 2201 w 2857"/>
                <a:gd name="T57" fmla="*/ 626 h 2068"/>
                <a:gd name="T58" fmla="*/ 2593 w 2857"/>
                <a:gd name="T59" fmla="*/ 614 h 2068"/>
                <a:gd name="T60" fmla="*/ 2794 w 2857"/>
                <a:gd name="T61" fmla="*/ 696 h 2068"/>
                <a:gd name="T62" fmla="*/ 2832 w 2857"/>
                <a:gd name="T63" fmla="*/ 728 h 2068"/>
                <a:gd name="T64" fmla="*/ 2723 w 2857"/>
                <a:gd name="T65" fmla="*/ 1063 h 2068"/>
                <a:gd name="T66" fmla="*/ 2564 w 2857"/>
                <a:gd name="T67" fmla="*/ 1164 h 2068"/>
                <a:gd name="T68" fmla="*/ 2549 w 2857"/>
                <a:gd name="T69" fmla="*/ 1214 h 2068"/>
                <a:gd name="T70" fmla="*/ 2427 w 2857"/>
                <a:gd name="T71" fmla="*/ 1333 h 2068"/>
                <a:gd name="T72" fmla="*/ 2342 w 2857"/>
                <a:gd name="T73" fmla="*/ 1448 h 2068"/>
                <a:gd name="T74" fmla="*/ 2337 w 2857"/>
                <a:gd name="T75" fmla="*/ 1503 h 2068"/>
                <a:gd name="T76" fmla="*/ 2402 w 2857"/>
                <a:gd name="T77" fmla="*/ 1676 h 2068"/>
                <a:gd name="T78" fmla="*/ 2450 w 2857"/>
                <a:gd name="T79" fmla="*/ 1753 h 2068"/>
                <a:gd name="T80" fmla="*/ 2489 w 2857"/>
                <a:gd name="T81" fmla="*/ 1843 h 2068"/>
                <a:gd name="T82" fmla="*/ 2454 w 2857"/>
                <a:gd name="T83" fmla="*/ 1965 h 2068"/>
                <a:gd name="T84" fmla="*/ 2399 w 2857"/>
                <a:gd name="T85" fmla="*/ 1989 h 2068"/>
                <a:gd name="T86" fmla="*/ 2231 w 2857"/>
                <a:gd name="T87" fmla="*/ 1915 h 2068"/>
                <a:gd name="T88" fmla="*/ 2100 w 2857"/>
                <a:gd name="T89" fmla="*/ 1968 h 2068"/>
                <a:gd name="T90" fmla="*/ 1944 w 2857"/>
                <a:gd name="T91" fmla="*/ 1923 h 2068"/>
                <a:gd name="T92" fmla="*/ 1908 w 2857"/>
                <a:gd name="T93" fmla="*/ 1883 h 2068"/>
                <a:gd name="T94" fmla="*/ 1857 w 2857"/>
                <a:gd name="T95" fmla="*/ 1812 h 2068"/>
                <a:gd name="T96" fmla="*/ 1654 w 2857"/>
                <a:gd name="T97" fmla="*/ 1803 h 2068"/>
                <a:gd name="T98" fmla="*/ 1572 w 2857"/>
                <a:gd name="T99" fmla="*/ 1759 h 2068"/>
                <a:gd name="T100" fmla="*/ 1550 w 2857"/>
                <a:gd name="T101" fmla="*/ 1745 h 2068"/>
                <a:gd name="T102" fmla="*/ 1453 w 2857"/>
                <a:gd name="T103" fmla="*/ 1678 h 2068"/>
                <a:gd name="T104" fmla="*/ 1333 w 2857"/>
                <a:gd name="T105" fmla="*/ 1679 h 2068"/>
                <a:gd name="T106" fmla="*/ 1258 w 2857"/>
                <a:gd name="T107" fmla="*/ 1736 h 2068"/>
                <a:gd name="T108" fmla="*/ 1134 w 2857"/>
                <a:gd name="T109" fmla="*/ 1817 h 2068"/>
                <a:gd name="T110" fmla="*/ 1136 w 2857"/>
                <a:gd name="T111" fmla="*/ 1859 h 2068"/>
                <a:gd name="T112" fmla="*/ 1031 w 2857"/>
                <a:gd name="T113" fmla="*/ 1985 h 2068"/>
                <a:gd name="T114" fmla="*/ 910 w 2857"/>
                <a:gd name="T115" fmla="*/ 1987 h 2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7" h="2068">
                  <a:moveTo>
                    <a:pt x="910" y="1987"/>
                  </a:moveTo>
                  <a:cubicBezTo>
                    <a:pt x="870" y="1953"/>
                    <a:pt x="832" y="1924"/>
                    <a:pt x="773" y="1919"/>
                  </a:cubicBezTo>
                  <a:cubicBezTo>
                    <a:pt x="693" y="1911"/>
                    <a:pt x="634" y="1870"/>
                    <a:pt x="685" y="1756"/>
                  </a:cubicBezTo>
                  <a:cubicBezTo>
                    <a:pt x="598" y="1795"/>
                    <a:pt x="542" y="1777"/>
                    <a:pt x="486" y="1727"/>
                  </a:cubicBezTo>
                  <a:cubicBezTo>
                    <a:pt x="452" y="1698"/>
                    <a:pt x="410" y="1673"/>
                    <a:pt x="361" y="1661"/>
                  </a:cubicBezTo>
                  <a:cubicBezTo>
                    <a:pt x="314" y="1649"/>
                    <a:pt x="288" y="1613"/>
                    <a:pt x="292" y="1561"/>
                  </a:cubicBezTo>
                  <a:cubicBezTo>
                    <a:pt x="305" y="1410"/>
                    <a:pt x="285" y="1261"/>
                    <a:pt x="269" y="1112"/>
                  </a:cubicBezTo>
                  <a:cubicBezTo>
                    <a:pt x="263" y="1057"/>
                    <a:pt x="272" y="1032"/>
                    <a:pt x="330" y="998"/>
                  </a:cubicBezTo>
                  <a:cubicBezTo>
                    <a:pt x="388" y="963"/>
                    <a:pt x="449" y="920"/>
                    <a:pt x="504" y="877"/>
                  </a:cubicBezTo>
                  <a:cubicBezTo>
                    <a:pt x="548" y="842"/>
                    <a:pt x="567" y="780"/>
                    <a:pt x="480" y="744"/>
                  </a:cubicBezTo>
                  <a:cubicBezTo>
                    <a:pt x="443" y="728"/>
                    <a:pt x="375" y="708"/>
                    <a:pt x="426" y="633"/>
                  </a:cubicBezTo>
                  <a:cubicBezTo>
                    <a:pt x="453" y="593"/>
                    <a:pt x="404" y="595"/>
                    <a:pt x="382" y="587"/>
                  </a:cubicBezTo>
                  <a:cubicBezTo>
                    <a:pt x="310" y="560"/>
                    <a:pt x="230" y="554"/>
                    <a:pt x="199" y="460"/>
                  </a:cubicBezTo>
                  <a:cubicBezTo>
                    <a:pt x="185" y="415"/>
                    <a:pt x="128" y="430"/>
                    <a:pt x="88" y="430"/>
                  </a:cubicBezTo>
                  <a:cubicBezTo>
                    <a:pt x="47" y="431"/>
                    <a:pt x="11" y="424"/>
                    <a:pt x="7" y="374"/>
                  </a:cubicBezTo>
                  <a:cubicBezTo>
                    <a:pt x="4" y="339"/>
                    <a:pt x="0" y="309"/>
                    <a:pt x="45" y="282"/>
                  </a:cubicBezTo>
                  <a:cubicBezTo>
                    <a:pt x="107" y="244"/>
                    <a:pt x="172" y="203"/>
                    <a:pt x="214" y="138"/>
                  </a:cubicBezTo>
                  <a:cubicBezTo>
                    <a:pt x="250" y="83"/>
                    <a:pt x="305" y="101"/>
                    <a:pt x="354" y="106"/>
                  </a:cubicBezTo>
                  <a:cubicBezTo>
                    <a:pt x="414" y="114"/>
                    <a:pt x="454" y="121"/>
                    <a:pt x="521" y="78"/>
                  </a:cubicBezTo>
                  <a:cubicBezTo>
                    <a:pt x="601" y="27"/>
                    <a:pt x="728" y="0"/>
                    <a:pt x="836" y="23"/>
                  </a:cubicBezTo>
                  <a:cubicBezTo>
                    <a:pt x="885" y="33"/>
                    <a:pt x="937" y="25"/>
                    <a:pt x="984" y="46"/>
                  </a:cubicBezTo>
                  <a:cubicBezTo>
                    <a:pt x="1021" y="62"/>
                    <a:pt x="1078" y="51"/>
                    <a:pt x="1074" y="120"/>
                  </a:cubicBezTo>
                  <a:cubicBezTo>
                    <a:pt x="1073" y="137"/>
                    <a:pt x="1089" y="156"/>
                    <a:pt x="1107" y="150"/>
                  </a:cubicBezTo>
                  <a:cubicBezTo>
                    <a:pt x="1199" y="119"/>
                    <a:pt x="1220" y="185"/>
                    <a:pt x="1246" y="246"/>
                  </a:cubicBezTo>
                  <a:cubicBezTo>
                    <a:pt x="1286" y="344"/>
                    <a:pt x="1398" y="348"/>
                    <a:pt x="1464" y="412"/>
                  </a:cubicBezTo>
                  <a:cubicBezTo>
                    <a:pt x="1476" y="424"/>
                    <a:pt x="1504" y="431"/>
                    <a:pt x="1504" y="441"/>
                  </a:cubicBezTo>
                  <a:cubicBezTo>
                    <a:pt x="1509" y="568"/>
                    <a:pt x="1622" y="573"/>
                    <a:pt x="1701" y="606"/>
                  </a:cubicBezTo>
                  <a:cubicBezTo>
                    <a:pt x="1763" y="632"/>
                    <a:pt x="1786" y="652"/>
                    <a:pt x="1736" y="710"/>
                  </a:cubicBezTo>
                  <a:cubicBezTo>
                    <a:pt x="1908" y="740"/>
                    <a:pt x="2052" y="674"/>
                    <a:pt x="2201" y="626"/>
                  </a:cubicBezTo>
                  <a:cubicBezTo>
                    <a:pt x="2328" y="586"/>
                    <a:pt x="2460" y="550"/>
                    <a:pt x="2593" y="614"/>
                  </a:cubicBezTo>
                  <a:cubicBezTo>
                    <a:pt x="2658" y="646"/>
                    <a:pt x="2744" y="625"/>
                    <a:pt x="2794" y="696"/>
                  </a:cubicBezTo>
                  <a:cubicBezTo>
                    <a:pt x="2803" y="709"/>
                    <a:pt x="2824" y="715"/>
                    <a:pt x="2832" y="728"/>
                  </a:cubicBezTo>
                  <a:cubicBezTo>
                    <a:pt x="2857" y="771"/>
                    <a:pt x="2771" y="1056"/>
                    <a:pt x="2723" y="1063"/>
                  </a:cubicBezTo>
                  <a:cubicBezTo>
                    <a:pt x="2651" y="1073"/>
                    <a:pt x="2636" y="1158"/>
                    <a:pt x="2564" y="1164"/>
                  </a:cubicBezTo>
                  <a:cubicBezTo>
                    <a:pt x="2536" y="1166"/>
                    <a:pt x="2547" y="1194"/>
                    <a:pt x="2549" y="1214"/>
                  </a:cubicBezTo>
                  <a:cubicBezTo>
                    <a:pt x="2557" y="1303"/>
                    <a:pt x="2512" y="1343"/>
                    <a:pt x="2427" y="1333"/>
                  </a:cubicBezTo>
                  <a:cubicBezTo>
                    <a:pt x="2324" y="1321"/>
                    <a:pt x="2302" y="1359"/>
                    <a:pt x="2342" y="1448"/>
                  </a:cubicBezTo>
                  <a:cubicBezTo>
                    <a:pt x="2350" y="1466"/>
                    <a:pt x="2352" y="1480"/>
                    <a:pt x="2337" y="1503"/>
                  </a:cubicBezTo>
                  <a:cubicBezTo>
                    <a:pt x="2282" y="1587"/>
                    <a:pt x="2303" y="1651"/>
                    <a:pt x="2402" y="1676"/>
                  </a:cubicBezTo>
                  <a:cubicBezTo>
                    <a:pt x="2453" y="1689"/>
                    <a:pt x="2472" y="1699"/>
                    <a:pt x="2450" y="1753"/>
                  </a:cubicBezTo>
                  <a:cubicBezTo>
                    <a:pt x="2436" y="1790"/>
                    <a:pt x="2467" y="1819"/>
                    <a:pt x="2489" y="1843"/>
                  </a:cubicBezTo>
                  <a:cubicBezTo>
                    <a:pt x="2546" y="1906"/>
                    <a:pt x="2507" y="1937"/>
                    <a:pt x="2454" y="1965"/>
                  </a:cubicBezTo>
                  <a:cubicBezTo>
                    <a:pt x="2437" y="1975"/>
                    <a:pt x="2416" y="1978"/>
                    <a:pt x="2399" y="1989"/>
                  </a:cubicBezTo>
                  <a:cubicBezTo>
                    <a:pt x="2270" y="2068"/>
                    <a:pt x="2260" y="2064"/>
                    <a:pt x="2231" y="1915"/>
                  </a:cubicBezTo>
                  <a:cubicBezTo>
                    <a:pt x="2182" y="1920"/>
                    <a:pt x="2141" y="1943"/>
                    <a:pt x="2100" y="1968"/>
                  </a:cubicBezTo>
                  <a:cubicBezTo>
                    <a:pt x="2066" y="1891"/>
                    <a:pt x="1995" y="1942"/>
                    <a:pt x="1944" y="1923"/>
                  </a:cubicBezTo>
                  <a:cubicBezTo>
                    <a:pt x="1926" y="1916"/>
                    <a:pt x="1914" y="1902"/>
                    <a:pt x="1908" y="1883"/>
                  </a:cubicBezTo>
                  <a:cubicBezTo>
                    <a:pt x="1911" y="1845"/>
                    <a:pt x="1877" y="1833"/>
                    <a:pt x="1857" y="1812"/>
                  </a:cubicBezTo>
                  <a:cubicBezTo>
                    <a:pt x="1790" y="1778"/>
                    <a:pt x="1719" y="1850"/>
                    <a:pt x="1654" y="1803"/>
                  </a:cubicBezTo>
                  <a:cubicBezTo>
                    <a:pt x="1627" y="1787"/>
                    <a:pt x="1602" y="1769"/>
                    <a:pt x="1572" y="1759"/>
                  </a:cubicBezTo>
                  <a:cubicBezTo>
                    <a:pt x="1564" y="1755"/>
                    <a:pt x="1557" y="1750"/>
                    <a:pt x="1550" y="1745"/>
                  </a:cubicBezTo>
                  <a:cubicBezTo>
                    <a:pt x="1518" y="1722"/>
                    <a:pt x="1487" y="1697"/>
                    <a:pt x="1453" y="1678"/>
                  </a:cubicBezTo>
                  <a:cubicBezTo>
                    <a:pt x="1413" y="1662"/>
                    <a:pt x="1373" y="1660"/>
                    <a:pt x="1333" y="1679"/>
                  </a:cubicBezTo>
                  <a:cubicBezTo>
                    <a:pt x="1306" y="1695"/>
                    <a:pt x="1286" y="1720"/>
                    <a:pt x="1258" y="1736"/>
                  </a:cubicBezTo>
                  <a:cubicBezTo>
                    <a:pt x="1219" y="1766"/>
                    <a:pt x="1154" y="1756"/>
                    <a:pt x="1134" y="1817"/>
                  </a:cubicBezTo>
                  <a:cubicBezTo>
                    <a:pt x="1136" y="1831"/>
                    <a:pt x="1137" y="1845"/>
                    <a:pt x="1136" y="1859"/>
                  </a:cubicBezTo>
                  <a:cubicBezTo>
                    <a:pt x="1133" y="1928"/>
                    <a:pt x="1081" y="1955"/>
                    <a:pt x="1031" y="1985"/>
                  </a:cubicBezTo>
                  <a:cubicBezTo>
                    <a:pt x="991" y="1997"/>
                    <a:pt x="951" y="2027"/>
                    <a:pt x="910" y="198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Freeform 13">
              <a:extLst>
                <a:ext uri="{FF2B5EF4-FFF2-40B4-BE49-F238E27FC236}">
                  <a16:creationId xmlns:a16="http://schemas.microsoft.com/office/drawing/2014/main" id="{06BA4CE4-3295-49BD-A4CD-E88874D2553E}"/>
                </a:ext>
              </a:extLst>
            </p:cNvPr>
            <p:cNvSpPr>
              <a:spLocks/>
            </p:cNvSpPr>
            <p:nvPr/>
          </p:nvSpPr>
          <p:spPr bwMode="auto">
            <a:xfrm>
              <a:off x="3658204" y="4387321"/>
              <a:ext cx="814058" cy="1218374"/>
            </a:xfrm>
            <a:custGeom>
              <a:avLst/>
              <a:gdLst>
                <a:gd name="T0" fmla="*/ 1192 w 1940"/>
                <a:gd name="T1" fmla="*/ 1646 h 2914"/>
                <a:gd name="T2" fmla="*/ 1232 w 1940"/>
                <a:gd name="T3" fmla="*/ 1759 h 2914"/>
                <a:gd name="T4" fmla="*/ 1272 w 1940"/>
                <a:gd name="T5" fmla="*/ 1896 h 2914"/>
                <a:gd name="T6" fmla="*/ 1465 w 1940"/>
                <a:gd name="T7" fmla="*/ 1894 h 2914"/>
                <a:gd name="T8" fmla="*/ 1547 w 1940"/>
                <a:gd name="T9" fmla="*/ 1967 h 2914"/>
                <a:gd name="T10" fmla="*/ 1731 w 1940"/>
                <a:gd name="T11" fmla="*/ 1956 h 2914"/>
                <a:gd name="T12" fmla="*/ 1751 w 1940"/>
                <a:gd name="T13" fmla="*/ 2038 h 2914"/>
                <a:gd name="T14" fmla="*/ 1852 w 1940"/>
                <a:gd name="T15" fmla="*/ 2168 h 2914"/>
                <a:gd name="T16" fmla="*/ 1934 w 1940"/>
                <a:gd name="T17" fmla="*/ 2266 h 2914"/>
                <a:gd name="T18" fmla="*/ 1791 w 1940"/>
                <a:gd name="T19" fmla="*/ 2394 h 2914"/>
                <a:gd name="T20" fmla="*/ 1567 w 1940"/>
                <a:gd name="T21" fmla="*/ 2457 h 2914"/>
                <a:gd name="T22" fmla="*/ 1498 w 1940"/>
                <a:gd name="T23" fmla="*/ 2579 h 2914"/>
                <a:gd name="T24" fmla="*/ 1563 w 1940"/>
                <a:gd name="T25" fmla="*/ 2728 h 2914"/>
                <a:gd name="T26" fmla="*/ 1377 w 1940"/>
                <a:gd name="T27" fmla="*/ 2837 h 2914"/>
                <a:gd name="T28" fmla="*/ 1170 w 1940"/>
                <a:gd name="T29" fmla="*/ 2876 h 2914"/>
                <a:gd name="T30" fmla="*/ 885 w 1940"/>
                <a:gd name="T31" fmla="*/ 2815 h 2914"/>
                <a:gd name="T32" fmla="*/ 755 w 1940"/>
                <a:gd name="T33" fmla="*/ 2715 h 2914"/>
                <a:gd name="T34" fmla="*/ 423 w 1940"/>
                <a:gd name="T35" fmla="*/ 2418 h 2914"/>
                <a:gd name="T36" fmla="*/ 264 w 1940"/>
                <a:gd name="T37" fmla="*/ 2228 h 2914"/>
                <a:gd name="T38" fmla="*/ 63 w 1940"/>
                <a:gd name="T39" fmla="*/ 1485 h 2914"/>
                <a:gd name="T40" fmla="*/ 67 w 1940"/>
                <a:gd name="T41" fmla="*/ 1381 h 2914"/>
                <a:gd name="T42" fmla="*/ 63 w 1940"/>
                <a:gd name="T43" fmla="*/ 1103 h 2914"/>
                <a:gd name="T44" fmla="*/ 190 w 1940"/>
                <a:gd name="T45" fmla="*/ 908 h 2914"/>
                <a:gd name="T46" fmla="*/ 227 w 1940"/>
                <a:gd name="T47" fmla="*/ 670 h 2914"/>
                <a:gd name="T48" fmla="*/ 433 w 1940"/>
                <a:gd name="T49" fmla="*/ 576 h 2914"/>
                <a:gd name="T50" fmla="*/ 694 w 1940"/>
                <a:gd name="T51" fmla="*/ 552 h 2914"/>
                <a:gd name="T52" fmla="*/ 776 w 1940"/>
                <a:gd name="T53" fmla="*/ 447 h 2914"/>
                <a:gd name="T54" fmla="*/ 1077 w 1940"/>
                <a:gd name="T55" fmla="*/ 409 h 2914"/>
                <a:gd name="T56" fmla="*/ 1147 w 1940"/>
                <a:gd name="T57" fmla="*/ 279 h 2914"/>
                <a:gd name="T58" fmla="*/ 1392 w 1940"/>
                <a:gd name="T59" fmla="*/ 103 h 2914"/>
                <a:gd name="T60" fmla="*/ 1545 w 1940"/>
                <a:gd name="T61" fmla="*/ 0 h 2914"/>
                <a:gd name="T62" fmla="*/ 1560 w 1940"/>
                <a:gd name="T63" fmla="*/ 327 h 2914"/>
                <a:gd name="T64" fmla="*/ 1613 w 1940"/>
                <a:gd name="T65" fmla="*/ 397 h 2914"/>
                <a:gd name="T66" fmla="*/ 1566 w 1940"/>
                <a:gd name="T67" fmla="*/ 476 h 2914"/>
                <a:gd name="T68" fmla="*/ 1547 w 1940"/>
                <a:gd name="T69" fmla="*/ 540 h 2914"/>
                <a:gd name="T70" fmla="*/ 1469 w 1940"/>
                <a:gd name="T71" fmla="*/ 814 h 2914"/>
                <a:gd name="T72" fmla="*/ 1485 w 1940"/>
                <a:gd name="T73" fmla="*/ 860 h 2914"/>
                <a:gd name="T74" fmla="*/ 1512 w 1940"/>
                <a:gd name="T75" fmla="*/ 1052 h 2914"/>
                <a:gd name="T76" fmla="*/ 1339 w 1940"/>
                <a:gd name="T77" fmla="*/ 1073 h 2914"/>
                <a:gd name="T78" fmla="*/ 1298 w 1940"/>
                <a:gd name="T79" fmla="*/ 1243 h 2914"/>
                <a:gd name="T80" fmla="*/ 1440 w 1940"/>
                <a:gd name="T81" fmla="*/ 1375 h 2914"/>
                <a:gd name="T82" fmla="*/ 1201 w 1940"/>
                <a:gd name="T83" fmla="*/ 1545 h 2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40" h="2914">
                  <a:moveTo>
                    <a:pt x="1175" y="1571"/>
                  </a:moveTo>
                  <a:cubicBezTo>
                    <a:pt x="1174" y="1597"/>
                    <a:pt x="1149" y="1630"/>
                    <a:pt x="1192" y="1646"/>
                  </a:cubicBezTo>
                  <a:cubicBezTo>
                    <a:pt x="1225" y="1660"/>
                    <a:pt x="1232" y="1686"/>
                    <a:pt x="1227" y="1718"/>
                  </a:cubicBezTo>
                  <a:cubicBezTo>
                    <a:pt x="1227" y="1732"/>
                    <a:pt x="1228" y="1746"/>
                    <a:pt x="1232" y="1759"/>
                  </a:cubicBezTo>
                  <a:cubicBezTo>
                    <a:pt x="1231" y="1797"/>
                    <a:pt x="1260" y="1822"/>
                    <a:pt x="1271" y="1855"/>
                  </a:cubicBezTo>
                  <a:cubicBezTo>
                    <a:pt x="1274" y="1869"/>
                    <a:pt x="1274" y="1882"/>
                    <a:pt x="1272" y="1896"/>
                  </a:cubicBezTo>
                  <a:cubicBezTo>
                    <a:pt x="1271" y="1918"/>
                    <a:pt x="1263" y="1952"/>
                    <a:pt x="1303" y="1938"/>
                  </a:cubicBezTo>
                  <a:cubicBezTo>
                    <a:pt x="1356" y="1919"/>
                    <a:pt x="1415" y="1923"/>
                    <a:pt x="1465" y="1894"/>
                  </a:cubicBezTo>
                  <a:cubicBezTo>
                    <a:pt x="1506" y="1910"/>
                    <a:pt x="1548" y="1892"/>
                    <a:pt x="1590" y="1895"/>
                  </a:cubicBezTo>
                  <a:cubicBezTo>
                    <a:pt x="1610" y="1940"/>
                    <a:pt x="1577" y="1952"/>
                    <a:pt x="1547" y="1967"/>
                  </a:cubicBezTo>
                  <a:cubicBezTo>
                    <a:pt x="1577" y="1961"/>
                    <a:pt x="1595" y="1938"/>
                    <a:pt x="1616" y="1920"/>
                  </a:cubicBezTo>
                  <a:cubicBezTo>
                    <a:pt x="1666" y="1893"/>
                    <a:pt x="1689" y="1955"/>
                    <a:pt x="1731" y="1956"/>
                  </a:cubicBezTo>
                  <a:cubicBezTo>
                    <a:pt x="1730" y="1955"/>
                    <a:pt x="1730" y="1955"/>
                    <a:pt x="1730" y="1955"/>
                  </a:cubicBezTo>
                  <a:cubicBezTo>
                    <a:pt x="1754" y="1978"/>
                    <a:pt x="1722" y="2016"/>
                    <a:pt x="1751" y="2038"/>
                  </a:cubicBezTo>
                  <a:cubicBezTo>
                    <a:pt x="1750" y="2037"/>
                    <a:pt x="1750" y="2037"/>
                    <a:pt x="1750" y="2037"/>
                  </a:cubicBezTo>
                  <a:cubicBezTo>
                    <a:pt x="1795" y="2072"/>
                    <a:pt x="1864" y="2089"/>
                    <a:pt x="1852" y="2168"/>
                  </a:cubicBezTo>
                  <a:cubicBezTo>
                    <a:pt x="1872" y="2182"/>
                    <a:pt x="1899" y="2182"/>
                    <a:pt x="1915" y="2202"/>
                  </a:cubicBezTo>
                  <a:cubicBezTo>
                    <a:pt x="1940" y="2218"/>
                    <a:pt x="1935" y="2242"/>
                    <a:pt x="1934" y="2266"/>
                  </a:cubicBezTo>
                  <a:cubicBezTo>
                    <a:pt x="1896" y="2277"/>
                    <a:pt x="1889" y="2319"/>
                    <a:pt x="1860" y="2339"/>
                  </a:cubicBezTo>
                  <a:cubicBezTo>
                    <a:pt x="1831" y="2350"/>
                    <a:pt x="1808" y="2367"/>
                    <a:pt x="1791" y="2394"/>
                  </a:cubicBezTo>
                  <a:cubicBezTo>
                    <a:pt x="1780" y="2402"/>
                    <a:pt x="1766" y="2404"/>
                    <a:pt x="1752" y="2404"/>
                  </a:cubicBezTo>
                  <a:cubicBezTo>
                    <a:pt x="1684" y="2398"/>
                    <a:pt x="1610" y="2373"/>
                    <a:pt x="1567" y="2457"/>
                  </a:cubicBezTo>
                  <a:cubicBezTo>
                    <a:pt x="1536" y="2471"/>
                    <a:pt x="1504" y="2486"/>
                    <a:pt x="1508" y="2530"/>
                  </a:cubicBezTo>
                  <a:cubicBezTo>
                    <a:pt x="1507" y="2547"/>
                    <a:pt x="1508" y="2566"/>
                    <a:pt x="1498" y="2579"/>
                  </a:cubicBezTo>
                  <a:cubicBezTo>
                    <a:pt x="1461" y="2631"/>
                    <a:pt x="1491" y="2649"/>
                    <a:pt x="1536" y="2662"/>
                  </a:cubicBezTo>
                  <a:cubicBezTo>
                    <a:pt x="1560" y="2678"/>
                    <a:pt x="1566" y="2701"/>
                    <a:pt x="1563" y="2728"/>
                  </a:cubicBezTo>
                  <a:cubicBezTo>
                    <a:pt x="1556" y="2761"/>
                    <a:pt x="1532" y="2777"/>
                    <a:pt x="1501" y="2786"/>
                  </a:cubicBezTo>
                  <a:cubicBezTo>
                    <a:pt x="1453" y="2786"/>
                    <a:pt x="1421" y="2827"/>
                    <a:pt x="1377" y="2837"/>
                  </a:cubicBezTo>
                  <a:cubicBezTo>
                    <a:pt x="1317" y="2856"/>
                    <a:pt x="1250" y="2815"/>
                    <a:pt x="1193" y="2859"/>
                  </a:cubicBezTo>
                  <a:cubicBezTo>
                    <a:pt x="1186" y="2866"/>
                    <a:pt x="1178" y="2871"/>
                    <a:pt x="1170" y="2876"/>
                  </a:cubicBezTo>
                  <a:cubicBezTo>
                    <a:pt x="1106" y="2914"/>
                    <a:pt x="1045" y="2907"/>
                    <a:pt x="986" y="2866"/>
                  </a:cubicBezTo>
                  <a:cubicBezTo>
                    <a:pt x="954" y="2845"/>
                    <a:pt x="920" y="2830"/>
                    <a:pt x="885" y="2815"/>
                  </a:cubicBezTo>
                  <a:cubicBezTo>
                    <a:pt x="863" y="2804"/>
                    <a:pt x="849" y="2786"/>
                    <a:pt x="833" y="2769"/>
                  </a:cubicBezTo>
                  <a:cubicBezTo>
                    <a:pt x="812" y="2744"/>
                    <a:pt x="778" y="2738"/>
                    <a:pt x="755" y="2715"/>
                  </a:cubicBezTo>
                  <a:cubicBezTo>
                    <a:pt x="678" y="2656"/>
                    <a:pt x="584" y="2624"/>
                    <a:pt x="512" y="2557"/>
                  </a:cubicBezTo>
                  <a:cubicBezTo>
                    <a:pt x="507" y="2494"/>
                    <a:pt x="475" y="2449"/>
                    <a:pt x="423" y="2418"/>
                  </a:cubicBezTo>
                  <a:cubicBezTo>
                    <a:pt x="392" y="2400"/>
                    <a:pt x="370" y="2376"/>
                    <a:pt x="354" y="2345"/>
                  </a:cubicBezTo>
                  <a:cubicBezTo>
                    <a:pt x="299" y="2326"/>
                    <a:pt x="267" y="2290"/>
                    <a:pt x="264" y="2228"/>
                  </a:cubicBezTo>
                  <a:cubicBezTo>
                    <a:pt x="260" y="2152"/>
                    <a:pt x="231" y="2081"/>
                    <a:pt x="225" y="2002"/>
                  </a:cubicBezTo>
                  <a:cubicBezTo>
                    <a:pt x="213" y="1819"/>
                    <a:pt x="122" y="1656"/>
                    <a:pt x="63" y="1485"/>
                  </a:cubicBezTo>
                  <a:cubicBezTo>
                    <a:pt x="56" y="1463"/>
                    <a:pt x="22" y="1451"/>
                    <a:pt x="0" y="1433"/>
                  </a:cubicBezTo>
                  <a:cubicBezTo>
                    <a:pt x="7" y="1396"/>
                    <a:pt x="46" y="1399"/>
                    <a:pt x="67" y="1381"/>
                  </a:cubicBezTo>
                  <a:cubicBezTo>
                    <a:pt x="74" y="1325"/>
                    <a:pt x="97" y="1272"/>
                    <a:pt x="91" y="1215"/>
                  </a:cubicBezTo>
                  <a:cubicBezTo>
                    <a:pt x="83" y="1178"/>
                    <a:pt x="90" y="1136"/>
                    <a:pt x="63" y="1103"/>
                  </a:cubicBezTo>
                  <a:cubicBezTo>
                    <a:pt x="59" y="1095"/>
                    <a:pt x="56" y="1087"/>
                    <a:pt x="55" y="1077"/>
                  </a:cubicBezTo>
                  <a:cubicBezTo>
                    <a:pt x="95" y="1016"/>
                    <a:pt x="182" y="994"/>
                    <a:pt x="190" y="908"/>
                  </a:cubicBezTo>
                  <a:cubicBezTo>
                    <a:pt x="184" y="887"/>
                    <a:pt x="216" y="864"/>
                    <a:pt x="187" y="845"/>
                  </a:cubicBezTo>
                  <a:cubicBezTo>
                    <a:pt x="116" y="759"/>
                    <a:pt x="124" y="724"/>
                    <a:pt x="227" y="670"/>
                  </a:cubicBezTo>
                  <a:cubicBezTo>
                    <a:pt x="258" y="676"/>
                    <a:pt x="293" y="710"/>
                    <a:pt x="314" y="656"/>
                  </a:cubicBezTo>
                  <a:cubicBezTo>
                    <a:pt x="355" y="630"/>
                    <a:pt x="417" y="637"/>
                    <a:pt x="433" y="576"/>
                  </a:cubicBezTo>
                  <a:cubicBezTo>
                    <a:pt x="480" y="512"/>
                    <a:pt x="527" y="596"/>
                    <a:pt x="573" y="576"/>
                  </a:cubicBezTo>
                  <a:cubicBezTo>
                    <a:pt x="609" y="543"/>
                    <a:pt x="651" y="553"/>
                    <a:pt x="694" y="552"/>
                  </a:cubicBezTo>
                  <a:cubicBezTo>
                    <a:pt x="730" y="550"/>
                    <a:pt x="789" y="559"/>
                    <a:pt x="776" y="487"/>
                  </a:cubicBezTo>
                  <a:cubicBezTo>
                    <a:pt x="776" y="474"/>
                    <a:pt x="776" y="460"/>
                    <a:pt x="776" y="447"/>
                  </a:cubicBezTo>
                  <a:cubicBezTo>
                    <a:pt x="776" y="317"/>
                    <a:pt x="776" y="317"/>
                    <a:pt x="900" y="376"/>
                  </a:cubicBezTo>
                  <a:cubicBezTo>
                    <a:pt x="955" y="408"/>
                    <a:pt x="1019" y="393"/>
                    <a:pt x="1077" y="409"/>
                  </a:cubicBezTo>
                  <a:cubicBezTo>
                    <a:pt x="1089" y="413"/>
                    <a:pt x="1094" y="392"/>
                    <a:pt x="1096" y="378"/>
                  </a:cubicBezTo>
                  <a:cubicBezTo>
                    <a:pt x="1096" y="336"/>
                    <a:pt x="1116" y="305"/>
                    <a:pt x="1147" y="279"/>
                  </a:cubicBezTo>
                  <a:cubicBezTo>
                    <a:pt x="1182" y="244"/>
                    <a:pt x="1231" y="257"/>
                    <a:pt x="1271" y="241"/>
                  </a:cubicBezTo>
                  <a:cubicBezTo>
                    <a:pt x="1312" y="196"/>
                    <a:pt x="1384" y="178"/>
                    <a:pt x="1392" y="103"/>
                  </a:cubicBezTo>
                  <a:cubicBezTo>
                    <a:pt x="1394" y="83"/>
                    <a:pt x="1411" y="76"/>
                    <a:pt x="1429" y="79"/>
                  </a:cubicBezTo>
                  <a:cubicBezTo>
                    <a:pt x="1494" y="90"/>
                    <a:pt x="1518" y="43"/>
                    <a:pt x="1545" y="0"/>
                  </a:cubicBezTo>
                  <a:cubicBezTo>
                    <a:pt x="1583" y="46"/>
                    <a:pt x="1678" y="45"/>
                    <a:pt x="1657" y="139"/>
                  </a:cubicBezTo>
                  <a:cubicBezTo>
                    <a:pt x="1672" y="226"/>
                    <a:pt x="1618" y="277"/>
                    <a:pt x="1560" y="327"/>
                  </a:cubicBezTo>
                  <a:cubicBezTo>
                    <a:pt x="1545" y="352"/>
                    <a:pt x="1541" y="375"/>
                    <a:pt x="1577" y="385"/>
                  </a:cubicBezTo>
                  <a:cubicBezTo>
                    <a:pt x="1590" y="385"/>
                    <a:pt x="1603" y="385"/>
                    <a:pt x="1613" y="397"/>
                  </a:cubicBezTo>
                  <a:cubicBezTo>
                    <a:pt x="1615" y="422"/>
                    <a:pt x="1598" y="438"/>
                    <a:pt x="1586" y="457"/>
                  </a:cubicBezTo>
                  <a:cubicBezTo>
                    <a:pt x="1579" y="463"/>
                    <a:pt x="1573" y="470"/>
                    <a:pt x="1566" y="476"/>
                  </a:cubicBezTo>
                  <a:cubicBezTo>
                    <a:pt x="1552" y="496"/>
                    <a:pt x="1504" y="496"/>
                    <a:pt x="1530" y="539"/>
                  </a:cubicBezTo>
                  <a:cubicBezTo>
                    <a:pt x="1536" y="539"/>
                    <a:pt x="1542" y="539"/>
                    <a:pt x="1547" y="540"/>
                  </a:cubicBezTo>
                  <a:cubicBezTo>
                    <a:pt x="1568" y="620"/>
                    <a:pt x="1502" y="689"/>
                    <a:pt x="1518" y="768"/>
                  </a:cubicBezTo>
                  <a:cubicBezTo>
                    <a:pt x="1509" y="792"/>
                    <a:pt x="1493" y="807"/>
                    <a:pt x="1469" y="814"/>
                  </a:cubicBezTo>
                  <a:cubicBezTo>
                    <a:pt x="1453" y="818"/>
                    <a:pt x="1432" y="820"/>
                    <a:pt x="1441" y="844"/>
                  </a:cubicBezTo>
                  <a:cubicBezTo>
                    <a:pt x="1448" y="863"/>
                    <a:pt x="1470" y="855"/>
                    <a:pt x="1485" y="860"/>
                  </a:cubicBezTo>
                  <a:cubicBezTo>
                    <a:pt x="1538" y="871"/>
                    <a:pt x="1565" y="895"/>
                    <a:pt x="1532" y="951"/>
                  </a:cubicBezTo>
                  <a:cubicBezTo>
                    <a:pt x="1518" y="983"/>
                    <a:pt x="1533" y="1021"/>
                    <a:pt x="1512" y="1052"/>
                  </a:cubicBezTo>
                  <a:cubicBezTo>
                    <a:pt x="1495" y="1065"/>
                    <a:pt x="1475" y="1061"/>
                    <a:pt x="1457" y="1062"/>
                  </a:cubicBezTo>
                  <a:cubicBezTo>
                    <a:pt x="1416" y="1049"/>
                    <a:pt x="1377" y="1051"/>
                    <a:pt x="1339" y="1073"/>
                  </a:cubicBezTo>
                  <a:cubicBezTo>
                    <a:pt x="1340" y="1072"/>
                    <a:pt x="1340" y="1072"/>
                    <a:pt x="1340" y="1072"/>
                  </a:cubicBezTo>
                  <a:cubicBezTo>
                    <a:pt x="1324" y="1128"/>
                    <a:pt x="1330" y="1190"/>
                    <a:pt x="1298" y="1243"/>
                  </a:cubicBezTo>
                  <a:cubicBezTo>
                    <a:pt x="1303" y="1273"/>
                    <a:pt x="1319" y="1295"/>
                    <a:pt x="1350" y="1296"/>
                  </a:cubicBezTo>
                  <a:cubicBezTo>
                    <a:pt x="1404" y="1298"/>
                    <a:pt x="1455" y="1310"/>
                    <a:pt x="1440" y="1375"/>
                  </a:cubicBezTo>
                  <a:cubicBezTo>
                    <a:pt x="1427" y="1430"/>
                    <a:pt x="1419" y="1500"/>
                    <a:pt x="1351" y="1521"/>
                  </a:cubicBezTo>
                  <a:cubicBezTo>
                    <a:pt x="1303" y="1536"/>
                    <a:pt x="1251" y="1537"/>
                    <a:pt x="1201" y="1545"/>
                  </a:cubicBezTo>
                  <a:cubicBezTo>
                    <a:pt x="1170" y="1531"/>
                    <a:pt x="1190" y="1568"/>
                    <a:pt x="1175" y="157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1" name="Freeform 14">
              <a:extLst>
                <a:ext uri="{FF2B5EF4-FFF2-40B4-BE49-F238E27FC236}">
                  <a16:creationId xmlns:a16="http://schemas.microsoft.com/office/drawing/2014/main" id="{F6A2C100-7B39-44EB-805E-7964DAFB5610}"/>
                </a:ext>
              </a:extLst>
            </p:cNvPr>
            <p:cNvSpPr>
              <a:spLocks/>
            </p:cNvSpPr>
            <p:nvPr/>
          </p:nvSpPr>
          <p:spPr bwMode="auto">
            <a:xfrm>
              <a:off x="2776308" y="3177088"/>
              <a:ext cx="1082698" cy="852048"/>
            </a:xfrm>
            <a:custGeom>
              <a:avLst/>
              <a:gdLst>
                <a:gd name="T0" fmla="*/ 1740 w 2587"/>
                <a:gd name="T1" fmla="*/ 77 h 2030"/>
                <a:gd name="T2" fmla="*/ 2008 w 2587"/>
                <a:gd name="T3" fmla="*/ 213 h 2030"/>
                <a:gd name="T4" fmla="*/ 2113 w 2587"/>
                <a:gd name="T5" fmla="*/ 259 h 2030"/>
                <a:gd name="T6" fmla="*/ 2191 w 2587"/>
                <a:gd name="T7" fmla="*/ 448 h 2030"/>
                <a:gd name="T8" fmla="*/ 2294 w 2587"/>
                <a:gd name="T9" fmla="*/ 646 h 2030"/>
                <a:gd name="T10" fmla="*/ 2561 w 2587"/>
                <a:gd name="T11" fmla="*/ 876 h 2030"/>
                <a:gd name="T12" fmla="*/ 2499 w 2587"/>
                <a:gd name="T13" fmla="*/ 1015 h 2030"/>
                <a:gd name="T14" fmla="*/ 2451 w 2587"/>
                <a:gd name="T15" fmla="*/ 1113 h 2030"/>
                <a:gd name="T16" fmla="*/ 2357 w 2587"/>
                <a:gd name="T17" fmla="*/ 1332 h 2030"/>
                <a:gd name="T18" fmla="*/ 2329 w 2587"/>
                <a:gd name="T19" fmla="*/ 1522 h 2030"/>
                <a:gd name="T20" fmla="*/ 2242 w 2587"/>
                <a:gd name="T21" fmla="*/ 1694 h 2030"/>
                <a:gd name="T22" fmla="*/ 2135 w 2587"/>
                <a:gd name="T23" fmla="*/ 1834 h 2030"/>
                <a:gd name="T24" fmla="*/ 1976 w 2587"/>
                <a:gd name="T25" fmla="*/ 2024 h 2030"/>
                <a:gd name="T26" fmla="*/ 1788 w 2587"/>
                <a:gd name="T27" fmla="*/ 2005 h 2030"/>
                <a:gd name="T28" fmla="*/ 1828 w 2587"/>
                <a:gd name="T29" fmla="*/ 1610 h 2030"/>
                <a:gd name="T30" fmla="*/ 1808 w 2587"/>
                <a:gd name="T31" fmla="*/ 1367 h 2030"/>
                <a:gd name="T32" fmla="*/ 1785 w 2587"/>
                <a:gd name="T33" fmla="*/ 1228 h 2030"/>
                <a:gd name="T34" fmla="*/ 1940 w 2587"/>
                <a:gd name="T35" fmla="*/ 1134 h 2030"/>
                <a:gd name="T36" fmla="*/ 1646 w 2587"/>
                <a:gd name="T37" fmla="*/ 1279 h 2030"/>
                <a:gd name="T38" fmla="*/ 1137 w 2587"/>
                <a:gd name="T39" fmla="*/ 1693 h 2030"/>
                <a:gd name="T40" fmla="*/ 597 w 2587"/>
                <a:gd name="T41" fmla="*/ 1366 h 2030"/>
                <a:gd name="T42" fmla="*/ 295 w 2587"/>
                <a:gd name="T43" fmla="*/ 983 h 2030"/>
                <a:gd name="T44" fmla="*/ 347 w 2587"/>
                <a:gd name="T45" fmla="*/ 959 h 2030"/>
                <a:gd name="T46" fmla="*/ 800 w 2587"/>
                <a:gd name="T47" fmla="*/ 909 h 2030"/>
                <a:gd name="T48" fmla="*/ 959 w 2587"/>
                <a:gd name="T49" fmla="*/ 671 h 2030"/>
                <a:gd name="T50" fmla="*/ 666 w 2587"/>
                <a:gd name="T51" fmla="*/ 761 h 2030"/>
                <a:gd name="T52" fmla="*/ 332 w 2587"/>
                <a:gd name="T53" fmla="*/ 662 h 2030"/>
                <a:gd name="T54" fmla="*/ 141 w 2587"/>
                <a:gd name="T55" fmla="*/ 348 h 2030"/>
                <a:gd name="T56" fmla="*/ 70 w 2587"/>
                <a:gd name="T57" fmla="*/ 336 h 2030"/>
                <a:gd name="T58" fmla="*/ 18 w 2587"/>
                <a:gd name="T59" fmla="*/ 296 h 2030"/>
                <a:gd name="T60" fmla="*/ 310 w 2587"/>
                <a:gd name="T61" fmla="*/ 129 h 2030"/>
                <a:gd name="T62" fmla="*/ 719 w 2587"/>
                <a:gd name="T63" fmla="*/ 178 h 2030"/>
                <a:gd name="T64" fmla="*/ 1094 w 2587"/>
                <a:gd name="T65" fmla="*/ 180 h 2030"/>
                <a:gd name="T66" fmla="*/ 1281 w 2587"/>
                <a:gd name="T67" fmla="*/ 78 h 2030"/>
                <a:gd name="T68" fmla="*/ 1523 w 2587"/>
                <a:gd name="T69" fmla="*/ 37 h 2030"/>
                <a:gd name="T70" fmla="*/ 1683 w 2587"/>
                <a:gd name="T71" fmla="*/ 38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7" h="2030">
                  <a:moveTo>
                    <a:pt x="1683" y="38"/>
                  </a:moveTo>
                  <a:cubicBezTo>
                    <a:pt x="1715" y="32"/>
                    <a:pt x="1725" y="58"/>
                    <a:pt x="1740" y="77"/>
                  </a:cubicBezTo>
                  <a:cubicBezTo>
                    <a:pt x="1816" y="102"/>
                    <a:pt x="1878" y="152"/>
                    <a:pt x="1943" y="196"/>
                  </a:cubicBezTo>
                  <a:cubicBezTo>
                    <a:pt x="1966" y="212"/>
                    <a:pt x="1985" y="210"/>
                    <a:pt x="2008" y="213"/>
                  </a:cubicBezTo>
                  <a:cubicBezTo>
                    <a:pt x="2041" y="243"/>
                    <a:pt x="2062" y="225"/>
                    <a:pt x="2081" y="195"/>
                  </a:cubicBezTo>
                  <a:cubicBezTo>
                    <a:pt x="2121" y="202"/>
                    <a:pt x="2130" y="221"/>
                    <a:pt x="2113" y="259"/>
                  </a:cubicBezTo>
                  <a:cubicBezTo>
                    <a:pt x="2086" y="321"/>
                    <a:pt x="2120" y="361"/>
                    <a:pt x="2176" y="370"/>
                  </a:cubicBezTo>
                  <a:cubicBezTo>
                    <a:pt x="2265" y="384"/>
                    <a:pt x="2212" y="417"/>
                    <a:pt x="2191" y="448"/>
                  </a:cubicBezTo>
                  <a:cubicBezTo>
                    <a:pt x="2163" y="497"/>
                    <a:pt x="2217" y="519"/>
                    <a:pt x="2228" y="555"/>
                  </a:cubicBezTo>
                  <a:cubicBezTo>
                    <a:pt x="2289" y="558"/>
                    <a:pt x="2255" y="628"/>
                    <a:pt x="2294" y="646"/>
                  </a:cubicBezTo>
                  <a:cubicBezTo>
                    <a:pt x="2344" y="661"/>
                    <a:pt x="2387" y="693"/>
                    <a:pt x="2438" y="706"/>
                  </a:cubicBezTo>
                  <a:cubicBezTo>
                    <a:pt x="2474" y="766"/>
                    <a:pt x="2539" y="804"/>
                    <a:pt x="2561" y="876"/>
                  </a:cubicBezTo>
                  <a:cubicBezTo>
                    <a:pt x="2571" y="906"/>
                    <a:pt x="2587" y="930"/>
                    <a:pt x="2567" y="960"/>
                  </a:cubicBezTo>
                  <a:cubicBezTo>
                    <a:pt x="2549" y="984"/>
                    <a:pt x="2523" y="999"/>
                    <a:pt x="2499" y="1015"/>
                  </a:cubicBezTo>
                  <a:cubicBezTo>
                    <a:pt x="2477" y="1034"/>
                    <a:pt x="2443" y="1035"/>
                    <a:pt x="2425" y="1061"/>
                  </a:cubicBezTo>
                  <a:cubicBezTo>
                    <a:pt x="2426" y="1082"/>
                    <a:pt x="2449" y="1092"/>
                    <a:pt x="2451" y="1113"/>
                  </a:cubicBezTo>
                  <a:cubicBezTo>
                    <a:pt x="2445" y="1142"/>
                    <a:pt x="2406" y="1142"/>
                    <a:pt x="2400" y="1172"/>
                  </a:cubicBezTo>
                  <a:cubicBezTo>
                    <a:pt x="2402" y="1230"/>
                    <a:pt x="2433" y="1296"/>
                    <a:pt x="2357" y="1332"/>
                  </a:cubicBezTo>
                  <a:cubicBezTo>
                    <a:pt x="2298" y="1352"/>
                    <a:pt x="2269" y="1389"/>
                    <a:pt x="2289" y="1453"/>
                  </a:cubicBezTo>
                  <a:cubicBezTo>
                    <a:pt x="2291" y="1483"/>
                    <a:pt x="2327" y="1492"/>
                    <a:pt x="2329" y="1522"/>
                  </a:cubicBezTo>
                  <a:cubicBezTo>
                    <a:pt x="2318" y="1564"/>
                    <a:pt x="2267" y="1561"/>
                    <a:pt x="2249" y="1594"/>
                  </a:cubicBezTo>
                  <a:cubicBezTo>
                    <a:pt x="2216" y="1625"/>
                    <a:pt x="2190" y="1653"/>
                    <a:pt x="2242" y="1694"/>
                  </a:cubicBezTo>
                  <a:cubicBezTo>
                    <a:pt x="2287" y="1729"/>
                    <a:pt x="2276" y="1772"/>
                    <a:pt x="2245" y="1817"/>
                  </a:cubicBezTo>
                  <a:cubicBezTo>
                    <a:pt x="2211" y="1863"/>
                    <a:pt x="2177" y="1865"/>
                    <a:pt x="2135" y="1834"/>
                  </a:cubicBezTo>
                  <a:cubicBezTo>
                    <a:pt x="2097" y="1814"/>
                    <a:pt x="2063" y="1783"/>
                    <a:pt x="2061" y="1867"/>
                  </a:cubicBezTo>
                  <a:cubicBezTo>
                    <a:pt x="2061" y="1927"/>
                    <a:pt x="2056" y="2000"/>
                    <a:pt x="1976" y="2024"/>
                  </a:cubicBezTo>
                  <a:cubicBezTo>
                    <a:pt x="1946" y="2030"/>
                    <a:pt x="1920" y="2015"/>
                    <a:pt x="1893" y="2007"/>
                  </a:cubicBezTo>
                  <a:cubicBezTo>
                    <a:pt x="1859" y="1991"/>
                    <a:pt x="1824" y="1985"/>
                    <a:pt x="1788" y="2005"/>
                  </a:cubicBezTo>
                  <a:cubicBezTo>
                    <a:pt x="1762" y="1925"/>
                    <a:pt x="1835" y="1877"/>
                    <a:pt x="1856" y="1811"/>
                  </a:cubicBezTo>
                  <a:cubicBezTo>
                    <a:pt x="1881" y="1732"/>
                    <a:pt x="1871" y="1661"/>
                    <a:pt x="1828" y="1610"/>
                  </a:cubicBezTo>
                  <a:cubicBezTo>
                    <a:pt x="1777" y="1548"/>
                    <a:pt x="1798" y="1506"/>
                    <a:pt x="1829" y="1458"/>
                  </a:cubicBezTo>
                  <a:cubicBezTo>
                    <a:pt x="1855" y="1418"/>
                    <a:pt x="1885" y="1386"/>
                    <a:pt x="1808" y="1367"/>
                  </a:cubicBezTo>
                  <a:cubicBezTo>
                    <a:pt x="1766" y="1357"/>
                    <a:pt x="1762" y="1323"/>
                    <a:pt x="1788" y="1288"/>
                  </a:cubicBezTo>
                  <a:cubicBezTo>
                    <a:pt x="1843" y="1265"/>
                    <a:pt x="1763" y="1250"/>
                    <a:pt x="1785" y="1228"/>
                  </a:cubicBezTo>
                  <a:cubicBezTo>
                    <a:pt x="1786" y="1176"/>
                    <a:pt x="1792" y="1132"/>
                    <a:pt x="1865" y="1164"/>
                  </a:cubicBezTo>
                  <a:cubicBezTo>
                    <a:pt x="1888" y="1174"/>
                    <a:pt x="1920" y="1170"/>
                    <a:pt x="1940" y="1134"/>
                  </a:cubicBezTo>
                  <a:cubicBezTo>
                    <a:pt x="1900" y="1117"/>
                    <a:pt x="1857" y="1118"/>
                    <a:pt x="1818" y="1101"/>
                  </a:cubicBezTo>
                  <a:cubicBezTo>
                    <a:pt x="1726" y="1061"/>
                    <a:pt x="1643" y="1149"/>
                    <a:pt x="1646" y="1279"/>
                  </a:cubicBezTo>
                  <a:cubicBezTo>
                    <a:pt x="1651" y="1452"/>
                    <a:pt x="1592" y="1540"/>
                    <a:pt x="1427" y="1600"/>
                  </a:cubicBezTo>
                  <a:cubicBezTo>
                    <a:pt x="1331" y="1635"/>
                    <a:pt x="1234" y="1666"/>
                    <a:pt x="1137" y="1693"/>
                  </a:cubicBezTo>
                  <a:cubicBezTo>
                    <a:pt x="1060" y="1715"/>
                    <a:pt x="984" y="1710"/>
                    <a:pt x="913" y="1663"/>
                  </a:cubicBezTo>
                  <a:cubicBezTo>
                    <a:pt x="792" y="1581"/>
                    <a:pt x="676" y="1497"/>
                    <a:pt x="597" y="1366"/>
                  </a:cubicBezTo>
                  <a:cubicBezTo>
                    <a:pt x="522" y="1241"/>
                    <a:pt x="386" y="1162"/>
                    <a:pt x="320" y="1027"/>
                  </a:cubicBezTo>
                  <a:cubicBezTo>
                    <a:pt x="313" y="1011"/>
                    <a:pt x="301" y="998"/>
                    <a:pt x="295" y="983"/>
                  </a:cubicBezTo>
                  <a:cubicBezTo>
                    <a:pt x="289" y="970"/>
                    <a:pt x="290" y="954"/>
                    <a:pt x="305" y="947"/>
                  </a:cubicBezTo>
                  <a:cubicBezTo>
                    <a:pt x="321" y="940"/>
                    <a:pt x="345" y="939"/>
                    <a:pt x="347" y="959"/>
                  </a:cubicBezTo>
                  <a:cubicBezTo>
                    <a:pt x="353" y="1031"/>
                    <a:pt x="397" y="992"/>
                    <a:pt x="432" y="995"/>
                  </a:cubicBezTo>
                  <a:cubicBezTo>
                    <a:pt x="564" y="1004"/>
                    <a:pt x="683" y="951"/>
                    <a:pt x="800" y="909"/>
                  </a:cubicBezTo>
                  <a:cubicBezTo>
                    <a:pt x="884" y="878"/>
                    <a:pt x="931" y="788"/>
                    <a:pt x="969" y="703"/>
                  </a:cubicBezTo>
                  <a:cubicBezTo>
                    <a:pt x="976" y="688"/>
                    <a:pt x="975" y="680"/>
                    <a:pt x="959" y="671"/>
                  </a:cubicBezTo>
                  <a:cubicBezTo>
                    <a:pt x="935" y="657"/>
                    <a:pt x="914" y="651"/>
                    <a:pt x="883" y="663"/>
                  </a:cubicBezTo>
                  <a:cubicBezTo>
                    <a:pt x="810" y="693"/>
                    <a:pt x="753" y="751"/>
                    <a:pt x="666" y="761"/>
                  </a:cubicBezTo>
                  <a:cubicBezTo>
                    <a:pt x="556" y="773"/>
                    <a:pt x="460" y="763"/>
                    <a:pt x="374" y="690"/>
                  </a:cubicBezTo>
                  <a:cubicBezTo>
                    <a:pt x="361" y="679"/>
                    <a:pt x="348" y="666"/>
                    <a:pt x="332" y="662"/>
                  </a:cubicBezTo>
                  <a:cubicBezTo>
                    <a:pt x="202" y="624"/>
                    <a:pt x="206" y="476"/>
                    <a:pt x="119" y="403"/>
                  </a:cubicBezTo>
                  <a:cubicBezTo>
                    <a:pt x="95" y="383"/>
                    <a:pt x="120" y="363"/>
                    <a:pt x="141" y="348"/>
                  </a:cubicBezTo>
                  <a:cubicBezTo>
                    <a:pt x="169" y="327"/>
                    <a:pt x="217" y="335"/>
                    <a:pt x="231" y="275"/>
                  </a:cubicBezTo>
                  <a:cubicBezTo>
                    <a:pt x="171" y="292"/>
                    <a:pt x="112" y="287"/>
                    <a:pt x="70" y="336"/>
                  </a:cubicBezTo>
                  <a:cubicBezTo>
                    <a:pt x="53" y="357"/>
                    <a:pt x="35" y="354"/>
                    <a:pt x="18" y="341"/>
                  </a:cubicBezTo>
                  <a:cubicBezTo>
                    <a:pt x="0" y="327"/>
                    <a:pt x="14" y="311"/>
                    <a:pt x="18" y="296"/>
                  </a:cubicBezTo>
                  <a:cubicBezTo>
                    <a:pt x="35" y="238"/>
                    <a:pt x="70" y="216"/>
                    <a:pt x="132" y="219"/>
                  </a:cubicBezTo>
                  <a:cubicBezTo>
                    <a:pt x="206" y="224"/>
                    <a:pt x="296" y="249"/>
                    <a:pt x="310" y="129"/>
                  </a:cubicBezTo>
                  <a:cubicBezTo>
                    <a:pt x="313" y="105"/>
                    <a:pt x="340" y="108"/>
                    <a:pt x="351" y="110"/>
                  </a:cubicBezTo>
                  <a:cubicBezTo>
                    <a:pt x="473" y="137"/>
                    <a:pt x="608" y="76"/>
                    <a:pt x="719" y="178"/>
                  </a:cubicBezTo>
                  <a:cubicBezTo>
                    <a:pt x="764" y="219"/>
                    <a:pt x="818" y="190"/>
                    <a:pt x="871" y="165"/>
                  </a:cubicBezTo>
                  <a:cubicBezTo>
                    <a:pt x="942" y="131"/>
                    <a:pt x="1015" y="64"/>
                    <a:pt x="1094" y="180"/>
                  </a:cubicBezTo>
                  <a:cubicBezTo>
                    <a:pt x="1142" y="251"/>
                    <a:pt x="1215" y="170"/>
                    <a:pt x="1275" y="151"/>
                  </a:cubicBezTo>
                  <a:cubicBezTo>
                    <a:pt x="1331" y="132"/>
                    <a:pt x="1290" y="108"/>
                    <a:pt x="1281" y="78"/>
                  </a:cubicBezTo>
                  <a:cubicBezTo>
                    <a:pt x="1265" y="18"/>
                    <a:pt x="1316" y="17"/>
                    <a:pt x="1359" y="15"/>
                  </a:cubicBezTo>
                  <a:cubicBezTo>
                    <a:pt x="1407" y="72"/>
                    <a:pt x="1472" y="0"/>
                    <a:pt x="1523" y="37"/>
                  </a:cubicBezTo>
                  <a:cubicBezTo>
                    <a:pt x="1521" y="36"/>
                    <a:pt x="1521" y="36"/>
                    <a:pt x="1521" y="36"/>
                  </a:cubicBezTo>
                  <a:cubicBezTo>
                    <a:pt x="1575" y="43"/>
                    <a:pt x="1628" y="106"/>
                    <a:pt x="1683" y="3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2" name="Freeform 15">
              <a:extLst>
                <a:ext uri="{FF2B5EF4-FFF2-40B4-BE49-F238E27FC236}">
                  <a16:creationId xmlns:a16="http://schemas.microsoft.com/office/drawing/2014/main" id="{804A31BC-0A25-40EF-9F07-805858C50FD3}"/>
                </a:ext>
              </a:extLst>
            </p:cNvPr>
            <p:cNvSpPr>
              <a:spLocks/>
            </p:cNvSpPr>
            <p:nvPr/>
          </p:nvSpPr>
          <p:spPr bwMode="auto">
            <a:xfrm>
              <a:off x="5009541" y="3668237"/>
              <a:ext cx="1090838" cy="862902"/>
            </a:xfrm>
            <a:custGeom>
              <a:avLst/>
              <a:gdLst>
                <a:gd name="T0" fmla="*/ 438 w 2609"/>
                <a:gd name="T1" fmla="*/ 1861 h 2059"/>
                <a:gd name="T2" fmla="*/ 438 w 2609"/>
                <a:gd name="T3" fmla="*/ 1878 h 2059"/>
                <a:gd name="T4" fmla="*/ 353 w 2609"/>
                <a:gd name="T5" fmla="*/ 1934 h 2059"/>
                <a:gd name="T6" fmla="*/ 253 w 2609"/>
                <a:gd name="T7" fmla="*/ 1960 h 2059"/>
                <a:gd name="T8" fmla="*/ 102 w 2609"/>
                <a:gd name="T9" fmla="*/ 2013 h 2059"/>
                <a:gd name="T10" fmla="*/ 8 w 2609"/>
                <a:gd name="T11" fmla="*/ 1966 h 2059"/>
                <a:gd name="T12" fmla="*/ 56 w 2609"/>
                <a:gd name="T13" fmla="*/ 1860 h 2059"/>
                <a:gd name="T14" fmla="*/ 189 w 2609"/>
                <a:gd name="T15" fmla="*/ 1739 h 2059"/>
                <a:gd name="T16" fmla="*/ 357 w 2609"/>
                <a:gd name="T17" fmla="*/ 1540 h 2059"/>
                <a:gd name="T18" fmla="*/ 349 w 2609"/>
                <a:gd name="T19" fmla="*/ 1350 h 2059"/>
                <a:gd name="T20" fmla="*/ 308 w 2609"/>
                <a:gd name="T21" fmla="*/ 1268 h 2059"/>
                <a:gd name="T22" fmla="*/ 299 w 2609"/>
                <a:gd name="T23" fmla="*/ 1179 h 2059"/>
                <a:gd name="T24" fmla="*/ 282 w 2609"/>
                <a:gd name="T25" fmla="*/ 1158 h 2059"/>
                <a:gd name="T26" fmla="*/ 249 w 2609"/>
                <a:gd name="T27" fmla="*/ 1064 h 2059"/>
                <a:gd name="T28" fmla="*/ 344 w 2609"/>
                <a:gd name="T29" fmla="*/ 1051 h 2059"/>
                <a:gd name="T30" fmla="*/ 525 w 2609"/>
                <a:gd name="T31" fmla="*/ 1133 h 2059"/>
                <a:gd name="T32" fmla="*/ 552 w 2609"/>
                <a:gd name="T33" fmla="*/ 1090 h 2059"/>
                <a:gd name="T34" fmla="*/ 471 w 2609"/>
                <a:gd name="T35" fmla="*/ 1060 h 2059"/>
                <a:gd name="T36" fmla="*/ 468 w 2609"/>
                <a:gd name="T37" fmla="*/ 902 h 2059"/>
                <a:gd name="T38" fmla="*/ 464 w 2609"/>
                <a:gd name="T39" fmla="*/ 740 h 2059"/>
                <a:gd name="T40" fmla="*/ 574 w 2609"/>
                <a:gd name="T41" fmla="*/ 587 h 2059"/>
                <a:gd name="T42" fmla="*/ 757 w 2609"/>
                <a:gd name="T43" fmla="*/ 572 h 2059"/>
                <a:gd name="T44" fmla="*/ 881 w 2609"/>
                <a:gd name="T45" fmla="*/ 456 h 2059"/>
                <a:gd name="T46" fmla="*/ 892 w 2609"/>
                <a:gd name="T47" fmla="*/ 402 h 2059"/>
                <a:gd name="T48" fmla="*/ 937 w 2609"/>
                <a:gd name="T49" fmla="*/ 317 h 2059"/>
                <a:gd name="T50" fmla="*/ 963 w 2609"/>
                <a:gd name="T51" fmla="*/ 206 h 2059"/>
                <a:gd name="T52" fmla="*/ 1185 w 2609"/>
                <a:gd name="T53" fmla="*/ 13 h 2059"/>
                <a:gd name="T54" fmla="*/ 1235 w 2609"/>
                <a:gd name="T55" fmla="*/ 37 h 2059"/>
                <a:gd name="T56" fmla="*/ 1491 w 2609"/>
                <a:gd name="T57" fmla="*/ 39 h 2059"/>
                <a:gd name="T58" fmla="*/ 1619 w 2609"/>
                <a:gd name="T59" fmla="*/ 142 h 2059"/>
                <a:gd name="T60" fmla="*/ 1656 w 2609"/>
                <a:gd name="T61" fmla="*/ 186 h 2059"/>
                <a:gd name="T62" fmla="*/ 1968 w 2609"/>
                <a:gd name="T63" fmla="*/ 195 h 2059"/>
                <a:gd name="T64" fmla="*/ 1993 w 2609"/>
                <a:gd name="T65" fmla="*/ 130 h 2059"/>
                <a:gd name="T66" fmla="*/ 2143 w 2609"/>
                <a:gd name="T67" fmla="*/ 54 h 2059"/>
                <a:gd name="T68" fmla="*/ 2209 w 2609"/>
                <a:gd name="T69" fmla="*/ 77 h 2059"/>
                <a:gd name="T70" fmla="*/ 2294 w 2609"/>
                <a:gd name="T71" fmla="*/ 126 h 2059"/>
                <a:gd name="T72" fmla="*/ 2522 w 2609"/>
                <a:gd name="T73" fmla="*/ 293 h 2059"/>
                <a:gd name="T74" fmla="*/ 2609 w 2609"/>
                <a:gd name="T75" fmla="*/ 383 h 2059"/>
                <a:gd name="T76" fmla="*/ 2533 w 2609"/>
                <a:gd name="T77" fmla="*/ 431 h 2059"/>
                <a:gd name="T78" fmla="*/ 2348 w 2609"/>
                <a:gd name="T79" fmla="*/ 711 h 2059"/>
                <a:gd name="T80" fmla="*/ 2342 w 2609"/>
                <a:gd name="T81" fmla="*/ 769 h 2059"/>
                <a:gd name="T82" fmla="*/ 2309 w 2609"/>
                <a:gd name="T83" fmla="*/ 801 h 2059"/>
                <a:gd name="T84" fmla="*/ 2345 w 2609"/>
                <a:gd name="T85" fmla="*/ 819 h 2059"/>
                <a:gd name="T86" fmla="*/ 2356 w 2609"/>
                <a:gd name="T87" fmla="*/ 831 h 2059"/>
                <a:gd name="T88" fmla="*/ 2234 w 2609"/>
                <a:gd name="T89" fmla="*/ 991 h 2059"/>
                <a:gd name="T90" fmla="*/ 2107 w 2609"/>
                <a:gd name="T91" fmla="*/ 1103 h 2059"/>
                <a:gd name="T92" fmla="*/ 2004 w 2609"/>
                <a:gd name="T93" fmla="*/ 1161 h 2059"/>
                <a:gd name="T94" fmla="*/ 1848 w 2609"/>
                <a:gd name="T95" fmla="*/ 1207 h 2059"/>
                <a:gd name="T96" fmla="*/ 1781 w 2609"/>
                <a:gd name="T97" fmla="*/ 1181 h 2059"/>
                <a:gd name="T98" fmla="*/ 1713 w 2609"/>
                <a:gd name="T99" fmla="*/ 1166 h 2059"/>
                <a:gd name="T100" fmla="*/ 1598 w 2609"/>
                <a:gd name="T101" fmla="*/ 1275 h 2059"/>
                <a:gd name="T102" fmla="*/ 1555 w 2609"/>
                <a:gd name="T103" fmla="*/ 1370 h 2059"/>
                <a:gd name="T104" fmla="*/ 1485 w 2609"/>
                <a:gd name="T105" fmla="*/ 1469 h 2059"/>
                <a:gd name="T106" fmla="*/ 1298 w 2609"/>
                <a:gd name="T107" fmla="*/ 1599 h 2059"/>
                <a:gd name="T108" fmla="*/ 1073 w 2609"/>
                <a:gd name="T109" fmla="*/ 1573 h 2059"/>
                <a:gd name="T110" fmla="*/ 917 w 2609"/>
                <a:gd name="T111" fmla="*/ 1530 h 2059"/>
                <a:gd name="T112" fmla="*/ 848 w 2609"/>
                <a:gd name="T113" fmla="*/ 1620 h 2059"/>
                <a:gd name="T114" fmla="*/ 727 w 2609"/>
                <a:gd name="T115" fmla="*/ 1759 h 2059"/>
                <a:gd name="T116" fmla="*/ 666 w 2609"/>
                <a:gd name="T117" fmla="*/ 1791 h 2059"/>
                <a:gd name="T118" fmla="*/ 603 w 2609"/>
                <a:gd name="T119" fmla="*/ 1807 h 2059"/>
                <a:gd name="T120" fmla="*/ 542 w 2609"/>
                <a:gd name="T121" fmla="*/ 1808 h 2059"/>
                <a:gd name="T122" fmla="*/ 473 w 2609"/>
                <a:gd name="T123" fmla="*/ 1758 h 2059"/>
                <a:gd name="T124" fmla="*/ 438 w 2609"/>
                <a:gd name="T125" fmla="*/ 1861 h 2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09" h="2059">
                  <a:moveTo>
                    <a:pt x="438" y="1861"/>
                  </a:moveTo>
                  <a:cubicBezTo>
                    <a:pt x="438" y="1866"/>
                    <a:pt x="438" y="1872"/>
                    <a:pt x="438" y="1878"/>
                  </a:cubicBezTo>
                  <a:cubicBezTo>
                    <a:pt x="429" y="1926"/>
                    <a:pt x="413" y="1966"/>
                    <a:pt x="353" y="1934"/>
                  </a:cubicBezTo>
                  <a:cubicBezTo>
                    <a:pt x="310" y="1912"/>
                    <a:pt x="284" y="1945"/>
                    <a:pt x="253" y="1960"/>
                  </a:cubicBezTo>
                  <a:cubicBezTo>
                    <a:pt x="203" y="1979"/>
                    <a:pt x="158" y="2011"/>
                    <a:pt x="102" y="2013"/>
                  </a:cubicBezTo>
                  <a:cubicBezTo>
                    <a:pt x="71" y="1997"/>
                    <a:pt x="0" y="2059"/>
                    <a:pt x="8" y="1966"/>
                  </a:cubicBezTo>
                  <a:cubicBezTo>
                    <a:pt x="26" y="1931"/>
                    <a:pt x="42" y="1896"/>
                    <a:pt x="56" y="1860"/>
                  </a:cubicBezTo>
                  <a:cubicBezTo>
                    <a:pt x="85" y="1802"/>
                    <a:pt x="159" y="1796"/>
                    <a:pt x="189" y="1739"/>
                  </a:cubicBezTo>
                  <a:cubicBezTo>
                    <a:pt x="240" y="1669"/>
                    <a:pt x="315" y="1618"/>
                    <a:pt x="357" y="1540"/>
                  </a:cubicBezTo>
                  <a:cubicBezTo>
                    <a:pt x="377" y="1476"/>
                    <a:pt x="342" y="1414"/>
                    <a:pt x="349" y="1350"/>
                  </a:cubicBezTo>
                  <a:cubicBezTo>
                    <a:pt x="348" y="1317"/>
                    <a:pt x="320" y="1296"/>
                    <a:pt x="308" y="1268"/>
                  </a:cubicBezTo>
                  <a:cubicBezTo>
                    <a:pt x="301" y="1239"/>
                    <a:pt x="318" y="1207"/>
                    <a:pt x="299" y="1179"/>
                  </a:cubicBezTo>
                  <a:cubicBezTo>
                    <a:pt x="293" y="1172"/>
                    <a:pt x="288" y="1165"/>
                    <a:pt x="282" y="1158"/>
                  </a:cubicBezTo>
                  <a:cubicBezTo>
                    <a:pt x="255" y="1132"/>
                    <a:pt x="221" y="1105"/>
                    <a:pt x="249" y="1064"/>
                  </a:cubicBezTo>
                  <a:cubicBezTo>
                    <a:pt x="273" y="1030"/>
                    <a:pt x="311" y="1050"/>
                    <a:pt x="344" y="1051"/>
                  </a:cubicBezTo>
                  <a:cubicBezTo>
                    <a:pt x="416" y="1053"/>
                    <a:pt x="452" y="1129"/>
                    <a:pt x="525" y="1133"/>
                  </a:cubicBezTo>
                  <a:cubicBezTo>
                    <a:pt x="575" y="1136"/>
                    <a:pt x="588" y="1132"/>
                    <a:pt x="552" y="1090"/>
                  </a:cubicBezTo>
                  <a:cubicBezTo>
                    <a:pt x="524" y="1082"/>
                    <a:pt x="493" y="1083"/>
                    <a:pt x="471" y="1060"/>
                  </a:cubicBezTo>
                  <a:cubicBezTo>
                    <a:pt x="439" y="1008"/>
                    <a:pt x="479" y="954"/>
                    <a:pt x="468" y="902"/>
                  </a:cubicBezTo>
                  <a:cubicBezTo>
                    <a:pt x="454" y="848"/>
                    <a:pt x="444" y="795"/>
                    <a:pt x="464" y="740"/>
                  </a:cubicBezTo>
                  <a:cubicBezTo>
                    <a:pt x="508" y="695"/>
                    <a:pt x="537" y="638"/>
                    <a:pt x="574" y="587"/>
                  </a:cubicBezTo>
                  <a:cubicBezTo>
                    <a:pt x="632" y="546"/>
                    <a:pt x="695" y="562"/>
                    <a:pt x="757" y="572"/>
                  </a:cubicBezTo>
                  <a:cubicBezTo>
                    <a:pt x="828" y="565"/>
                    <a:pt x="833" y="487"/>
                    <a:pt x="881" y="456"/>
                  </a:cubicBezTo>
                  <a:cubicBezTo>
                    <a:pt x="885" y="438"/>
                    <a:pt x="888" y="420"/>
                    <a:pt x="892" y="402"/>
                  </a:cubicBezTo>
                  <a:cubicBezTo>
                    <a:pt x="901" y="371"/>
                    <a:pt x="921" y="345"/>
                    <a:pt x="937" y="317"/>
                  </a:cubicBezTo>
                  <a:cubicBezTo>
                    <a:pt x="967" y="285"/>
                    <a:pt x="966" y="246"/>
                    <a:pt x="963" y="206"/>
                  </a:cubicBezTo>
                  <a:cubicBezTo>
                    <a:pt x="998" y="97"/>
                    <a:pt x="1121" y="90"/>
                    <a:pt x="1185" y="13"/>
                  </a:cubicBezTo>
                  <a:cubicBezTo>
                    <a:pt x="1194" y="1"/>
                    <a:pt x="1219" y="26"/>
                    <a:pt x="1235" y="37"/>
                  </a:cubicBezTo>
                  <a:cubicBezTo>
                    <a:pt x="1319" y="100"/>
                    <a:pt x="1407" y="48"/>
                    <a:pt x="1491" y="39"/>
                  </a:cubicBezTo>
                  <a:cubicBezTo>
                    <a:pt x="1619" y="25"/>
                    <a:pt x="1620" y="18"/>
                    <a:pt x="1619" y="142"/>
                  </a:cubicBezTo>
                  <a:cubicBezTo>
                    <a:pt x="1619" y="174"/>
                    <a:pt x="1634" y="198"/>
                    <a:pt x="1656" y="186"/>
                  </a:cubicBezTo>
                  <a:cubicBezTo>
                    <a:pt x="1764" y="130"/>
                    <a:pt x="1865" y="188"/>
                    <a:pt x="1968" y="195"/>
                  </a:cubicBezTo>
                  <a:cubicBezTo>
                    <a:pt x="1987" y="178"/>
                    <a:pt x="1989" y="154"/>
                    <a:pt x="1993" y="130"/>
                  </a:cubicBezTo>
                  <a:cubicBezTo>
                    <a:pt x="2009" y="12"/>
                    <a:pt x="2033" y="0"/>
                    <a:pt x="2143" y="54"/>
                  </a:cubicBezTo>
                  <a:cubicBezTo>
                    <a:pt x="2164" y="65"/>
                    <a:pt x="2184" y="77"/>
                    <a:pt x="2209" y="77"/>
                  </a:cubicBezTo>
                  <a:cubicBezTo>
                    <a:pt x="2246" y="79"/>
                    <a:pt x="2267" y="107"/>
                    <a:pt x="2294" y="126"/>
                  </a:cubicBezTo>
                  <a:cubicBezTo>
                    <a:pt x="2371" y="181"/>
                    <a:pt x="2418" y="272"/>
                    <a:pt x="2522" y="293"/>
                  </a:cubicBezTo>
                  <a:cubicBezTo>
                    <a:pt x="2559" y="301"/>
                    <a:pt x="2603" y="331"/>
                    <a:pt x="2609" y="383"/>
                  </a:cubicBezTo>
                  <a:cubicBezTo>
                    <a:pt x="2595" y="418"/>
                    <a:pt x="2576" y="429"/>
                    <a:pt x="2533" y="431"/>
                  </a:cubicBezTo>
                  <a:cubicBezTo>
                    <a:pt x="2374" y="437"/>
                    <a:pt x="2295" y="562"/>
                    <a:pt x="2348" y="711"/>
                  </a:cubicBezTo>
                  <a:cubicBezTo>
                    <a:pt x="2355" y="731"/>
                    <a:pt x="2380" y="754"/>
                    <a:pt x="2342" y="769"/>
                  </a:cubicBezTo>
                  <a:cubicBezTo>
                    <a:pt x="2326" y="776"/>
                    <a:pt x="2308" y="779"/>
                    <a:pt x="2309" y="801"/>
                  </a:cubicBezTo>
                  <a:cubicBezTo>
                    <a:pt x="2309" y="831"/>
                    <a:pt x="2331" y="816"/>
                    <a:pt x="2345" y="819"/>
                  </a:cubicBezTo>
                  <a:cubicBezTo>
                    <a:pt x="2350" y="820"/>
                    <a:pt x="2353" y="827"/>
                    <a:pt x="2356" y="831"/>
                  </a:cubicBezTo>
                  <a:cubicBezTo>
                    <a:pt x="2281" y="860"/>
                    <a:pt x="2290" y="954"/>
                    <a:pt x="2234" y="991"/>
                  </a:cubicBezTo>
                  <a:cubicBezTo>
                    <a:pt x="2186" y="1024"/>
                    <a:pt x="2137" y="1049"/>
                    <a:pt x="2107" y="1103"/>
                  </a:cubicBezTo>
                  <a:cubicBezTo>
                    <a:pt x="2086" y="1139"/>
                    <a:pt x="2046" y="1158"/>
                    <a:pt x="2004" y="1161"/>
                  </a:cubicBezTo>
                  <a:cubicBezTo>
                    <a:pt x="1948" y="1165"/>
                    <a:pt x="1899" y="1187"/>
                    <a:pt x="1848" y="1207"/>
                  </a:cubicBezTo>
                  <a:cubicBezTo>
                    <a:pt x="1823" y="1217"/>
                    <a:pt x="1775" y="1278"/>
                    <a:pt x="1781" y="1181"/>
                  </a:cubicBezTo>
                  <a:cubicBezTo>
                    <a:pt x="1783" y="1151"/>
                    <a:pt x="1736" y="1156"/>
                    <a:pt x="1713" y="1166"/>
                  </a:cubicBezTo>
                  <a:cubicBezTo>
                    <a:pt x="1660" y="1189"/>
                    <a:pt x="1579" y="1217"/>
                    <a:pt x="1598" y="1275"/>
                  </a:cubicBezTo>
                  <a:cubicBezTo>
                    <a:pt x="1619" y="1340"/>
                    <a:pt x="1586" y="1347"/>
                    <a:pt x="1555" y="1370"/>
                  </a:cubicBezTo>
                  <a:cubicBezTo>
                    <a:pt x="1521" y="1396"/>
                    <a:pt x="1503" y="1432"/>
                    <a:pt x="1485" y="1469"/>
                  </a:cubicBezTo>
                  <a:cubicBezTo>
                    <a:pt x="1415" y="1501"/>
                    <a:pt x="1343" y="1525"/>
                    <a:pt x="1298" y="1599"/>
                  </a:cubicBezTo>
                  <a:cubicBezTo>
                    <a:pt x="1261" y="1659"/>
                    <a:pt x="1129" y="1643"/>
                    <a:pt x="1073" y="1573"/>
                  </a:cubicBezTo>
                  <a:cubicBezTo>
                    <a:pt x="1028" y="1518"/>
                    <a:pt x="984" y="1492"/>
                    <a:pt x="917" y="1530"/>
                  </a:cubicBezTo>
                  <a:cubicBezTo>
                    <a:pt x="872" y="1543"/>
                    <a:pt x="865" y="1585"/>
                    <a:pt x="848" y="1620"/>
                  </a:cubicBezTo>
                  <a:cubicBezTo>
                    <a:pt x="774" y="1636"/>
                    <a:pt x="703" y="1651"/>
                    <a:pt x="727" y="1759"/>
                  </a:cubicBezTo>
                  <a:cubicBezTo>
                    <a:pt x="733" y="1787"/>
                    <a:pt x="707" y="1817"/>
                    <a:pt x="666" y="1791"/>
                  </a:cubicBezTo>
                  <a:cubicBezTo>
                    <a:pt x="641" y="1781"/>
                    <a:pt x="621" y="1789"/>
                    <a:pt x="603" y="1807"/>
                  </a:cubicBezTo>
                  <a:cubicBezTo>
                    <a:pt x="584" y="1826"/>
                    <a:pt x="562" y="1830"/>
                    <a:pt x="542" y="1808"/>
                  </a:cubicBezTo>
                  <a:cubicBezTo>
                    <a:pt x="522" y="1786"/>
                    <a:pt x="520" y="1734"/>
                    <a:pt x="473" y="1758"/>
                  </a:cubicBezTo>
                  <a:cubicBezTo>
                    <a:pt x="431" y="1778"/>
                    <a:pt x="429" y="1819"/>
                    <a:pt x="438" y="186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3" name="Freeform 16">
              <a:extLst>
                <a:ext uri="{FF2B5EF4-FFF2-40B4-BE49-F238E27FC236}">
                  <a16:creationId xmlns:a16="http://schemas.microsoft.com/office/drawing/2014/main" id="{F87BCB6E-52BD-48F7-801F-8F02D0C8B02F}"/>
                </a:ext>
              </a:extLst>
            </p:cNvPr>
            <p:cNvSpPr>
              <a:spLocks/>
            </p:cNvSpPr>
            <p:nvPr/>
          </p:nvSpPr>
          <p:spPr bwMode="auto">
            <a:xfrm>
              <a:off x="4027244" y="5271932"/>
              <a:ext cx="770642" cy="982297"/>
            </a:xfrm>
            <a:custGeom>
              <a:avLst/>
              <a:gdLst>
                <a:gd name="T0" fmla="*/ 606 w 1842"/>
                <a:gd name="T1" fmla="*/ 660 h 2346"/>
                <a:gd name="T2" fmla="*/ 664 w 1842"/>
                <a:gd name="T3" fmla="*/ 624 h 2346"/>
                <a:gd name="T4" fmla="*/ 654 w 1842"/>
                <a:gd name="T5" fmla="*/ 543 h 2346"/>
                <a:gd name="T6" fmla="*/ 612 w 1842"/>
                <a:gd name="T7" fmla="*/ 476 h 2346"/>
                <a:gd name="T8" fmla="*/ 615 w 1842"/>
                <a:gd name="T9" fmla="*/ 399 h 2346"/>
                <a:gd name="T10" fmla="*/ 676 w 1842"/>
                <a:gd name="T11" fmla="*/ 341 h 2346"/>
                <a:gd name="T12" fmla="*/ 858 w 1842"/>
                <a:gd name="T13" fmla="*/ 279 h 2346"/>
                <a:gd name="T14" fmla="*/ 935 w 1842"/>
                <a:gd name="T15" fmla="*/ 361 h 2346"/>
                <a:gd name="T16" fmla="*/ 1069 w 1842"/>
                <a:gd name="T17" fmla="*/ 283 h 2346"/>
                <a:gd name="T18" fmla="*/ 1091 w 1842"/>
                <a:gd name="T19" fmla="*/ 200 h 2346"/>
                <a:gd name="T20" fmla="*/ 1306 w 1842"/>
                <a:gd name="T21" fmla="*/ 199 h 2346"/>
                <a:gd name="T22" fmla="*/ 1432 w 1842"/>
                <a:gd name="T23" fmla="*/ 121 h 2346"/>
                <a:gd name="T24" fmla="*/ 1566 w 1842"/>
                <a:gd name="T25" fmla="*/ 145 h 2346"/>
                <a:gd name="T26" fmla="*/ 1590 w 1842"/>
                <a:gd name="T27" fmla="*/ 125 h 2346"/>
                <a:gd name="T28" fmla="*/ 1686 w 1842"/>
                <a:gd name="T29" fmla="*/ 15 h 2346"/>
                <a:gd name="T30" fmla="*/ 1754 w 1842"/>
                <a:gd name="T31" fmla="*/ 6 h 2346"/>
                <a:gd name="T32" fmla="*/ 1833 w 1842"/>
                <a:gd name="T33" fmla="*/ 120 h 2346"/>
                <a:gd name="T34" fmla="*/ 1735 w 1842"/>
                <a:gd name="T35" fmla="*/ 427 h 2346"/>
                <a:gd name="T36" fmla="*/ 1585 w 1842"/>
                <a:gd name="T37" fmla="*/ 944 h 2346"/>
                <a:gd name="T38" fmla="*/ 1593 w 1842"/>
                <a:gd name="T39" fmla="*/ 1312 h 2346"/>
                <a:gd name="T40" fmla="*/ 1542 w 1842"/>
                <a:gd name="T41" fmla="*/ 1362 h 2346"/>
                <a:gd name="T42" fmla="*/ 1303 w 1842"/>
                <a:gd name="T43" fmla="*/ 1506 h 2346"/>
                <a:gd name="T44" fmla="*/ 1198 w 1842"/>
                <a:gd name="T45" fmla="*/ 1654 h 2346"/>
                <a:gd name="T46" fmla="*/ 1224 w 1842"/>
                <a:gd name="T47" fmla="*/ 1825 h 2346"/>
                <a:gd name="T48" fmla="*/ 953 w 1842"/>
                <a:gd name="T49" fmla="*/ 1882 h 2346"/>
                <a:gd name="T50" fmla="*/ 771 w 1842"/>
                <a:gd name="T51" fmla="*/ 2109 h 2346"/>
                <a:gd name="T52" fmla="*/ 573 w 1842"/>
                <a:gd name="T53" fmla="*/ 2291 h 2346"/>
                <a:gd name="T54" fmla="*/ 336 w 1842"/>
                <a:gd name="T55" fmla="*/ 2240 h 2346"/>
                <a:gd name="T56" fmla="*/ 368 w 1842"/>
                <a:gd name="T57" fmla="*/ 2080 h 2346"/>
                <a:gd name="T58" fmla="*/ 369 w 1842"/>
                <a:gd name="T59" fmla="*/ 2053 h 2346"/>
                <a:gd name="T60" fmla="*/ 370 w 1842"/>
                <a:gd name="T61" fmla="*/ 1930 h 2346"/>
                <a:gd name="T62" fmla="*/ 406 w 1842"/>
                <a:gd name="T63" fmla="*/ 1829 h 2346"/>
                <a:gd name="T64" fmla="*/ 450 w 1842"/>
                <a:gd name="T65" fmla="*/ 1721 h 2346"/>
                <a:gd name="T66" fmla="*/ 397 w 1842"/>
                <a:gd name="T67" fmla="*/ 1672 h 2346"/>
                <a:gd name="T68" fmla="*/ 385 w 1842"/>
                <a:gd name="T69" fmla="*/ 1647 h 2346"/>
                <a:gd name="T70" fmla="*/ 419 w 1842"/>
                <a:gd name="T71" fmla="*/ 1461 h 2346"/>
                <a:gd name="T72" fmla="*/ 401 w 1842"/>
                <a:gd name="T73" fmla="*/ 1386 h 2346"/>
                <a:gd name="T74" fmla="*/ 253 w 1842"/>
                <a:gd name="T75" fmla="*/ 1378 h 2346"/>
                <a:gd name="T76" fmla="*/ 245 w 1842"/>
                <a:gd name="T77" fmla="*/ 1208 h 2346"/>
                <a:gd name="T78" fmla="*/ 242 w 1842"/>
                <a:gd name="T79" fmla="*/ 1141 h 2346"/>
                <a:gd name="T80" fmla="*/ 186 w 1842"/>
                <a:gd name="T81" fmla="*/ 1071 h 2346"/>
                <a:gd name="T82" fmla="*/ 181 w 1842"/>
                <a:gd name="T83" fmla="*/ 986 h 2346"/>
                <a:gd name="T84" fmla="*/ 116 w 1842"/>
                <a:gd name="T85" fmla="*/ 957 h 2346"/>
                <a:gd name="T86" fmla="*/ 94 w 1842"/>
                <a:gd name="T87" fmla="*/ 890 h 2346"/>
                <a:gd name="T88" fmla="*/ 76 w 1842"/>
                <a:gd name="T89" fmla="*/ 874 h 2346"/>
                <a:gd name="T90" fmla="*/ 13 w 1842"/>
                <a:gd name="T91" fmla="*/ 832 h 2346"/>
                <a:gd name="T92" fmla="*/ 11 w 1842"/>
                <a:gd name="T93" fmla="*/ 795 h 2346"/>
                <a:gd name="T94" fmla="*/ 112 w 1842"/>
                <a:gd name="T95" fmla="*/ 750 h 2346"/>
                <a:gd name="T96" fmla="*/ 295 w 1842"/>
                <a:gd name="T97" fmla="*/ 743 h 2346"/>
                <a:gd name="T98" fmla="*/ 296 w 1842"/>
                <a:gd name="T99" fmla="*/ 721 h 2346"/>
                <a:gd name="T100" fmla="*/ 485 w 1842"/>
                <a:gd name="T101" fmla="*/ 711 h 2346"/>
                <a:gd name="T102" fmla="*/ 606 w 1842"/>
                <a:gd name="T103" fmla="*/ 660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42" h="2346">
                  <a:moveTo>
                    <a:pt x="606" y="660"/>
                  </a:moveTo>
                  <a:cubicBezTo>
                    <a:pt x="625" y="648"/>
                    <a:pt x="645" y="636"/>
                    <a:pt x="664" y="624"/>
                  </a:cubicBezTo>
                  <a:cubicBezTo>
                    <a:pt x="680" y="594"/>
                    <a:pt x="686" y="566"/>
                    <a:pt x="654" y="543"/>
                  </a:cubicBezTo>
                  <a:cubicBezTo>
                    <a:pt x="626" y="529"/>
                    <a:pt x="579" y="527"/>
                    <a:pt x="612" y="476"/>
                  </a:cubicBezTo>
                  <a:cubicBezTo>
                    <a:pt x="629" y="450"/>
                    <a:pt x="620" y="425"/>
                    <a:pt x="615" y="399"/>
                  </a:cubicBezTo>
                  <a:cubicBezTo>
                    <a:pt x="608" y="350"/>
                    <a:pt x="634" y="337"/>
                    <a:pt x="676" y="341"/>
                  </a:cubicBezTo>
                  <a:cubicBezTo>
                    <a:pt x="714" y="251"/>
                    <a:pt x="784" y="260"/>
                    <a:pt x="858" y="279"/>
                  </a:cubicBezTo>
                  <a:cubicBezTo>
                    <a:pt x="904" y="287"/>
                    <a:pt x="897" y="345"/>
                    <a:pt x="935" y="361"/>
                  </a:cubicBezTo>
                  <a:cubicBezTo>
                    <a:pt x="1003" y="374"/>
                    <a:pt x="1034" y="324"/>
                    <a:pt x="1069" y="283"/>
                  </a:cubicBezTo>
                  <a:cubicBezTo>
                    <a:pt x="1081" y="256"/>
                    <a:pt x="1071" y="224"/>
                    <a:pt x="1091" y="200"/>
                  </a:cubicBezTo>
                  <a:cubicBezTo>
                    <a:pt x="1162" y="147"/>
                    <a:pt x="1234" y="194"/>
                    <a:pt x="1306" y="199"/>
                  </a:cubicBezTo>
                  <a:cubicBezTo>
                    <a:pt x="1350" y="177"/>
                    <a:pt x="1396" y="168"/>
                    <a:pt x="1432" y="121"/>
                  </a:cubicBezTo>
                  <a:cubicBezTo>
                    <a:pt x="1475" y="66"/>
                    <a:pt x="1527" y="99"/>
                    <a:pt x="1566" y="145"/>
                  </a:cubicBezTo>
                  <a:cubicBezTo>
                    <a:pt x="1574" y="138"/>
                    <a:pt x="1582" y="131"/>
                    <a:pt x="1590" y="125"/>
                  </a:cubicBezTo>
                  <a:cubicBezTo>
                    <a:pt x="1634" y="100"/>
                    <a:pt x="1652" y="51"/>
                    <a:pt x="1686" y="15"/>
                  </a:cubicBezTo>
                  <a:cubicBezTo>
                    <a:pt x="1707" y="2"/>
                    <a:pt x="1730" y="0"/>
                    <a:pt x="1754" y="6"/>
                  </a:cubicBezTo>
                  <a:cubicBezTo>
                    <a:pt x="1813" y="22"/>
                    <a:pt x="1842" y="70"/>
                    <a:pt x="1833" y="120"/>
                  </a:cubicBezTo>
                  <a:cubicBezTo>
                    <a:pt x="1813" y="225"/>
                    <a:pt x="1803" y="329"/>
                    <a:pt x="1735" y="427"/>
                  </a:cubicBezTo>
                  <a:cubicBezTo>
                    <a:pt x="1630" y="577"/>
                    <a:pt x="1538" y="737"/>
                    <a:pt x="1585" y="944"/>
                  </a:cubicBezTo>
                  <a:cubicBezTo>
                    <a:pt x="1611" y="1061"/>
                    <a:pt x="1591" y="1189"/>
                    <a:pt x="1593" y="1312"/>
                  </a:cubicBezTo>
                  <a:cubicBezTo>
                    <a:pt x="1594" y="1349"/>
                    <a:pt x="1586" y="1362"/>
                    <a:pt x="1542" y="1362"/>
                  </a:cubicBezTo>
                  <a:cubicBezTo>
                    <a:pt x="1438" y="1363"/>
                    <a:pt x="1333" y="1362"/>
                    <a:pt x="1303" y="1506"/>
                  </a:cubicBezTo>
                  <a:cubicBezTo>
                    <a:pt x="1291" y="1560"/>
                    <a:pt x="1236" y="1607"/>
                    <a:pt x="1198" y="1654"/>
                  </a:cubicBezTo>
                  <a:cubicBezTo>
                    <a:pt x="1153" y="1710"/>
                    <a:pt x="1143" y="1763"/>
                    <a:pt x="1224" y="1825"/>
                  </a:cubicBezTo>
                  <a:cubicBezTo>
                    <a:pt x="1114" y="1818"/>
                    <a:pt x="1040" y="1874"/>
                    <a:pt x="953" y="1882"/>
                  </a:cubicBezTo>
                  <a:cubicBezTo>
                    <a:pt x="815" y="1894"/>
                    <a:pt x="777" y="2029"/>
                    <a:pt x="771" y="2109"/>
                  </a:cubicBezTo>
                  <a:cubicBezTo>
                    <a:pt x="762" y="2257"/>
                    <a:pt x="643" y="2244"/>
                    <a:pt x="573" y="2291"/>
                  </a:cubicBezTo>
                  <a:cubicBezTo>
                    <a:pt x="492" y="2346"/>
                    <a:pt x="400" y="2326"/>
                    <a:pt x="336" y="2240"/>
                  </a:cubicBezTo>
                  <a:cubicBezTo>
                    <a:pt x="353" y="2188"/>
                    <a:pt x="392" y="2140"/>
                    <a:pt x="368" y="2080"/>
                  </a:cubicBezTo>
                  <a:cubicBezTo>
                    <a:pt x="367" y="2071"/>
                    <a:pt x="367" y="2062"/>
                    <a:pt x="369" y="2053"/>
                  </a:cubicBezTo>
                  <a:cubicBezTo>
                    <a:pt x="398" y="2012"/>
                    <a:pt x="389" y="1971"/>
                    <a:pt x="370" y="1930"/>
                  </a:cubicBezTo>
                  <a:cubicBezTo>
                    <a:pt x="371" y="1892"/>
                    <a:pt x="395" y="1863"/>
                    <a:pt x="406" y="1829"/>
                  </a:cubicBezTo>
                  <a:cubicBezTo>
                    <a:pt x="426" y="1795"/>
                    <a:pt x="446" y="1761"/>
                    <a:pt x="450" y="1721"/>
                  </a:cubicBezTo>
                  <a:cubicBezTo>
                    <a:pt x="449" y="1687"/>
                    <a:pt x="414" y="1689"/>
                    <a:pt x="397" y="1672"/>
                  </a:cubicBezTo>
                  <a:cubicBezTo>
                    <a:pt x="391" y="1664"/>
                    <a:pt x="387" y="1656"/>
                    <a:pt x="385" y="1647"/>
                  </a:cubicBezTo>
                  <a:cubicBezTo>
                    <a:pt x="382" y="1583"/>
                    <a:pt x="425" y="1526"/>
                    <a:pt x="419" y="1461"/>
                  </a:cubicBezTo>
                  <a:cubicBezTo>
                    <a:pt x="414" y="1436"/>
                    <a:pt x="422" y="1407"/>
                    <a:pt x="401" y="1386"/>
                  </a:cubicBezTo>
                  <a:cubicBezTo>
                    <a:pt x="352" y="1375"/>
                    <a:pt x="299" y="1439"/>
                    <a:pt x="253" y="1378"/>
                  </a:cubicBezTo>
                  <a:cubicBezTo>
                    <a:pt x="219" y="1323"/>
                    <a:pt x="231" y="1266"/>
                    <a:pt x="245" y="1208"/>
                  </a:cubicBezTo>
                  <a:cubicBezTo>
                    <a:pt x="248" y="1186"/>
                    <a:pt x="245" y="1163"/>
                    <a:pt x="242" y="1141"/>
                  </a:cubicBezTo>
                  <a:cubicBezTo>
                    <a:pt x="235" y="1109"/>
                    <a:pt x="198" y="1099"/>
                    <a:pt x="186" y="1071"/>
                  </a:cubicBezTo>
                  <a:cubicBezTo>
                    <a:pt x="179" y="1043"/>
                    <a:pt x="194" y="1013"/>
                    <a:pt x="181" y="986"/>
                  </a:cubicBezTo>
                  <a:cubicBezTo>
                    <a:pt x="163" y="967"/>
                    <a:pt x="136" y="970"/>
                    <a:pt x="116" y="957"/>
                  </a:cubicBezTo>
                  <a:cubicBezTo>
                    <a:pt x="93" y="939"/>
                    <a:pt x="109" y="910"/>
                    <a:pt x="94" y="890"/>
                  </a:cubicBezTo>
                  <a:cubicBezTo>
                    <a:pt x="88" y="884"/>
                    <a:pt x="83" y="879"/>
                    <a:pt x="76" y="874"/>
                  </a:cubicBezTo>
                  <a:cubicBezTo>
                    <a:pt x="56" y="859"/>
                    <a:pt x="31" y="850"/>
                    <a:pt x="13" y="832"/>
                  </a:cubicBezTo>
                  <a:cubicBezTo>
                    <a:pt x="3" y="820"/>
                    <a:pt x="0" y="808"/>
                    <a:pt x="11" y="795"/>
                  </a:cubicBezTo>
                  <a:cubicBezTo>
                    <a:pt x="42" y="775"/>
                    <a:pt x="73" y="753"/>
                    <a:pt x="112" y="750"/>
                  </a:cubicBezTo>
                  <a:cubicBezTo>
                    <a:pt x="175" y="792"/>
                    <a:pt x="237" y="800"/>
                    <a:pt x="295" y="743"/>
                  </a:cubicBezTo>
                  <a:cubicBezTo>
                    <a:pt x="296" y="735"/>
                    <a:pt x="296" y="728"/>
                    <a:pt x="296" y="721"/>
                  </a:cubicBezTo>
                  <a:cubicBezTo>
                    <a:pt x="358" y="700"/>
                    <a:pt x="422" y="719"/>
                    <a:pt x="485" y="711"/>
                  </a:cubicBezTo>
                  <a:cubicBezTo>
                    <a:pt x="543" y="734"/>
                    <a:pt x="558" y="658"/>
                    <a:pt x="606" y="66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Freeform 17">
              <a:extLst>
                <a:ext uri="{FF2B5EF4-FFF2-40B4-BE49-F238E27FC236}">
                  <a16:creationId xmlns:a16="http://schemas.microsoft.com/office/drawing/2014/main" id="{2BCE1F39-08AE-4623-9605-449ED6E8442D}"/>
                </a:ext>
              </a:extLst>
            </p:cNvPr>
            <p:cNvSpPr>
              <a:spLocks/>
            </p:cNvSpPr>
            <p:nvPr/>
          </p:nvSpPr>
          <p:spPr bwMode="auto">
            <a:xfrm>
              <a:off x="6765194" y="2354889"/>
              <a:ext cx="928026" cy="781496"/>
            </a:xfrm>
            <a:custGeom>
              <a:avLst/>
              <a:gdLst>
                <a:gd name="T0" fmla="*/ 189 w 2217"/>
                <a:gd name="T1" fmla="*/ 1082 h 1865"/>
                <a:gd name="T2" fmla="*/ 44 w 2217"/>
                <a:gd name="T3" fmla="*/ 990 h 1865"/>
                <a:gd name="T4" fmla="*/ 47 w 2217"/>
                <a:gd name="T5" fmla="*/ 889 h 1865"/>
                <a:gd name="T6" fmla="*/ 401 w 2217"/>
                <a:gd name="T7" fmla="*/ 718 h 1865"/>
                <a:gd name="T8" fmla="*/ 580 w 2217"/>
                <a:gd name="T9" fmla="*/ 502 h 1865"/>
                <a:gd name="T10" fmla="*/ 961 w 2217"/>
                <a:gd name="T11" fmla="*/ 239 h 1865"/>
                <a:gd name="T12" fmla="*/ 1388 w 2217"/>
                <a:gd name="T13" fmla="*/ 228 h 1865"/>
                <a:gd name="T14" fmla="*/ 1596 w 2217"/>
                <a:gd name="T15" fmla="*/ 52 h 1865"/>
                <a:gd name="T16" fmla="*/ 1724 w 2217"/>
                <a:gd name="T17" fmla="*/ 248 h 1865"/>
                <a:gd name="T18" fmla="*/ 1824 w 2217"/>
                <a:gd name="T19" fmla="*/ 331 h 1865"/>
                <a:gd name="T20" fmla="*/ 1779 w 2217"/>
                <a:gd name="T21" fmla="*/ 468 h 1865"/>
                <a:gd name="T22" fmla="*/ 1941 w 2217"/>
                <a:gd name="T23" fmla="*/ 439 h 1865"/>
                <a:gd name="T24" fmla="*/ 2202 w 2217"/>
                <a:gd name="T25" fmla="*/ 552 h 1865"/>
                <a:gd name="T26" fmla="*/ 2054 w 2217"/>
                <a:gd name="T27" fmla="*/ 741 h 1865"/>
                <a:gd name="T28" fmla="*/ 2143 w 2217"/>
                <a:gd name="T29" fmla="*/ 956 h 1865"/>
                <a:gd name="T30" fmla="*/ 1895 w 2217"/>
                <a:gd name="T31" fmla="*/ 908 h 1865"/>
                <a:gd name="T32" fmla="*/ 1459 w 2217"/>
                <a:gd name="T33" fmla="*/ 1220 h 1865"/>
                <a:gd name="T34" fmla="*/ 1232 w 2217"/>
                <a:gd name="T35" fmla="*/ 1752 h 1865"/>
                <a:gd name="T36" fmla="*/ 1182 w 2217"/>
                <a:gd name="T37" fmla="*/ 1700 h 1865"/>
                <a:gd name="T38" fmla="*/ 942 w 2217"/>
                <a:gd name="T39" fmla="*/ 1759 h 1865"/>
                <a:gd name="T40" fmla="*/ 771 w 2217"/>
                <a:gd name="T41" fmla="*/ 1840 h 1865"/>
                <a:gd name="T42" fmla="*/ 881 w 2217"/>
                <a:gd name="T43" fmla="*/ 1593 h 1865"/>
                <a:gd name="T44" fmla="*/ 1011 w 2217"/>
                <a:gd name="T45" fmla="*/ 1390 h 1865"/>
                <a:gd name="T46" fmla="*/ 1258 w 2217"/>
                <a:gd name="T47" fmla="*/ 1182 h 1865"/>
                <a:gd name="T48" fmla="*/ 1458 w 2217"/>
                <a:gd name="T49" fmla="*/ 1048 h 1865"/>
                <a:gd name="T50" fmla="*/ 1655 w 2217"/>
                <a:gd name="T51" fmla="*/ 943 h 1865"/>
                <a:gd name="T52" fmla="*/ 1610 w 2217"/>
                <a:gd name="T53" fmla="*/ 731 h 1865"/>
                <a:gd name="T54" fmla="*/ 1590 w 2217"/>
                <a:gd name="T55" fmla="*/ 678 h 1865"/>
                <a:gd name="T56" fmla="*/ 1383 w 2217"/>
                <a:gd name="T57" fmla="*/ 758 h 1865"/>
                <a:gd name="T58" fmla="*/ 1094 w 2217"/>
                <a:gd name="T59" fmla="*/ 881 h 1865"/>
                <a:gd name="T60" fmla="*/ 836 w 2217"/>
                <a:gd name="T61" fmla="*/ 1134 h 1865"/>
                <a:gd name="T62" fmla="*/ 650 w 2217"/>
                <a:gd name="T63" fmla="*/ 1189 h 1865"/>
                <a:gd name="T64" fmla="*/ 540 w 2217"/>
                <a:gd name="T65" fmla="*/ 1196 h 1865"/>
                <a:gd name="T66" fmla="*/ 424 w 2217"/>
                <a:gd name="T67" fmla="*/ 1148 h 1865"/>
                <a:gd name="T68" fmla="*/ 344 w 2217"/>
                <a:gd name="T69" fmla="*/ 1193 h 1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7" h="1865">
                  <a:moveTo>
                    <a:pt x="246" y="1204"/>
                  </a:moveTo>
                  <a:cubicBezTo>
                    <a:pt x="199" y="1176"/>
                    <a:pt x="150" y="1155"/>
                    <a:pt x="189" y="1082"/>
                  </a:cubicBezTo>
                  <a:cubicBezTo>
                    <a:pt x="219" y="1026"/>
                    <a:pt x="172" y="1003"/>
                    <a:pt x="126" y="994"/>
                  </a:cubicBezTo>
                  <a:cubicBezTo>
                    <a:pt x="100" y="989"/>
                    <a:pt x="71" y="995"/>
                    <a:pt x="44" y="990"/>
                  </a:cubicBezTo>
                  <a:cubicBezTo>
                    <a:pt x="14" y="984"/>
                    <a:pt x="0" y="960"/>
                    <a:pt x="0" y="929"/>
                  </a:cubicBezTo>
                  <a:cubicBezTo>
                    <a:pt x="1" y="898"/>
                    <a:pt x="19" y="886"/>
                    <a:pt x="47" y="889"/>
                  </a:cubicBezTo>
                  <a:cubicBezTo>
                    <a:pt x="142" y="899"/>
                    <a:pt x="220" y="839"/>
                    <a:pt x="310" y="826"/>
                  </a:cubicBezTo>
                  <a:cubicBezTo>
                    <a:pt x="359" y="819"/>
                    <a:pt x="417" y="795"/>
                    <a:pt x="401" y="718"/>
                  </a:cubicBezTo>
                  <a:cubicBezTo>
                    <a:pt x="397" y="698"/>
                    <a:pt x="412" y="678"/>
                    <a:pt x="431" y="669"/>
                  </a:cubicBezTo>
                  <a:cubicBezTo>
                    <a:pt x="504" y="633"/>
                    <a:pt x="565" y="589"/>
                    <a:pt x="580" y="502"/>
                  </a:cubicBezTo>
                  <a:cubicBezTo>
                    <a:pt x="585" y="469"/>
                    <a:pt x="620" y="467"/>
                    <a:pt x="645" y="461"/>
                  </a:cubicBezTo>
                  <a:cubicBezTo>
                    <a:pt x="780" y="428"/>
                    <a:pt x="878" y="354"/>
                    <a:pt x="961" y="239"/>
                  </a:cubicBezTo>
                  <a:cubicBezTo>
                    <a:pt x="1001" y="183"/>
                    <a:pt x="1072" y="116"/>
                    <a:pt x="1174" y="177"/>
                  </a:cubicBezTo>
                  <a:cubicBezTo>
                    <a:pt x="1235" y="213"/>
                    <a:pt x="1320" y="188"/>
                    <a:pt x="1388" y="228"/>
                  </a:cubicBezTo>
                  <a:cubicBezTo>
                    <a:pt x="1409" y="240"/>
                    <a:pt x="1433" y="215"/>
                    <a:pt x="1440" y="190"/>
                  </a:cubicBezTo>
                  <a:cubicBezTo>
                    <a:pt x="1462" y="109"/>
                    <a:pt x="1540" y="94"/>
                    <a:pt x="1596" y="52"/>
                  </a:cubicBezTo>
                  <a:cubicBezTo>
                    <a:pt x="1667" y="0"/>
                    <a:pt x="1674" y="116"/>
                    <a:pt x="1759" y="79"/>
                  </a:cubicBezTo>
                  <a:cubicBezTo>
                    <a:pt x="1695" y="150"/>
                    <a:pt x="1637" y="195"/>
                    <a:pt x="1724" y="248"/>
                  </a:cubicBezTo>
                  <a:cubicBezTo>
                    <a:pt x="1755" y="243"/>
                    <a:pt x="1752" y="155"/>
                    <a:pt x="1801" y="208"/>
                  </a:cubicBezTo>
                  <a:cubicBezTo>
                    <a:pt x="1828" y="237"/>
                    <a:pt x="1894" y="275"/>
                    <a:pt x="1824" y="331"/>
                  </a:cubicBezTo>
                  <a:cubicBezTo>
                    <a:pt x="1809" y="343"/>
                    <a:pt x="1798" y="364"/>
                    <a:pt x="1794" y="383"/>
                  </a:cubicBezTo>
                  <a:cubicBezTo>
                    <a:pt x="1787" y="411"/>
                    <a:pt x="1756" y="443"/>
                    <a:pt x="1779" y="468"/>
                  </a:cubicBezTo>
                  <a:cubicBezTo>
                    <a:pt x="1808" y="499"/>
                    <a:pt x="1832" y="462"/>
                    <a:pt x="1857" y="446"/>
                  </a:cubicBezTo>
                  <a:cubicBezTo>
                    <a:pt x="1883" y="429"/>
                    <a:pt x="1911" y="415"/>
                    <a:pt x="1941" y="439"/>
                  </a:cubicBezTo>
                  <a:cubicBezTo>
                    <a:pt x="1977" y="466"/>
                    <a:pt x="2022" y="465"/>
                    <a:pt x="2059" y="457"/>
                  </a:cubicBezTo>
                  <a:cubicBezTo>
                    <a:pt x="2144" y="440"/>
                    <a:pt x="2175" y="487"/>
                    <a:pt x="2202" y="552"/>
                  </a:cubicBezTo>
                  <a:cubicBezTo>
                    <a:pt x="2217" y="590"/>
                    <a:pt x="2216" y="608"/>
                    <a:pt x="2173" y="630"/>
                  </a:cubicBezTo>
                  <a:cubicBezTo>
                    <a:pt x="2127" y="655"/>
                    <a:pt x="2092" y="702"/>
                    <a:pt x="2054" y="741"/>
                  </a:cubicBezTo>
                  <a:cubicBezTo>
                    <a:pt x="2023" y="774"/>
                    <a:pt x="2030" y="810"/>
                    <a:pt x="2055" y="843"/>
                  </a:cubicBezTo>
                  <a:cubicBezTo>
                    <a:pt x="2084" y="881"/>
                    <a:pt x="2114" y="918"/>
                    <a:pt x="2143" y="956"/>
                  </a:cubicBezTo>
                  <a:cubicBezTo>
                    <a:pt x="2135" y="974"/>
                    <a:pt x="2121" y="968"/>
                    <a:pt x="2112" y="960"/>
                  </a:cubicBezTo>
                  <a:cubicBezTo>
                    <a:pt x="2050" y="901"/>
                    <a:pt x="1993" y="852"/>
                    <a:pt x="1895" y="908"/>
                  </a:cubicBezTo>
                  <a:cubicBezTo>
                    <a:pt x="1826" y="947"/>
                    <a:pt x="1748" y="955"/>
                    <a:pt x="1690" y="1029"/>
                  </a:cubicBezTo>
                  <a:cubicBezTo>
                    <a:pt x="1630" y="1106"/>
                    <a:pt x="1541" y="1163"/>
                    <a:pt x="1459" y="1220"/>
                  </a:cubicBezTo>
                  <a:cubicBezTo>
                    <a:pt x="1387" y="1270"/>
                    <a:pt x="1361" y="1329"/>
                    <a:pt x="1381" y="1412"/>
                  </a:cubicBezTo>
                  <a:cubicBezTo>
                    <a:pt x="1413" y="1543"/>
                    <a:pt x="1349" y="1687"/>
                    <a:pt x="1232" y="1752"/>
                  </a:cubicBezTo>
                  <a:cubicBezTo>
                    <a:pt x="1228" y="1750"/>
                    <a:pt x="1224" y="1749"/>
                    <a:pt x="1220" y="1748"/>
                  </a:cubicBezTo>
                  <a:cubicBezTo>
                    <a:pt x="1202" y="1736"/>
                    <a:pt x="1198" y="1714"/>
                    <a:pt x="1182" y="1700"/>
                  </a:cubicBezTo>
                  <a:cubicBezTo>
                    <a:pt x="1139" y="1704"/>
                    <a:pt x="1114" y="1745"/>
                    <a:pt x="1072" y="1751"/>
                  </a:cubicBezTo>
                  <a:cubicBezTo>
                    <a:pt x="1029" y="1761"/>
                    <a:pt x="985" y="1757"/>
                    <a:pt x="942" y="1759"/>
                  </a:cubicBezTo>
                  <a:cubicBezTo>
                    <a:pt x="871" y="1757"/>
                    <a:pt x="880" y="1848"/>
                    <a:pt x="823" y="1862"/>
                  </a:cubicBezTo>
                  <a:cubicBezTo>
                    <a:pt x="801" y="1865"/>
                    <a:pt x="785" y="1854"/>
                    <a:pt x="771" y="1840"/>
                  </a:cubicBezTo>
                  <a:cubicBezTo>
                    <a:pt x="749" y="1808"/>
                    <a:pt x="719" y="1778"/>
                    <a:pt x="731" y="1733"/>
                  </a:cubicBezTo>
                  <a:cubicBezTo>
                    <a:pt x="768" y="1673"/>
                    <a:pt x="801" y="1608"/>
                    <a:pt x="881" y="1593"/>
                  </a:cubicBezTo>
                  <a:cubicBezTo>
                    <a:pt x="894" y="1589"/>
                    <a:pt x="907" y="1585"/>
                    <a:pt x="919" y="1580"/>
                  </a:cubicBezTo>
                  <a:cubicBezTo>
                    <a:pt x="975" y="1529"/>
                    <a:pt x="935" y="1431"/>
                    <a:pt x="1011" y="1390"/>
                  </a:cubicBezTo>
                  <a:cubicBezTo>
                    <a:pt x="1050" y="1346"/>
                    <a:pt x="1108" y="1324"/>
                    <a:pt x="1138" y="1271"/>
                  </a:cubicBezTo>
                  <a:cubicBezTo>
                    <a:pt x="1171" y="1231"/>
                    <a:pt x="1220" y="1215"/>
                    <a:pt x="1258" y="1182"/>
                  </a:cubicBezTo>
                  <a:cubicBezTo>
                    <a:pt x="1302" y="1119"/>
                    <a:pt x="1373" y="1098"/>
                    <a:pt x="1436" y="1064"/>
                  </a:cubicBezTo>
                  <a:cubicBezTo>
                    <a:pt x="1443" y="1059"/>
                    <a:pt x="1451" y="1053"/>
                    <a:pt x="1458" y="1048"/>
                  </a:cubicBezTo>
                  <a:cubicBezTo>
                    <a:pt x="1498" y="995"/>
                    <a:pt x="1551" y="965"/>
                    <a:pt x="1617" y="958"/>
                  </a:cubicBezTo>
                  <a:cubicBezTo>
                    <a:pt x="1630" y="953"/>
                    <a:pt x="1643" y="948"/>
                    <a:pt x="1655" y="943"/>
                  </a:cubicBezTo>
                  <a:cubicBezTo>
                    <a:pt x="1729" y="881"/>
                    <a:pt x="1626" y="870"/>
                    <a:pt x="1623" y="830"/>
                  </a:cubicBezTo>
                  <a:cubicBezTo>
                    <a:pt x="1604" y="799"/>
                    <a:pt x="1596" y="767"/>
                    <a:pt x="1610" y="731"/>
                  </a:cubicBezTo>
                  <a:cubicBezTo>
                    <a:pt x="1616" y="716"/>
                    <a:pt x="1637" y="705"/>
                    <a:pt x="1632" y="688"/>
                  </a:cubicBezTo>
                  <a:cubicBezTo>
                    <a:pt x="1626" y="667"/>
                    <a:pt x="1606" y="674"/>
                    <a:pt x="1590" y="678"/>
                  </a:cubicBezTo>
                  <a:cubicBezTo>
                    <a:pt x="1557" y="686"/>
                    <a:pt x="1526" y="698"/>
                    <a:pt x="1498" y="718"/>
                  </a:cubicBezTo>
                  <a:cubicBezTo>
                    <a:pt x="1462" y="738"/>
                    <a:pt x="1422" y="747"/>
                    <a:pt x="1383" y="758"/>
                  </a:cubicBezTo>
                  <a:cubicBezTo>
                    <a:pt x="1340" y="760"/>
                    <a:pt x="1306" y="782"/>
                    <a:pt x="1271" y="802"/>
                  </a:cubicBezTo>
                  <a:cubicBezTo>
                    <a:pt x="1211" y="826"/>
                    <a:pt x="1159" y="868"/>
                    <a:pt x="1094" y="881"/>
                  </a:cubicBezTo>
                  <a:cubicBezTo>
                    <a:pt x="1066" y="900"/>
                    <a:pt x="1016" y="850"/>
                    <a:pt x="1000" y="911"/>
                  </a:cubicBezTo>
                  <a:cubicBezTo>
                    <a:pt x="962" y="997"/>
                    <a:pt x="886" y="1056"/>
                    <a:pt x="836" y="1134"/>
                  </a:cubicBezTo>
                  <a:cubicBezTo>
                    <a:pt x="813" y="1154"/>
                    <a:pt x="785" y="1159"/>
                    <a:pt x="756" y="1163"/>
                  </a:cubicBezTo>
                  <a:cubicBezTo>
                    <a:pt x="721" y="1170"/>
                    <a:pt x="685" y="1179"/>
                    <a:pt x="650" y="1189"/>
                  </a:cubicBezTo>
                  <a:cubicBezTo>
                    <a:pt x="641" y="1192"/>
                    <a:pt x="632" y="1194"/>
                    <a:pt x="623" y="1196"/>
                  </a:cubicBezTo>
                  <a:cubicBezTo>
                    <a:pt x="595" y="1201"/>
                    <a:pt x="568" y="1202"/>
                    <a:pt x="540" y="1196"/>
                  </a:cubicBezTo>
                  <a:cubicBezTo>
                    <a:pt x="519" y="1189"/>
                    <a:pt x="498" y="1186"/>
                    <a:pt x="476" y="1184"/>
                  </a:cubicBezTo>
                  <a:cubicBezTo>
                    <a:pt x="456" y="1175"/>
                    <a:pt x="443" y="1158"/>
                    <a:pt x="424" y="1148"/>
                  </a:cubicBezTo>
                  <a:cubicBezTo>
                    <a:pt x="400" y="1135"/>
                    <a:pt x="389" y="1153"/>
                    <a:pt x="376" y="1168"/>
                  </a:cubicBezTo>
                  <a:cubicBezTo>
                    <a:pt x="367" y="1178"/>
                    <a:pt x="356" y="1187"/>
                    <a:pt x="344" y="1193"/>
                  </a:cubicBezTo>
                  <a:cubicBezTo>
                    <a:pt x="312" y="1205"/>
                    <a:pt x="281" y="1222"/>
                    <a:pt x="246" y="120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Freeform 18">
              <a:extLst>
                <a:ext uri="{FF2B5EF4-FFF2-40B4-BE49-F238E27FC236}">
                  <a16:creationId xmlns:a16="http://schemas.microsoft.com/office/drawing/2014/main" id="{D24E0021-174E-4383-8697-8008EBA739D4}"/>
                </a:ext>
              </a:extLst>
            </p:cNvPr>
            <p:cNvSpPr>
              <a:spLocks/>
            </p:cNvSpPr>
            <p:nvPr/>
          </p:nvSpPr>
          <p:spPr bwMode="auto">
            <a:xfrm>
              <a:off x="5373154" y="2778199"/>
              <a:ext cx="805918" cy="602403"/>
            </a:xfrm>
            <a:custGeom>
              <a:avLst/>
              <a:gdLst>
                <a:gd name="T0" fmla="*/ 79 w 1921"/>
                <a:gd name="T1" fmla="*/ 1195 h 1435"/>
                <a:gd name="T2" fmla="*/ 57 w 1921"/>
                <a:gd name="T3" fmla="*/ 1170 h 1435"/>
                <a:gd name="T4" fmla="*/ 122 w 1921"/>
                <a:gd name="T5" fmla="*/ 952 h 1435"/>
                <a:gd name="T6" fmla="*/ 224 w 1921"/>
                <a:gd name="T7" fmla="*/ 907 h 1435"/>
                <a:gd name="T8" fmla="*/ 223 w 1921"/>
                <a:gd name="T9" fmla="*/ 894 h 1435"/>
                <a:gd name="T10" fmla="*/ 305 w 1921"/>
                <a:gd name="T11" fmla="*/ 805 h 1435"/>
                <a:gd name="T12" fmla="*/ 383 w 1921"/>
                <a:gd name="T13" fmla="*/ 806 h 1435"/>
                <a:gd name="T14" fmla="*/ 477 w 1921"/>
                <a:gd name="T15" fmla="*/ 782 h 1435"/>
                <a:gd name="T16" fmla="*/ 490 w 1921"/>
                <a:gd name="T17" fmla="*/ 723 h 1435"/>
                <a:gd name="T18" fmla="*/ 332 w 1921"/>
                <a:gd name="T19" fmla="*/ 601 h 1435"/>
                <a:gd name="T20" fmla="*/ 317 w 1921"/>
                <a:gd name="T21" fmla="*/ 578 h 1435"/>
                <a:gd name="T22" fmla="*/ 280 w 1921"/>
                <a:gd name="T23" fmla="*/ 456 h 1435"/>
                <a:gd name="T24" fmla="*/ 387 w 1921"/>
                <a:gd name="T25" fmla="*/ 405 h 1435"/>
                <a:gd name="T26" fmla="*/ 407 w 1921"/>
                <a:gd name="T27" fmla="*/ 347 h 1435"/>
                <a:gd name="T28" fmla="*/ 408 w 1921"/>
                <a:gd name="T29" fmla="*/ 333 h 1435"/>
                <a:gd name="T30" fmla="*/ 332 w 1921"/>
                <a:gd name="T31" fmla="*/ 286 h 1435"/>
                <a:gd name="T32" fmla="*/ 245 w 1921"/>
                <a:gd name="T33" fmla="*/ 66 h 1435"/>
                <a:gd name="T34" fmla="*/ 530 w 1921"/>
                <a:gd name="T35" fmla="*/ 119 h 1435"/>
                <a:gd name="T36" fmla="*/ 541 w 1921"/>
                <a:gd name="T37" fmla="*/ 134 h 1435"/>
                <a:gd name="T38" fmla="*/ 791 w 1921"/>
                <a:gd name="T39" fmla="*/ 350 h 1435"/>
                <a:gd name="T40" fmla="*/ 893 w 1921"/>
                <a:gd name="T41" fmla="*/ 326 h 1435"/>
                <a:gd name="T42" fmla="*/ 956 w 1921"/>
                <a:gd name="T43" fmla="*/ 361 h 1435"/>
                <a:gd name="T44" fmla="*/ 1033 w 1921"/>
                <a:gd name="T45" fmla="*/ 427 h 1435"/>
                <a:gd name="T46" fmla="*/ 1328 w 1921"/>
                <a:gd name="T47" fmla="*/ 471 h 1435"/>
                <a:gd name="T48" fmla="*/ 1490 w 1921"/>
                <a:gd name="T49" fmla="*/ 456 h 1435"/>
                <a:gd name="T50" fmla="*/ 1633 w 1921"/>
                <a:gd name="T51" fmla="*/ 501 h 1435"/>
                <a:gd name="T52" fmla="*/ 1845 w 1921"/>
                <a:gd name="T53" fmla="*/ 498 h 1435"/>
                <a:gd name="T54" fmla="*/ 1916 w 1921"/>
                <a:gd name="T55" fmla="*/ 532 h 1435"/>
                <a:gd name="T56" fmla="*/ 1867 w 1921"/>
                <a:gd name="T57" fmla="*/ 630 h 1435"/>
                <a:gd name="T58" fmla="*/ 1833 w 1921"/>
                <a:gd name="T59" fmla="*/ 672 h 1435"/>
                <a:gd name="T60" fmla="*/ 1852 w 1921"/>
                <a:gd name="T61" fmla="*/ 761 h 1435"/>
                <a:gd name="T62" fmla="*/ 1825 w 1921"/>
                <a:gd name="T63" fmla="*/ 860 h 1435"/>
                <a:gd name="T64" fmla="*/ 1815 w 1921"/>
                <a:gd name="T65" fmla="*/ 908 h 1435"/>
                <a:gd name="T66" fmla="*/ 1820 w 1921"/>
                <a:gd name="T67" fmla="*/ 946 h 1435"/>
                <a:gd name="T68" fmla="*/ 1722 w 1921"/>
                <a:gd name="T69" fmla="*/ 979 h 1435"/>
                <a:gd name="T70" fmla="*/ 1669 w 1921"/>
                <a:gd name="T71" fmla="*/ 999 h 1435"/>
                <a:gd name="T72" fmla="*/ 1611 w 1921"/>
                <a:gd name="T73" fmla="*/ 1047 h 1435"/>
                <a:gd name="T74" fmla="*/ 1565 w 1921"/>
                <a:gd name="T75" fmla="*/ 1107 h 1435"/>
                <a:gd name="T76" fmla="*/ 1540 w 1921"/>
                <a:gd name="T77" fmla="*/ 1181 h 1435"/>
                <a:gd name="T78" fmla="*/ 1529 w 1921"/>
                <a:gd name="T79" fmla="*/ 1206 h 1435"/>
                <a:gd name="T80" fmla="*/ 1487 w 1921"/>
                <a:gd name="T81" fmla="*/ 1294 h 1435"/>
                <a:gd name="T82" fmla="*/ 1422 w 1921"/>
                <a:gd name="T83" fmla="*/ 1320 h 1435"/>
                <a:gd name="T84" fmla="*/ 1303 w 1921"/>
                <a:gd name="T85" fmla="*/ 1349 h 1435"/>
                <a:gd name="T86" fmla="*/ 1222 w 1921"/>
                <a:gd name="T87" fmla="*/ 1365 h 1435"/>
                <a:gd name="T88" fmla="*/ 1139 w 1921"/>
                <a:gd name="T89" fmla="*/ 1276 h 1435"/>
                <a:gd name="T90" fmla="*/ 1110 w 1921"/>
                <a:gd name="T91" fmla="*/ 1250 h 1435"/>
                <a:gd name="T92" fmla="*/ 1023 w 1921"/>
                <a:gd name="T93" fmla="*/ 1227 h 1435"/>
                <a:gd name="T94" fmla="*/ 986 w 1921"/>
                <a:gd name="T95" fmla="*/ 1256 h 1435"/>
                <a:gd name="T96" fmla="*/ 821 w 1921"/>
                <a:gd name="T97" fmla="*/ 1362 h 1435"/>
                <a:gd name="T98" fmla="*/ 704 w 1921"/>
                <a:gd name="T99" fmla="*/ 1356 h 1435"/>
                <a:gd name="T100" fmla="*/ 616 w 1921"/>
                <a:gd name="T101" fmla="*/ 1355 h 1435"/>
                <a:gd name="T102" fmla="*/ 597 w 1921"/>
                <a:gd name="T103" fmla="*/ 1375 h 1435"/>
                <a:gd name="T104" fmla="*/ 423 w 1921"/>
                <a:gd name="T105" fmla="*/ 1361 h 1435"/>
                <a:gd name="T106" fmla="*/ 312 w 1921"/>
                <a:gd name="T107" fmla="*/ 1336 h 1435"/>
                <a:gd name="T108" fmla="*/ 256 w 1921"/>
                <a:gd name="T109" fmla="*/ 1318 h 1435"/>
                <a:gd name="T110" fmla="*/ 100 w 1921"/>
                <a:gd name="T111" fmla="*/ 1210 h 1435"/>
                <a:gd name="T112" fmla="*/ 79 w 1921"/>
                <a:gd name="T113" fmla="*/ 1195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1" h="1435">
                  <a:moveTo>
                    <a:pt x="79" y="1195"/>
                  </a:moveTo>
                  <a:cubicBezTo>
                    <a:pt x="72" y="1187"/>
                    <a:pt x="64" y="1179"/>
                    <a:pt x="57" y="1170"/>
                  </a:cubicBezTo>
                  <a:cubicBezTo>
                    <a:pt x="0" y="1054"/>
                    <a:pt x="15" y="1010"/>
                    <a:pt x="122" y="952"/>
                  </a:cubicBezTo>
                  <a:cubicBezTo>
                    <a:pt x="155" y="934"/>
                    <a:pt x="192" y="926"/>
                    <a:pt x="224" y="907"/>
                  </a:cubicBezTo>
                  <a:cubicBezTo>
                    <a:pt x="223" y="903"/>
                    <a:pt x="223" y="898"/>
                    <a:pt x="223" y="894"/>
                  </a:cubicBezTo>
                  <a:cubicBezTo>
                    <a:pt x="230" y="846"/>
                    <a:pt x="291" y="847"/>
                    <a:pt x="305" y="805"/>
                  </a:cubicBezTo>
                  <a:cubicBezTo>
                    <a:pt x="331" y="789"/>
                    <a:pt x="357" y="782"/>
                    <a:pt x="383" y="806"/>
                  </a:cubicBezTo>
                  <a:cubicBezTo>
                    <a:pt x="409" y="778"/>
                    <a:pt x="443" y="785"/>
                    <a:pt x="477" y="782"/>
                  </a:cubicBezTo>
                  <a:cubicBezTo>
                    <a:pt x="535" y="778"/>
                    <a:pt x="529" y="753"/>
                    <a:pt x="490" y="723"/>
                  </a:cubicBezTo>
                  <a:cubicBezTo>
                    <a:pt x="426" y="697"/>
                    <a:pt x="366" y="666"/>
                    <a:pt x="332" y="601"/>
                  </a:cubicBezTo>
                  <a:cubicBezTo>
                    <a:pt x="323" y="595"/>
                    <a:pt x="313" y="582"/>
                    <a:pt x="317" y="578"/>
                  </a:cubicBezTo>
                  <a:cubicBezTo>
                    <a:pt x="392" y="510"/>
                    <a:pt x="329" y="485"/>
                    <a:pt x="280" y="456"/>
                  </a:cubicBezTo>
                  <a:cubicBezTo>
                    <a:pt x="298" y="404"/>
                    <a:pt x="343" y="405"/>
                    <a:pt x="387" y="405"/>
                  </a:cubicBezTo>
                  <a:cubicBezTo>
                    <a:pt x="449" y="404"/>
                    <a:pt x="441" y="380"/>
                    <a:pt x="407" y="347"/>
                  </a:cubicBezTo>
                  <a:cubicBezTo>
                    <a:pt x="407" y="343"/>
                    <a:pt x="408" y="338"/>
                    <a:pt x="408" y="333"/>
                  </a:cubicBezTo>
                  <a:cubicBezTo>
                    <a:pt x="390" y="307"/>
                    <a:pt x="357" y="302"/>
                    <a:pt x="332" y="286"/>
                  </a:cubicBezTo>
                  <a:cubicBezTo>
                    <a:pt x="293" y="216"/>
                    <a:pt x="256" y="146"/>
                    <a:pt x="245" y="66"/>
                  </a:cubicBezTo>
                  <a:cubicBezTo>
                    <a:pt x="355" y="0"/>
                    <a:pt x="433" y="111"/>
                    <a:pt x="530" y="119"/>
                  </a:cubicBezTo>
                  <a:cubicBezTo>
                    <a:pt x="534" y="119"/>
                    <a:pt x="542" y="130"/>
                    <a:pt x="541" y="134"/>
                  </a:cubicBezTo>
                  <a:cubicBezTo>
                    <a:pt x="519" y="325"/>
                    <a:pt x="730" y="249"/>
                    <a:pt x="791" y="350"/>
                  </a:cubicBezTo>
                  <a:cubicBezTo>
                    <a:pt x="807" y="376"/>
                    <a:pt x="859" y="343"/>
                    <a:pt x="893" y="326"/>
                  </a:cubicBezTo>
                  <a:cubicBezTo>
                    <a:pt x="928" y="309"/>
                    <a:pt x="963" y="300"/>
                    <a:pt x="956" y="361"/>
                  </a:cubicBezTo>
                  <a:cubicBezTo>
                    <a:pt x="949" y="421"/>
                    <a:pt x="1002" y="439"/>
                    <a:pt x="1033" y="427"/>
                  </a:cubicBezTo>
                  <a:cubicBezTo>
                    <a:pt x="1143" y="384"/>
                    <a:pt x="1241" y="415"/>
                    <a:pt x="1328" y="471"/>
                  </a:cubicBezTo>
                  <a:cubicBezTo>
                    <a:pt x="1397" y="515"/>
                    <a:pt x="1446" y="418"/>
                    <a:pt x="1490" y="456"/>
                  </a:cubicBezTo>
                  <a:cubicBezTo>
                    <a:pt x="1536" y="497"/>
                    <a:pt x="1566" y="512"/>
                    <a:pt x="1633" y="501"/>
                  </a:cubicBezTo>
                  <a:cubicBezTo>
                    <a:pt x="1699" y="489"/>
                    <a:pt x="1775" y="442"/>
                    <a:pt x="1845" y="498"/>
                  </a:cubicBezTo>
                  <a:cubicBezTo>
                    <a:pt x="1865" y="517"/>
                    <a:pt x="1906" y="493"/>
                    <a:pt x="1916" y="532"/>
                  </a:cubicBezTo>
                  <a:cubicBezTo>
                    <a:pt x="1921" y="575"/>
                    <a:pt x="1885" y="598"/>
                    <a:pt x="1867" y="630"/>
                  </a:cubicBezTo>
                  <a:cubicBezTo>
                    <a:pt x="1857" y="645"/>
                    <a:pt x="1845" y="658"/>
                    <a:pt x="1833" y="672"/>
                  </a:cubicBezTo>
                  <a:cubicBezTo>
                    <a:pt x="1800" y="710"/>
                    <a:pt x="1845" y="732"/>
                    <a:pt x="1852" y="761"/>
                  </a:cubicBezTo>
                  <a:cubicBezTo>
                    <a:pt x="1856" y="798"/>
                    <a:pt x="1829" y="826"/>
                    <a:pt x="1825" y="860"/>
                  </a:cubicBezTo>
                  <a:cubicBezTo>
                    <a:pt x="1821" y="876"/>
                    <a:pt x="1816" y="892"/>
                    <a:pt x="1815" y="908"/>
                  </a:cubicBezTo>
                  <a:cubicBezTo>
                    <a:pt x="1817" y="921"/>
                    <a:pt x="1819" y="933"/>
                    <a:pt x="1820" y="946"/>
                  </a:cubicBezTo>
                  <a:cubicBezTo>
                    <a:pt x="1812" y="1030"/>
                    <a:pt x="1760" y="983"/>
                    <a:pt x="1722" y="979"/>
                  </a:cubicBezTo>
                  <a:cubicBezTo>
                    <a:pt x="1701" y="975"/>
                    <a:pt x="1684" y="983"/>
                    <a:pt x="1669" y="999"/>
                  </a:cubicBezTo>
                  <a:cubicBezTo>
                    <a:pt x="1651" y="1016"/>
                    <a:pt x="1629" y="1029"/>
                    <a:pt x="1611" y="1047"/>
                  </a:cubicBezTo>
                  <a:cubicBezTo>
                    <a:pt x="1594" y="1065"/>
                    <a:pt x="1575" y="1083"/>
                    <a:pt x="1565" y="1107"/>
                  </a:cubicBezTo>
                  <a:cubicBezTo>
                    <a:pt x="1556" y="1132"/>
                    <a:pt x="1550" y="1157"/>
                    <a:pt x="1540" y="1181"/>
                  </a:cubicBezTo>
                  <a:cubicBezTo>
                    <a:pt x="1536" y="1190"/>
                    <a:pt x="1533" y="1198"/>
                    <a:pt x="1529" y="1206"/>
                  </a:cubicBezTo>
                  <a:cubicBezTo>
                    <a:pt x="1516" y="1236"/>
                    <a:pt x="1508" y="1268"/>
                    <a:pt x="1487" y="1294"/>
                  </a:cubicBezTo>
                  <a:cubicBezTo>
                    <a:pt x="1469" y="1313"/>
                    <a:pt x="1447" y="1319"/>
                    <a:pt x="1422" y="1320"/>
                  </a:cubicBezTo>
                  <a:cubicBezTo>
                    <a:pt x="1381" y="1326"/>
                    <a:pt x="1332" y="1293"/>
                    <a:pt x="1303" y="1349"/>
                  </a:cubicBezTo>
                  <a:cubicBezTo>
                    <a:pt x="1281" y="1379"/>
                    <a:pt x="1257" y="1400"/>
                    <a:pt x="1222" y="1365"/>
                  </a:cubicBezTo>
                  <a:cubicBezTo>
                    <a:pt x="1204" y="1327"/>
                    <a:pt x="1165" y="1307"/>
                    <a:pt x="1139" y="1276"/>
                  </a:cubicBezTo>
                  <a:cubicBezTo>
                    <a:pt x="1130" y="1266"/>
                    <a:pt x="1121" y="1258"/>
                    <a:pt x="1110" y="1250"/>
                  </a:cubicBezTo>
                  <a:cubicBezTo>
                    <a:pt x="1082" y="1236"/>
                    <a:pt x="1053" y="1231"/>
                    <a:pt x="1023" y="1227"/>
                  </a:cubicBezTo>
                  <a:cubicBezTo>
                    <a:pt x="1005" y="1231"/>
                    <a:pt x="995" y="1243"/>
                    <a:pt x="986" y="1256"/>
                  </a:cubicBezTo>
                  <a:cubicBezTo>
                    <a:pt x="952" y="1325"/>
                    <a:pt x="879" y="1331"/>
                    <a:pt x="821" y="1362"/>
                  </a:cubicBezTo>
                  <a:cubicBezTo>
                    <a:pt x="780" y="1405"/>
                    <a:pt x="740" y="1385"/>
                    <a:pt x="704" y="1356"/>
                  </a:cubicBezTo>
                  <a:cubicBezTo>
                    <a:pt x="673" y="1330"/>
                    <a:pt x="646" y="1325"/>
                    <a:pt x="616" y="1355"/>
                  </a:cubicBezTo>
                  <a:cubicBezTo>
                    <a:pt x="610" y="1362"/>
                    <a:pt x="603" y="1368"/>
                    <a:pt x="597" y="1375"/>
                  </a:cubicBezTo>
                  <a:cubicBezTo>
                    <a:pt x="534" y="1435"/>
                    <a:pt x="476" y="1422"/>
                    <a:pt x="423" y="1361"/>
                  </a:cubicBezTo>
                  <a:cubicBezTo>
                    <a:pt x="382" y="1370"/>
                    <a:pt x="340" y="1381"/>
                    <a:pt x="312" y="1336"/>
                  </a:cubicBezTo>
                  <a:cubicBezTo>
                    <a:pt x="298" y="1314"/>
                    <a:pt x="278" y="1315"/>
                    <a:pt x="256" y="1318"/>
                  </a:cubicBezTo>
                  <a:cubicBezTo>
                    <a:pt x="159" y="1346"/>
                    <a:pt x="147" y="1254"/>
                    <a:pt x="100" y="1210"/>
                  </a:cubicBezTo>
                  <a:cubicBezTo>
                    <a:pt x="92" y="1206"/>
                    <a:pt x="85" y="1201"/>
                    <a:pt x="79" y="119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00"/>
                </a:solidFill>
                <a:effectLst/>
                <a:uLnTx/>
                <a:uFillTx/>
                <a:latin typeface="Aptos" panose="020B0004020202020204" pitchFamily="34" charset="0"/>
                <a:ea typeface="+mn-ea"/>
                <a:cs typeface="+mn-cs"/>
              </a:endParaRPr>
            </a:p>
          </p:txBody>
        </p:sp>
        <p:sp>
          <p:nvSpPr>
            <p:cNvPr id="56" name="Freeform 19">
              <a:extLst>
                <a:ext uri="{FF2B5EF4-FFF2-40B4-BE49-F238E27FC236}">
                  <a16:creationId xmlns:a16="http://schemas.microsoft.com/office/drawing/2014/main" id="{F1354A3E-8607-45CA-A308-857CB904628A}"/>
                </a:ext>
              </a:extLst>
            </p:cNvPr>
            <p:cNvSpPr>
              <a:spLocks/>
            </p:cNvSpPr>
            <p:nvPr/>
          </p:nvSpPr>
          <p:spPr bwMode="auto">
            <a:xfrm>
              <a:off x="6431430" y="2626242"/>
              <a:ext cx="1055562" cy="716371"/>
            </a:xfrm>
            <a:custGeom>
              <a:avLst/>
              <a:gdLst>
                <a:gd name="T0" fmla="*/ 1269 w 2523"/>
                <a:gd name="T1" fmla="*/ 529 h 1706"/>
                <a:gd name="T2" fmla="*/ 1325 w 2523"/>
                <a:gd name="T3" fmla="*/ 529 h 1706"/>
                <a:gd name="T4" fmla="*/ 1436 w 2523"/>
                <a:gd name="T5" fmla="*/ 529 h 1706"/>
                <a:gd name="T6" fmla="*/ 1434 w 2523"/>
                <a:gd name="T7" fmla="*/ 530 h 1706"/>
                <a:gd name="T8" fmla="*/ 1522 w 2523"/>
                <a:gd name="T9" fmla="*/ 514 h 1706"/>
                <a:gd name="T10" fmla="*/ 1636 w 2523"/>
                <a:gd name="T11" fmla="*/ 466 h 1706"/>
                <a:gd name="T12" fmla="*/ 1823 w 2523"/>
                <a:gd name="T13" fmla="*/ 235 h 1706"/>
                <a:gd name="T14" fmla="*/ 1880 w 2523"/>
                <a:gd name="T15" fmla="*/ 231 h 1706"/>
                <a:gd name="T16" fmla="*/ 2063 w 2523"/>
                <a:gd name="T17" fmla="*/ 150 h 1706"/>
                <a:gd name="T18" fmla="*/ 2178 w 2523"/>
                <a:gd name="T19" fmla="*/ 98 h 1706"/>
                <a:gd name="T20" fmla="*/ 2276 w 2523"/>
                <a:gd name="T21" fmla="*/ 63 h 1706"/>
                <a:gd name="T22" fmla="*/ 2393 w 2523"/>
                <a:gd name="T23" fmla="*/ 16 h 1706"/>
                <a:gd name="T24" fmla="*/ 2445 w 2523"/>
                <a:gd name="T25" fmla="*/ 23 h 1706"/>
                <a:gd name="T26" fmla="*/ 2415 w 2523"/>
                <a:gd name="T27" fmla="*/ 76 h 1706"/>
                <a:gd name="T28" fmla="*/ 2425 w 2523"/>
                <a:gd name="T29" fmla="*/ 176 h 1706"/>
                <a:gd name="T30" fmla="*/ 2463 w 2523"/>
                <a:gd name="T31" fmla="*/ 324 h 1706"/>
                <a:gd name="T32" fmla="*/ 2425 w 2523"/>
                <a:gd name="T33" fmla="*/ 324 h 1706"/>
                <a:gd name="T34" fmla="*/ 2256 w 2523"/>
                <a:gd name="T35" fmla="*/ 428 h 1706"/>
                <a:gd name="T36" fmla="*/ 2257 w 2523"/>
                <a:gd name="T37" fmla="*/ 426 h 1706"/>
                <a:gd name="T38" fmla="*/ 2076 w 2523"/>
                <a:gd name="T39" fmla="*/ 531 h 1706"/>
                <a:gd name="T40" fmla="*/ 1941 w 2523"/>
                <a:gd name="T41" fmla="*/ 623 h 1706"/>
                <a:gd name="T42" fmla="*/ 1807 w 2523"/>
                <a:gd name="T43" fmla="*/ 750 h 1706"/>
                <a:gd name="T44" fmla="*/ 1721 w 2523"/>
                <a:gd name="T45" fmla="*/ 961 h 1706"/>
                <a:gd name="T46" fmla="*/ 1687 w 2523"/>
                <a:gd name="T47" fmla="*/ 961 h 1706"/>
                <a:gd name="T48" fmla="*/ 1622 w 2523"/>
                <a:gd name="T49" fmla="*/ 978 h 1706"/>
                <a:gd name="T50" fmla="*/ 1531 w 2523"/>
                <a:gd name="T51" fmla="*/ 1127 h 1706"/>
                <a:gd name="T52" fmla="*/ 1497 w 2523"/>
                <a:gd name="T53" fmla="*/ 1315 h 1706"/>
                <a:gd name="T54" fmla="*/ 1456 w 2523"/>
                <a:gd name="T55" fmla="*/ 1407 h 1706"/>
                <a:gd name="T56" fmla="*/ 1357 w 2523"/>
                <a:gd name="T57" fmla="*/ 1602 h 1706"/>
                <a:gd name="T58" fmla="*/ 1331 w 2523"/>
                <a:gd name="T59" fmla="*/ 1607 h 1706"/>
                <a:gd name="T60" fmla="*/ 1266 w 2523"/>
                <a:gd name="T61" fmla="*/ 1617 h 1706"/>
                <a:gd name="T62" fmla="*/ 1251 w 2523"/>
                <a:gd name="T63" fmla="*/ 1637 h 1706"/>
                <a:gd name="T64" fmla="*/ 1201 w 2523"/>
                <a:gd name="T65" fmla="*/ 1697 h 1706"/>
                <a:gd name="T66" fmla="*/ 1177 w 2523"/>
                <a:gd name="T67" fmla="*/ 1706 h 1706"/>
                <a:gd name="T68" fmla="*/ 1069 w 2523"/>
                <a:gd name="T69" fmla="*/ 1598 h 1706"/>
                <a:gd name="T70" fmla="*/ 1055 w 2523"/>
                <a:gd name="T71" fmla="*/ 1542 h 1706"/>
                <a:gd name="T72" fmla="*/ 1090 w 2523"/>
                <a:gd name="T73" fmla="*/ 1392 h 1706"/>
                <a:gd name="T74" fmla="*/ 1154 w 2523"/>
                <a:gd name="T75" fmla="*/ 1348 h 1706"/>
                <a:gd name="T76" fmla="*/ 1174 w 2523"/>
                <a:gd name="T77" fmla="*/ 1317 h 1706"/>
                <a:gd name="T78" fmla="*/ 1239 w 2523"/>
                <a:gd name="T79" fmla="*/ 1279 h 1706"/>
                <a:gd name="T80" fmla="*/ 1265 w 2523"/>
                <a:gd name="T81" fmla="*/ 1252 h 1706"/>
                <a:gd name="T82" fmla="*/ 1232 w 2523"/>
                <a:gd name="T83" fmla="*/ 1164 h 1706"/>
                <a:gd name="T84" fmla="*/ 1074 w 2523"/>
                <a:gd name="T85" fmla="*/ 1070 h 1706"/>
                <a:gd name="T86" fmla="*/ 1043 w 2523"/>
                <a:gd name="T87" fmla="*/ 993 h 1706"/>
                <a:gd name="T88" fmla="*/ 996 w 2523"/>
                <a:gd name="T89" fmla="*/ 950 h 1706"/>
                <a:gd name="T90" fmla="*/ 851 w 2523"/>
                <a:gd name="T91" fmla="*/ 982 h 1706"/>
                <a:gd name="T92" fmla="*/ 751 w 2523"/>
                <a:gd name="T93" fmla="*/ 1045 h 1706"/>
                <a:gd name="T94" fmla="*/ 663 w 2523"/>
                <a:gd name="T95" fmla="*/ 1075 h 1706"/>
                <a:gd name="T96" fmla="*/ 591 w 2523"/>
                <a:gd name="T97" fmla="*/ 1051 h 1706"/>
                <a:gd name="T98" fmla="*/ 189 w 2523"/>
                <a:gd name="T99" fmla="*/ 1044 h 1706"/>
                <a:gd name="T100" fmla="*/ 140 w 2523"/>
                <a:gd name="T101" fmla="*/ 1128 h 1706"/>
                <a:gd name="T102" fmla="*/ 18 w 2523"/>
                <a:gd name="T103" fmla="*/ 1052 h 1706"/>
                <a:gd name="T104" fmla="*/ 16 w 2523"/>
                <a:gd name="T105" fmla="*/ 961 h 1706"/>
                <a:gd name="T106" fmla="*/ 25 w 2523"/>
                <a:gd name="T107" fmla="*/ 875 h 1706"/>
                <a:gd name="T108" fmla="*/ 99 w 2523"/>
                <a:gd name="T109" fmla="*/ 714 h 1706"/>
                <a:gd name="T110" fmla="*/ 161 w 2523"/>
                <a:gd name="T111" fmla="*/ 573 h 1706"/>
                <a:gd name="T112" fmla="*/ 506 w 2523"/>
                <a:gd name="T113" fmla="*/ 496 h 1706"/>
                <a:gd name="T114" fmla="*/ 971 w 2523"/>
                <a:gd name="T115" fmla="*/ 588 h 1706"/>
                <a:gd name="T116" fmla="*/ 1045 w 2523"/>
                <a:gd name="T117" fmla="*/ 571 h 1706"/>
                <a:gd name="T118" fmla="*/ 1164 w 2523"/>
                <a:gd name="T119" fmla="*/ 533 h 1706"/>
                <a:gd name="T120" fmla="*/ 1269 w 2523"/>
                <a:gd name="T121" fmla="*/ 529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23" h="1706">
                  <a:moveTo>
                    <a:pt x="1269" y="529"/>
                  </a:moveTo>
                  <a:cubicBezTo>
                    <a:pt x="1287" y="522"/>
                    <a:pt x="1306" y="509"/>
                    <a:pt x="1325" y="529"/>
                  </a:cubicBezTo>
                  <a:cubicBezTo>
                    <a:pt x="1362" y="545"/>
                    <a:pt x="1399" y="547"/>
                    <a:pt x="1436" y="529"/>
                  </a:cubicBezTo>
                  <a:cubicBezTo>
                    <a:pt x="1434" y="530"/>
                    <a:pt x="1434" y="530"/>
                    <a:pt x="1434" y="530"/>
                  </a:cubicBezTo>
                  <a:cubicBezTo>
                    <a:pt x="1461" y="510"/>
                    <a:pt x="1494" y="527"/>
                    <a:pt x="1522" y="514"/>
                  </a:cubicBezTo>
                  <a:cubicBezTo>
                    <a:pt x="1557" y="491"/>
                    <a:pt x="1614" y="520"/>
                    <a:pt x="1636" y="466"/>
                  </a:cubicBezTo>
                  <a:cubicBezTo>
                    <a:pt x="1689" y="381"/>
                    <a:pt x="1770" y="320"/>
                    <a:pt x="1823" y="235"/>
                  </a:cubicBezTo>
                  <a:cubicBezTo>
                    <a:pt x="1841" y="225"/>
                    <a:pt x="1861" y="234"/>
                    <a:pt x="1880" y="231"/>
                  </a:cubicBezTo>
                  <a:cubicBezTo>
                    <a:pt x="1946" y="215"/>
                    <a:pt x="1998" y="169"/>
                    <a:pt x="2063" y="150"/>
                  </a:cubicBezTo>
                  <a:cubicBezTo>
                    <a:pt x="2098" y="124"/>
                    <a:pt x="2134" y="103"/>
                    <a:pt x="2178" y="98"/>
                  </a:cubicBezTo>
                  <a:cubicBezTo>
                    <a:pt x="2208" y="79"/>
                    <a:pt x="2239" y="64"/>
                    <a:pt x="2276" y="63"/>
                  </a:cubicBezTo>
                  <a:cubicBezTo>
                    <a:pt x="2309" y="34"/>
                    <a:pt x="2354" y="33"/>
                    <a:pt x="2393" y="16"/>
                  </a:cubicBezTo>
                  <a:cubicBezTo>
                    <a:pt x="2411" y="7"/>
                    <a:pt x="2432" y="0"/>
                    <a:pt x="2445" y="23"/>
                  </a:cubicBezTo>
                  <a:cubicBezTo>
                    <a:pt x="2461" y="54"/>
                    <a:pt x="2431" y="61"/>
                    <a:pt x="2415" y="76"/>
                  </a:cubicBezTo>
                  <a:cubicBezTo>
                    <a:pt x="2408" y="110"/>
                    <a:pt x="2403" y="144"/>
                    <a:pt x="2425" y="176"/>
                  </a:cubicBezTo>
                  <a:cubicBezTo>
                    <a:pt x="2436" y="225"/>
                    <a:pt x="2523" y="256"/>
                    <a:pt x="2463" y="324"/>
                  </a:cubicBezTo>
                  <a:cubicBezTo>
                    <a:pt x="2450" y="324"/>
                    <a:pt x="2438" y="324"/>
                    <a:pt x="2425" y="324"/>
                  </a:cubicBezTo>
                  <a:cubicBezTo>
                    <a:pt x="2347" y="323"/>
                    <a:pt x="2289" y="356"/>
                    <a:pt x="2256" y="428"/>
                  </a:cubicBezTo>
                  <a:cubicBezTo>
                    <a:pt x="2257" y="426"/>
                    <a:pt x="2257" y="426"/>
                    <a:pt x="2257" y="426"/>
                  </a:cubicBezTo>
                  <a:cubicBezTo>
                    <a:pt x="2189" y="447"/>
                    <a:pt x="2117" y="463"/>
                    <a:pt x="2076" y="531"/>
                  </a:cubicBezTo>
                  <a:cubicBezTo>
                    <a:pt x="2038" y="572"/>
                    <a:pt x="1977" y="580"/>
                    <a:pt x="1941" y="623"/>
                  </a:cubicBezTo>
                  <a:cubicBezTo>
                    <a:pt x="1920" y="690"/>
                    <a:pt x="1834" y="689"/>
                    <a:pt x="1807" y="750"/>
                  </a:cubicBezTo>
                  <a:cubicBezTo>
                    <a:pt x="1731" y="801"/>
                    <a:pt x="1774" y="900"/>
                    <a:pt x="1721" y="961"/>
                  </a:cubicBezTo>
                  <a:cubicBezTo>
                    <a:pt x="1710" y="961"/>
                    <a:pt x="1699" y="961"/>
                    <a:pt x="1687" y="961"/>
                  </a:cubicBezTo>
                  <a:cubicBezTo>
                    <a:pt x="1659" y="945"/>
                    <a:pt x="1643" y="949"/>
                    <a:pt x="1622" y="978"/>
                  </a:cubicBezTo>
                  <a:cubicBezTo>
                    <a:pt x="1587" y="1025"/>
                    <a:pt x="1517" y="1050"/>
                    <a:pt x="1531" y="1127"/>
                  </a:cubicBezTo>
                  <a:cubicBezTo>
                    <a:pt x="1588" y="1202"/>
                    <a:pt x="1514" y="1253"/>
                    <a:pt x="1497" y="1315"/>
                  </a:cubicBezTo>
                  <a:cubicBezTo>
                    <a:pt x="1480" y="1344"/>
                    <a:pt x="1475" y="1379"/>
                    <a:pt x="1456" y="1407"/>
                  </a:cubicBezTo>
                  <a:cubicBezTo>
                    <a:pt x="1421" y="1470"/>
                    <a:pt x="1452" y="1569"/>
                    <a:pt x="1357" y="1602"/>
                  </a:cubicBezTo>
                  <a:cubicBezTo>
                    <a:pt x="1349" y="1605"/>
                    <a:pt x="1340" y="1607"/>
                    <a:pt x="1331" y="1607"/>
                  </a:cubicBezTo>
                  <a:cubicBezTo>
                    <a:pt x="1309" y="1609"/>
                    <a:pt x="1284" y="1590"/>
                    <a:pt x="1266" y="1617"/>
                  </a:cubicBezTo>
                  <a:cubicBezTo>
                    <a:pt x="1261" y="1624"/>
                    <a:pt x="1256" y="1630"/>
                    <a:pt x="1251" y="1637"/>
                  </a:cubicBezTo>
                  <a:cubicBezTo>
                    <a:pt x="1234" y="1656"/>
                    <a:pt x="1219" y="1677"/>
                    <a:pt x="1201" y="1697"/>
                  </a:cubicBezTo>
                  <a:cubicBezTo>
                    <a:pt x="1194" y="1703"/>
                    <a:pt x="1186" y="1706"/>
                    <a:pt x="1177" y="1706"/>
                  </a:cubicBezTo>
                  <a:cubicBezTo>
                    <a:pt x="1143" y="1668"/>
                    <a:pt x="1049" y="1689"/>
                    <a:pt x="1069" y="1598"/>
                  </a:cubicBezTo>
                  <a:cubicBezTo>
                    <a:pt x="1095" y="1572"/>
                    <a:pt x="1074" y="1559"/>
                    <a:pt x="1055" y="1542"/>
                  </a:cubicBezTo>
                  <a:cubicBezTo>
                    <a:pt x="990" y="1481"/>
                    <a:pt x="1005" y="1415"/>
                    <a:pt x="1090" y="1392"/>
                  </a:cubicBezTo>
                  <a:cubicBezTo>
                    <a:pt x="1119" y="1385"/>
                    <a:pt x="1141" y="1375"/>
                    <a:pt x="1154" y="1348"/>
                  </a:cubicBezTo>
                  <a:cubicBezTo>
                    <a:pt x="1155" y="1334"/>
                    <a:pt x="1162" y="1324"/>
                    <a:pt x="1174" y="1317"/>
                  </a:cubicBezTo>
                  <a:cubicBezTo>
                    <a:pt x="1196" y="1306"/>
                    <a:pt x="1220" y="1296"/>
                    <a:pt x="1239" y="1279"/>
                  </a:cubicBezTo>
                  <a:cubicBezTo>
                    <a:pt x="1248" y="1270"/>
                    <a:pt x="1257" y="1262"/>
                    <a:pt x="1265" y="1252"/>
                  </a:cubicBezTo>
                  <a:cubicBezTo>
                    <a:pt x="1288" y="1210"/>
                    <a:pt x="1235" y="1196"/>
                    <a:pt x="1232" y="1164"/>
                  </a:cubicBezTo>
                  <a:cubicBezTo>
                    <a:pt x="1212" y="1078"/>
                    <a:pt x="1143" y="1073"/>
                    <a:pt x="1074" y="1070"/>
                  </a:cubicBezTo>
                  <a:cubicBezTo>
                    <a:pt x="1043" y="1052"/>
                    <a:pt x="1043" y="1023"/>
                    <a:pt x="1043" y="993"/>
                  </a:cubicBezTo>
                  <a:cubicBezTo>
                    <a:pt x="1047" y="958"/>
                    <a:pt x="1031" y="947"/>
                    <a:pt x="996" y="950"/>
                  </a:cubicBezTo>
                  <a:cubicBezTo>
                    <a:pt x="946" y="956"/>
                    <a:pt x="895" y="952"/>
                    <a:pt x="851" y="982"/>
                  </a:cubicBezTo>
                  <a:cubicBezTo>
                    <a:pt x="809" y="989"/>
                    <a:pt x="788" y="1031"/>
                    <a:pt x="751" y="1045"/>
                  </a:cubicBezTo>
                  <a:cubicBezTo>
                    <a:pt x="722" y="1057"/>
                    <a:pt x="698" y="1081"/>
                    <a:pt x="663" y="1075"/>
                  </a:cubicBezTo>
                  <a:cubicBezTo>
                    <a:pt x="641" y="1062"/>
                    <a:pt x="611" y="1072"/>
                    <a:pt x="591" y="1051"/>
                  </a:cubicBezTo>
                  <a:cubicBezTo>
                    <a:pt x="458" y="1009"/>
                    <a:pt x="324" y="987"/>
                    <a:pt x="189" y="1044"/>
                  </a:cubicBezTo>
                  <a:cubicBezTo>
                    <a:pt x="153" y="1060"/>
                    <a:pt x="122" y="1080"/>
                    <a:pt x="140" y="1128"/>
                  </a:cubicBezTo>
                  <a:cubicBezTo>
                    <a:pt x="31" y="1162"/>
                    <a:pt x="20" y="1155"/>
                    <a:pt x="18" y="1052"/>
                  </a:cubicBezTo>
                  <a:cubicBezTo>
                    <a:pt x="17" y="1021"/>
                    <a:pt x="16" y="991"/>
                    <a:pt x="16" y="961"/>
                  </a:cubicBezTo>
                  <a:cubicBezTo>
                    <a:pt x="3" y="930"/>
                    <a:pt x="0" y="896"/>
                    <a:pt x="25" y="875"/>
                  </a:cubicBezTo>
                  <a:cubicBezTo>
                    <a:pt x="76" y="832"/>
                    <a:pt x="78" y="769"/>
                    <a:pt x="99" y="714"/>
                  </a:cubicBezTo>
                  <a:cubicBezTo>
                    <a:pt x="139" y="676"/>
                    <a:pt x="95" y="604"/>
                    <a:pt x="161" y="573"/>
                  </a:cubicBezTo>
                  <a:cubicBezTo>
                    <a:pt x="271" y="521"/>
                    <a:pt x="375" y="456"/>
                    <a:pt x="506" y="496"/>
                  </a:cubicBezTo>
                  <a:cubicBezTo>
                    <a:pt x="657" y="543"/>
                    <a:pt x="825" y="509"/>
                    <a:pt x="971" y="588"/>
                  </a:cubicBezTo>
                  <a:cubicBezTo>
                    <a:pt x="992" y="599"/>
                    <a:pt x="1025" y="597"/>
                    <a:pt x="1045" y="571"/>
                  </a:cubicBezTo>
                  <a:cubicBezTo>
                    <a:pt x="1082" y="548"/>
                    <a:pt x="1128" y="557"/>
                    <a:pt x="1164" y="533"/>
                  </a:cubicBezTo>
                  <a:cubicBezTo>
                    <a:pt x="1198" y="510"/>
                    <a:pt x="1233" y="499"/>
                    <a:pt x="1269" y="52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Freeform 20">
              <a:extLst>
                <a:ext uri="{FF2B5EF4-FFF2-40B4-BE49-F238E27FC236}">
                  <a16:creationId xmlns:a16="http://schemas.microsoft.com/office/drawing/2014/main" id="{1F8FF380-7B12-4BA0-8DB4-5F7FD24F908D}"/>
                </a:ext>
              </a:extLst>
            </p:cNvPr>
            <p:cNvSpPr>
              <a:spLocks/>
            </p:cNvSpPr>
            <p:nvPr/>
          </p:nvSpPr>
          <p:spPr bwMode="auto">
            <a:xfrm>
              <a:off x="5820886" y="2827043"/>
              <a:ext cx="662101" cy="995865"/>
            </a:xfrm>
            <a:custGeom>
              <a:avLst/>
              <a:gdLst>
                <a:gd name="T0" fmla="*/ 718 w 1581"/>
                <a:gd name="T1" fmla="*/ 794 h 2378"/>
                <a:gd name="T2" fmla="*/ 739 w 1581"/>
                <a:gd name="T3" fmla="*/ 755 h 2378"/>
                <a:gd name="T4" fmla="*/ 758 w 1581"/>
                <a:gd name="T5" fmla="*/ 549 h 2378"/>
                <a:gd name="T6" fmla="*/ 842 w 1581"/>
                <a:gd name="T7" fmla="*/ 428 h 2378"/>
                <a:gd name="T8" fmla="*/ 841 w 1581"/>
                <a:gd name="T9" fmla="*/ 322 h 2378"/>
                <a:gd name="T10" fmla="*/ 862 w 1581"/>
                <a:gd name="T11" fmla="*/ 176 h 2378"/>
                <a:gd name="T12" fmla="*/ 983 w 1581"/>
                <a:gd name="T13" fmla="*/ 55 h 2378"/>
                <a:gd name="T14" fmla="*/ 1328 w 1581"/>
                <a:gd name="T15" fmla="*/ 191 h 2378"/>
                <a:gd name="T16" fmla="*/ 1456 w 1581"/>
                <a:gd name="T17" fmla="*/ 444 h 2378"/>
                <a:gd name="T18" fmla="*/ 1159 w 1581"/>
                <a:gd name="T19" fmla="*/ 391 h 2378"/>
                <a:gd name="T20" fmla="*/ 995 w 1581"/>
                <a:gd name="T21" fmla="*/ 305 h 2378"/>
                <a:gd name="T22" fmla="*/ 951 w 1581"/>
                <a:gd name="T23" fmla="*/ 338 h 2378"/>
                <a:gd name="T24" fmla="*/ 850 w 1581"/>
                <a:gd name="T25" fmla="*/ 572 h 2378"/>
                <a:gd name="T26" fmla="*/ 1105 w 1581"/>
                <a:gd name="T27" fmla="*/ 764 h 2378"/>
                <a:gd name="T28" fmla="*/ 970 w 1581"/>
                <a:gd name="T29" fmla="*/ 958 h 2378"/>
                <a:gd name="T30" fmla="*/ 957 w 1581"/>
                <a:gd name="T31" fmla="*/ 1221 h 2378"/>
                <a:gd name="T32" fmla="*/ 1094 w 1581"/>
                <a:gd name="T33" fmla="*/ 1406 h 2378"/>
                <a:gd name="T34" fmla="*/ 1128 w 1581"/>
                <a:gd name="T35" fmla="*/ 1642 h 2378"/>
                <a:gd name="T36" fmla="*/ 1201 w 1581"/>
                <a:gd name="T37" fmla="*/ 1738 h 2378"/>
                <a:gd name="T38" fmla="*/ 1188 w 1581"/>
                <a:gd name="T39" fmla="*/ 2122 h 2378"/>
                <a:gd name="T40" fmla="*/ 954 w 1581"/>
                <a:gd name="T41" fmla="*/ 2218 h 2378"/>
                <a:gd name="T42" fmla="*/ 717 w 1581"/>
                <a:gd name="T43" fmla="*/ 2378 h 2378"/>
                <a:gd name="T44" fmla="*/ 546 w 1581"/>
                <a:gd name="T45" fmla="*/ 2281 h 2378"/>
                <a:gd name="T46" fmla="*/ 372 w 1581"/>
                <a:gd name="T47" fmla="*/ 2062 h 2378"/>
                <a:gd name="T48" fmla="*/ 250 w 1581"/>
                <a:gd name="T49" fmla="*/ 1905 h 2378"/>
                <a:gd name="T50" fmla="*/ 29 w 1581"/>
                <a:gd name="T51" fmla="*/ 1752 h 2378"/>
                <a:gd name="T52" fmla="*/ 64 w 1581"/>
                <a:gd name="T53" fmla="*/ 1602 h 2378"/>
                <a:gd name="T54" fmla="*/ 257 w 1581"/>
                <a:gd name="T55" fmla="*/ 1546 h 2378"/>
                <a:gd name="T56" fmla="*/ 371 w 1581"/>
                <a:gd name="T57" fmla="*/ 1480 h 2378"/>
                <a:gd name="T58" fmla="*/ 541 w 1581"/>
                <a:gd name="T59" fmla="*/ 1416 h 2378"/>
                <a:gd name="T60" fmla="*/ 739 w 1581"/>
                <a:gd name="T61" fmla="*/ 1226 h 2378"/>
                <a:gd name="T62" fmla="*/ 764 w 1581"/>
                <a:gd name="T63" fmla="*/ 1060 h 2378"/>
                <a:gd name="T64" fmla="*/ 757 w 1581"/>
                <a:gd name="T65" fmla="*/ 948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81" h="2378">
                  <a:moveTo>
                    <a:pt x="731" y="814"/>
                  </a:moveTo>
                  <a:cubicBezTo>
                    <a:pt x="727" y="807"/>
                    <a:pt x="722" y="801"/>
                    <a:pt x="718" y="794"/>
                  </a:cubicBezTo>
                  <a:cubicBezTo>
                    <a:pt x="744" y="781"/>
                    <a:pt x="766" y="762"/>
                    <a:pt x="787" y="744"/>
                  </a:cubicBezTo>
                  <a:cubicBezTo>
                    <a:pt x="771" y="747"/>
                    <a:pt x="758" y="765"/>
                    <a:pt x="739" y="755"/>
                  </a:cubicBezTo>
                  <a:cubicBezTo>
                    <a:pt x="730" y="713"/>
                    <a:pt x="756" y="685"/>
                    <a:pt x="779" y="655"/>
                  </a:cubicBezTo>
                  <a:cubicBezTo>
                    <a:pt x="782" y="618"/>
                    <a:pt x="712" y="595"/>
                    <a:pt x="758" y="549"/>
                  </a:cubicBezTo>
                  <a:cubicBezTo>
                    <a:pt x="766" y="535"/>
                    <a:pt x="773" y="520"/>
                    <a:pt x="780" y="506"/>
                  </a:cubicBezTo>
                  <a:cubicBezTo>
                    <a:pt x="806" y="484"/>
                    <a:pt x="846" y="474"/>
                    <a:pt x="842" y="428"/>
                  </a:cubicBezTo>
                  <a:cubicBezTo>
                    <a:pt x="821" y="414"/>
                    <a:pt x="800" y="399"/>
                    <a:pt x="779" y="385"/>
                  </a:cubicBezTo>
                  <a:cubicBezTo>
                    <a:pt x="823" y="386"/>
                    <a:pt x="824" y="346"/>
                    <a:pt x="841" y="322"/>
                  </a:cubicBezTo>
                  <a:cubicBezTo>
                    <a:pt x="850" y="317"/>
                    <a:pt x="859" y="317"/>
                    <a:pt x="866" y="325"/>
                  </a:cubicBezTo>
                  <a:cubicBezTo>
                    <a:pt x="829" y="276"/>
                    <a:pt x="898" y="225"/>
                    <a:pt x="862" y="176"/>
                  </a:cubicBezTo>
                  <a:cubicBezTo>
                    <a:pt x="866" y="124"/>
                    <a:pt x="849" y="83"/>
                    <a:pt x="801" y="59"/>
                  </a:cubicBezTo>
                  <a:cubicBezTo>
                    <a:pt x="861" y="0"/>
                    <a:pt x="923" y="62"/>
                    <a:pt x="983" y="55"/>
                  </a:cubicBezTo>
                  <a:cubicBezTo>
                    <a:pt x="1032" y="26"/>
                    <a:pt x="1074" y="34"/>
                    <a:pt x="1109" y="78"/>
                  </a:cubicBezTo>
                  <a:cubicBezTo>
                    <a:pt x="1165" y="147"/>
                    <a:pt x="1219" y="196"/>
                    <a:pt x="1328" y="191"/>
                  </a:cubicBezTo>
                  <a:cubicBezTo>
                    <a:pt x="1387" y="188"/>
                    <a:pt x="1466" y="226"/>
                    <a:pt x="1538" y="241"/>
                  </a:cubicBezTo>
                  <a:cubicBezTo>
                    <a:pt x="1581" y="336"/>
                    <a:pt x="1502" y="383"/>
                    <a:pt x="1456" y="444"/>
                  </a:cubicBezTo>
                  <a:cubicBezTo>
                    <a:pt x="1377" y="540"/>
                    <a:pt x="1298" y="524"/>
                    <a:pt x="1252" y="403"/>
                  </a:cubicBezTo>
                  <a:cubicBezTo>
                    <a:pt x="1225" y="333"/>
                    <a:pt x="1214" y="331"/>
                    <a:pt x="1159" y="391"/>
                  </a:cubicBezTo>
                  <a:cubicBezTo>
                    <a:pt x="1137" y="415"/>
                    <a:pt x="1119" y="403"/>
                    <a:pt x="1100" y="386"/>
                  </a:cubicBezTo>
                  <a:cubicBezTo>
                    <a:pt x="1066" y="358"/>
                    <a:pt x="1030" y="332"/>
                    <a:pt x="995" y="305"/>
                  </a:cubicBezTo>
                  <a:cubicBezTo>
                    <a:pt x="983" y="295"/>
                    <a:pt x="970" y="277"/>
                    <a:pt x="952" y="291"/>
                  </a:cubicBezTo>
                  <a:cubicBezTo>
                    <a:pt x="937" y="304"/>
                    <a:pt x="940" y="326"/>
                    <a:pt x="951" y="338"/>
                  </a:cubicBezTo>
                  <a:cubicBezTo>
                    <a:pt x="1003" y="391"/>
                    <a:pt x="951" y="423"/>
                    <a:pt x="922" y="442"/>
                  </a:cubicBezTo>
                  <a:cubicBezTo>
                    <a:pt x="871" y="475"/>
                    <a:pt x="867" y="525"/>
                    <a:pt x="850" y="572"/>
                  </a:cubicBezTo>
                  <a:cubicBezTo>
                    <a:pt x="845" y="588"/>
                    <a:pt x="841" y="618"/>
                    <a:pt x="854" y="618"/>
                  </a:cubicBezTo>
                  <a:cubicBezTo>
                    <a:pt x="963" y="623"/>
                    <a:pt x="978" y="784"/>
                    <a:pt x="1105" y="764"/>
                  </a:cubicBezTo>
                  <a:cubicBezTo>
                    <a:pt x="1140" y="759"/>
                    <a:pt x="1149" y="817"/>
                    <a:pt x="1197" y="849"/>
                  </a:cubicBezTo>
                  <a:cubicBezTo>
                    <a:pt x="1096" y="857"/>
                    <a:pt x="1007" y="853"/>
                    <a:pt x="970" y="958"/>
                  </a:cubicBezTo>
                  <a:cubicBezTo>
                    <a:pt x="957" y="997"/>
                    <a:pt x="873" y="950"/>
                    <a:pt x="858" y="1031"/>
                  </a:cubicBezTo>
                  <a:cubicBezTo>
                    <a:pt x="842" y="1119"/>
                    <a:pt x="858" y="1176"/>
                    <a:pt x="957" y="1221"/>
                  </a:cubicBezTo>
                  <a:cubicBezTo>
                    <a:pt x="985" y="1234"/>
                    <a:pt x="1016" y="1238"/>
                    <a:pt x="1046" y="1247"/>
                  </a:cubicBezTo>
                  <a:cubicBezTo>
                    <a:pt x="1132" y="1272"/>
                    <a:pt x="1159" y="1344"/>
                    <a:pt x="1094" y="1406"/>
                  </a:cubicBezTo>
                  <a:cubicBezTo>
                    <a:pt x="1028" y="1471"/>
                    <a:pt x="1026" y="1520"/>
                    <a:pt x="1099" y="1572"/>
                  </a:cubicBezTo>
                  <a:cubicBezTo>
                    <a:pt x="1127" y="1591"/>
                    <a:pt x="1127" y="1614"/>
                    <a:pt x="1128" y="1642"/>
                  </a:cubicBezTo>
                  <a:cubicBezTo>
                    <a:pt x="1129" y="1674"/>
                    <a:pt x="1107" y="1727"/>
                    <a:pt x="1180" y="1705"/>
                  </a:cubicBezTo>
                  <a:cubicBezTo>
                    <a:pt x="1200" y="1699"/>
                    <a:pt x="1204" y="1717"/>
                    <a:pt x="1201" y="1738"/>
                  </a:cubicBezTo>
                  <a:cubicBezTo>
                    <a:pt x="1188" y="1827"/>
                    <a:pt x="1211" y="1912"/>
                    <a:pt x="1233" y="1996"/>
                  </a:cubicBezTo>
                  <a:cubicBezTo>
                    <a:pt x="1247" y="2050"/>
                    <a:pt x="1272" y="2099"/>
                    <a:pt x="1188" y="2122"/>
                  </a:cubicBezTo>
                  <a:cubicBezTo>
                    <a:pt x="1114" y="2143"/>
                    <a:pt x="1089" y="2229"/>
                    <a:pt x="1017" y="2261"/>
                  </a:cubicBezTo>
                  <a:cubicBezTo>
                    <a:pt x="954" y="2290"/>
                    <a:pt x="943" y="2268"/>
                    <a:pt x="954" y="2218"/>
                  </a:cubicBezTo>
                  <a:cubicBezTo>
                    <a:pt x="962" y="2180"/>
                    <a:pt x="966" y="2153"/>
                    <a:pt x="934" y="2133"/>
                  </a:cubicBezTo>
                  <a:cubicBezTo>
                    <a:pt x="888" y="2242"/>
                    <a:pt x="804" y="2311"/>
                    <a:pt x="717" y="2378"/>
                  </a:cubicBezTo>
                  <a:cubicBezTo>
                    <a:pt x="663" y="2376"/>
                    <a:pt x="627" y="2337"/>
                    <a:pt x="586" y="2310"/>
                  </a:cubicBezTo>
                  <a:cubicBezTo>
                    <a:pt x="573" y="2301"/>
                    <a:pt x="565" y="2286"/>
                    <a:pt x="546" y="2281"/>
                  </a:cubicBezTo>
                  <a:cubicBezTo>
                    <a:pt x="461" y="2261"/>
                    <a:pt x="389" y="2175"/>
                    <a:pt x="383" y="2087"/>
                  </a:cubicBezTo>
                  <a:cubicBezTo>
                    <a:pt x="379" y="2078"/>
                    <a:pt x="375" y="2070"/>
                    <a:pt x="372" y="2062"/>
                  </a:cubicBezTo>
                  <a:cubicBezTo>
                    <a:pt x="359" y="2010"/>
                    <a:pt x="319" y="1981"/>
                    <a:pt x="278" y="1952"/>
                  </a:cubicBezTo>
                  <a:cubicBezTo>
                    <a:pt x="264" y="1939"/>
                    <a:pt x="254" y="1924"/>
                    <a:pt x="250" y="1905"/>
                  </a:cubicBezTo>
                  <a:cubicBezTo>
                    <a:pt x="257" y="1836"/>
                    <a:pt x="204" y="1840"/>
                    <a:pt x="161" y="1830"/>
                  </a:cubicBezTo>
                  <a:cubicBezTo>
                    <a:pt x="116" y="1807"/>
                    <a:pt x="75" y="1775"/>
                    <a:pt x="29" y="1752"/>
                  </a:cubicBezTo>
                  <a:cubicBezTo>
                    <a:pt x="16" y="1743"/>
                    <a:pt x="8" y="1731"/>
                    <a:pt x="5" y="1716"/>
                  </a:cubicBezTo>
                  <a:cubicBezTo>
                    <a:pt x="0" y="1665"/>
                    <a:pt x="30" y="1633"/>
                    <a:pt x="64" y="1602"/>
                  </a:cubicBezTo>
                  <a:cubicBezTo>
                    <a:pt x="77" y="1591"/>
                    <a:pt x="95" y="1578"/>
                    <a:pt x="109" y="1587"/>
                  </a:cubicBezTo>
                  <a:cubicBezTo>
                    <a:pt x="175" y="1629"/>
                    <a:pt x="213" y="1580"/>
                    <a:pt x="257" y="1546"/>
                  </a:cubicBezTo>
                  <a:cubicBezTo>
                    <a:pt x="288" y="1530"/>
                    <a:pt x="324" y="1524"/>
                    <a:pt x="350" y="1497"/>
                  </a:cubicBezTo>
                  <a:cubicBezTo>
                    <a:pt x="356" y="1490"/>
                    <a:pt x="364" y="1485"/>
                    <a:pt x="371" y="1480"/>
                  </a:cubicBezTo>
                  <a:cubicBezTo>
                    <a:pt x="396" y="1468"/>
                    <a:pt x="421" y="1460"/>
                    <a:pt x="448" y="1454"/>
                  </a:cubicBezTo>
                  <a:cubicBezTo>
                    <a:pt x="481" y="1448"/>
                    <a:pt x="517" y="1446"/>
                    <a:pt x="541" y="1416"/>
                  </a:cubicBezTo>
                  <a:cubicBezTo>
                    <a:pt x="563" y="1377"/>
                    <a:pt x="612" y="1383"/>
                    <a:pt x="639" y="1353"/>
                  </a:cubicBezTo>
                  <a:cubicBezTo>
                    <a:pt x="675" y="1312"/>
                    <a:pt x="718" y="1278"/>
                    <a:pt x="739" y="1226"/>
                  </a:cubicBezTo>
                  <a:cubicBezTo>
                    <a:pt x="746" y="1179"/>
                    <a:pt x="772" y="1135"/>
                    <a:pt x="766" y="1086"/>
                  </a:cubicBezTo>
                  <a:cubicBezTo>
                    <a:pt x="764" y="1077"/>
                    <a:pt x="764" y="1068"/>
                    <a:pt x="764" y="1060"/>
                  </a:cubicBezTo>
                  <a:cubicBezTo>
                    <a:pt x="768" y="1031"/>
                    <a:pt x="779" y="1002"/>
                    <a:pt x="767" y="972"/>
                  </a:cubicBezTo>
                  <a:cubicBezTo>
                    <a:pt x="764" y="964"/>
                    <a:pt x="761" y="956"/>
                    <a:pt x="757" y="948"/>
                  </a:cubicBezTo>
                  <a:cubicBezTo>
                    <a:pt x="723" y="908"/>
                    <a:pt x="784" y="850"/>
                    <a:pt x="731" y="81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reeform 21">
              <a:extLst>
                <a:ext uri="{FF2B5EF4-FFF2-40B4-BE49-F238E27FC236}">
                  <a16:creationId xmlns:a16="http://schemas.microsoft.com/office/drawing/2014/main" id="{3ED3EBDC-C6BB-4322-8CD3-7567AE40D2D6}"/>
                </a:ext>
              </a:extLst>
            </p:cNvPr>
            <p:cNvSpPr>
              <a:spLocks/>
            </p:cNvSpPr>
            <p:nvPr/>
          </p:nvSpPr>
          <p:spPr bwMode="auto">
            <a:xfrm>
              <a:off x="4149353" y="1719924"/>
              <a:ext cx="545419" cy="515570"/>
            </a:xfrm>
            <a:custGeom>
              <a:avLst/>
              <a:gdLst>
                <a:gd name="T0" fmla="*/ 929 w 1302"/>
                <a:gd name="T1" fmla="*/ 212 h 1231"/>
                <a:gd name="T2" fmla="*/ 951 w 1302"/>
                <a:gd name="T3" fmla="*/ 253 h 1231"/>
                <a:gd name="T4" fmla="*/ 1026 w 1302"/>
                <a:gd name="T5" fmla="*/ 259 h 1231"/>
                <a:gd name="T6" fmla="*/ 1096 w 1302"/>
                <a:gd name="T7" fmla="*/ 256 h 1231"/>
                <a:gd name="T8" fmla="*/ 1072 w 1302"/>
                <a:gd name="T9" fmla="*/ 332 h 1231"/>
                <a:gd name="T10" fmla="*/ 1219 w 1302"/>
                <a:gd name="T11" fmla="*/ 764 h 1231"/>
                <a:gd name="T12" fmla="*/ 1278 w 1302"/>
                <a:gd name="T13" fmla="*/ 887 h 1231"/>
                <a:gd name="T14" fmla="*/ 1300 w 1302"/>
                <a:gd name="T15" fmla="*/ 916 h 1231"/>
                <a:gd name="T16" fmla="*/ 1263 w 1302"/>
                <a:gd name="T17" fmla="*/ 939 h 1231"/>
                <a:gd name="T18" fmla="*/ 1182 w 1302"/>
                <a:gd name="T19" fmla="*/ 914 h 1231"/>
                <a:gd name="T20" fmla="*/ 1114 w 1302"/>
                <a:gd name="T21" fmla="*/ 903 h 1231"/>
                <a:gd name="T22" fmla="*/ 996 w 1302"/>
                <a:gd name="T23" fmla="*/ 902 h 1231"/>
                <a:gd name="T24" fmla="*/ 861 w 1302"/>
                <a:gd name="T25" fmla="*/ 948 h 1231"/>
                <a:gd name="T26" fmla="*/ 798 w 1302"/>
                <a:gd name="T27" fmla="*/ 1118 h 1231"/>
                <a:gd name="T28" fmla="*/ 732 w 1302"/>
                <a:gd name="T29" fmla="*/ 1231 h 1231"/>
                <a:gd name="T30" fmla="*/ 554 w 1302"/>
                <a:gd name="T31" fmla="*/ 1119 h 1231"/>
                <a:gd name="T32" fmla="*/ 464 w 1302"/>
                <a:gd name="T33" fmla="*/ 1015 h 1231"/>
                <a:gd name="T34" fmla="*/ 306 w 1302"/>
                <a:gd name="T35" fmla="*/ 799 h 1231"/>
                <a:gd name="T36" fmla="*/ 218 w 1302"/>
                <a:gd name="T37" fmla="*/ 775 h 1231"/>
                <a:gd name="T38" fmla="*/ 164 w 1302"/>
                <a:gd name="T39" fmla="*/ 721 h 1231"/>
                <a:gd name="T40" fmla="*/ 115 w 1302"/>
                <a:gd name="T41" fmla="*/ 622 h 1231"/>
                <a:gd name="T42" fmla="*/ 103 w 1302"/>
                <a:gd name="T43" fmla="*/ 569 h 1231"/>
                <a:gd name="T44" fmla="*/ 96 w 1302"/>
                <a:gd name="T45" fmla="*/ 543 h 1231"/>
                <a:gd name="T46" fmla="*/ 85 w 1302"/>
                <a:gd name="T47" fmla="*/ 526 h 1231"/>
                <a:gd name="T48" fmla="*/ 75 w 1302"/>
                <a:gd name="T49" fmla="*/ 348 h 1231"/>
                <a:gd name="T50" fmla="*/ 140 w 1302"/>
                <a:gd name="T51" fmla="*/ 216 h 1231"/>
                <a:gd name="T52" fmla="*/ 142 w 1302"/>
                <a:gd name="T53" fmla="*/ 135 h 1231"/>
                <a:gd name="T54" fmla="*/ 287 w 1302"/>
                <a:gd name="T55" fmla="*/ 60 h 1231"/>
                <a:gd name="T56" fmla="*/ 344 w 1302"/>
                <a:gd name="T57" fmla="*/ 13 h 1231"/>
                <a:gd name="T58" fmla="*/ 435 w 1302"/>
                <a:gd name="T59" fmla="*/ 5 h 1231"/>
                <a:gd name="T60" fmla="*/ 580 w 1302"/>
                <a:gd name="T61" fmla="*/ 86 h 1231"/>
                <a:gd name="T62" fmla="*/ 579 w 1302"/>
                <a:gd name="T63" fmla="*/ 86 h 1231"/>
                <a:gd name="T64" fmla="*/ 672 w 1302"/>
                <a:gd name="T65" fmla="*/ 139 h 1231"/>
                <a:gd name="T66" fmla="*/ 806 w 1302"/>
                <a:gd name="T67" fmla="*/ 138 h 1231"/>
                <a:gd name="T68" fmla="*/ 886 w 1302"/>
                <a:gd name="T69" fmla="*/ 157 h 1231"/>
                <a:gd name="T70" fmla="*/ 929 w 1302"/>
                <a:gd name="T71" fmla="*/ 21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2" h="1231">
                  <a:moveTo>
                    <a:pt x="929" y="212"/>
                  </a:moveTo>
                  <a:cubicBezTo>
                    <a:pt x="936" y="225"/>
                    <a:pt x="943" y="239"/>
                    <a:pt x="951" y="253"/>
                  </a:cubicBezTo>
                  <a:cubicBezTo>
                    <a:pt x="975" y="269"/>
                    <a:pt x="999" y="270"/>
                    <a:pt x="1026" y="259"/>
                  </a:cubicBezTo>
                  <a:cubicBezTo>
                    <a:pt x="1049" y="249"/>
                    <a:pt x="1077" y="224"/>
                    <a:pt x="1096" y="256"/>
                  </a:cubicBezTo>
                  <a:cubicBezTo>
                    <a:pt x="1114" y="284"/>
                    <a:pt x="1103" y="314"/>
                    <a:pt x="1072" y="332"/>
                  </a:cubicBezTo>
                  <a:cubicBezTo>
                    <a:pt x="1159" y="463"/>
                    <a:pt x="1247" y="594"/>
                    <a:pt x="1219" y="764"/>
                  </a:cubicBezTo>
                  <a:cubicBezTo>
                    <a:pt x="1210" y="818"/>
                    <a:pt x="1247" y="851"/>
                    <a:pt x="1278" y="887"/>
                  </a:cubicBezTo>
                  <a:cubicBezTo>
                    <a:pt x="1288" y="895"/>
                    <a:pt x="1302" y="900"/>
                    <a:pt x="1300" y="916"/>
                  </a:cubicBezTo>
                  <a:cubicBezTo>
                    <a:pt x="1297" y="938"/>
                    <a:pt x="1279" y="938"/>
                    <a:pt x="1263" y="939"/>
                  </a:cubicBezTo>
                  <a:cubicBezTo>
                    <a:pt x="1235" y="935"/>
                    <a:pt x="1210" y="918"/>
                    <a:pt x="1182" y="914"/>
                  </a:cubicBezTo>
                  <a:cubicBezTo>
                    <a:pt x="1159" y="911"/>
                    <a:pt x="1136" y="908"/>
                    <a:pt x="1114" y="903"/>
                  </a:cubicBezTo>
                  <a:cubicBezTo>
                    <a:pt x="1075" y="890"/>
                    <a:pt x="1035" y="888"/>
                    <a:pt x="996" y="902"/>
                  </a:cubicBezTo>
                  <a:cubicBezTo>
                    <a:pt x="952" y="921"/>
                    <a:pt x="906" y="935"/>
                    <a:pt x="861" y="948"/>
                  </a:cubicBezTo>
                  <a:cubicBezTo>
                    <a:pt x="811" y="994"/>
                    <a:pt x="803" y="1056"/>
                    <a:pt x="798" y="1118"/>
                  </a:cubicBezTo>
                  <a:cubicBezTo>
                    <a:pt x="796" y="1167"/>
                    <a:pt x="794" y="1217"/>
                    <a:pt x="732" y="1231"/>
                  </a:cubicBezTo>
                  <a:cubicBezTo>
                    <a:pt x="650" y="1230"/>
                    <a:pt x="585" y="1201"/>
                    <a:pt x="554" y="1119"/>
                  </a:cubicBezTo>
                  <a:cubicBezTo>
                    <a:pt x="537" y="1073"/>
                    <a:pt x="489" y="1054"/>
                    <a:pt x="464" y="1015"/>
                  </a:cubicBezTo>
                  <a:cubicBezTo>
                    <a:pt x="389" y="959"/>
                    <a:pt x="338" y="886"/>
                    <a:pt x="306" y="799"/>
                  </a:cubicBezTo>
                  <a:cubicBezTo>
                    <a:pt x="283" y="770"/>
                    <a:pt x="255" y="757"/>
                    <a:pt x="218" y="775"/>
                  </a:cubicBezTo>
                  <a:cubicBezTo>
                    <a:pt x="182" y="775"/>
                    <a:pt x="173" y="748"/>
                    <a:pt x="164" y="721"/>
                  </a:cubicBezTo>
                  <a:cubicBezTo>
                    <a:pt x="154" y="685"/>
                    <a:pt x="128" y="656"/>
                    <a:pt x="115" y="622"/>
                  </a:cubicBezTo>
                  <a:cubicBezTo>
                    <a:pt x="109" y="605"/>
                    <a:pt x="106" y="587"/>
                    <a:pt x="103" y="569"/>
                  </a:cubicBezTo>
                  <a:cubicBezTo>
                    <a:pt x="101" y="560"/>
                    <a:pt x="99" y="551"/>
                    <a:pt x="96" y="543"/>
                  </a:cubicBezTo>
                  <a:cubicBezTo>
                    <a:pt x="93" y="537"/>
                    <a:pt x="90" y="531"/>
                    <a:pt x="85" y="526"/>
                  </a:cubicBezTo>
                  <a:cubicBezTo>
                    <a:pt x="0" y="439"/>
                    <a:pt x="0" y="439"/>
                    <a:pt x="75" y="348"/>
                  </a:cubicBezTo>
                  <a:cubicBezTo>
                    <a:pt x="91" y="301"/>
                    <a:pt x="135" y="268"/>
                    <a:pt x="140" y="216"/>
                  </a:cubicBezTo>
                  <a:cubicBezTo>
                    <a:pt x="151" y="189"/>
                    <a:pt x="146" y="162"/>
                    <a:pt x="142" y="135"/>
                  </a:cubicBezTo>
                  <a:cubicBezTo>
                    <a:pt x="188" y="105"/>
                    <a:pt x="238" y="83"/>
                    <a:pt x="287" y="60"/>
                  </a:cubicBezTo>
                  <a:cubicBezTo>
                    <a:pt x="306" y="44"/>
                    <a:pt x="321" y="23"/>
                    <a:pt x="344" y="13"/>
                  </a:cubicBezTo>
                  <a:cubicBezTo>
                    <a:pt x="373" y="0"/>
                    <a:pt x="404" y="5"/>
                    <a:pt x="435" y="5"/>
                  </a:cubicBezTo>
                  <a:cubicBezTo>
                    <a:pt x="490" y="20"/>
                    <a:pt x="536" y="51"/>
                    <a:pt x="580" y="86"/>
                  </a:cubicBezTo>
                  <a:cubicBezTo>
                    <a:pt x="579" y="86"/>
                    <a:pt x="579" y="86"/>
                    <a:pt x="579" y="86"/>
                  </a:cubicBezTo>
                  <a:cubicBezTo>
                    <a:pt x="607" y="109"/>
                    <a:pt x="643" y="119"/>
                    <a:pt x="672" y="139"/>
                  </a:cubicBezTo>
                  <a:cubicBezTo>
                    <a:pt x="717" y="172"/>
                    <a:pt x="761" y="147"/>
                    <a:pt x="806" y="138"/>
                  </a:cubicBezTo>
                  <a:cubicBezTo>
                    <a:pt x="835" y="132"/>
                    <a:pt x="870" y="105"/>
                    <a:pt x="886" y="157"/>
                  </a:cubicBezTo>
                  <a:cubicBezTo>
                    <a:pt x="902" y="174"/>
                    <a:pt x="921" y="188"/>
                    <a:pt x="929" y="21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9" name="Freeform 22">
              <a:extLst>
                <a:ext uri="{FF2B5EF4-FFF2-40B4-BE49-F238E27FC236}">
                  <a16:creationId xmlns:a16="http://schemas.microsoft.com/office/drawing/2014/main" id="{3B412FCC-2E3B-474C-BD76-111379A8092F}"/>
                </a:ext>
              </a:extLst>
            </p:cNvPr>
            <p:cNvSpPr>
              <a:spLocks/>
            </p:cNvSpPr>
            <p:nvPr/>
          </p:nvSpPr>
          <p:spPr bwMode="auto">
            <a:xfrm>
              <a:off x="4447841" y="2059115"/>
              <a:ext cx="567127" cy="496576"/>
            </a:xfrm>
            <a:custGeom>
              <a:avLst/>
              <a:gdLst>
                <a:gd name="T0" fmla="*/ 584 w 1351"/>
                <a:gd name="T1" fmla="*/ 78 h 1185"/>
                <a:gd name="T2" fmla="*/ 662 w 1351"/>
                <a:gd name="T3" fmla="*/ 61 h 1185"/>
                <a:gd name="T4" fmla="*/ 764 w 1351"/>
                <a:gd name="T5" fmla="*/ 188 h 1185"/>
                <a:gd name="T6" fmla="*/ 834 w 1351"/>
                <a:gd name="T7" fmla="*/ 223 h 1185"/>
                <a:gd name="T8" fmla="*/ 1041 w 1351"/>
                <a:gd name="T9" fmla="*/ 356 h 1185"/>
                <a:gd name="T10" fmla="*/ 1116 w 1351"/>
                <a:gd name="T11" fmla="*/ 412 h 1185"/>
                <a:gd name="T12" fmla="*/ 1316 w 1351"/>
                <a:gd name="T13" fmla="*/ 526 h 1185"/>
                <a:gd name="T14" fmla="*/ 1308 w 1351"/>
                <a:gd name="T15" fmla="*/ 578 h 1185"/>
                <a:gd name="T16" fmla="*/ 1111 w 1351"/>
                <a:gd name="T17" fmla="*/ 827 h 1185"/>
                <a:gd name="T18" fmla="*/ 970 w 1351"/>
                <a:gd name="T19" fmla="*/ 1185 h 1185"/>
                <a:gd name="T20" fmla="*/ 598 w 1351"/>
                <a:gd name="T21" fmla="*/ 1024 h 1185"/>
                <a:gd name="T22" fmla="*/ 474 w 1351"/>
                <a:gd name="T23" fmla="*/ 951 h 1185"/>
                <a:gd name="T24" fmla="*/ 461 w 1351"/>
                <a:gd name="T25" fmla="*/ 853 h 1185"/>
                <a:gd name="T26" fmla="*/ 326 w 1351"/>
                <a:gd name="T27" fmla="*/ 729 h 1185"/>
                <a:gd name="T28" fmla="*/ 260 w 1351"/>
                <a:gd name="T29" fmla="*/ 729 h 1185"/>
                <a:gd name="T30" fmla="*/ 61 w 1351"/>
                <a:gd name="T31" fmla="*/ 720 h 1185"/>
                <a:gd name="T32" fmla="*/ 50 w 1351"/>
                <a:gd name="T33" fmla="*/ 652 h 1185"/>
                <a:gd name="T34" fmla="*/ 49 w 1351"/>
                <a:gd name="T35" fmla="*/ 653 h 1185"/>
                <a:gd name="T36" fmla="*/ 122 w 1351"/>
                <a:gd name="T37" fmla="*/ 546 h 1185"/>
                <a:gd name="T38" fmla="*/ 64 w 1351"/>
                <a:gd name="T39" fmla="*/ 488 h 1185"/>
                <a:gd name="T40" fmla="*/ 44 w 1351"/>
                <a:gd name="T41" fmla="*/ 412 h 1185"/>
                <a:gd name="T42" fmla="*/ 77 w 1351"/>
                <a:gd name="T43" fmla="*/ 297 h 1185"/>
                <a:gd name="T44" fmla="*/ 148 w 1351"/>
                <a:gd name="T45" fmla="*/ 117 h 1185"/>
                <a:gd name="T46" fmla="*/ 297 w 1351"/>
                <a:gd name="T47" fmla="*/ 80 h 1185"/>
                <a:gd name="T48" fmla="*/ 358 w 1351"/>
                <a:gd name="T49" fmla="*/ 78 h 1185"/>
                <a:gd name="T50" fmla="*/ 447 w 1351"/>
                <a:gd name="T51" fmla="*/ 88 h 1185"/>
                <a:gd name="T52" fmla="*/ 526 w 1351"/>
                <a:gd name="T53" fmla="*/ 119 h 1185"/>
                <a:gd name="T54" fmla="*/ 579 w 1351"/>
                <a:gd name="T55" fmla="*/ 132 h 1185"/>
                <a:gd name="T56" fmla="*/ 584 w 1351"/>
                <a:gd name="T57" fmla="*/ 78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51" h="1185">
                  <a:moveTo>
                    <a:pt x="584" y="78"/>
                  </a:moveTo>
                  <a:cubicBezTo>
                    <a:pt x="596" y="8"/>
                    <a:pt x="624" y="0"/>
                    <a:pt x="662" y="61"/>
                  </a:cubicBezTo>
                  <a:cubicBezTo>
                    <a:pt x="692" y="107"/>
                    <a:pt x="723" y="151"/>
                    <a:pt x="764" y="188"/>
                  </a:cubicBezTo>
                  <a:cubicBezTo>
                    <a:pt x="784" y="207"/>
                    <a:pt x="802" y="224"/>
                    <a:pt x="834" y="223"/>
                  </a:cubicBezTo>
                  <a:cubicBezTo>
                    <a:pt x="933" y="220"/>
                    <a:pt x="1001" y="270"/>
                    <a:pt x="1041" y="356"/>
                  </a:cubicBezTo>
                  <a:cubicBezTo>
                    <a:pt x="1058" y="393"/>
                    <a:pt x="1079" y="406"/>
                    <a:pt x="1116" y="412"/>
                  </a:cubicBezTo>
                  <a:cubicBezTo>
                    <a:pt x="1196" y="425"/>
                    <a:pt x="1252" y="482"/>
                    <a:pt x="1316" y="526"/>
                  </a:cubicBezTo>
                  <a:cubicBezTo>
                    <a:pt x="1351" y="550"/>
                    <a:pt x="1328" y="563"/>
                    <a:pt x="1308" y="578"/>
                  </a:cubicBezTo>
                  <a:cubicBezTo>
                    <a:pt x="1219" y="643"/>
                    <a:pt x="1121" y="717"/>
                    <a:pt x="1111" y="827"/>
                  </a:cubicBezTo>
                  <a:cubicBezTo>
                    <a:pt x="1098" y="965"/>
                    <a:pt x="979" y="1051"/>
                    <a:pt x="970" y="1185"/>
                  </a:cubicBezTo>
                  <a:cubicBezTo>
                    <a:pt x="849" y="1126"/>
                    <a:pt x="697" y="1138"/>
                    <a:pt x="598" y="1024"/>
                  </a:cubicBezTo>
                  <a:cubicBezTo>
                    <a:pt x="566" y="987"/>
                    <a:pt x="493" y="1014"/>
                    <a:pt x="474" y="951"/>
                  </a:cubicBezTo>
                  <a:cubicBezTo>
                    <a:pt x="492" y="916"/>
                    <a:pt x="518" y="882"/>
                    <a:pt x="461" y="853"/>
                  </a:cubicBezTo>
                  <a:cubicBezTo>
                    <a:pt x="406" y="825"/>
                    <a:pt x="367" y="774"/>
                    <a:pt x="326" y="729"/>
                  </a:cubicBezTo>
                  <a:cubicBezTo>
                    <a:pt x="304" y="714"/>
                    <a:pt x="271" y="716"/>
                    <a:pt x="260" y="729"/>
                  </a:cubicBezTo>
                  <a:cubicBezTo>
                    <a:pt x="187" y="821"/>
                    <a:pt x="125" y="753"/>
                    <a:pt x="61" y="720"/>
                  </a:cubicBezTo>
                  <a:cubicBezTo>
                    <a:pt x="56" y="698"/>
                    <a:pt x="38" y="677"/>
                    <a:pt x="50" y="652"/>
                  </a:cubicBezTo>
                  <a:cubicBezTo>
                    <a:pt x="49" y="653"/>
                    <a:pt x="49" y="653"/>
                    <a:pt x="49" y="653"/>
                  </a:cubicBezTo>
                  <a:cubicBezTo>
                    <a:pt x="75" y="618"/>
                    <a:pt x="103" y="585"/>
                    <a:pt x="122" y="546"/>
                  </a:cubicBezTo>
                  <a:cubicBezTo>
                    <a:pt x="126" y="502"/>
                    <a:pt x="84" y="506"/>
                    <a:pt x="64" y="488"/>
                  </a:cubicBezTo>
                  <a:cubicBezTo>
                    <a:pt x="41" y="468"/>
                    <a:pt x="0" y="450"/>
                    <a:pt x="44" y="412"/>
                  </a:cubicBezTo>
                  <a:cubicBezTo>
                    <a:pt x="94" y="384"/>
                    <a:pt x="69" y="336"/>
                    <a:pt x="77" y="297"/>
                  </a:cubicBezTo>
                  <a:cubicBezTo>
                    <a:pt x="83" y="230"/>
                    <a:pt x="106" y="170"/>
                    <a:pt x="148" y="117"/>
                  </a:cubicBezTo>
                  <a:cubicBezTo>
                    <a:pt x="205" y="136"/>
                    <a:pt x="245" y="84"/>
                    <a:pt x="297" y="80"/>
                  </a:cubicBezTo>
                  <a:cubicBezTo>
                    <a:pt x="317" y="77"/>
                    <a:pt x="337" y="78"/>
                    <a:pt x="358" y="78"/>
                  </a:cubicBezTo>
                  <a:cubicBezTo>
                    <a:pt x="387" y="81"/>
                    <a:pt x="416" y="92"/>
                    <a:pt x="447" y="88"/>
                  </a:cubicBezTo>
                  <a:cubicBezTo>
                    <a:pt x="474" y="96"/>
                    <a:pt x="502" y="103"/>
                    <a:pt x="526" y="119"/>
                  </a:cubicBezTo>
                  <a:cubicBezTo>
                    <a:pt x="541" y="135"/>
                    <a:pt x="559" y="145"/>
                    <a:pt x="579" y="132"/>
                  </a:cubicBezTo>
                  <a:cubicBezTo>
                    <a:pt x="602" y="117"/>
                    <a:pt x="587" y="96"/>
                    <a:pt x="584" y="7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0" name="Freeform 23">
              <a:extLst>
                <a:ext uri="{FF2B5EF4-FFF2-40B4-BE49-F238E27FC236}">
                  <a16:creationId xmlns:a16="http://schemas.microsoft.com/office/drawing/2014/main" id="{A33058BD-B2A5-4B8D-97C1-DA17FD0F72F5}"/>
                </a:ext>
              </a:extLst>
            </p:cNvPr>
            <p:cNvSpPr>
              <a:spLocks/>
            </p:cNvSpPr>
            <p:nvPr/>
          </p:nvSpPr>
          <p:spPr bwMode="auto">
            <a:xfrm>
              <a:off x="3848151" y="1855600"/>
              <a:ext cx="496576" cy="491149"/>
            </a:xfrm>
            <a:custGeom>
              <a:avLst/>
              <a:gdLst>
                <a:gd name="T0" fmla="*/ 844 w 1185"/>
                <a:gd name="T1" fmla="*/ 215 h 1172"/>
                <a:gd name="T2" fmla="*/ 845 w 1185"/>
                <a:gd name="T3" fmla="*/ 236 h 1172"/>
                <a:gd name="T4" fmla="*/ 850 w 1185"/>
                <a:gd name="T5" fmla="*/ 317 h 1172"/>
                <a:gd name="T6" fmla="*/ 894 w 1185"/>
                <a:gd name="T7" fmla="*/ 384 h 1172"/>
                <a:gd name="T8" fmla="*/ 946 w 1185"/>
                <a:gd name="T9" fmla="*/ 451 h 1172"/>
                <a:gd name="T10" fmla="*/ 1029 w 1185"/>
                <a:gd name="T11" fmla="*/ 473 h 1172"/>
                <a:gd name="T12" fmla="*/ 1039 w 1185"/>
                <a:gd name="T13" fmla="*/ 476 h 1172"/>
                <a:gd name="T14" fmla="*/ 1139 w 1185"/>
                <a:gd name="T15" fmla="*/ 740 h 1172"/>
                <a:gd name="T16" fmla="*/ 1160 w 1185"/>
                <a:gd name="T17" fmla="*/ 853 h 1172"/>
                <a:gd name="T18" fmla="*/ 1101 w 1185"/>
                <a:gd name="T19" fmla="*/ 893 h 1172"/>
                <a:gd name="T20" fmla="*/ 1086 w 1185"/>
                <a:gd name="T21" fmla="*/ 919 h 1172"/>
                <a:gd name="T22" fmla="*/ 867 w 1185"/>
                <a:gd name="T23" fmla="*/ 1140 h 1172"/>
                <a:gd name="T24" fmla="*/ 791 w 1185"/>
                <a:gd name="T25" fmla="*/ 1155 h 1172"/>
                <a:gd name="T26" fmla="*/ 662 w 1185"/>
                <a:gd name="T27" fmla="*/ 1142 h 1172"/>
                <a:gd name="T28" fmla="*/ 542 w 1185"/>
                <a:gd name="T29" fmla="*/ 1172 h 1172"/>
                <a:gd name="T30" fmla="*/ 508 w 1185"/>
                <a:gd name="T31" fmla="*/ 1151 h 1172"/>
                <a:gd name="T32" fmla="*/ 425 w 1185"/>
                <a:gd name="T33" fmla="*/ 1069 h 1172"/>
                <a:gd name="T34" fmla="*/ 274 w 1185"/>
                <a:gd name="T35" fmla="*/ 1050 h 1172"/>
                <a:gd name="T36" fmla="*/ 79 w 1185"/>
                <a:gd name="T37" fmla="*/ 1004 h 1172"/>
                <a:gd name="T38" fmla="*/ 22 w 1185"/>
                <a:gd name="T39" fmla="*/ 935 h 1172"/>
                <a:gd name="T40" fmla="*/ 308 w 1185"/>
                <a:gd name="T41" fmla="*/ 559 h 1172"/>
                <a:gd name="T42" fmla="*/ 312 w 1185"/>
                <a:gd name="T43" fmla="*/ 496 h 1172"/>
                <a:gd name="T44" fmla="*/ 312 w 1185"/>
                <a:gd name="T45" fmla="*/ 450 h 1172"/>
                <a:gd name="T46" fmla="*/ 329 w 1185"/>
                <a:gd name="T47" fmla="*/ 290 h 1172"/>
                <a:gd name="T48" fmla="*/ 521 w 1185"/>
                <a:gd name="T49" fmla="*/ 139 h 1172"/>
                <a:gd name="T50" fmla="*/ 641 w 1185"/>
                <a:gd name="T51" fmla="*/ 34 h 1172"/>
                <a:gd name="T52" fmla="*/ 772 w 1185"/>
                <a:gd name="T53" fmla="*/ 1 h 1172"/>
                <a:gd name="T54" fmla="*/ 792 w 1185"/>
                <a:gd name="T55" fmla="*/ 21 h 1172"/>
                <a:gd name="T56" fmla="*/ 844 w 1185"/>
                <a:gd name="T57" fmla="*/ 215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5" h="1172">
                  <a:moveTo>
                    <a:pt x="844" y="215"/>
                  </a:moveTo>
                  <a:cubicBezTo>
                    <a:pt x="844" y="222"/>
                    <a:pt x="845" y="229"/>
                    <a:pt x="845" y="236"/>
                  </a:cubicBezTo>
                  <a:cubicBezTo>
                    <a:pt x="815" y="265"/>
                    <a:pt x="825" y="291"/>
                    <a:pt x="850" y="317"/>
                  </a:cubicBezTo>
                  <a:cubicBezTo>
                    <a:pt x="857" y="344"/>
                    <a:pt x="879" y="361"/>
                    <a:pt x="894" y="384"/>
                  </a:cubicBezTo>
                  <a:cubicBezTo>
                    <a:pt x="899" y="415"/>
                    <a:pt x="885" y="462"/>
                    <a:pt x="946" y="451"/>
                  </a:cubicBezTo>
                  <a:cubicBezTo>
                    <a:pt x="984" y="419"/>
                    <a:pt x="1003" y="458"/>
                    <a:pt x="1029" y="473"/>
                  </a:cubicBezTo>
                  <a:cubicBezTo>
                    <a:pt x="1033" y="474"/>
                    <a:pt x="1038" y="474"/>
                    <a:pt x="1039" y="476"/>
                  </a:cubicBezTo>
                  <a:cubicBezTo>
                    <a:pt x="1063" y="567"/>
                    <a:pt x="1132" y="642"/>
                    <a:pt x="1139" y="740"/>
                  </a:cubicBezTo>
                  <a:cubicBezTo>
                    <a:pt x="1154" y="776"/>
                    <a:pt x="1185" y="810"/>
                    <a:pt x="1160" y="853"/>
                  </a:cubicBezTo>
                  <a:cubicBezTo>
                    <a:pt x="1144" y="872"/>
                    <a:pt x="1102" y="852"/>
                    <a:pt x="1101" y="893"/>
                  </a:cubicBezTo>
                  <a:cubicBezTo>
                    <a:pt x="1101" y="903"/>
                    <a:pt x="1094" y="913"/>
                    <a:pt x="1086" y="919"/>
                  </a:cubicBezTo>
                  <a:cubicBezTo>
                    <a:pt x="1007" y="986"/>
                    <a:pt x="901" y="1025"/>
                    <a:pt x="867" y="1140"/>
                  </a:cubicBezTo>
                  <a:cubicBezTo>
                    <a:pt x="860" y="1161"/>
                    <a:pt x="819" y="1162"/>
                    <a:pt x="791" y="1155"/>
                  </a:cubicBezTo>
                  <a:cubicBezTo>
                    <a:pt x="750" y="1130"/>
                    <a:pt x="707" y="1128"/>
                    <a:pt x="662" y="1142"/>
                  </a:cubicBezTo>
                  <a:cubicBezTo>
                    <a:pt x="619" y="1141"/>
                    <a:pt x="583" y="1164"/>
                    <a:pt x="542" y="1172"/>
                  </a:cubicBezTo>
                  <a:cubicBezTo>
                    <a:pt x="527" y="1171"/>
                    <a:pt x="516" y="1164"/>
                    <a:pt x="508" y="1151"/>
                  </a:cubicBezTo>
                  <a:cubicBezTo>
                    <a:pt x="497" y="1107"/>
                    <a:pt x="465" y="1085"/>
                    <a:pt x="425" y="1069"/>
                  </a:cubicBezTo>
                  <a:cubicBezTo>
                    <a:pt x="378" y="1033"/>
                    <a:pt x="325" y="1047"/>
                    <a:pt x="274" y="1050"/>
                  </a:cubicBezTo>
                  <a:cubicBezTo>
                    <a:pt x="209" y="1033"/>
                    <a:pt x="144" y="1018"/>
                    <a:pt x="79" y="1004"/>
                  </a:cubicBezTo>
                  <a:cubicBezTo>
                    <a:pt x="45" y="997"/>
                    <a:pt x="0" y="992"/>
                    <a:pt x="22" y="935"/>
                  </a:cubicBezTo>
                  <a:cubicBezTo>
                    <a:pt x="31" y="744"/>
                    <a:pt x="194" y="670"/>
                    <a:pt x="308" y="559"/>
                  </a:cubicBezTo>
                  <a:cubicBezTo>
                    <a:pt x="329" y="537"/>
                    <a:pt x="383" y="525"/>
                    <a:pt x="312" y="496"/>
                  </a:cubicBezTo>
                  <a:cubicBezTo>
                    <a:pt x="293" y="488"/>
                    <a:pt x="304" y="460"/>
                    <a:pt x="312" y="450"/>
                  </a:cubicBezTo>
                  <a:cubicBezTo>
                    <a:pt x="352" y="399"/>
                    <a:pt x="340" y="347"/>
                    <a:pt x="329" y="290"/>
                  </a:cubicBezTo>
                  <a:cubicBezTo>
                    <a:pt x="317" y="231"/>
                    <a:pt x="429" y="141"/>
                    <a:pt x="521" y="139"/>
                  </a:cubicBezTo>
                  <a:cubicBezTo>
                    <a:pt x="596" y="138"/>
                    <a:pt x="637" y="110"/>
                    <a:pt x="641" y="34"/>
                  </a:cubicBezTo>
                  <a:cubicBezTo>
                    <a:pt x="684" y="20"/>
                    <a:pt x="726" y="0"/>
                    <a:pt x="772" y="1"/>
                  </a:cubicBezTo>
                  <a:cubicBezTo>
                    <a:pt x="782" y="4"/>
                    <a:pt x="789" y="11"/>
                    <a:pt x="792" y="21"/>
                  </a:cubicBezTo>
                  <a:cubicBezTo>
                    <a:pt x="724" y="130"/>
                    <a:pt x="724" y="130"/>
                    <a:pt x="844" y="21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 name="Freeform 24">
              <a:extLst>
                <a:ext uri="{FF2B5EF4-FFF2-40B4-BE49-F238E27FC236}">
                  <a16:creationId xmlns:a16="http://schemas.microsoft.com/office/drawing/2014/main" id="{1A56854A-7EEC-4FA0-927F-8CBAB7DA5C8B}"/>
                </a:ext>
              </a:extLst>
            </p:cNvPr>
            <p:cNvSpPr>
              <a:spLocks/>
            </p:cNvSpPr>
            <p:nvPr/>
          </p:nvSpPr>
          <p:spPr bwMode="auto">
            <a:xfrm>
              <a:off x="3788454" y="5369619"/>
              <a:ext cx="436878" cy="830340"/>
            </a:xfrm>
            <a:custGeom>
              <a:avLst/>
              <a:gdLst>
                <a:gd name="T0" fmla="*/ 667 w 1045"/>
                <a:gd name="T1" fmla="*/ 634 h 1985"/>
                <a:gd name="T2" fmla="*/ 684 w 1045"/>
                <a:gd name="T3" fmla="*/ 635 h 1985"/>
                <a:gd name="T4" fmla="*/ 675 w 1045"/>
                <a:gd name="T5" fmla="*/ 696 h 1985"/>
                <a:gd name="T6" fmla="*/ 768 w 1045"/>
                <a:gd name="T7" fmla="*/ 735 h 1985"/>
                <a:gd name="T8" fmla="*/ 766 w 1045"/>
                <a:gd name="T9" fmla="*/ 851 h 1985"/>
                <a:gd name="T10" fmla="*/ 826 w 1045"/>
                <a:gd name="T11" fmla="*/ 904 h 1985"/>
                <a:gd name="T12" fmla="*/ 845 w 1045"/>
                <a:gd name="T13" fmla="*/ 966 h 1985"/>
                <a:gd name="T14" fmla="*/ 847 w 1045"/>
                <a:gd name="T15" fmla="*/ 1152 h 1985"/>
                <a:gd name="T16" fmla="*/ 989 w 1045"/>
                <a:gd name="T17" fmla="*/ 1123 h 1985"/>
                <a:gd name="T18" fmla="*/ 1000 w 1045"/>
                <a:gd name="T19" fmla="*/ 1252 h 1985"/>
                <a:gd name="T20" fmla="*/ 970 w 1045"/>
                <a:gd name="T21" fmla="*/ 1420 h 1985"/>
                <a:gd name="T22" fmla="*/ 968 w 1045"/>
                <a:gd name="T23" fmla="*/ 1428 h 1985"/>
                <a:gd name="T24" fmla="*/ 1040 w 1045"/>
                <a:gd name="T25" fmla="*/ 1484 h 1985"/>
                <a:gd name="T26" fmla="*/ 988 w 1045"/>
                <a:gd name="T27" fmla="*/ 1585 h 1985"/>
                <a:gd name="T28" fmla="*/ 940 w 1045"/>
                <a:gd name="T29" fmla="*/ 1695 h 1985"/>
                <a:gd name="T30" fmla="*/ 949 w 1045"/>
                <a:gd name="T31" fmla="*/ 1826 h 1985"/>
                <a:gd name="T32" fmla="*/ 948 w 1045"/>
                <a:gd name="T33" fmla="*/ 1842 h 1985"/>
                <a:gd name="T34" fmla="*/ 907 w 1045"/>
                <a:gd name="T35" fmla="*/ 1985 h 1985"/>
                <a:gd name="T36" fmla="*/ 709 w 1045"/>
                <a:gd name="T37" fmla="*/ 1780 h 1985"/>
                <a:gd name="T38" fmla="*/ 601 w 1045"/>
                <a:gd name="T39" fmla="*/ 1568 h 1985"/>
                <a:gd name="T40" fmla="*/ 618 w 1045"/>
                <a:gd name="T41" fmla="*/ 1451 h 1985"/>
                <a:gd name="T42" fmla="*/ 611 w 1045"/>
                <a:gd name="T43" fmla="*/ 1411 h 1985"/>
                <a:gd name="T44" fmla="*/ 354 w 1045"/>
                <a:gd name="T45" fmla="*/ 674 h 1985"/>
                <a:gd name="T46" fmla="*/ 144 w 1045"/>
                <a:gd name="T47" fmla="*/ 339 h 1985"/>
                <a:gd name="T48" fmla="*/ 11 w 1045"/>
                <a:gd name="T49" fmla="*/ 25 h 1985"/>
                <a:gd name="T50" fmla="*/ 45 w 1045"/>
                <a:gd name="T51" fmla="*/ 20 h 1985"/>
                <a:gd name="T52" fmla="*/ 215 w 1045"/>
                <a:gd name="T53" fmla="*/ 203 h 1985"/>
                <a:gd name="T54" fmla="*/ 422 w 1045"/>
                <a:gd name="T55" fmla="*/ 300 h 1985"/>
                <a:gd name="T56" fmla="*/ 456 w 1045"/>
                <a:gd name="T57" fmla="*/ 365 h 1985"/>
                <a:gd name="T58" fmla="*/ 443 w 1045"/>
                <a:gd name="T59" fmla="*/ 381 h 1985"/>
                <a:gd name="T60" fmla="*/ 542 w 1045"/>
                <a:gd name="T61" fmla="*/ 408 h 1985"/>
                <a:gd name="T62" fmla="*/ 572 w 1045"/>
                <a:gd name="T63" fmla="*/ 448 h 1985"/>
                <a:gd name="T64" fmla="*/ 609 w 1045"/>
                <a:gd name="T65" fmla="*/ 550 h 1985"/>
                <a:gd name="T66" fmla="*/ 598 w 1045"/>
                <a:gd name="T67" fmla="*/ 606 h 1985"/>
                <a:gd name="T68" fmla="*/ 667 w 1045"/>
                <a:gd name="T69" fmla="*/ 634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5" h="1985">
                  <a:moveTo>
                    <a:pt x="667" y="634"/>
                  </a:moveTo>
                  <a:cubicBezTo>
                    <a:pt x="673" y="634"/>
                    <a:pt x="678" y="634"/>
                    <a:pt x="684" y="635"/>
                  </a:cubicBezTo>
                  <a:cubicBezTo>
                    <a:pt x="700" y="658"/>
                    <a:pt x="684" y="677"/>
                    <a:pt x="675" y="696"/>
                  </a:cubicBezTo>
                  <a:cubicBezTo>
                    <a:pt x="684" y="762"/>
                    <a:pt x="744" y="704"/>
                    <a:pt x="768" y="735"/>
                  </a:cubicBezTo>
                  <a:cubicBezTo>
                    <a:pt x="796" y="774"/>
                    <a:pt x="740" y="812"/>
                    <a:pt x="766" y="851"/>
                  </a:cubicBezTo>
                  <a:cubicBezTo>
                    <a:pt x="783" y="872"/>
                    <a:pt x="819" y="872"/>
                    <a:pt x="826" y="904"/>
                  </a:cubicBezTo>
                  <a:cubicBezTo>
                    <a:pt x="832" y="925"/>
                    <a:pt x="838" y="945"/>
                    <a:pt x="845" y="966"/>
                  </a:cubicBezTo>
                  <a:cubicBezTo>
                    <a:pt x="802" y="1028"/>
                    <a:pt x="795" y="1091"/>
                    <a:pt x="847" y="1152"/>
                  </a:cubicBezTo>
                  <a:cubicBezTo>
                    <a:pt x="900" y="1168"/>
                    <a:pt x="938" y="1112"/>
                    <a:pt x="989" y="1123"/>
                  </a:cubicBezTo>
                  <a:cubicBezTo>
                    <a:pt x="1019" y="1164"/>
                    <a:pt x="975" y="1210"/>
                    <a:pt x="1000" y="1252"/>
                  </a:cubicBezTo>
                  <a:cubicBezTo>
                    <a:pt x="998" y="1309"/>
                    <a:pt x="960" y="1360"/>
                    <a:pt x="970" y="1420"/>
                  </a:cubicBezTo>
                  <a:cubicBezTo>
                    <a:pt x="968" y="1428"/>
                    <a:pt x="968" y="1428"/>
                    <a:pt x="968" y="1428"/>
                  </a:cubicBezTo>
                  <a:cubicBezTo>
                    <a:pt x="982" y="1460"/>
                    <a:pt x="1045" y="1428"/>
                    <a:pt x="1040" y="1484"/>
                  </a:cubicBezTo>
                  <a:cubicBezTo>
                    <a:pt x="1025" y="1518"/>
                    <a:pt x="1010" y="1554"/>
                    <a:pt x="988" y="1585"/>
                  </a:cubicBezTo>
                  <a:cubicBezTo>
                    <a:pt x="985" y="1627"/>
                    <a:pt x="957" y="1659"/>
                    <a:pt x="940" y="1695"/>
                  </a:cubicBezTo>
                  <a:cubicBezTo>
                    <a:pt x="986" y="1736"/>
                    <a:pt x="969" y="1781"/>
                    <a:pt x="949" y="1826"/>
                  </a:cubicBezTo>
                  <a:cubicBezTo>
                    <a:pt x="949" y="1832"/>
                    <a:pt x="949" y="1837"/>
                    <a:pt x="948" y="1842"/>
                  </a:cubicBezTo>
                  <a:cubicBezTo>
                    <a:pt x="980" y="1903"/>
                    <a:pt x="935" y="1941"/>
                    <a:pt x="907" y="1985"/>
                  </a:cubicBezTo>
                  <a:cubicBezTo>
                    <a:pt x="801" y="1956"/>
                    <a:pt x="757" y="1858"/>
                    <a:pt x="709" y="1780"/>
                  </a:cubicBezTo>
                  <a:cubicBezTo>
                    <a:pt x="669" y="1714"/>
                    <a:pt x="624" y="1644"/>
                    <a:pt x="601" y="1568"/>
                  </a:cubicBezTo>
                  <a:cubicBezTo>
                    <a:pt x="591" y="1533"/>
                    <a:pt x="505" y="1476"/>
                    <a:pt x="618" y="1451"/>
                  </a:cubicBezTo>
                  <a:cubicBezTo>
                    <a:pt x="642" y="1445"/>
                    <a:pt x="616" y="1425"/>
                    <a:pt x="611" y="1411"/>
                  </a:cubicBezTo>
                  <a:cubicBezTo>
                    <a:pt x="532" y="1163"/>
                    <a:pt x="420" y="927"/>
                    <a:pt x="354" y="674"/>
                  </a:cubicBezTo>
                  <a:cubicBezTo>
                    <a:pt x="320" y="544"/>
                    <a:pt x="235" y="436"/>
                    <a:pt x="144" y="339"/>
                  </a:cubicBezTo>
                  <a:cubicBezTo>
                    <a:pt x="60" y="249"/>
                    <a:pt x="55" y="130"/>
                    <a:pt x="11" y="25"/>
                  </a:cubicBezTo>
                  <a:cubicBezTo>
                    <a:pt x="0" y="0"/>
                    <a:pt x="33" y="21"/>
                    <a:pt x="45" y="20"/>
                  </a:cubicBezTo>
                  <a:cubicBezTo>
                    <a:pt x="125" y="59"/>
                    <a:pt x="192" y="111"/>
                    <a:pt x="215" y="203"/>
                  </a:cubicBezTo>
                  <a:cubicBezTo>
                    <a:pt x="289" y="223"/>
                    <a:pt x="343" y="287"/>
                    <a:pt x="422" y="300"/>
                  </a:cubicBezTo>
                  <a:cubicBezTo>
                    <a:pt x="454" y="306"/>
                    <a:pt x="458" y="337"/>
                    <a:pt x="456" y="365"/>
                  </a:cubicBezTo>
                  <a:cubicBezTo>
                    <a:pt x="450" y="369"/>
                    <a:pt x="446" y="374"/>
                    <a:pt x="443" y="381"/>
                  </a:cubicBezTo>
                  <a:cubicBezTo>
                    <a:pt x="483" y="365"/>
                    <a:pt x="509" y="398"/>
                    <a:pt x="542" y="408"/>
                  </a:cubicBezTo>
                  <a:cubicBezTo>
                    <a:pt x="552" y="421"/>
                    <a:pt x="562" y="435"/>
                    <a:pt x="572" y="448"/>
                  </a:cubicBezTo>
                  <a:cubicBezTo>
                    <a:pt x="668" y="503"/>
                    <a:pt x="668" y="503"/>
                    <a:pt x="609" y="550"/>
                  </a:cubicBezTo>
                  <a:cubicBezTo>
                    <a:pt x="566" y="561"/>
                    <a:pt x="552" y="577"/>
                    <a:pt x="598" y="606"/>
                  </a:cubicBezTo>
                  <a:cubicBezTo>
                    <a:pt x="619" y="619"/>
                    <a:pt x="640" y="634"/>
                    <a:pt x="667" y="63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Freeform 25">
              <a:extLst>
                <a:ext uri="{FF2B5EF4-FFF2-40B4-BE49-F238E27FC236}">
                  <a16:creationId xmlns:a16="http://schemas.microsoft.com/office/drawing/2014/main" id="{9BC18BAE-D0FB-4527-BD6A-BE7DDC558F8A}"/>
                </a:ext>
              </a:extLst>
            </p:cNvPr>
            <p:cNvSpPr>
              <a:spLocks/>
            </p:cNvSpPr>
            <p:nvPr/>
          </p:nvSpPr>
          <p:spPr bwMode="auto">
            <a:xfrm>
              <a:off x="6898156" y="3285629"/>
              <a:ext cx="217082" cy="436878"/>
            </a:xfrm>
            <a:custGeom>
              <a:avLst/>
              <a:gdLst>
                <a:gd name="T0" fmla="*/ 336 w 515"/>
                <a:gd name="T1" fmla="*/ 127 h 1041"/>
                <a:gd name="T2" fmla="*/ 449 w 515"/>
                <a:gd name="T3" fmla="*/ 582 h 1041"/>
                <a:gd name="T4" fmla="*/ 438 w 515"/>
                <a:gd name="T5" fmla="*/ 599 h 1041"/>
                <a:gd name="T6" fmla="*/ 401 w 515"/>
                <a:gd name="T7" fmla="*/ 855 h 1041"/>
                <a:gd name="T8" fmla="*/ 300 w 515"/>
                <a:gd name="T9" fmla="*/ 1040 h 1041"/>
                <a:gd name="T10" fmla="*/ 235 w 515"/>
                <a:gd name="T11" fmla="*/ 985 h 1041"/>
                <a:gd name="T12" fmla="*/ 153 w 515"/>
                <a:gd name="T13" fmla="*/ 868 h 1041"/>
                <a:gd name="T14" fmla="*/ 150 w 515"/>
                <a:gd name="T15" fmla="*/ 837 h 1041"/>
                <a:gd name="T16" fmla="*/ 7 w 515"/>
                <a:gd name="T17" fmla="*/ 312 h 1041"/>
                <a:gd name="T18" fmla="*/ 4 w 515"/>
                <a:gd name="T19" fmla="*/ 210 h 1041"/>
                <a:gd name="T20" fmla="*/ 18 w 515"/>
                <a:gd name="T21" fmla="*/ 152 h 1041"/>
                <a:gd name="T22" fmla="*/ 70 w 515"/>
                <a:gd name="T23" fmla="*/ 128 h 1041"/>
                <a:gd name="T24" fmla="*/ 69 w 515"/>
                <a:gd name="T25" fmla="*/ 128 h 1041"/>
                <a:gd name="T26" fmla="*/ 132 w 515"/>
                <a:gd name="T27" fmla="*/ 45 h 1041"/>
                <a:gd name="T28" fmla="*/ 131 w 515"/>
                <a:gd name="T29" fmla="*/ 46 h 1041"/>
                <a:gd name="T30" fmla="*/ 214 w 515"/>
                <a:gd name="T31" fmla="*/ 25 h 1041"/>
                <a:gd name="T32" fmla="*/ 213 w 515"/>
                <a:gd name="T33" fmla="*/ 26 h 1041"/>
                <a:gd name="T34" fmla="*/ 286 w 515"/>
                <a:gd name="T35" fmla="*/ 44 h 1041"/>
                <a:gd name="T36" fmla="*/ 327 w 515"/>
                <a:gd name="T37" fmla="*/ 117 h 1041"/>
                <a:gd name="T38" fmla="*/ 336 w 515"/>
                <a:gd name="T39" fmla="*/ 127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1041">
                  <a:moveTo>
                    <a:pt x="336" y="127"/>
                  </a:moveTo>
                  <a:cubicBezTo>
                    <a:pt x="471" y="207"/>
                    <a:pt x="515" y="467"/>
                    <a:pt x="449" y="582"/>
                  </a:cubicBezTo>
                  <a:cubicBezTo>
                    <a:pt x="445" y="588"/>
                    <a:pt x="443" y="597"/>
                    <a:pt x="438" y="599"/>
                  </a:cubicBezTo>
                  <a:cubicBezTo>
                    <a:pt x="276" y="662"/>
                    <a:pt x="402" y="769"/>
                    <a:pt x="401" y="855"/>
                  </a:cubicBezTo>
                  <a:cubicBezTo>
                    <a:pt x="400" y="881"/>
                    <a:pt x="328" y="1039"/>
                    <a:pt x="300" y="1040"/>
                  </a:cubicBezTo>
                  <a:cubicBezTo>
                    <a:pt x="263" y="1041"/>
                    <a:pt x="262" y="983"/>
                    <a:pt x="235" y="985"/>
                  </a:cubicBezTo>
                  <a:cubicBezTo>
                    <a:pt x="133" y="994"/>
                    <a:pt x="162" y="919"/>
                    <a:pt x="153" y="868"/>
                  </a:cubicBezTo>
                  <a:cubicBezTo>
                    <a:pt x="151" y="858"/>
                    <a:pt x="155" y="845"/>
                    <a:pt x="150" y="837"/>
                  </a:cubicBezTo>
                  <a:cubicBezTo>
                    <a:pt x="54" y="675"/>
                    <a:pt x="58" y="486"/>
                    <a:pt x="7" y="312"/>
                  </a:cubicBezTo>
                  <a:cubicBezTo>
                    <a:pt x="0" y="278"/>
                    <a:pt x="3" y="244"/>
                    <a:pt x="4" y="210"/>
                  </a:cubicBezTo>
                  <a:cubicBezTo>
                    <a:pt x="5" y="190"/>
                    <a:pt x="8" y="170"/>
                    <a:pt x="18" y="152"/>
                  </a:cubicBezTo>
                  <a:cubicBezTo>
                    <a:pt x="29" y="131"/>
                    <a:pt x="54" y="139"/>
                    <a:pt x="70" y="128"/>
                  </a:cubicBezTo>
                  <a:cubicBezTo>
                    <a:pt x="69" y="128"/>
                    <a:pt x="69" y="128"/>
                    <a:pt x="69" y="128"/>
                  </a:cubicBezTo>
                  <a:cubicBezTo>
                    <a:pt x="88" y="99"/>
                    <a:pt x="113" y="75"/>
                    <a:pt x="132" y="45"/>
                  </a:cubicBezTo>
                  <a:cubicBezTo>
                    <a:pt x="131" y="46"/>
                    <a:pt x="131" y="46"/>
                    <a:pt x="131" y="46"/>
                  </a:cubicBezTo>
                  <a:cubicBezTo>
                    <a:pt x="149" y="0"/>
                    <a:pt x="188" y="40"/>
                    <a:pt x="214" y="25"/>
                  </a:cubicBezTo>
                  <a:cubicBezTo>
                    <a:pt x="213" y="26"/>
                    <a:pt x="213" y="26"/>
                    <a:pt x="213" y="26"/>
                  </a:cubicBezTo>
                  <a:cubicBezTo>
                    <a:pt x="242" y="10"/>
                    <a:pt x="270" y="5"/>
                    <a:pt x="286" y="44"/>
                  </a:cubicBezTo>
                  <a:cubicBezTo>
                    <a:pt x="285" y="76"/>
                    <a:pt x="292" y="104"/>
                    <a:pt x="327" y="117"/>
                  </a:cubicBezTo>
                  <a:cubicBezTo>
                    <a:pt x="330" y="120"/>
                    <a:pt x="333" y="124"/>
                    <a:pt x="336" y="12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3" name="Freeform 26">
              <a:extLst>
                <a:ext uri="{FF2B5EF4-FFF2-40B4-BE49-F238E27FC236}">
                  <a16:creationId xmlns:a16="http://schemas.microsoft.com/office/drawing/2014/main" id="{5343DE0E-29DF-4FA2-B9AB-73078BCC1886}"/>
                </a:ext>
              </a:extLst>
            </p:cNvPr>
            <p:cNvSpPr>
              <a:spLocks/>
            </p:cNvSpPr>
            <p:nvPr/>
          </p:nvSpPr>
          <p:spPr bwMode="auto">
            <a:xfrm>
              <a:off x="6461278" y="3016990"/>
              <a:ext cx="531851" cy="173666"/>
            </a:xfrm>
            <a:custGeom>
              <a:avLst/>
              <a:gdLst>
                <a:gd name="T0" fmla="*/ 541 w 1269"/>
                <a:gd name="T1" fmla="*/ 110 h 416"/>
                <a:gd name="T2" fmla="*/ 582 w 1269"/>
                <a:gd name="T3" fmla="*/ 127 h 416"/>
                <a:gd name="T4" fmla="*/ 699 w 1269"/>
                <a:gd name="T5" fmla="*/ 102 h 416"/>
                <a:gd name="T6" fmla="*/ 768 w 1269"/>
                <a:gd name="T7" fmla="*/ 44 h 416"/>
                <a:gd name="T8" fmla="*/ 905 w 1269"/>
                <a:gd name="T9" fmla="*/ 14 h 416"/>
                <a:gd name="T10" fmla="*/ 978 w 1269"/>
                <a:gd name="T11" fmla="*/ 64 h 416"/>
                <a:gd name="T12" fmla="*/ 1046 w 1269"/>
                <a:gd name="T13" fmla="*/ 134 h 416"/>
                <a:gd name="T14" fmla="*/ 1163 w 1269"/>
                <a:gd name="T15" fmla="*/ 229 h 416"/>
                <a:gd name="T16" fmla="*/ 1198 w 1269"/>
                <a:gd name="T17" fmla="*/ 343 h 416"/>
                <a:gd name="T18" fmla="*/ 1185 w 1269"/>
                <a:gd name="T19" fmla="*/ 356 h 416"/>
                <a:gd name="T20" fmla="*/ 1095 w 1269"/>
                <a:gd name="T21" fmla="*/ 405 h 416"/>
                <a:gd name="T22" fmla="*/ 1082 w 1269"/>
                <a:gd name="T23" fmla="*/ 416 h 416"/>
                <a:gd name="T24" fmla="*/ 441 w 1269"/>
                <a:gd name="T25" fmla="*/ 380 h 416"/>
                <a:gd name="T26" fmla="*/ 90 w 1269"/>
                <a:gd name="T27" fmla="*/ 336 h 416"/>
                <a:gd name="T28" fmla="*/ 65 w 1269"/>
                <a:gd name="T29" fmla="*/ 245 h 416"/>
                <a:gd name="T30" fmla="*/ 71 w 1269"/>
                <a:gd name="T31" fmla="*/ 168 h 416"/>
                <a:gd name="T32" fmla="*/ 130 w 1269"/>
                <a:gd name="T33" fmla="*/ 100 h 416"/>
                <a:gd name="T34" fmla="*/ 541 w 1269"/>
                <a:gd name="T35" fmla="*/ 11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9" h="416">
                  <a:moveTo>
                    <a:pt x="541" y="110"/>
                  </a:moveTo>
                  <a:cubicBezTo>
                    <a:pt x="555" y="116"/>
                    <a:pt x="568" y="122"/>
                    <a:pt x="582" y="127"/>
                  </a:cubicBezTo>
                  <a:cubicBezTo>
                    <a:pt x="634" y="179"/>
                    <a:pt x="658" y="102"/>
                    <a:pt x="699" y="102"/>
                  </a:cubicBezTo>
                  <a:cubicBezTo>
                    <a:pt x="724" y="85"/>
                    <a:pt x="725" y="40"/>
                    <a:pt x="768" y="44"/>
                  </a:cubicBezTo>
                  <a:cubicBezTo>
                    <a:pt x="818" y="60"/>
                    <a:pt x="849" y="0"/>
                    <a:pt x="905" y="14"/>
                  </a:cubicBezTo>
                  <a:cubicBezTo>
                    <a:pt x="941" y="22"/>
                    <a:pt x="966" y="28"/>
                    <a:pt x="978" y="64"/>
                  </a:cubicBezTo>
                  <a:cubicBezTo>
                    <a:pt x="991" y="97"/>
                    <a:pt x="964" y="168"/>
                    <a:pt x="1046" y="134"/>
                  </a:cubicBezTo>
                  <a:cubicBezTo>
                    <a:pt x="1107" y="138"/>
                    <a:pt x="1145" y="172"/>
                    <a:pt x="1163" y="229"/>
                  </a:cubicBezTo>
                  <a:cubicBezTo>
                    <a:pt x="1161" y="271"/>
                    <a:pt x="1269" y="280"/>
                    <a:pt x="1198" y="343"/>
                  </a:cubicBezTo>
                  <a:cubicBezTo>
                    <a:pt x="1195" y="349"/>
                    <a:pt x="1191" y="353"/>
                    <a:pt x="1185" y="356"/>
                  </a:cubicBezTo>
                  <a:cubicBezTo>
                    <a:pt x="1158" y="378"/>
                    <a:pt x="1119" y="379"/>
                    <a:pt x="1095" y="405"/>
                  </a:cubicBezTo>
                  <a:cubicBezTo>
                    <a:pt x="1092" y="411"/>
                    <a:pt x="1088" y="415"/>
                    <a:pt x="1082" y="416"/>
                  </a:cubicBezTo>
                  <a:cubicBezTo>
                    <a:pt x="871" y="351"/>
                    <a:pt x="655" y="387"/>
                    <a:pt x="441" y="380"/>
                  </a:cubicBezTo>
                  <a:cubicBezTo>
                    <a:pt x="321" y="376"/>
                    <a:pt x="204" y="370"/>
                    <a:pt x="90" y="336"/>
                  </a:cubicBezTo>
                  <a:cubicBezTo>
                    <a:pt x="31" y="318"/>
                    <a:pt x="0" y="295"/>
                    <a:pt x="65" y="245"/>
                  </a:cubicBezTo>
                  <a:cubicBezTo>
                    <a:pt x="96" y="221"/>
                    <a:pt x="99" y="196"/>
                    <a:pt x="71" y="168"/>
                  </a:cubicBezTo>
                  <a:cubicBezTo>
                    <a:pt x="49" y="109"/>
                    <a:pt x="101" y="110"/>
                    <a:pt x="130" y="100"/>
                  </a:cubicBezTo>
                  <a:cubicBezTo>
                    <a:pt x="268" y="50"/>
                    <a:pt x="406" y="63"/>
                    <a:pt x="541" y="11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4" name="Freeform 27">
              <a:extLst>
                <a:ext uri="{FF2B5EF4-FFF2-40B4-BE49-F238E27FC236}">
                  <a16:creationId xmlns:a16="http://schemas.microsoft.com/office/drawing/2014/main" id="{10037E4D-0D54-4DC4-A8FF-475B5F82678C}"/>
                </a:ext>
              </a:extLst>
            </p:cNvPr>
            <p:cNvSpPr>
              <a:spLocks/>
            </p:cNvSpPr>
            <p:nvPr/>
          </p:nvSpPr>
          <p:spPr bwMode="auto">
            <a:xfrm>
              <a:off x="7012125" y="3060406"/>
              <a:ext cx="293061" cy="306629"/>
            </a:xfrm>
            <a:custGeom>
              <a:avLst/>
              <a:gdLst>
                <a:gd name="T0" fmla="*/ 639 w 698"/>
                <a:gd name="T1" fmla="*/ 67 h 730"/>
                <a:gd name="T2" fmla="*/ 666 w 698"/>
                <a:gd name="T3" fmla="*/ 220 h 730"/>
                <a:gd name="T4" fmla="*/ 656 w 698"/>
                <a:gd name="T5" fmla="*/ 302 h 730"/>
                <a:gd name="T6" fmla="*/ 489 w 698"/>
                <a:gd name="T7" fmla="*/ 671 h 730"/>
                <a:gd name="T8" fmla="*/ 427 w 698"/>
                <a:gd name="T9" fmla="*/ 709 h 730"/>
                <a:gd name="T10" fmla="*/ 64 w 698"/>
                <a:gd name="T11" fmla="*/ 662 h 730"/>
                <a:gd name="T12" fmla="*/ 65 w 698"/>
                <a:gd name="T13" fmla="*/ 663 h 730"/>
                <a:gd name="T14" fmla="*/ 11 w 698"/>
                <a:gd name="T15" fmla="*/ 613 h 730"/>
                <a:gd name="T16" fmla="*/ 34 w 698"/>
                <a:gd name="T17" fmla="*/ 410 h 730"/>
                <a:gd name="T18" fmla="*/ 86 w 698"/>
                <a:gd name="T19" fmla="*/ 307 h 730"/>
                <a:gd name="T20" fmla="*/ 153 w 698"/>
                <a:gd name="T21" fmla="*/ 181 h 730"/>
                <a:gd name="T22" fmla="*/ 251 w 698"/>
                <a:gd name="T23" fmla="*/ 159 h 730"/>
                <a:gd name="T24" fmla="*/ 347 w 698"/>
                <a:gd name="T25" fmla="*/ 58 h 730"/>
                <a:gd name="T26" fmla="*/ 483 w 698"/>
                <a:gd name="T27" fmla="*/ 57 h 730"/>
                <a:gd name="T28" fmla="*/ 596 w 698"/>
                <a:gd name="T29" fmla="*/ 0 h 730"/>
                <a:gd name="T30" fmla="*/ 640 w 698"/>
                <a:gd name="T31" fmla="*/ 68 h 730"/>
                <a:gd name="T32" fmla="*/ 639 w 698"/>
                <a:gd name="T33" fmla="*/ 67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8" h="730">
                  <a:moveTo>
                    <a:pt x="639" y="67"/>
                  </a:moveTo>
                  <a:cubicBezTo>
                    <a:pt x="632" y="120"/>
                    <a:pt x="591" y="176"/>
                    <a:pt x="666" y="220"/>
                  </a:cubicBezTo>
                  <a:cubicBezTo>
                    <a:pt x="698" y="240"/>
                    <a:pt x="671" y="278"/>
                    <a:pt x="656" y="302"/>
                  </a:cubicBezTo>
                  <a:cubicBezTo>
                    <a:pt x="584" y="418"/>
                    <a:pt x="521" y="537"/>
                    <a:pt x="489" y="671"/>
                  </a:cubicBezTo>
                  <a:cubicBezTo>
                    <a:pt x="483" y="697"/>
                    <a:pt x="477" y="730"/>
                    <a:pt x="427" y="709"/>
                  </a:cubicBezTo>
                  <a:cubicBezTo>
                    <a:pt x="312" y="660"/>
                    <a:pt x="187" y="666"/>
                    <a:pt x="64" y="662"/>
                  </a:cubicBezTo>
                  <a:cubicBezTo>
                    <a:pt x="64" y="662"/>
                    <a:pt x="65" y="663"/>
                    <a:pt x="65" y="663"/>
                  </a:cubicBezTo>
                  <a:cubicBezTo>
                    <a:pt x="46" y="648"/>
                    <a:pt x="9" y="651"/>
                    <a:pt x="11" y="613"/>
                  </a:cubicBezTo>
                  <a:cubicBezTo>
                    <a:pt x="0" y="543"/>
                    <a:pt x="36" y="479"/>
                    <a:pt x="34" y="410"/>
                  </a:cubicBezTo>
                  <a:cubicBezTo>
                    <a:pt x="45" y="372"/>
                    <a:pt x="93" y="353"/>
                    <a:pt x="86" y="307"/>
                  </a:cubicBezTo>
                  <a:cubicBezTo>
                    <a:pt x="111" y="266"/>
                    <a:pt x="107" y="210"/>
                    <a:pt x="153" y="181"/>
                  </a:cubicBezTo>
                  <a:cubicBezTo>
                    <a:pt x="181" y="155"/>
                    <a:pt x="227" y="206"/>
                    <a:pt x="251" y="159"/>
                  </a:cubicBezTo>
                  <a:cubicBezTo>
                    <a:pt x="291" y="134"/>
                    <a:pt x="288" y="66"/>
                    <a:pt x="347" y="58"/>
                  </a:cubicBezTo>
                  <a:cubicBezTo>
                    <a:pt x="392" y="57"/>
                    <a:pt x="437" y="58"/>
                    <a:pt x="483" y="57"/>
                  </a:cubicBezTo>
                  <a:cubicBezTo>
                    <a:pt x="532" y="61"/>
                    <a:pt x="551" y="4"/>
                    <a:pt x="596" y="0"/>
                  </a:cubicBezTo>
                  <a:cubicBezTo>
                    <a:pt x="614" y="20"/>
                    <a:pt x="607" y="57"/>
                    <a:pt x="640" y="68"/>
                  </a:cubicBezTo>
                  <a:lnTo>
                    <a:pt x="639" y="67"/>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5" name="Freeform 28">
              <a:extLst>
                <a:ext uri="{FF2B5EF4-FFF2-40B4-BE49-F238E27FC236}">
                  <a16:creationId xmlns:a16="http://schemas.microsoft.com/office/drawing/2014/main" id="{A3BB7D50-897E-4918-8A4D-DC7D432C336B}"/>
                </a:ext>
              </a:extLst>
            </p:cNvPr>
            <p:cNvSpPr>
              <a:spLocks/>
            </p:cNvSpPr>
            <p:nvPr/>
          </p:nvSpPr>
          <p:spPr bwMode="auto">
            <a:xfrm>
              <a:off x="6719064" y="3318192"/>
              <a:ext cx="192660" cy="238790"/>
            </a:xfrm>
            <a:custGeom>
              <a:avLst/>
              <a:gdLst>
                <a:gd name="T0" fmla="*/ 67 w 455"/>
                <a:gd name="T1" fmla="*/ 462 h 571"/>
                <a:gd name="T2" fmla="*/ 11 w 455"/>
                <a:gd name="T3" fmla="*/ 291 h 571"/>
                <a:gd name="T4" fmla="*/ 89 w 455"/>
                <a:gd name="T5" fmla="*/ 146 h 571"/>
                <a:gd name="T6" fmla="*/ 333 w 455"/>
                <a:gd name="T7" fmla="*/ 12 h 571"/>
                <a:gd name="T8" fmla="*/ 403 w 455"/>
                <a:gd name="T9" fmla="*/ 29 h 571"/>
                <a:gd name="T10" fmla="*/ 445 w 455"/>
                <a:gd name="T11" fmla="*/ 141 h 571"/>
                <a:gd name="T12" fmla="*/ 419 w 455"/>
                <a:gd name="T13" fmla="*/ 238 h 571"/>
                <a:gd name="T14" fmla="*/ 294 w 455"/>
                <a:gd name="T15" fmla="*/ 272 h 571"/>
                <a:gd name="T16" fmla="*/ 273 w 455"/>
                <a:gd name="T17" fmla="*/ 284 h 571"/>
                <a:gd name="T18" fmla="*/ 223 w 455"/>
                <a:gd name="T19" fmla="*/ 492 h 571"/>
                <a:gd name="T20" fmla="*/ 187 w 455"/>
                <a:gd name="T21" fmla="*/ 562 h 571"/>
                <a:gd name="T22" fmla="*/ 139 w 455"/>
                <a:gd name="T23" fmla="*/ 511 h 571"/>
                <a:gd name="T24" fmla="*/ 85 w 455"/>
                <a:gd name="T25" fmla="*/ 460 h 571"/>
                <a:gd name="T26" fmla="*/ 67 w 455"/>
                <a:gd name="T27" fmla="*/ 462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5" h="571">
                  <a:moveTo>
                    <a:pt x="67" y="462"/>
                  </a:moveTo>
                  <a:cubicBezTo>
                    <a:pt x="48" y="405"/>
                    <a:pt x="22" y="349"/>
                    <a:pt x="11" y="291"/>
                  </a:cubicBezTo>
                  <a:cubicBezTo>
                    <a:pt x="0" y="227"/>
                    <a:pt x="24" y="162"/>
                    <a:pt x="89" y="146"/>
                  </a:cubicBezTo>
                  <a:cubicBezTo>
                    <a:pt x="185" y="124"/>
                    <a:pt x="270" y="90"/>
                    <a:pt x="333" y="12"/>
                  </a:cubicBezTo>
                  <a:cubicBezTo>
                    <a:pt x="361" y="0"/>
                    <a:pt x="382" y="15"/>
                    <a:pt x="403" y="29"/>
                  </a:cubicBezTo>
                  <a:cubicBezTo>
                    <a:pt x="436" y="59"/>
                    <a:pt x="432" y="103"/>
                    <a:pt x="445" y="141"/>
                  </a:cubicBezTo>
                  <a:cubicBezTo>
                    <a:pt x="445" y="176"/>
                    <a:pt x="455" y="213"/>
                    <a:pt x="419" y="238"/>
                  </a:cubicBezTo>
                  <a:cubicBezTo>
                    <a:pt x="378" y="253"/>
                    <a:pt x="347" y="301"/>
                    <a:pt x="294" y="272"/>
                  </a:cubicBezTo>
                  <a:cubicBezTo>
                    <a:pt x="284" y="267"/>
                    <a:pt x="269" y="272"/>
                    <a:pt x="273" y="284"/>
                  </a:cubicBezTo>
                  <a:cubicBezTo>
                    <a:pt x="301" y="365"/>
                    <a:pt x="198" y="414"/>
                    <a:pt x="223" y="492"/>
                  </a:cubicBezTo>
                  <a:cubicBezTo>
                    <a:pt x="234" y="529"/>
                    <a:pt x="224" y="554"/>
                    <a:pt x="187" y="562"/>
                  </a:cubicBezTo>
                  <a:cubicBezTo>
                    <a:pt x="146" y="571"/>
                    <a:pt x="152" y="532"/>
                    <a:pt x="139" y="511"/>
                  </a:cubicBezTo>
                  <a:cubicBezTo>
                    <a:pt x="126" y="490"/>
                    <a:pt x="136" y="441"/>
                    <a:pt x="85" y="460"/>
                  </a:cubicBezTo>
                  <a:cubicBezTo>
                    <a:pt x="80" y="472"/>
                    <a:pt x="74" y="473"/>
                    <a:pt x="67" y="46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6" name="Freeform 29">
              <a:extLst>
                <a:ext uri="{FF2B5EF4-FFF2-40B4-BE49-F238E27FC236}">
                  <a16:creationId xmlns:a16="http://schemas.microsoft.com/office/drawing/2014/main" id="{C130CBAE-AB85-4903-B751-F10D59FE6656}"/>
                </a:ext>
              </a:extLst>
            </p:cNvPr>
            <p:cNvSpPr>
              <a:spLocks/>
            </p:cNvSpPr>
            <p:nvPr/>
          </p:nvSpPr>
          <p:spPr bwMode="auto">
            <a:xfrm>
              <a:off x="6154650" y="2675085"/>
              <a:ext cx="154671" cy="176379"/>
            </a:xfrm>
            <a:custGeom>
              <a:avLst/>
              <a:gdLst>
                <a:gd name="T0" fmla="*/ 23 w 369"/>
                <a:gd name="T1" fmla="*/ 375 h 423"/>
                <a:gd name="T2" fmla="*/ 89 w 369"/>
                <a:gd name="T3" fmla="*/ 93 h 423"/>
                <a:gd name="T4" fmla="*/ 283 w 369"/>
                <a:gd name="T5" fmla="*/ 16 h 423"/>
                <a:gd name="T6" fmla="*/ 319 w 369"/>
                <a:gd name="T7" fmla="*/ 181 h 423"/>
                <a:gd name="T8" fmla="*/ 319 w 369"/>
                <a:gd name="T9" fmla="*/ 286 h 423"/>
                <a:gd name="T10" fmla="*/ 257 w 369"/>
                <a:gd name="T11" fmla="*/ 371 h 423"/>
                <a:gd name="T12" fmla="*/ 168 w 369"/>
                <a:gd name="T13" fmla="*/ 401 h 423"/>
                <a:gd name="T14" fmla="*/ 23 w 369"/>
                <a:gd name="T15" fmla="*/ 375 h 4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 h="423">
                  <a:moveTo>
                    <a:pt x="23" y="375"/>
                  </a:moveTo>
                  <a:cubicBezTo>
                    <a:pt x="0" y="271"/>
                    <a:pt x="39" y="176"/>
                    <a:pt x="89" y="93"/>
                  </a:cubicBezTo>
                  <a:cubicBezTo>
                    <a:pt x="127" y="30"/>
                    <a:pt x="216" y="0"/>
                    <a:pt x="283" y="16"/>
                  </a:cubicBezTo>
                  <a:cubicBezTo>
                    <a:pt x="366" y="36"/>
                    <a:pt x="336" y="124"/>
                    <a:pt x="319" y="181"/>
                  </a:cubicBezTo>
                  <a:cubicBezTo>
                    <a:pt x="307" y="220"/>
                    <a:pt x="299" y="254"/>
                    <a:pt x="319" y="286"/>
                  </a:cubicBezTo>
                  <a:cubicBezTo>
                    <a:pt x="369" y="369"/>
                    <a:pt x="308" y="378"/>
                    <a:pt x="257" y="371"/>
                  </a:cubicBezTo>
                  <a:cubicBezTo>
                    <a:pt x="216" y="366"/>
                    <a:pt x="192" y="376"/>
                    <a:pt x="168" y="401"/>
                  </a:cubicBezTo>
                  <a:cubicBezTo>
                    <a:pt x="115" y="419"/>
                    <a:pt x="64" y="423"/>
                    <a:pt x="23" y="37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7" name="Freeform 30">
              <a:extLst>
                <a:ext uri="{FF2B5EF4-FFF2-40B4-BE49-F238E27FC236}">
                  <a16:creationId xmlns:a16="http://schemas.microsoft.com/office/drawing/2014/main" id="{61CB942B-24C8-4D71-8CE3-11ECE5ADB8FE}"/>
                </a:ext>
              </a:extLst>
            </p:cNvPr>
            <p:cNvSpPr>
              <a:spLocks/>
            </p:cNvSpPr>
            <p:nvPr/>
          </p:nvSpPr>
          <p:spPr bwMode="auto">
            <a:xfrm>
              <a:off x="3576799" y="4799778"/>
              <a:ext cx="132963" cy="154671"/>
            </a:xfrm>
            <a:custGeom>
              <a:avLst/>
              <a:gdLst>
                <a:gd name="T0" fmla="*/ 79 w 318"/>
                <a:gd name="T1" fmla="*/ 0 h 369"/>
                <a:gd name="T2" fmla="*/ 99 w 318"/>
                <a:gd name="T3" fmla="*/ 0 h 369"/>
                <a:gd name="T4" fmla="*/ 188 w 318"/>
                <a:gd name="T5" fmla="*/ 73 h 369"/>
                <a:gd name="T6" fmla="*/ 263 w 318"/>
                <a:gd name="T7" fmla="*/ 103 h 369"/>
                <a:gd name="T8" fmla="*/ 263 w 318"/>
                <a:gd name="T9" fmla="*/ 103 h 369"/>
                <a:gd name="T10" fmla="*/ 294 w 318"/>
                <a:gd name="T11" fmla="*/ 228 h 369"/>
                <a:gd name="T12" fmla="*/ 221 w 318"/>
                <a:gd name="T13" fmla="*/ 369 h 369"/>
                <a:gd name="T14" fmla="*/ 147 w 318"/>
                <a:gd name="T15" fmla="*/ 295 h 369"/>
                <a:gd name="T16" fmla="*/ 49 w 318"/>
                <a:gd name="T17" fmla="*/ 80 h 369"/>
                <a:gd name="T18" fmla="*/ 79 w 318"/>
                <a:gd name="T19"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369">
                  <a:moveTo>
                    <a:pt x="79" y="0"/>
                  </a:moveTo>
                  <a:cubicBezTo>
                    <a:pt x="85" y="0"/>
                    <a:pt x="92" y="0"/>
                    <a:pt x="99" y="0"/>
                  </a:cubicBezTo>
                  <a:cubicBezTo>
                    <a:pt x="139" y="11"/>
                    <a:pt x="139" y="72"/>
                    <a:pt x="188" y="73"/>
                  </a:cubicBezTo>
                  <a:cubicBezTo>
                    <a:pt x="213" y="83"/>
                    <a:pt x="243" y="79"/>
                    <a:pt x="263" y="103"/>
                  </a:cubicBezTo>
                  <a:cubicBezTo>
                    <a:pt x="263" y="103"/>
                    <a:pt x="263" y="103"/>
                    <a:pt x="263" y="103"/>
                  </a:cubicBezTo>
                  <a:cubicBezTo>
                    <a:pt x="318" y="133"/>
                    <a:pt x="277" y="188"/>
                    <a:pt x="294" y="228"/>
                  </a:cubicBezTo>
                  <a:cubicBezTo>
                    <a:pt x="283" y="282"/>
                    <a:pt x="306" y="353"/>
                    <a:pt x="221" y="369"/>
                  </a:cubicBezTo>
                  <a:cubicBezTo>
                    <a:pt x="172" y="369"/>
                    <a:pt x="157" y="326"/>
                    <a:pt x="147" y="295"/>
                  </a:cubicBezTo>
                  <a:cubicBezTo>
                    <a:pt x="123" y="219"/>
                    <a:pt x="130" y="135"/>
                    <a:pt x="49" y="80"/>
                  </a:cubicBezTo>
                  <a:cubicBezTo>
                    <a:pt x="0" y="47"/>
                    <a:pt x="53" y="22"/>
                    <a:pt x="79"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8" name="Freeform 31">
              <a:extLst>
                <a:ext uri="{FF2B5EF4-FFF2-40B4-BE49-F238E27FC236}">
                  <a16:creationId xmlns:a16="http://schemas.microsoft.com/office/drawing/2014/main" id="{235A29DE-B34A-4762-A982-BF9B49AD6808}"/>
                </a:ext>
              </a:extLst>
            </p:cNvPr>
            <p:cNvSpPr>
              <a:spLocks/>
            </p:cNvSpPr>
            <p:nvPr/>
          </p:nvSpPr>
          <p:spPr bwMode="auto">
            <a:xfrm>
              <a:off x="5921286" y="3679091"/>
              <a:ext cx="198088" cy="149244"/>
            </a:xfrm>
            <a:custGeom>
              <a:avLst/>
              <a:gdLst>
                <a:gd name="T0" fmla="*/ 149 w 477"/>
                <a:gd name="T1" fmla="*/ 32 h 362"/>
                <a:gd name="T2" fmla="*/ 183 w 477"/>
                <a:gd name="T3" fmla="*/ 85 h 362"/>
                <a:gd name="T4" fmla="*/ 262 w 477"/>
                <a:gd name="T5" fmla="*/ 235 h 362"/>
                <a:gd name="T6" fmla="*/ 477 w 477"/>
                <a:gd name="T7" fmla="*/ 343 h 362"/>
                <a:gd name="T8" fmla="*/ 431 w 477"/>
                <a:gd name="T9" fmla="*/ 362 h 362"/>
                <a:gd name="T10" fmla="*/ 245 w 477"/>
                <a:gd name="T11" fmla="*/ 266 h 362"/>
                <a:gd name="T12" fmla="*/ 87 w 477"/>
                <a:gd name="T13" fmla="*/ 112 h 362"/>
                <a:gd name="T14" fmla="*/ 30 w 477"/>
                <a:gd name="T15" fmla="*/ 76 h 362"/>
                <a:gd name="T16" fmla="*/ 0 w 477"/>
                <a:gd name="T17" fmla="*/ 60 h 362"/>
                <a:gd name="T18" fmla="*/ 149 w 477"/>
                <a:gd name="T19" fmla="*/ 3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362">
                  <a:moveTo>
                    <a:pt x="149" y="32"/>
                  </a:moveTo>
                  <a:cubicBezTo>
                    <a:pt x="173" y="42"/>
                    <a:pt x="194" y="62"/>
                    <a:pt x="183" y="85"/>
                  </a:cubicBezTo>
                  <a:cubicBezTo>
                    <a:pt x="143" y="172"/>
                    <a:pt x="279" y="163"/>
                    <a:pt x="262" y="235"/>
                  </a:cubicBezTo>
                  <a:cubicBezTo>
                    <a:pt x="368" y="203"/>
                    <a:pt x="398" y="323"/>
                    <a:pt x="477" y="343"/>
                  </a:cubicBezTo>
                  <a:cubicBezTo>
                    <a:pt x="466" y="360"/>
                    <a:pt x="449" y="361"/>
                    <a:pt x="431" y="362"/>
                  </a:cubicBezTo>
                  <a:cubicBezTo>
                    <a:pt x="371" y="328"/>
                    <a:pt x="324" y="281"/>
                    <a:pt x="245" y="266"/>
                  </a:cubicBezTo>
                  <a:cubicBezTo>
                    <a:pt x="204" y="258"/>
                    <a:pt x="137" y="169"/>
                    <a:pt x="87" y="112"/>
                  </a:cubicBezTo>
                  <a:cubicBezTo>
                    <a:pt x="71" y="94"/>
                    <a:pt x="57" y="76"/>
                    <a:pt x="30" y="76"/>
                  </a:cubicBezTo>
                  <a:cubicBezTo>
                    <a:pt x="12" y="86"/>
                    <a:pt x="5" y="76"/>
                    <a:pt x="0" y="60"/>
                  </a:cubicBezTo>
                  <a:cubicBezTo>
                    <a:pt x="40" y="0"/>
                    <a:pt x="103" y="60"/>
                    <a:pt x="149" y="3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9" name="Freeform 33">
              <a:extLst>
                <a:ext uri="{FF2B5EF4-FFF2-40B4-BE49-F238E27FC236}">
                  <a16:creationId xmlns:a16="http://schemas.microsoft.com/office/drawing/2014/main" id="{044C2AD1-60D2-466B-838B-08184DECAC0A}"/>
                </a:ext>
              </a:extLst>
            </p:cNvPr>
            <p:cNvSpPr>
              <a:spLocks/>
            </p:cNvSpPr>
            <p:nvPr/>
          </p:nvSpPr>
          <p:spPr bwMode="auto">
            <a:xfrm>
              <a:off x="4626934" y="2444436"/>
              <a:ext cx="238790" cy="124822"/>
            </a:xfrm>
            <a:custGeom>
              <a:avLst/>
              <a:gdLst>
                <a:gd name="T0" fmla="*/ 59 w 571"/>
                <a:gd name="T1" fmla="*/ 22 h 296"/>
                <a:gd name="T2" fmla="*/ 442 w 571"/>
                <a:gd name="T3" fmla="*/ 196 h 296"/>
                <a:gd name="T4" fmla="*/ 547 w 571"/>
                <a:gd name="T5" fmla="*/ 265 h 296"/>
                <a:gd name="T6" fmla="*/ 571 w 571"/>
                <a:gd name="T7" fmla="*/ 266 h 296"/>
                <a:gd name="T8" fmla="*/ 529 w 571"/>
                <a:gd name="T9" fmla="*/ 287 h 296"/>
                <a:gd name="T10" fmla="*/ 174 w 571"/>
                <a:gd name="T11" fmla="*/ 129 h 296"/>
                <a:gd name="T12" fmla="*/ 44 w 571"/>
                <a:gd name="T13" fmla="*/ 60 h 296"/>
                <a:gd name="T14" fmla="*/ 58 w 571"/>
                <a:gd name="T15" fmla="*/ 0 h 296"/>
                <a:gd name="T16" fmla="*/ 64 w 571"/>
                <a:gd name="T17" fmla="*/ 14 h 296"/>
                <a:gd name="T18" fmla="*/ 59 w 571"/>
                <a:gd name="T19" fmla="*/ 2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1" h="296">
                  <a:moveTo>
                    <a:pt x="59" y="22"/>
                  </a:moveTo>
                  <a:cubicBezTo>
                    <a:pt x="189" y="72"/>
                    <a:pt x="277" y="213"/>
                    <a:pt x="442" y="196"/>
                  </a:cubicBezTo>
                  <a:cubicBezTo>
                    <a:pt x="474" y="192"/>
                    <a:pt x="512" y="240"/>
                    <a:pt x="547" y="265"/>
                  </a:cubicBezTo>
                  <a:cubicBezTo>
                    <a:pt x="555" y="265"/>
                    <a:pt x="563" y="266"/>
                    <a:pt x="571" y="266"/>
                  </a:cubicBezTo>
                  <a:cubicBezTo>
                    <a:pt x="561" y="282"/>
                    <a:pt x="542" y="296"/>
                    <a:pt x="529" y="287"/>
                  </a:cubicBezTo>
                  <a:cubicBezTo>
                    <a:pt x="418" y="217"/>
                    <a:pt x="267" y="237"/>
                    <a:pt x="174" y="129"/>
                  </a:cubicBezTo>
                  <a:cubicBezTo>
                    <a:pt x="139" y="89"/>
                    <a:pt x="74" y="112"/>
                    <a:pt x="44" y="60"/>
                  </a:cubicBezTo>
                  <a:cubicBezTo>
                    <a:pt x="27" y="30"/>
                    <a:pt x="0" y="8"/>
                    <a:pt x="58" y="0"/>
                  </a:cubicBezTo>
                  <a:cubicBezTo>
                    <a:pt x="64" y="4"/>
                    <a:pt x="66" y="9"/>
                    <a:pt x="64" y="14"/>
                  </a:cubicBezTo>
                  <a:cubicBezTo>
                    <a:pt x="63" y="20"/>
                    <a:pt x="61" y="22"/>
                    <a:pt x="59" y="2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0" name="Freeform 36">
              <a:extLst>
                <a:ext uri="{FF2B5EF4-FFF2-40B4-BE49-F238E27FC236}">
                  <a16:creationId xmlns:a16="http://schemas.microsoft.com/office/drawing/2014/main" id="{CB8EE2D2-61DD-4540-B97B-4EDC1BFB1F89}"/>
                </a:ext>
              </a:extLst>
            </p:cNvPr>
            <p:cNvSpPr>
              <a:spLocks/>
            </p:cNvSpPr>
            <p:nvPr/>
          </p:nvSpPr>
          <p:spPr bwMode="auto">
            <a:xfrm>
              <a:off x="6472133" y="3027844"/>
              <a:ext cx="214369" cy="70552"/>
            </a:xfrm>
            <a:custGeom>
              <a:avLst/>
              <a:gdLst>
                <a:gd name="T0" fmla="*/ 514 w 514"/>
                <a:gd name="T1" fmla="*/ 84 h 170"/>
                <a:gd name="T2" fmla="*/ 129 w 514"/>
                <a:gd name="T3" fmla="*/ 84 h 170"/>
                <a:gd name="T4" fmla="*/ 44 w 514"/>
                <a:gd name="T5" fmla="*/ 142 h 170"/>
                <a:gd name="T6" fmla="*/ 41 w 514"/>
                <a:gd name="T7" fmla="*/ 170 h 170"/>
                <a:gd name="T8" fmla="*/ 49 w 514"/>
                <a:gd name="T9" fmla="*/ 74 h 170"/>
                <a:gd name="T10" fmla="*/ 293 w 514"/>
                <a:gd name="T11" fmla="*/ 33 h 170"/>
                <a:gd name="T12" fmla="*/ 514 w 514"/>
                <a:gd name="T13" fmla="*/ 84 h 170"/>
              </a:gdLst>
              <a:ahLst/>
              <a:cxnLst>
                <a:cxn ang="0">
                  <a:pos x="T0" y="T1"/>
                </a:cxn>
                <a:cxn ang="0">
                  <a:pos x="T2" y="T3"/>
                </a:cxn>
                <a:cxn ang="0">
                  <a:pos x="T4" y="T5"/>
                </a:cxn>
                <a:cxn ang="0">
                  <a:pos x="T6" y="T7"/>
                </a:cxn>
                <a:cxn ang="0">
                  <a:pos x="T8" y="T9"/>
                </a:cxn>
                <a:cxn ang="0">
                  <a:pos x="T10" y="T11"/>
                </a:cxn>
                <a:cxn ang="0">
                  <a:pos x="T12" y="T13"/>
                </a:cxn>
              </a:cxnLst>
              <a:rect l="0" t="0" r="r" b="b"/>
              <a:pathLst>
                <a:path w="514" h="170">
                  <a:moveTo>
                    <a:pt x="514" y="84"/>
                  </a:moveTo>
                  <a:cubicBezTo>
                    <a:pt x="386" y="75"/>
                    <a:pt x="258" y="35"/>
                    <a:pt x="129" y="84"/>
                  </a:cubicBezTo>
                  <a:cubicBezTo>
                    <a:pt x="94" y="97"/>
                    <a:pt x="55" y="96"/>
                    <a:pt x="44" y="142"/>
                  </a:cubicBezTo>
                  <a:cubicBezTo>
                    <a:pt x="43" y="151"/>
                    <a:pt x="42" y="160"/>
                    <a:pt x="41" y="170"/>
                  </a:cubicBezTo>
                  <a:cubicBezTo>
                    <a:pt x="2" y="134"/>
                    <a:pt x="0" y="91"/>
                    <a:pt x="49" y="74"/>
                  </a:cubicBezTo>
                  <a:cubicBezTo>
                    <a:pt x="127" y="47"/>
                    <a:pt x="203" y="2"/>
                    <a:pt x="293" y="33"/>
                  </a:cubicBezTo>
                  <a:cubicBezTo>
                    <a:pt x="364" y="57"/>
                    <a:pt x="456" y="0"/>
                    <a:pt x="514" y="8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Freeform 37">
              <a:extLst>
                <a:ext uri="{FF2B5EF4-FFF2-40B4-BE49-F238E27FC236}">
                  <a16:creationId xmlns:a16="http://schemas.microsoft.com/office/drawing/2014/main" id="{A187B576-E94A-4F9B-A1C5-A749B3D5DB0A}"/>
                </a:ext>
              </a:extLst>
            </p:cNvPr>
            <p:cNvSpPr>
              <a:spLocks/>
            </p:cNvSpPr>
            <p:nvPr/>
          </p:nvSpPr>
          <p:spPr bwMode="auto">
            <a:xfrm>
              <a:off x="3848151" y="2246348"/>
              <a:ext cx="132963" cy="97687"/>
            </a:xfrm>
            <a:custGeom>
              <a:avLst/>
              <a:gdLst>
                <a:gd name="T0" fmla="*/ 23 w 318"/>
                <a:gd name="T1" fmla="*/ 0 h 230"/>
                <a:gd name="T2" fmla="*/ 123 w 318"/>
                <a:gd name="T3" fmla="*/ 62 h 230"/>
                <a:gd name="T4" fmla="*/ 287 w 318"/>
                <a:gd name="T5" fmla="*/ 100 h 230"/>
                <a:gd name="T6" fmla="*/ 318 w 318"/>
                <a:gd name="T7" fmla="*/ 114 h 230"/>
                <a:gd name="T8" fmla="*/ 269 w 318"/>
                <a:gd name="T9" fmla="*/ 210 h 230"/>
                <a:gd name="T10" fmla="*/ 233 w 318"/>
                <a:gd name="T11" fmla="*/ 225 h 230"/>
                <a:gd name="T12" fmla="*/ 87 w 318"/>
                <a:gd name="T13" fmla="*/ 86 h 230"/>
                <a:gd name="T14" fmla="*/ 2 w 318"/>
                <a:gd name="T15" fmla="*/ 25 h 230"/>
                <a:gd name="T16" fmla="*/ 23 w 318"/>
                <a:gd name="T1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8" h="230">
                  <a:moveTo>
                    <a:pt x="23" y="0"/>
                  </a:moveTo>
                  <a:cubicBezTo>
                    <a:pt x="33" y="59"/>
                    <a:pt x="82" y="53"/>
                    <a:pt x="123" y="62"/>
                  </a:cubicBezTo>
                  <a:cubicBezTo>
                    <a:pt x="178" y="74"/>
                    <a:pt x="232" y="87"/>
                    <a:pt x="287" y="100"/>
                  </a:cubicBezTo>
                  <a:cubicBezTo>
                    <a:pt x="304" y="91"/>
                    <a:pt x="312" y="99"/>
                    <a:pt x="318" y="114"/>
                  </a:cubicBezTo>
                  <a:cubicBezTo>
                    <a:pt x="307" y="149"/>
                    <a:pt x="285" y="178"/>
                    <a:pt x="269" y="210"/>
                  </a:cubicBezTo>
                  <a:cubicBezTo>
                    <a:pt x="259" y="221"/>
                    <a:pt x="249" y="230"/>
                    <a:pt x="233" y="225"/>
                  </a:cubicBezTo>
                  <a:cubicBezTo>
                    <a:pt x="243" y="117"/>
                    <a:pt x="168" y="98"/>
                    <a:pt x="87" y="86"/>
                  </a:cubicBezTo>
                  <a:cubicBezTo>
                    <a:pt x="47" y="81"/>
                    <a:pt x="0" y="87"/>
                    <a:pt x="2" y="25"/>
                  </a:cubicBezTo>
                  <a:cubicBezTo>
                    <a:pt x="9" y="17"/>
                    <a:pt x="16" y="9"/>
                    <a:pt x="23"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3" name="Freeform 39">
              <a:extLst>
                <a:ext uri="{FF2B5EF4-FFF2-40B4-BE49-F238E27FC236}">
                  <a16:creationId xmlns:a16="http://schemas.microsoft.com/office/drawing/2014/main" id="{8EF20B49-CE33-46E0-A79D-34750483E26A}"/>
                </a:ext>
              </a:extLst>
            </p:cNvPr>
            <p:cNvSpPr>
              <a:spLocks/>
            </p:cNvSpPr>
            <p:nvPr/>
          </p:nvSpPr>
          <p:spPr bwMode="auto">
            <a:xfrm>
              <a:off x="3807448" y="5369619"/>
              <a:ext cx="73265" cy="84119"/>
            </a:xfrm>
            <a:custGeom>
              <a:avLst/>
              <a:gdLst>
                <a:gd name="T0" fmla="*/ 170 w 175"/>
                <a:gd name="T1" fmla="*/ 206 h 206"/>
                <a:gd name="T2" fmla="*/ 0 w 175"/>
                <a:gd name="T3" fmla="*/ 23 h 206"/>
                <a:gd name="T4" fmla="*/ 0 w 175"/>
                <a:gd name="T5" fmla="*/ 0 h 206"/>
                <a:gd name="T6" fmla="*/ 136 w 175"/>
                <a:gd name="T7" fmla="*/ 96 h 206"/>
                <a:gd name="T8" fmla="*/ 170 w 175"/>
                <a:gd name="T9" fmla="*/ 206 h 206"/>
              </a:gdLst>
              <a:ahLst/>
              <a:cxnLst>
                <a:cxn ang="0">
                  <a:pos x="T0" y="T1"/>
                </a:cxn>
                <a:cxn ang="0">
                  <a:pos x="T2" y="T3"/>
                </a:cxn>
                <a:cxn ang="0">
                  <a:pos x="T4" y="T5"/>
                </a:cxn>
                <a:cxn ang="0">
                  <a:pos x="T6" y="T7"/>
                </a:cxn>
                <a:cxn ang="0">
                  <a:pos x="T8" y="T9"/>
                </a:cxn>
              </a:cxnLst>
              <a:rect l="0" t="0" r="r" b="b"/>
              <a:pathLst>
                <a:path w="175" h="206">
                  <a:moveTo>
                    <a:pt x="170" y="206"/>
                  </a:moveTo>
                  <a:cubicBezTo>
                    <a:pt x="135" y="124"/>
                    <a:pt x="55" y="85"/>
                    <a:pt x="0" y="23"/>
                  </a:cubicBezTo>
                  <a:cubicBezTo>
                    <a:pt x="0" y="16"/>
                    <a:pt x="0" y="8"/>
                    <a:pt x="0" y="0"/>
                  </a:cubicBezTo>
                  <a:cubicBezTo>
                    <a:pt x="40" y="40"/>
                    <a:pt x="94" y="56"/>
                    <a:pt x="136" y="96"/>
                  </a:cubicBezTo>
                  <a:cubicBezTo>
                    <a:pt x="175" y="133"/>
                    <a:pt x="172" y="165"/>
                    <a:pt x="170" y="20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4" name="Freeform 40">
              <a:extLst>
                <a:ext uri="{FF2B5EF4-FFF2-40B4-BE49-F238E27FC236}">
                  <a16:creationId xmlns:a16="http://schemas.microsoft.com/office/drawing/2014/main" id="{07835B77-0180-455E-B7BA-10A4B2A2A394}"/>
                </a:ext>
              </a:extLst>
            </p:cNvPr>
            <p:cNvSpPr>
              <a:spLocks/>
            </p:cNvSpPr>
            <p:nvPr/>
          </p:nvSpPr>
          <p:spPr bwMode="auto">
            <a:xfrm>
              <a:off x="6428716" y="2927444"/>
              <a:ext cx="51557" cy="103114"/>
            </a:xfrm>
            <a:custGeom>
              <a:avLst/>
              <a:gdLst>
                <a:gd name="T0" fmla="*/ 0 w 121"/>
                <a:gd name="T1" fmla="*/ 204 h 247"/>
                <a:gd name="T2" fmla="*/ 82 w 121"/>
                <a:gd name="T3" fmla="*/ 0 h 247"/>
                <a:gd name="T4" fmla="*/ 102 w 121"/>
                <a:gd name="T5" fmla="*/ 0 h 247"/>
                <a:gd name="T6" fmla="*/ 53 w 121"/>
                <a:gd name="T7" fmla="*/ 165 h 247"/>
                <a:gd name="T8" fmla="*/ 19 w 121"/>
                <a:gd name="T9" fmla="*/ 247 h 247"/>
                <a:gd name="T10" fmla="*/ 0 w 121"/>
                <a:gd name="T11" fmla="*/ 204 h 247"/>
              </a:gdLst>
              <a:ahLst/>
              <a:cxnLst>
                <a:cxn ang="0">
                  <a:pos x="T0" y="T1"/>
                </a:cxn>
                <a:cxn ang="0">
                  <a:pos x="T2" y="T3"/>
                </a:cxn>
                <a:cxn ang="0">
                  <a:pos x="T4" y="T5"/>
                </a:cxn>
                <a:cxn ang="0">
                  <a:pos x="T6" y="T7"/>
                </a:cxn>
                <a:cxn ang="0">
                  <a:pos x="T8" y="T9"/>
                </a:cxn>
                <a:cxn ang="0">
                  <a:pos x="T10" y="T11"/>
                </a:cxn>
              </a:cxnLst>
              <a:rect l="0" t="0" r="r" b="b"/>
              <a:pathLst>
                <a:path w="121" h="247">
                  <a:moveTo>
                    <a:pt x="0" y="204"/>
                  </a:moveTo>
                  <a:cubicBezTo>
                    <a:pt x="31" y="137"/>
                    <a:pt x="94" y="84"/>
                    <a:pt x="82" y="0"/>
                  </a:cubicBezTo>
                  <a:cubicBezTo>
                    <a:pt x="89" y="0"/>
                    <a:pt x="95" y="0"/>
                    <a:pt x="102" y="0"/>
                  </a:cubicBezTo>
                  <a:cubicBezTo>
                    <a:pt x="121" y="65"/>
                    <a:pt x="119" y="123"/>
                    <a:pt x="53" y="165"/>
                  </a:cubicBezTo>
                  <a:cubicBezTo>
                    <a:pt x="25" y="183"/>
                    <a:pt x="20" y="215"/>
                    <a:pt x="19" y="247"/>
                  </a:cubicBezTo>
                  <a:cubicBezTo>
                    <a:pt x="13" y="232"/>
                    <a:pt x="7" y="218"/>
                    <a:pt x="0" y="20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5" name="Freeform 41">
              <a:extLst>
                <a:ext uri="{FF2B5EF4-FFF2-40B4-BE49-F238E27FC236}">
                  <a16:creationId xmlns:a16="http://schemas.microsoft.com/office/drawing/2014/main" id="{0FD43746-8992-429D-9CCA-1B6E2027675B}"/>
                </a:ext>
              </a:extLst>
            </p:cNvPr>
            <p:cNvSpPr>
              <a:spLocks/>
            </p:cNvSpPr>
            <p:nvPr/>
          </p:nvSpPr>
          <p:spPr bwMode="auto">
            <a:xfrm>
              <a:off x="5468127" y="2805335"/>
              <a:ext cx="54271" cy="103114"/>
            </a:xfrm>
            <a:custGeom>
              <a:avLst/>
              <a:gdLst>
                <a:gd name="T0" fmla="*/ 22 w 132"/>
                <a:gd name="T1" fmla="*/ 0 h 244"/>
                <a:gd name="T2" fmla="*/ 124 w 132"/>
                <a:gd name="T3" fmla="*/ 224 h 244"/>
                <a:gd name="T4" fmla="*/ 130 w 132"/>
                <a:gd name="T5" fmla="*/ 237 h 244"/>
                <a:gd name="T6" fmla="*/ 124 w 132"/>
                <a:gd name="T7" fmla="*/ 244 h 244"/>
                <a:gd name="T8" fmla="*/ 0 w 132"/>
                <a:gd name="T9" fmla="*/ 24 h 244"/>
                <a:gd name="T10" fmla="*/ 22 w 132"/>
                <a:gd name="T11" fmla="*/ 0 h 244"/>
              </a:gdLst>
              <a:ahLst/>
              <a:cxnLst>
                <a:cxn ang="0">
                  <a:pos x="T0" y="T1"/>
                </a:cxn>
                <a:cxn ang="0">
                  <a:pos x="T2" y="T3"/>
                </a:cxn>
                <a:cxn ang="0">
                  <a:pos x="T4" y="T5"/>
                </a:cxn>
                <a:cxn ang="0">
                  <a:pos x="T6" y="T7"/>
                </a:cxn>
                <a:cxn ang="0">
                  <a:pos x="T8" y="T9"/>
                </a:cxn>
                <a:cxn ang="0">
                  <a:pos x="T10" y="T11"/>
                </a:cxn>
              </a:cxnLst>
              <a:rect l="0" t="0" r="r" b="b"/>
              <a:pathLst>
                <a:path w="132" h="244">
                  <a:moveTo>
                    <a:pt x="22" y="0"/>
                  </a:moveTo>
                  <a:cubicBezTo>
                    <a:pt x="56" y="75"/>
                    <a:pt x="90" y="149"/>
                    <a:pt x="124" y="224"/>
                  </a:cubicBezTo>
                  <a:cubicBezTo>
                    <a:pt x="130" y="228"/>
                    <a:pt x="132" y="233"/>
                    <a:pt x="130" y="237"/>
                  </a:cubicBezTo>
                  <a:cubicBezTo>
                    <a:pt x="128" y="241"/>
                    <a:pt x="126" y="244"/>
                    <a:pt x="124" y="244"/>
                  </a:cubicBezTo>
                  <a:cubicBezTo>
                    <a:pt x="32" y="199"/>
                    <a:pt x="55" y="89"/>
                    <a:pt x="0" y="24"/>
                  </a:cubicBezTo>
                  <a:cubicBezTo>
                    <a:pt x="7" y="16"/>
                    <a:pt x="14" y="8"/>
                    <a:pt x="22"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6" name="Freeform 42">
              <a:extLst>
                <a:ext uri="{FF2B5EF4-FFF2-40B4-BE49-F238E27FC236}">
                  <a16:creationId xmlns:a16="http://schemas.microsoft.com/office/drawing/2014/main" id="{22EE8AFC-C962-42C7-A1EE-A97370ED3704}"/>
                </a:ext>
              </a:extLst>
            </p:cNvPr>
            <p:cNvSpPr>
              <a:spLocks/>
            </p:cNvSpPr>
            <p:nvPr/>
          </p:nvSpPr>
          <p:spPr bwMode="auto">
            <a:xfrm>
              <a:off x="4548242" y="1809470"/>
              <a:ext cx="70552" cy="51557"/>
            </a:xfrm>
            <a:custGeom>
              <a:avLst/>
              <a:gdLst>
                <a:gd name="T0" fmla="*/ 121 w 167"/>
                <a:gd name="T1" fmla="*/ 123 h 123"/>
                <a:gd name="T2" fmla="*/ 135 w 167"/>
                <a:gd name="T3" fmla="*/ 58 h 123"/>
                <a:gd name="T4" fmla="*/ 74 w 167"/>
                <a:gd name="T5" fmla="*/ 66 h 123"/>
                <a:gd name="T6" fmla="*/ 0 w 167"/>
                <a:gd name="T7" fmla="*/ 44 h 123"/>
                <a:gd name="T8" fmla="*/ 78 w 167"/>
                <a:gd name="T9" fmla="*/ 31 h 123"/>
                <a:gd name="T10" fmla="*/ 163 w 167"/>
                <a:gd name="T11" fmla="*/ 101 h 123"/>
                <a:gd name="T12" fmla="*/ 121 w 167"/>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167" h="123">
                  <a:moveTo>
                    <a:pt x="121" y="123"/>
                  </a:moveTo>
                  <a:cubicBezTo>
                    <a:pt x="129" y="102"/>
                    <a:pt x="151" y="79"/>
                    <a:pt x="135" y="58"/>
                  </a:cubicBezTo>
                  <a:cubicBezTo>
                    <a:pt x="116" y="31"/>
                    <a:pt x="93" y="59"/>
                    <a:pt x="74" y="66"/>
                  </a:cubicBezTo>
                  <a:cubicBezTo>
                    <a:pt x="41" y="81"/>
                    <a:pt x="17" y="77"/>
                    <a:pt x="0" y="44"/>
                  </a:cubicBezTo>
                  <a:cubicBezTo>
                    <a:pt x="26" y="40"/>
                    <a:pt x="54" y="41"/>
                    <a:pt x="78" y="31"/>
                  </a:cubicBezTo>
                  <a:cubicBezTo>
                    <a:pt x="153" y="0"/>
                    <a:pt x="167" y="38"/>
                    <a:pt x="163" y="101"/>
                  </a:cubicBezTo>
                  <a:cubicBezTo>
                    <a:pt x="155" y="118"/>
                    <a:pt x="139" y="123"/>
                    <a:pt x="121" y="12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7" name="Freeform 43">
              <a:extLst>
                <a:ext uri="{FF2B5EF4-FFF2-40B4-BE49-F238E27FC236}">
                  <a16:creationId xmlns:a16="http://schemas.microsoft.com/office/drawing/2014/main" id="{ED768860-3772-49A2-A3D1-5010B56FA031}"/>
                </a:ext>
              </a:extLst>
            </p:cNvPr>
            <p:cNvSpPr>
              <a:spLocks/>
            </p:cNvSpPr>
            <p:nvPr/>
          </p:nvSpPr>
          <p:spPr bwMode="auto">
            <a:xfrm>
              <a:off x="6860167" y="3296483"/>
              <a:ext cx="67838" cy="51557"/>
            </a:xfrm>
            <a:custGeom>
              <a:avLst/>
              <a:gdLst>
                <a:gd name="T0" fmla="*/ 60 w 165"/>
                <a:gd name="T1" fmla="*/ 84 h 122"/>
                <a:gd name="T2" fmla="*/ 0 w 165"/>
                <a:gd name="T3" fmla="*/ 61 h 122"/>
                <a:gd name="T4" fmla="*/ 45 w 165"/>
                <a:gd name="T5" fmla="*/ 0 h 122"/>
                <a:gd name="T6" fmla="*/ 165 w 165"/>
                <a:gd name="T7" fmla="*/ 102 h 122"/>
                <a:gd name="T8" fmla="*/ 124 w 165"/>
                <a:gd name="T9" fmla="*/ 122 h 122"/>
                <a:gd name="T10" fmla="*/ 60 w 165"/>
                <a:gd name="T11" fmla="*/ 84 h 122"/>
              </a:gdLst>
              <a:ahLst/>
              <a:cxnLst>
                <a:cxn ang="0">
                  <a:pos x="T0" y="T1"/>
                </a:cxn>
                <a:cxn ang="0">
                  <a:pos x="T2" y="T3"/>
                </a:cxn>
                <a:cxn ang="0">
                  <a:pos x="T4" y="T5"/>
                </a:cxn>
                <a:cxn ang="0">
                  <a:pos x="T6" y="T7"/>
                </a:cxn>
                <a:cxn ang="0">
                  <a:pos x="T8" y="T9"/>
                </a:cxn>
                <a:cxn ang="0">
                  <a:pos x="T10" y="T11"/>
                </a:cxn>
              </a:cxnLst>
              <a:rect l="0" t="0" r="r" b="b"/>
              <a:pathLst>
                <a:path w="165" h="122">
                  <a:moveTo>
                    <a:pt x="60" y="84"/>
                  </a:moveTo>
                  <a:cubicBezTo>
                    <a:pt x="40" y="76"/>
                    <a:pt x="20" y="68"/>
                    <a:pt x="0" y="61"/>
                  </a:cubicBezTo>
                  <a:cubicBezTo>
                    <a:pt x="13" y="39"/>
                    <a:pt x="18" y="11"/>
                    <a:pt x="45" y="0"/>
                  </a:cubicBezTo>
                  <a:cubicBezTo>
                    <a:pt x="51" y="74"/>
                    <a:pt x="147" y="42"/>
                    <a:pt x="165" y="102"/>
                  </a:cubicBezTo>
                  <a:cubicBezTo>
                    <a:pt x="157" y="121"/>
                    <a:pt x="141" y="122"/>
                    <a:pt x="124" y="122"/>
                  </a:cubicBezTo>
                  <a:cubicBezTo>
                    <a:pt x="99" y="115"/>
                    <a:pt x="81" y="97"/>
                    <a:pt x="60" y="8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8" name="Freeform 44">
              <a:extLst>
                <a:ext uri="{FF2B5EF4-FFF2-40B4-BE49-F238E27FC236}">
                  <a16:creationId xmlns:a16="http://schemas.microsoft.com/office/drawing/2014/main" id="{0B66D7AF-C897-42F6-88F2-DD98811B192A}"/>
                </a:ext>
              </a:extLst>
            </p:cNvPr>
            <p:cNvSpPr>
              <a:spLocks/>
            </p:cNvSpPr>
            <p:nvPr/>
          </p:nvSpPr>
          <p:spPr bwMode="auto">
            <a:xfrm>
              <a:off x="3669059" y="4892038"/>
              <a:ext cx="37989" cy="73265"/>
            </a:xfrm>
            <a:custGeom>
              <a:avLst/>
              <a:gdLst>
                <a:gd name="T0" fmla="*/ 0 w 92"/>
                <a:gd name="T1" fmla="*/ 154 h 176"/>
                <a:gd name="T2" fmla="*/ 66 w 92"/>
                <a:gd name="T3" fmla="*/ 11 h 176"/>
                <a:gd name="T4" fmla="*/ 87 w 92"/>
                <a:gd name="T5" fmla="*/ 10 h 176"/>
                <a:gd name="T6" fmla="*/ 42 w 92"/>
                <a:gd name="T7" fmla="*/ 176 h 176"/>
                <a:gd name="T8" fmla="*/ 0 w 92"/>
                <a:gd name="T9" fmla="*/ 154 h 176"/>
              </a:gdLst>
              <a:ahLst/>
              <a:cxnLst>
                <a:cxn ang="0">
                  <a:pos x="T0" y="T1"/>
                </a:cxn>
                <a:cxn ang="0">
                  <a:pos x="T2" y="T3"/>
                </a:cxn>
                <a:cxn ang="0">
                  <a:pos x="T4" y="T5"/>
                </a:cxn>
                <a:cxn ang="0">
                  <a:pos x="T6" y="T7"/>
                </a:cxn>
                <a:cxn ang="0">
                  <a:pos x="T8" y="T9"/>
                </a:cxn>
              </a:cxnLst>
              <a:rect l="0" t="0" r="r" b="b"/>
              <a:pathLst>
                <a:path w="92" h="176">
                  <a:moveTo>
                    <a:pt x="0" y="154"/>
                  </a:moveTo>
                  <a:cubicBezTo>
                    <a:pt x="70" y="129"/>
                    <a:pt x="32" y="53"/>
                    <a:pt x="66" y="11"/>
                  </a:cubicBezTo>
                  <a:cubicBezTo>
                    <a:pt x="73" y="1"/>
                    <a:pt x="80" y="0"/>
                    <a:pt x="87" y="10"/>
                  </a:cubicBezTo>
                  <a:cubicBezTo>
                    <a:pt x="92" y="70"/>
                    <a:pt x="92" y="130"/>
                    <a:pt x="42" y="176"/>
                  </a:cubicBezTo>
                  <a:cubicBezTo>
                    <a:pt x="33" y="159"/>
                    <a:pt x="17" y="156"/>
                    <a:pt x="0" y="15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9" name="Freeform 45">
              <a:extLst>
                <a:ext uri="{FF2B5EF4-FFF2-40B4-BE49-F238E27FC236}">
                  <a16:creationId xmlns:a16="http://schemas.microsoft.com/office/drawing/2014/main" id="{35C29DDA-67F3-431D-AF30-BBF15C7FB295}"/>
                </a:ext>
              </a:extLst>
            </p:cNvPr>
            <p:cNvSpPr>
              <a:spLocks/>
            </p:cNvSpPr>
            <p:nvPr/>
          </p:nvSpPr>
          <p:spPr bwMode="auto">
            <a:xfrm>
              <a:off x="4700199" y="5239369"/>
              <a:ext cx="62411" cy="65125"/>
            </a:xfrm>
            <a:custGeom>
              <a:avLst/>
              <a:gdLst>
                <a:gd name="T0" fmla="*/ 26 w 151"/>
                <a:gd name="T1" fmla="*/ 144 h 153"/>
                <a:gd name="T2" fmla="*/ 56 w 151"/>
                <a:gd name="T3" fmla="*/ 57 h 153"/>
                <a:gd name="T4" fmla="*/ 129 w 151"/>
                <a:gd name="T5" fmla="*/ 0 h 153"/>
                <a:gd name="T6" fmla="*/ 149 w 151"/>
                <a:gd name="T7" fmla="*/ 61 h 153"/>
                <a:gd name="T8" fmla="*/ 92 w 151"/>
                <a:gd name="T9" fmla="*/ 91 h 153"/>
                <a:gd name="T10" fmla="*/ 26 w 151"/>
                <a:gd name="T11" fmla="*/ 144 h 153"/>
              </a:gdLst>
              <a:ahLst/>
              <a:cxnLst>
                <a:cxn ang="0">
                  <a:pos x="T0" y="T1"/>
                </a:cxn>
                <a:cxn ang="0">
                  <a:pos x="T2" y="T3"/>
                </a:cxn>
                <a:cxn ang="0">
                  <a:pos x="T4" y="T5"/>
                </a:cxn>
                <a:cxn ang="0">
                  <a:pos x="T6" y="T7"/>
                </a:cxn>
                <a:cxn ang="0">
                  <a:pos x="T8" y="T9"/>
                </a:cxn>
                <a:cxn ang="0">
                  <a:pos x="T10" y="T11"/>
                </a:cxn>
              </a:cxnLst>
              <a:rect l="0" t="0" r="r" b="b"/>
              <a:pathLst>
                <a:path w="151" h="153">
                  <a:moveTo>
                    <a:pt x="26" y="144"/>
                  </a:moveTo>
                  <a:cubicBezTo>
                    <a:pt x="0" y="102"/>
                    <a:pt x="14" y="77"/>
                    <a:pt x="56" y="57"/>
                  </a:cubicBezTo>
                  <a:cubicBezTo>
                    <a:pt x="83" y="43"/>
                    <a:pt x="128" y="48"/>
                    <a:pt x="129" y="0"/>
                  </a:cubicBezTo>
                  <a:cubicBezTo>
                    <a:pt x="151" y="15"/>
                    <a:pt x="148" y="39"/>
                    <a:pt x="149" y="61"/>
                  </a:cubicBezTo>
                  <a:cubicBezTo>
                    <a:pt x="135" y="81"/>
                    <a:pt x="111" y="81"/>
                    <a:pt x="92" y="91"/>
                  </a:cubicBezTo>
                  <a:cubicBezTo>
                    <a:pt x="61" y="98"/>
                    <a:pt x="69" y="153"/>
                    <a:pt x="26" y="14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0" name="Freeform 46">
              <a:extLst>
                <a:ext uri="{FF2B5EF4-FFF2-40B4-BE49-F238E27FC236}">
                  <a16:creationId xmlns:a16="http://schemas.microsoft.com/office/drawing/2014/main" id="{96F6117A-C34E-4D42-A21F-2C544CBEB0C8}"/>
                </a:ext>
              </a:extLst>
            </p:cNvPr>
            <p:cNvSpPr>
              <a:spLocks/>
            </p:cNvSpPr>
            <p:nvPr/>
          </p:nvSpPr>
          <p:spPr bwMode="auto">
            <a:xfrm>
              <a:off x="6165504" y="2900308"/>
              <a:ext cx="43416" cy="78692"/>
            </a:xfrm>
            <a:custGeom>
              <a:avLst/>
              <a:gdLst>
                <a:gd name="T0" fmla="*/ 39 w 108"/>
                <a:gd name="T1" fmla="*/ 0 h 190"/>
                <a:gd name="T2" fmla="*/ 73 w 108"/>
                <a:gd name="T3" fmla="*/ 190 h 190"/>
                <a:gd name="T4" fmla="*/ 18 w 108"/>
                <a:gd name="T5" fmla="*/ 146 h 190"/>
                <a:gd name="T6" fmla="*/ 39 w 108"/>
                <a:gd name="T7" fmla="*/ 0 h 190"/>
              </a:gdLst>
              <a:ahLst/>
              <a:cxnLst>
                <a:cxn ang="0">
                  <a:pos x="T0" y="T1"/>
                </a:cxn>
                <a:cxn ang="0">
                  <a:pos x="T2" y="T3"/>
                </a:cxn>
                <a:cxn ang="0">
                  <a:pos x="T4" y="T5"/>
                </a:cxn>
                <a:cxn ang="0">
                  <a:pos x="T6" y="T7"/>
                </a:cxn>
              </a:cxnLst>
              <a:rect l="0" t="0" r="r" b="b"/>
              <a:pathLst>
                <a:path w="108" h="190">
                  <a:moveTo>
                    <a:pt x="39" y="0"/>
                  </a:moveTo>
                  <a:cubicBezTo>
                    <a:pt x="108" y="51"/>
                    <a:pt x="0" y="137"/>
                    <a:pt x="73" y="190"/>
                  </a:cubicBezTo>
                  <a:cubicBezTo>
                    <a:pt x="54" y="175"/>
                    <a:pt x="36" y="161"/>
                    <a:pt x="18" y="146"/>
                  </a:cubicBezTo>
                  <a:cubicBezTo>
                    <a:pt x="25" y="97"/>
                    <a:pt x="32" y="49"/>
                    <a:pt x="39"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1" name="Freeform 47">
              <a:extLst>
                <a:ext uri="{FF2B5EF4-FFF2-40B4-BE49-F238E27FC236}">
                  <a16:creationId xmlns:a16="http://schemas.microsoft.com/office/drawing/2014/main" id="{2A15D161-2C2A-4E13-A2C6-BCA035585987}"/>
                </a:ext>
              </a:extLst>
            </p:cNvPr>
            <p:cNvSpPr>
              <a:spLocks/>
            </p:cNvSpPr>
            <p:nvPr/>
          </p:nvSpPr>
          <p:spPr bwMode="auto">
            <a:xfrm>
              <a:off x="6154650" y="2832470"/>
              <a:ext cx="75979" cy="37989"/>
            </a:xfrm>
            <a:custGeom>
              <a:avLst/>
              <a:gdLst>
                <a:gd name="T0" fmla="*/ 20 w 182"/>
                <a:gd name="T1" fmla="*/ 0 h 93"/>
                <a:gd name="T2" fmla="*/ 165 w 182"/>
                <a:gd name="T3" fmla="*/ 26 h 93"/>
                <a:gd name="T4" fmla="*/ 182 w 182"/>
                <a:gd name="T5" fmla="*/ 42 h 93"/>
                <a:gd name="T6" fmla="*/ 0 w 182"/>
                <a:gd name="T7" fmla="*/ 46 h 93"/>
                <a:gd name="T8" fmla="*/ 20 w 182"/>
                <a:gd name="T9" fmla="*/ 0 h 93"/>
              </a:gdLst>
              <a:ahLst/>
              <a:cxnLst>
                <a:cxn ang="0">
                  <a:pos x="T0" y="T1"/>
                </a:cxn>
                <a:cxn ang="0">
                  <a:pos x="T2" y="T3"/>
                </a:cxn>
                <a:cxn ang="0">
                  <a:pos x="T4" y="T5"/>
                </a:cxn>
                <a:cxn ang="0">
                  <a:pos x="T6" y="T7"/>
                </a:cxn>
                <a:cxn ang="0">
                  <a:pos x="T8" y="T9"/>
                </a:cxn>
              </a:cxnLst>
              <a:rect l="0" t="0" r="r" b="b"/>
              <a:pathLst>
                <a:path w="182" h="93">
                  <a:moveTo>
                    <a:pt x="20" y="0"/>
                  </a:moveTo>
                  <a:cubicBezTo>
                    <a:pt x="65" y="30"/>
                    <a:pt x="117" y="16"/>
                    <a:pt x="165" y="26"/>
                  </a:cubicBezTo>
                  <a:cubicBezTo>
                    <a:pt x="171" y="31"/>
                    <a:pt x="177" y="36"/>
                    <a:pt x="182" y="42"/>
                  </a:cubicBezTo>
                  <a:cubicBezTo>
                    <a:pt x="123" y="93"/>
                    <a:pt x="60" y="19"/>
                    <a:pt x="0" y="46"/>
                  </a:cubicBezTo>
                  <a:cubicBezTo>
                    <a:pt x="7" y="30"/>
                    <a:pt x="14" y="15"/>
                    <a:pt x="20"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2" name="Freeform 48">
              <a:extLst>
                <a:ext uri="{FF2B5EF4-FFF2-40B4-BE49-F238E27FC236}">
                  <a16:creationId xmlns:a16="http://schemas.microsoft.com/office/drawing/2014/main" id="{B8325600-EA51-4468-A8E1-FE927B3C125C}"/>
                </a:ext>
              </a:extLst>
            </p:cNvPr>
            <p:cNvSpPr>
              <a:spLocks/>
            </p:cNvSpPr>
            <p:nvPr/>
          </p:nvSpPr>
          <p:spPr bwMode="auto">
            <a:xfrm>
              <a:off x="4168348" y="6140260"/>
              <a:ext cx="48843" cy="70552"/>
            </a:xfrm>
            <a:custGeom>
              <a:avLst/>
              <a:gdLst>
                <a:gd name="T0" fmla="*/ 0 w 114"/>
                <a:gd name="T1" fmla="*/ 143 h 167"/>
                <a:gd name="T2" fmla="*/ 41 w 114"/>
                <a:gd name="T3" fmla="*/ 0 h 167"/>
                <a:gd name="T4" fmla="*/ 0 w 114"/>
                <a:gd name="T5" fmla="*/ 167 h 167"/>
                <a:gd name="T6" fmla="*/ 0 w 114"/>
                <a:gd name="T7" fmla="*/ 143 h 167"/>
              </a:gdLst>
              <a:ahLst/>
              <a:cxnLst>
                <a:cxn ang="0">
                  <a:pos x="T0" y="T1"/>
                </a:cxn>
                <a:cxn ang="0">
                  <a:pos x="T2" y="T3"/>
                </a:cxn>
                <a:cxn ang="0">
                  <a:pos x="T4" y="T5"/>
                </a:cxn>
                <a:cxn ang="0">
                  <a:pos x="T6" y="T7"/>
                </a:cxn>
              </a:cxnLst>
              <a:rect l="0" t="0" r="r" b="b"/>
              <a:pathLst>
                <a:path w="114" h="167">
                  <a:moveTo>
                    <a:pt x="0" y="143"/>
                  </a:moveTo>
                  <a:cubicBezTo>
                    <a:pt x="6" y="93"/>
                    <a:pt x="49" y="54"/>
                    <a:pt x="41" y="0"/>
                  </a:cubicBezTo>
                  <a:cubicBezTo>
                    <a:pt x="114" y="76"/>
                    <a:pt x="42" y="118"/>
                    <a:pt x="0" y="167"/>
                  </a:cubicBezTo>
                  <a:cubicBezTo>
                    <a:pt x="0" y="159"/>
                    <a:pt x="0" y="151"/>
                    <a:pt x="0" y="14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3" name="Freeform 49">
              <a:extLst>
                <a:ext uri="{FF2B5EF4-FFF2-40B4-BE49-F238E27FC236}">
                  <a16:creationId xmlns:a16="http://schemas.microsoft.com/office/drawing/2014/main" id="{952ED65A-CECF-4842-973C-C992190B1C3C}"/>
                </a:ext>
              </a:extLst>
            </p:cNvPr>
            <p:cNvSpPr>
              <a:spLocks/>
            </p:cNvSpPr>
            <p:nvPr/>
          </p:nvSpPr>
          <p:spPr bwMode="auto">
            <a:xfrm>
              <a:off x="3343435" y="3171661"/>
              <a:ext cx="70552" cy="48844"/>
            </a:xfrm>
            <a:custGeom>
              <a:avLst/>
              <a:gdLst>
                <a:gd name="T0" fmla="*/ 164 w 164"/>
                <a:gd name="T1" fmla="*/ 54 h 122"/>
                <a:gd name="T2" fmla="*/ 0 w 164"/>
                <a:gd name="T3" fmla="*/ 32 h 122"/>
                <a:gd name="T4" fmla="*/ 18 w 164"/>
                <a:gd name="T5" fmla="*/ 16 h 122"/>
                <a:gd name="T6" fmla="*/ 164 w 164"/>
                <a:gd name="T7" fmla="*/ 54 h 122"/>
              </a:gdLst>
              <a:ahLst/>
              <a:cxnLst>
                <a:cxn ang="0">
                  <a:pos x="T0" y="T1"/>
                </a:cxn>
                <a:cxn ang="0">
                  <a:pos x="T2" y="T3"/>
                </a:cxn>
                <a:cxn ang="0">
                  <a:pos x="T4" y="T5"/>
                </a:cxn>
                <a:cxn ang="0">
                  <a:pos x="T6" y="T7"/>
                </a:cxn>
              </a:cxnLst>
              <a:rect l="0" t="0" r="r" b="b"/>
              <a:pathLst>
                <a:path w="164" h="122">
                  <a:moveTo>
                    <a:pt x="164" y="54"/>
                  </a:moveTo>
                  <a:cubicBezTo>
                    <a:pt x="111" y="29"/>
                    <a:pt x="43" y="122"/>
                    <a:pt x="0" y="32"/>
                  </a:cubicBezTo>
                  <a:cubicBezTo>
                    <a:pt x="6" y="27"/>
                    <a:pt x="12" y="21"/>
                    <a:pt x="18" y="16"/>
                  </a:cubicBezTo>
                  <a:cubicBezTo>
                    <a:pt x="56" y="67"/>
                    <a:pt x="126" y="0"/>
                    <a:pt x="164" y="5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4" name="Freeform 50">
              <a:extLst>
                <a:ext uri="{FF2B5EF4-FFF2-40B4-BE49-F238E27FC236}">
                  <a16:creationId xmlns:a16="http://schemas.microsoft.com/office/drawing/2014/main" id="{FD6C2E6E-DA4D-46AB-A579-EF0D80126E63}"/>
                </a:ext>
              </a:extLst>
            </p:cNvPr>
            <p:cNvSpPr>
              <a:spLocks/>
            </p:cNvSpPr>
            <p:nvPr/>
          </p:nvSpPr>
          <p:spPr bwMode="auto">
            <a:xfrm>
              <a:off x="3511674" y="3692658"/>
              <a:ext cx="51557" cy="27135"/>
            </a:xfrm>
            <a:custGeom>
              <a:avLst/>
              <a:gdLst>
                <a:gd name="T0" fmla="*/ 27 w 123"/>
                <a:gd name="T1" fmla="*/ 0 h 68"/>
                <a:gd name="T2" fmla="*/ 123 w 123"/>
                <a:gd name="T3" fmla="*/ 30 h 68"/>
                <a:gd name="T4" fmla="*/ 30 w 123"/>
                <a:gd name="T5" fmla="*/ 60 h 68"/>
                <a:gd name="T6" fmla="*/ 27 w 123"/>
                <a:gd name="T7" fmla="*/ 0 h 68"/>
              </a:gdLst>
              <a:ahLst/>
              <a:cxnLst>
                <a:cxn ang="0">
                  <a:pos x="T0" y="T1"/>
                </a:cxn>
                <a:cxn ang="0">
                  <a:pos x="T2" y="T3"/>
                </a:cxn>
                <a:cxn ang="0">
                  <a:pos x="T4" y="T5"/>
                </a:cxn>
                <a:cxn ang="0">
                  <a:pos x="T6" y="T7"/>
                </a:cxn>
              </a:cxnLst>
              <a:rect l="0" t="0" r="r" b="b"/>
              <a:pathLst>
                <a:path w="123" h="68">
                  <a:moveTo>
                    <a:pt x="27" y="0"/>
                  </a:moveTo>
                  <a:cubicBezTo>
                    <a:pt x="50" y="33"/>
                    <a:pt x="92" y="5"/>
                    <a:pt x="123" y="30"/>
                  </a:cubicBezTo>
                  <a:cubicBezTo>
                    <a:pt x="101" y="68"/>
                    <a:pt x="64" y="59"/>
                    <a:pt x="30" y="60"/>
                  </a:cubicBezTo>
                  <a:cubicBezTo>
                    <a:pt x="25" y="40"/>
                    <a:pt x="0" y="22"/>
                    <a:pt x="27"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5" name="Freeform 51">
              <a:extLst>
                <a:ext uri="{FF2B5EF4-FFF2-40B4-BE49-F238E27FC236}">
                  <a16:creationId xmlns:a16="http://schemas.microsoft.com/office/drawing/2014/main" id="{F1185DC5-A892-46AA-8347-1654AA476C88}"/>
                </a:ext>
              </a:extLst>
            </p:cNvPr>
            <p:cNvSpPr>
              <a:spLocks/>
            </p:cNvSpPr>
            <p:nvPr/>
          </p:nvSpPr>
          <p:spPr bwMode="auto">
            <a:xfrm>
              <a:off x="4667637" y="2091677"/>
              <a:ext cx="43416" cy="40703"/>
            </a:xfrm>
            <a:custGeom>
              <a:avLst/>
              <a:gdLst>
                <a:gd name="T0" fmla="*/ 60 w 102"/>
                <a:gd name="T1" fmla="*/ 0 h 92"/>
                <a:gd name="T2" fmla="*/ 82 w 102"/>
                <a:gd name="T3" fmla="*/ 63 h 92"/>
                <a:gd name="T4" fmla="*/ 0 w 102"/>
                <a:gd name="T5" fmla="*/ 60 h 92"/>
                <a:gd name="T6" fmla="*/ 19 w 102"/>
                <a:gd name="T7" fmla="*/ 39 h 92"/>
                <a:gd name="T8" fmla="*/ 39 w 102"/>
                <a:gd name="T9" fmla="*/ 0 h 92"/>
                <a:gd name="T10" fmla="*/ 60 w 102"/>
                <a:gd name="T11" fmla="*/ 0 h 92"/>
              </a:gdLst>
              <a:ahLst/>
              <a:cxnLst>
                <a:cxn ang="0">
                  <a:pos x="T0" y="T1"/>
                </a:cxn>
                <a:cxn ang="0">
                  <a:pos x="T2" y="T3"/>
                </a:cxn>
                <a:cxn ang="0">
                  <a:pos x="T4" y="T5"/>
                </a:cxn>
                <a:cxn ang="0">
                  <a:pos x="T6" y="T7"/>
                </a:cxn>
                <a:cxn ang="0">
                  <a:pos x="T8" y="T9"/>
                </a:cxn>
                <a:cxn ang="0">
                  <a:pos x="T10" y="T11"/>
                </a:cxn>
              </a:cxnLst>
              <a:rect l="0" t="0" r="r" b="b"/>
              <a:pathLst>
                <a:path w="102" h="92">
                  <a:moveTo>
                    <a:pt x="60" y="0"/>
                  </a:moveTo>
                  <a:cubicBezTo>
                    <a:pt x="82" y="16"/>
                    <a:pt x="102" y="39"/>
                    <a:pt x="82" y="63"/>
                  </a:cubicBezTo>
                  <a:cubicBezTo>
                    <a:pt x="59" y="92"/>
                    <a:pt x="26" y="92"/>
                    <a:pt x="0" y="60"/>
                  </a:cubicBezTo>
                  <a:cubicBezTo>
                    <a:pt x="3" y="51"/>
                    <a:pt x="10" y="44"/>
                    <a:pt x="19" y="39"/>
                  </a:cubicBezTo>
                  <a:cubicBezTo>
                    <a:pt x="60" y="44"/>
                    <a:pt x="47" y="20"/>
                    <a:pt x="39" y="0"/>
                  </a:cubicBezTo>
                  <a:cubicBezTo>
                    <a:pt x="46" y="0"/>
                    <a:pt x="53" y="0"/>
                    <a:pt x="60"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6" name="Freeform 52">
              <a:extLst>
                <a:ext uri="{FF2B5EF4-FFF2-40B4-BE49-F238E27FC236}">
                  <a16:creationId xmlns:a16="http://schemas.microsoft.com/office/drawing/2014/main" id="{EF3F4C42-2699-4411-ABB1-A91FE3176CCC}"/>
                </a:ext>
              </a:extLst>
            </p:cNvPr>
            <p:cNvSpPr>
              <a:spLocks/>
            </p:cNvSpPr>
            <p:nvPr/>
          </p:nvSpPr>
          <p:spPr bwMode="auto">
            <a:xfrm>
              <a:off x="7248201" y="6229807"/>
              <a:ext cx="29849" cy="48844"/>
            </a:xfrm>
            <a:custGeom>
              <a:avLst/>
              <a:gdLst>
                <a:gd name="T0" fmla="*/ 41 w 66"/>
                <a:gd name="T1" fmla="*/ 122 h 122"/>
                <a:gd name="T2" fmla="*/ 16 w 66"/>
                <a:gd name="T3" fmla="*/ 0 h 122"/>
                <a:gd name="T4" fmla="*/ 41 w 66"/>
                <a:gd name="T5" fmla="*/ 122 h 122"/>
              </a:gdLst>
              <a:ahLst/>
              <a:cxnLst>
                <a:cxn ang="0">
                  <a:pos x="T0" y="T1"/>
                </a:cxn>
                <a:cxn ang="0">
                  <a:pos x="T2" y="T3"/>
                </a:cxn>
                <a:cxn ang="0">
                  <a:pos x="T4" y="T5"/>
                </a:cxn>
              </a:cxnLst>
              <a:rect l="0" t="0" r="r" b="b"/>
              <a:pathLst>
                <a:path w="66" h="122">
                  <a:moveTo>
                    <a:pt x="41" y="122"/>
                  </a:moveTo>
                  <a:cubicBezTo>
                    <a:pt x="13" y="79"/>
                    <a:pt x="0" y="49"/>
                    <a:pt x="16" y="0"/>
                  </a:cubicBezTo>
                  <a:cubicBezTo>
                    <a:pt x="48" y="38"/>
                    <a:pt x="66" y="67"/>
                    <a:pt x="41" y="12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7" name="Freeform 53">
              <a:extLst>
                <a:ext uri="{FF2B5EF4-FFF2-40B4-BE49-F238E27FC236}">
                  <a16:creationId xmlns:a16="http://schemas.microsoft.com/office/drawing/2014/main" id="{C72F15BF-2237-480D-8D99-89B212F6143D}"/>
                </a:ext>
              </a:extLst>
            </p:cNvPr>
            <p:cNvSpPr>
              <a:spLocks/>
            </p:cNvSpPr>
            <p:nvPr/>
          </p:nvSpPr>
          <p:spPr bwMode="auto">
            <a:xfrm>
              <a:off x="3319014" y="5695242"/>
              <a:ext cx="24422" cy="24422"/>
            </a:xfrm>
            <a:custGeom>
              <a:avLst/>
              <a:gdLst>
                <a:gd name="T0" fmla="*/ 33 w 56"/>
                <a:gd name="T1" fmla="*/ 3 h 60"/>
                <a:gd name="T2" fmla="*/ 56 w 56"/>
                <a:gd name="T3" fmla="*/ 30 h 60"/>
                <a:gd name="T4" fmla="*/ 23 w 56"/>
                <a:gd name="T5" fmla="*/ 58 h 60"/>
                <a:gd name="T6" fmla="*/ 0 w 56"/>
                <a:gd name="T7" fmla="*/ 30 h 60"/>
                <a:gd name="T8" fmla="*/ 33 w 56"/>
                <a:gd name="T9" fmla="*/ 3 h 60"/>
              </a:gdLst>
              <a:ahLst/>
              <a:cxnLst>
                <a:cxn ang="0">
                  <a:pos x="T0" y="T1"/>
                </a:cxn>
                <a:cxn ang="0">
                  <a:pos x="T2" y="T3"/>
                </a:cxn>
                <a:cxn ang="0">
                  <a:pos x="T4" y="T5"/>
                </a:cxn>
                <a:cxn ang="0">
                  <a:pos x="T6" y="T7"/>
                </a:cxn>
                <a:cxn ang="0">
                  <a:pos x="T8" y="T9"/>
                </a:cxn>
              </a:cxnLst>
              <a:rect l="0" t="0" r="r" b="b"/>
              <a:pathLst>
                <a:path w="56" h="60">
                  <a:moveTo>
                    <a:pt x="33" y="3"/>
                  </a:moveTo>
                  <a:cubicBezTo>
                    <a:pt x="50" y="4"/>
                    <a:pt x="56" y="16"/>
                    <a:pt x="56" y="30"/>
                  </a:cubicBezTo>
                  <a:cubicBezTo>
                    <a:pt x="56" y="51"/>
                    <a:pt x="44" y="60"/>
                    <a:pt x="23" y="58"/>
                  </a:cubicBezTo>
                  <a:cubicBezTo>
                    <a:pt x="6" y="56"/>
                    <a:pt x="0" y="44"/>
                    <a:pt x="0" y="30"/>
                  </a:cubicBezTo>
                  <a:cubicBezTo>
                    <a:pt x="0" y="10"/>
                    <a:pt x="12" y="0"/>
                    <a:pt x="33" y="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8" name="Freeform 54">
              <a:extLst>
                <a:ext uri="{FF2B5EF4-FFF2-40B4-BE49-F238E27FC236}">
                  <a16:creationId xmlns:a16="http://schemas.microsoft.com/office/drawing/2014/main" id="{FFFD2977-596F-4EE0-87DA-9A5DD5F4848C}"/>
                </a:ext>
              </a:extLst>
            </p:cNvPr>
            <p:cNvSpPr>
              <a:spLocks/>
            </p:cNvSpPr>
            <p:nvPr/>
          </p:nvSpPr>
          <p:spPr bwMode="auto">
            <a:xfrm>
              <a:off x="6868308" y="2848751"/>
              <a:ext cx="51557" cy="18995"/>
            </a:xfrm>
            <a:custGeom>
              <a:avLst/>
              <a:gdLst>
                <a:gd name="T0" fmla="*/ 123 w 123"/>
                <a:gd name="T1" fmla="*/ 17 h 46"/>
                <a:gd name="T2" fmla="*/ 1 w 123"/>
                <a:gd name="T3" fmla="*/ 43 h 46"/>
                <a:gd name="T4" fmla="*/ 0 w 123"/>
                <a:gd name="T5" fmla="*/ 28 h 46"/>
                <a:gd name="T6" fmla="*/ 106 w 123"/>
                <a:gd name="T7" fmla="*/ 3 h 46"/>
                <a:gd name="T8" fmla="*/ 123 w 123"/>
                <a:gd name="T9" fmla="*/ 17 h 46"/>
              </a:gdLst>
              <a:ahLst/>
              <a:cxnLst>
                <a:cxn ang="0">
                  <a:pos x="T0" y="T1"/>
                </a:cxn>
                <a:cxn ang="0">
                  <a:pos x="T2" y="T3"/>
                </a:cxn>
                <a:cxn ang="0">
                  <a:pos x="T4" y="T5"/>
                </a:cxn>
                <a:cxn ang="0">
                  <a:pos x="T6" y="T7"/>
                </a:cxn>
                <a:cxn ang="0">
                  <a:pos x="T8" y="T9"/>
                </a:cxn>
              </a:cxnLst>
              <a:rect l="0" t="0" r="r" b="b"/>
              <a:pathLst>
                <a:path w="123" h="46">
                  <a:moveTo>
                    <a:pt x="123" y="17"/>
                  </a:moveTo>
                  <a:cubicBezTo>
                    <a:pt x="86" y="46"/>
                    <a:pt x="44" y="46"/>
                    <a:pt x="1" y="43"/>
                  </a:cubicBezTo>
                  <a:cubicBezTo>
                    <a:pt x="0" y="38"/>
                    <a:pt x="0" y="33"/>
                    <a:pt x="0" y="28"/>
                  </a:cubicBezTo>
                  <a:cubicBezTo>
                    <a:pt x="35" y="20"/>
                    <a:pt x="71" y="11"/>
                    <a:pt x="106" y="3"/>
                  </a:cubicBezTo>
                  <a:cubicBezTo>
                    <a:pt x="118" y="0"/>
                    <a:pt x="123" y="5"/>
                    <a:pt x="123" y="1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9" name="Freeform 55">
              <a:extLst>
                <a:ext uri="{FF2B5EF4-FFF2-40B4-BE49-F238E27FC236}">
                  <a16:creationId xmlns:a16="http://schemas.microsoft.com/office/drawing/2014/main" id="{5E834269-0E16-4E43-9A71-12A9F3E3F0A5}"/>
                </a:ext>
              </a:extLst>
            </p:cNvPr>
            <p:cNvSpPr>
              <a:spLocks/>
            </p:cNvSpPr>
            <p:nvPr/>
          </p:nvSpPr>
          <p:spPr bwMode="auto">
            <a:xfrm>
              <a:off x="4116791" y="1847459"/>
              <a:ext cx="59698" cy="24422"/>
            </a:xfrm>
            <a:custGeom>
              <a:avLst/>
              <a:gdLst>
                <a:gd name="T0" fmla="*/ 142 w 142"/>
                <a:gd name="T1" fmla="*/ 25 h 60"/>
                <a:gd name="T2" fmla="*/ 0 w 142"/>
                <a:gd name="T3" fmla="*/ 54 h 60"/>
                <a:gd name="T4" fmla="*/ 0 w 142"/>
                <a:gd name="T5" fmla="*/ 28 h 60"/>
                <a:gd name="T6" fmla="*/ 120 w 142"/>
                <a:gd name="T7" fmla="*/ 10 h 60"/>
                <a:gd name="T8" fmla="*/ 142 w 142"/>
                <a:gd name="T9" fmla="*/ 25 h 60"/>
              </a:gdLst>
              <a:ahLst/>
              <a:cxnLst>
                <a:cxn ang="0">
                  <a:pos x="T0" y="T1"/>
                </a:cxn>
                <a:cxn ang="0">
                  <a:pos x="T2" y="T3"/>
                </a:cxn>
                <a:cxn ang="0">
                  <a:pos x="T4" y="T5"/>
                </a:cxn>
                <a:cxn ang="0">
                  <a:pos x="T6" y="T7"/>
                </a:cxn>
                <a:cxn ang="0">
                  <a:pos x="T8" y="T9"/>
                </a:cxn>
              </a:cxnLst>
              <a:rect l="0" t="0" r="r" b="b"/>
              <a:pathLst>
                <a:path w="142" h="60">
                  <a:moveTo>
                    <a:pt x="142" y="25"/>
                  </a:moveTo>
                  <a:cubicBezTo>
                    <a:pt x="94" y="33"/>
                    <a:pt x="50" y="60"/>
                    <a:pt x="0" y="54"/>
                  </a:cubicBezTo>
                  <a:cubicBezTo>
                    <a:pt x="0" y="45"/>
                    <a:pt x="0" y="37"/>
                    <a:pt x="0" y="28"/>
                  </a:cubicBezTo>
                  <a:cubicBezTo>
                    <a:pt x="40" y="22"/>
                    <a:pt x="80" y="16"/>
                    <a:pt x="120" y="10"/>
                  </a:cubicBezTo>
                  <a:cubicBezTo>
                    <a:pt x="138" y="0"/>
                    <a:pt x="141" y="12"/>
                    <a:pt x="142" y="2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0" name="Freeform 56">
              <a:extLst>
                <a:ext uri="{FF2B5EF4-FFF2-40B4-BE49-F238E27FC236}">
                  <a16:creationId xmlns:a16="http://schemas.microsoft.com/office/drawing/2014/main" id="{3A1223DA-0CBE-4230-A6DF-601616B2512C}"/>
                </a:ext>
              </a:extLst>
            </p:cNvPr>
            <p:cNvSpPr>
              <a:spLocks/>
            </p:cNvSpPr>
            <p:nvPr/>
          </p:nvSpPr>
          <p:spPr bwMode="auto">
            <a:xfrm>
              <a:off x="3522528" y="3993860"/>
              <a:ext cx="46130" cy="32562"/>
            </a:xfrm>
            <a:custGeom>
              <a:avLst/>
              <a:gdLst>
                <a:gd name="T0" fmla="*/ 0 w 105"/>
                <a:gd name="T1" fmla="*/ 58 h 79"/>
                <a:gd name="T2" fmla="*/ 101 w 105"/>
                <a:gd name="T3" fmla="*/ 44 h 79"/>
                <a:gd name="T4" fmla="*/ 82 w 105"/>
                <a:gd name="T5" fmla="*/ 62 h 79"/>
                <a:gd name="T6" fmla="*/ 1 w 105"/>
                <a:gd name="T7" fmla="*/ 79 h 79"/>
                <a:gd name="T8" fmla="*/ 0 w 105"/>
                <a:gd name="T9" fmla="*/ 58 h 79"/>
              </a:gdLst>
              <a:ahLst/>
              <a:cxnLst>
                <a:cxn ang="0">
                  <a:pos x="T0" y="T1"/>
                </a:cxn>
                <a:cxn ang="0">
                  <a:pos x="T2" y="T3"/>
                </a:cxn>
                <a:cxn ang="0">
                  <a:pos x="T4" y="T5"/>
                </a:cxn>
                <a:cxn ang="0">
                  <a:pos x="T6" y="T7"/>
                </a:cxn>
                <a:cxn ang="0">
                  <a:pos x="T8" y="T9"/>
                </a:cxn>
              </a:cxnLst>
              <a:rect l="0" t="0" r="r" b="b"/>
              <a:pathLst>
                <a:path w="105" h="79">
                  <a:moveTo>
                    <a:pt x="0" y="58"/>
                  </a:moveTo>
                  <a:cubicBezTo>
                    <a:pt x="27" y="0"/>
                    <a:pt x="66" y="38"/>
                    <a:pt x="101" y="44"/>
                  </a:cubicBezTo>
                  <a:cubicBezTo>
                    <a:pt x="105" y="61"/>
                    <a:pt x="104" y="72"/>
                    <a:pt x="82" y="62"/>
                  </a:cubicBezTo>
                  <a:cubicBezTo>
                    <a:pt x="52" y="55"/>
                    <a:pt x="27" y="67"/>
                    <a:pt x="1" y="79"/>
                  </a:cubicBezTo>
                  <a:cubicBezTo>
                    <a:pt x="0" y="72"/>
                    <a:pt x="0" y="65"/>
                    <a:pt x="0" y="5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1" name="Freeform 58">
              <a:extLst>
                <a:ext uri="{FF2B5EF4-FFF2-40B4-BE49-F238E27FC236}">
                  <a16:creationId xmlns:a16="http://schemas.microsoft.com/office/drawing/2014/main" id="{91AFF93D-A3EB-4C72-A6AE-51C945063487}"/>
                </a:ext>
              </a:extLst>
            </p:cNvPr>
            <p:cNvSpPr>
              <a:spLocks/>
            </p:cNvSpPr>
            <p:nvPr/>
          </p:nvSpPr>
          <p:spPr bwMode="auto">
            <a:xfrm>
              <a:off x="6895443" y="3369749"/>
              <a:ext cx="21708" cy="46130"/>
            </a:xfrm>
            <a:custGeom>
              <a:avLst/>
              <a:gdLst>
                <a:gd name="T0" fmla="*/ 0 w 50"/>
                <a:gd name="T1" fmla="*/ 110 h 110"/>
                <a:gd name="T2" fmla="*/ 13 w 50"/>
                <a:gd name="T3" fmla="*/ 6 h 110"/>
                <a:gd name="T4" fmla="*/ 36 w 50"/>
                <a:gd name="T5" fmla="*/ 8 h 110"/>
                <a:gd name="T6" fmla="*/ 16 w 50"/>
                <a:gd name="T7" fmla="*/ 109 h 110"/>
                <a:gd name="T8" fmla="*/ 0 w 50"/>
                <a:gd name="T9" fmla="*/ 110 h 110"/>
              </a:gdLst>
              <a:ahLst/>
              <a:cxnLst>
                <a:cxn ang="0">
                  <a:pos x="T0" y="T1"/>
                </a:cxn>
                <a:cxn ang="0">
                  <a:pos x="T2" y="T3"/>
                </a:cxn>
                <a:cxn ang="0">
                  <a:pos x="T4" y="T5"/>
                </a:cxn>
                <a:cxn ang="0">
                  <a:pos x="T6" y="T7"/>
                </a:cxn>
                <a:cxn ang="0">
                  <a:pos x="T8" y="T9"/>
                </a:cxn>
              </a:cxnLst>
              <a:rect l="0" t="0" r="r" b="b"/>
              <a:pathLst>
                <a:path w="50" h="110">
                  <a:moveTo>
                    <a:pt x="0" y="110"/>
                  </a:moveTo>
                  <a:cubicBezTo>
                    <a:pt x="14" y="77"/>
                    <a:pt x="20" y="42"/>
                    <a:pt x="13" y="6"/>
                  </a:cubicBezTo>
                  <a:cubicBezTo>
                    <a:pt x="21" y="0"/>
                    <a:pt x="29" y="0"/>
                    <a:pt x="36" y="8"/>
                  </a:cubicBezTo>
                  <a:cubicBezTo>
                    <a:pt x="35" y="43"/>
                    <a:pt x="50" y="81"/>
                    <a:pt x="16" y="109"/>
                  </a:cubicBezTo>
                  <a:cubicBezTo>
                    <a:pt x="11" y="110"/>
                    <a:pt x="5" y="110"/>
                    <a:pt x="0" y="11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2" name="Freeform 59">
              <a:extLst>
                <a:ext uri="{FF2B5EF4-FFF2-40B4-BE49-F238E27FC236}">
                  <a16:creationId xmlns:a16="http://schemas.microsoft.com/office/drawing/2014/main" id="{7DBEFD35-3F73-45FE-B859-7BEF531E2247}"/>
                </a:ext>
              </a:extLst>
            </p:cNvPr>
            <p:cNvSpPr>
              <a:spLocks/>
            </p:cNvSpPr>
            <p:nvPr/>
          </p:nvSpPr>
          <p:spPr bwMode="auto">
            <a:xfrm>
              <a:off x="4770751" y="5212234"/>
              <a:ext cx="21708" cy="37989"/>
            </a:xfrm>
            <a:custGeom>
              <a:avLst/>
              <a:gdLst>
                <a:gd name="T0" fmla="*/ 0 w 48"/>
                <a:gd name="T1" fmla="*/ 17 h 87"/>
                <a:gd name="T2" fmla="*/ 19 w 48"/>
                <a:gd name="T3" fmla="*/ 0 h 87"/>
                <a:gd name="T4" fmla="*/ 26 w 48"/>
                <a:gd name="T5" fmla="*/ 87 h 87"/>
                <a:gd name="T6" fmla="*/ 0 w 48"/>
                <a:gd name="T7" fmla="*/ 17 h 87"/>
              </a:gdLst>
              <a:ahLst/>
              <a:cxnLst>
                <a:cxn ang="0">
                  <a:pos x="T0" y="T1"/>
                </a:cxn>
                <a:cxn ang="0">
                  <a:pos x="T2" y="T3"/>
                </a:cxn>
                <a:cxn ang="0">
                  <a:pos x="T4" y="T5"/>
                </a:cxn>
                <a:cxn ang="0">
                  <a:pos x="T6" y="T7"/>
                </a:cxn>
              </a:cxnLst>
              <a:rect l="0" t="0" r="r" b="b"/>
              <a:pathLst>
                <a:path w="48" h="87">
                  <a:moveTo>
                    <a:pt x="0" y="17"/>
                  </a:moveTo>
                  <a:cubicBezTo>
                    <a:pt x="6" y="12"/>
                    <a:pt x="13" y="6"/>
                    <a:pt x="19" y="0"/>
                  </a:cubicBezTo>
                  <a:cubicBezTo>
                    <a:pt x="48" y="25"/>
                    <a:pt x="35" y="55"/>
                    <a:pt x="26" y="87"/>
                  </a:cubicBezTo>
                  <a:cubicBezTo>
                    <a:pt x="17" y="64"/>
                    <a:pt x="8" y="40"/>
                    <a:pt x="0" y="1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3" name="Freeform 60">
              <a:extLst>
                <a:ext uri="{FF2B5EF4-FFF2-40B4-BE49-F238E27FC236}">
                  <a16:creationId xmlns:a16="http://schemas.microsoft.com/office/drawing/2014/main" id="{F5DB3EC2-8062-44F2-98FC-228C1A671AFD}"/>
                </a:ext>
              </a:extLst>
            </p:cNvPr>
            <p:cNvSpPr>
              <a:spLocks/>
            </p:cNvSpPr>
            <p:nvPr/>
          </p:nvSpPr>
          <p:spPr bwMode="auto">
            <a:xfrm>
              <a:off x="4732761" y="5261077"/>
              <a:ext cx="29849" cy="24422"/>
            </a:xfrm>
            <a:custGeom>
              <a:avLst/>
              <a:gdLst>
                <a:gd name="T0" fmla="*/ 9 w 73"/>
                <a:gd name="T1" fmla="*/ 27 h 54"/>
                <a:gd name="T2" fmla="*/ 72 w 73"/>
                <a:gd name="T3" fmla="*/ 8 h 54"/>
                <a:gd name="T4" fmla="*/ 73 w 73"/>
                <a:gd name="T5" fmla="*/ 33 h 54"/>
                <a:gd name="T6" fmla="*/ 12 w 73"/>
                <a:gd name="T7" fmla="*/ 54 h 54"/>
                <a:gd name="T8" fmla="*/ 9 w 73"/>
                <a:gd name="T9" fmla="*/ 27 h 54"/>
              </a:gdLst>
              <a:ahLst/>
              <a:cxnLst>
                <a:cxn ang="0">
                  <a:pos x="T0" y="T1"/>
                </a:cxn>
                <a:cxn ang="0">
                  <a:pos x="T2" y="T3"/>
                </a:cxn>
                <a:cxn ang="0">
                  <a:pos x="T4" y="T5"/>
                </a:cxn>
                <a:cxn ang="0">
                  <a:pos x="T6" y="T7"/>
                </a:cxn>
                <a:cxn ang="0">
                  <a:pos x="T8" y="T9"/>
                </a:cxn>
              </a:cxnLst>
              <a:rect l="0" t="0" r="r" b="b"/>
              <a:pathLst>
                <a:path w="73" h="54">
                  <a:moveTo>
                    <a:pt x="9" y="27"/>
                  </a:moveTo>
                  <a:cubicBezTo>
                    <a:pt x="24" y="0"/>
                    <a:pt x="50" y="11"/>
                    <a:pt x="72" y="8"/>
                  </a:cubicBezTo>
                  <a:cubicBezTo>
                    <a:pt x="72" y="16"/>
                    <a:pt x="73" y="24"/>
                    <a:pt x="73" y="33"/>
                  </a:cubicBezTo>
                  <a:cubicBezTo>
                    <a:pt x="58" y="54"/>
                    <a:pt x="32" y="47"/>
                    <a:pt x="12" y="54"/>
                  </a:cubicBezTo>
                  <a:cubicBezTo>
                    <a:pt x="1" y="46"/>
                    <a:pt x="0" y="37"/>
                    <a:pt x="9" y="2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4" name="Freeform 62">
              <a:extLst>
                <a:ext uri="{FF2B5EF4-FFF2-40B4-BE49-F238E27FC236}">
                  <a16:creationId xmlns:a16="http://schemas.microsoft.com/office/drawing/2014/main" id="{BACF4A11-C09B-414C-BE09-0EE6C607AC1F}"/>
                </a:ext>
              </a:extLst>
            </p:cNvPr>
            <p:cNvSpPr>
              <a:spLocks/>
            </p:cNvSpPr>
            <p:nvPr/>
          </p:nvSpPr>
          <p:spPr bwMode="auto">
            <a:xfrm>
              <a:off x="6743485" y="3510852"/>
              <a:ext cx="16281" cy="21708"/>
            </a:xfrm>
            <a:custGeom>
              <a:avLst/>
              <a:gdLst>
                <a:gd name="T0" fmla="*/ 12 w 38"/>
                <a:gd name="T1" fmla="*/ 2 h 56"/>
                <a:gd name="T2" fmla="*/ 30 w 38"/>
                <a:gd name="T3" fmla="*/ 0 h 56"/>
                <a:gd name="T4" fmla="*/ 16 w 38"/>
                <a:gd name="T5" fmla="*/ 54 h 56"/>
                <a:gd name="T6" fmla="*/ 0 w 38"/>
                <a:gd name="T7" fmla="*/ 49 h 56"/>
                <a:gd name="T8" fmla="*/ 12 w 38"/>
                <a:gd name="T9" fmla="*/ 2 h 56"/>
              </a:gdLst>
              <a:ahLst/>
              <a:cxnLst>
                <a:cxn ang="0">
                  <a:pos x="T0" y="T1"/>
                </a:cxn>
                <a:cxn ang="0">
                  <a:pos x="T2" y="T3"/>
                </a:cxn>
                <a:cxn ang="0">
                  <a:pos x="T4" y="T5"/>
                </a:cxn>
                <a:cxn ang="0">
                  <a:pos x="T6" y="T7"/>
                </a:cxn>
                <a:cxn ang="0">
                  <a:pos x="T8" y="T9"/>
                </a:cxn>
              </a:cxnLst>
              <a:rect l="0" t="0" r="r" b="b"/>
              <a:pathLst>
                <a:path w="38" h="56">
                  <a:moveTo>
                    <a:pt x="12" y="2"/>
                  </a:moveTo>
                  <a:cubicBezTo>
                    <a:pt x="18" y="2"/>
                    <a:pt x="24" y="2"/>
                    <a:pt x="30" y="0"/>
                  </a:cubicBezTo>
                  <a:cubicBezTo>
                    <a:pt x="29" y="20"/>
                    <a:pt x="38" y="42"/>
                    <a:pt x="16" y="54"/>
                  </a:cubicBezTo>
                  <a:cubicBezTo>
                    <a:pt x="12" y="56"/>
                    <a:pt x="0" y="50"/>
                    <a:pt x="0" y="49"/>
                  </a:cubicBezTo>
                  <a:cubicBezTo>
                    <a:pt x="3" y="34"/>
                    <a:pt x="8" y="18"/>
                    <a:pt x="12" y="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5" name="Freeform 64">
              <a:extLst>
                <a:ext uri="{FF2B5EF4-FFF2-40B4-BE49-F238E27FC236}">
                  <a16:creationId xmlns:a16="http://schemas.microsoft.com/office/drawing/2014/main" id="{7B0E1B93-BEBB-4BBA-B1C4-D777EEB3C773}"/>
                </a:ext>
              </a:extLst>
            </p:cNvPr>
            <p:cNvSpPr>
              <a:spLocks/>
            </p:cNvSpPr>
            <p:nvPr/>
          </p:nvSpPr>
          <p:spPr bwMode="auto">
            <a:xfrm>
              <a:off x="7229207" y="6273223"/>
              <a:ext cx="21708" cy="13568"/>
            </a:xfrm>
            <a:custGeom>
              <a:avLst/>
              <a:gdLst>
                <a:gd name="T0" fmla="*/ 44 w 52"/>
                <a:gd name="T1" fmla="*/ 14 h 35"/>
                <a:gd name="T2" fmla="*/ 30 w 52"/>
                <a:gd name="T3" fmla="*/ 34 h 35"/>
                <a:gd name="T4" fmla="*/ 6 w 52"/>
                <a:gd name="T5" fmla="*/ 20 h 35"/>
                <a:gd name="T6" fmla="*/ 21 w 52"/>
                <a:gd name="T7" fmla="*/ 1 h 35"/>
                <a:gd name="T8" fmla="*/ 44 w 52"/>
                <a:gd name="T9" fmla="*/ 14 h 35"/>
              </a:gdLst>
              <a:ahLst/>
              <a:cxnLst>
                <a:cxn ang="0">
                  <a:pos x="T0" y="T1"/>
                </a:cxn>
                <a:cxn ang="0">
                  <a:pos x="T2" y="T3"/>
                </a:cxn>
                <a:cxn ang="0">
                  <a:pos x="T4" y="T5"/>
                </a:cxn>
                <a:cxn ang="0">
                  <a:pos x="T6" y="T7"/>
                </a:cxn>
                <a:cxn ang="0">
                  <a:pos x="T8" y="T9"/>
                </a:cxn>
              </a:cxnLst>
              <a:rect l="0" t="0" r="r" b="b"/>
              <a:pathLst>
                <a:path w="52" h="35">
                  <a:moveTo>
                    <a:pt x="44" y="14"/>
                  </a:moveTo>
                  <a:cubicBezTo>
                    <a:pt x="52" y="33"/>
                    <a:pt x="39" y="35"/>
                    <a:pt x="30" y="34"/>
                  </a:cubicBezTo>
                  <a:cubicBezTo>
                    <a:pt x="22" y="33"/>
                    <a:pt x="10" y="27"/>
                    <a:pt x="6" y="20"/>
                  </a:cubicBezTo>
                  <a:cubicBezTo>
                    <a:pt x="0" y="9"/>
                    <a:pt x="9" y="0"/>
                    <a:pt x="21" y="1"/>
                  </a:cubicBezTo>
                  <a:cubicBezTo>
                    <a:pt x="29" y="3"/>
                    <a:pt x="38" y="10"/>
                    <a:pt x="44" y="1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6" name="Freeform 65">
              <a:extLst>
                <a:ext uri="{FF2B5EF4-FFF2-40B4-BE49-F238E27FC236}">
                  <a16:creationId xmlns:a16="http://schemas.microsoft.com/office/drawing/2014/main" id="{102AE73E-83B1-4F98-B559-9D3C0C9B97CE}"/>
                </a:ext>
              </a:extLst>
            </p:cNvPr>
            <p:cNvSpPr>
              <a:spLocks/>
            </p:cNvSpPr>
            <p:nvPr/>
          </p:nvSpPr>
          <p:spPr bwMode="auto">
            <a:xfrm>
              <a:off x="3772173" y="2875886"/>
              <a:ext cx="1525003" cy="1028427"/>
            </a:xfrm>
            <a:custGeom>
              <a:avLst/>
              <a:gdLst>
                <a:gd name="T0" fmla="*/ 2139 w 3642"/>
                <a:gd name="T1" fmla="*/ 245 h 2454"/>
                <a:gd name="T2" fmla="*/ 2057 w 3642"/>
                <a:gd name="T3" fmla="*/ 430 h 2454"/>
                <a:gd name="T4" fmla="*/ 1851 w 3642"/>
                <a:gd name="T5" fmla="*/ 601 h 2454"/>
                <a:gd name="T6" fmla="*/ 1792 w 3642"/>
                <a:gd name="T7" fmla="*/ 879 h 2454"/>
                <a:gd name="T8" fmla="*/ 1885 w 3642"/>
                <a:gd name="T9" fmla="*/ 1047 h 2454"/>
                <a:gd name="T10" fmla="*/ 2054 w 3642"/>
                <a:gd name="T11" fmla="*/ 1090 h 2454"/>
                <a:gd name="T12" fmla="*/ 1940 w 3642"/>
                <a:gd name="T13" fmla="*/ 734 h 2454"/>
                <a:gd name="T14" fmla="*/ 2185 w 3642"/>
                <a:gd name="T15" fmla="*/ 726 h 2454"/>
                <a:gd name="T16" fmla="*/ 2510 w 3642"/>
                <a:gd name="T17" fmla="*/ 696 h 2454"/>
                <a:gd name="T18" fmla="*/ 2674 w 3642"/>
                <a:gd name="T19" fmla="*/ 754 h 2454"/>
                <a:gd name="T20" fmla="*/ 2855 w 3642"/>
                <a:gd name="T21" fmla="*/ 830 h 2454"/>
                <a:gd name="T22" fmla="*/ 3168 w 3642"/>
                <a:gd name="T23" fmla="*/ 801 h 2454"/>
                <a:gd name="T24" fmla="*/ 3301 w 3642"/>
                <a:gd name="T25" fmla="*/ 912 h 2454"/>
                <a:gd name="T26" fmla="*/ 3620 w 3642"/>
                <a:gd name="T27" fmla="*/ 999 h 2454"/>
                <a:gd name="T28" fmla="*/ 3623 w 3642"/>
                <a:gd name="T29" fmla="*/ 1164 h 2454"/>
                <a:gd name="T30" fmla="*/ 3517 w 3642"/>
                <a:gd name="T31" fmla="*/ 1349 h 2454"/>
                <a:gd name="T32" fmla="*/ 3216 w 3642"/>
                <a:gd name="T33" fmla="*/ 1346 h 2454"/>
                <a:gd name="T34" fmla="*/ 3266 w 3642"/>
                <a:gd name="T35" fmla="*/ 1477 h 2454"/>
                <a:gd name="T36" fmla="*/ 3361 w 3642"/>
                <a:gd name="T37" fmla="*/ 1580 h 2454"/>
                <a:gd name="T38" fmla="*/ 3253 w 3642"/>
                <a:gd name="T39" fmla="*/ 1691 h 2454"/>
                <a:gd name="T40" fmla="*/ 3105 w 3642"/>
                <a:gd name="T41" fmla="*/ 1882 h 2454"/>
                <a:gd name="T42" fmla="*/ 2887 w 3642"/>
                <a:gd name="T43" fmla="*/ 2024 h 2454"/>
                <a:gd name="T44" fmla="*/ 2780 w 3642"/>
                <a:gd name="T45" fmla="*/ 2248 h 2454"/>
                <a:gd name="T46" fmla="*/ 2604 w 3642"/>
                <a:gd name="T47" fmla="*/ 2358 h 2454"/>
                <a:gd name="T48" fmla="*/ 2097 w 3642"/>
                <a:gd name="T49" fmla="*/ 2248 h 2454"/>
                <a:gd name="T50" fmla="*/ 1507 w 3642"/>
                <a:gd name="T51" fmla="*/ 2332 h 2454"/>
                <a:gd name="T52" fmla="*/ 1282 w 3642"/>
                <a:gd name="T53" fmla="*/ 2206 h 2454"/>
                <a:gd name="T54" fmla="*/ 837 w 3642"/>
                <a:gd name="T55" fmla="*/ 2345 h 2454"/>
                <a:gd name="T56" fmla="*/ 312 w 3642"/>
                <a:gd name="T57" fmla="*/ 2168 h 2454"/>
                <a:gd name="T58" fmla="*/ 21 w 3642"/>
                <a:gd name="T59" fmla="*/ 1974 h 2454"/>
                <a:gd name="T60" fmla="*/ 149 w 3642"/>
                <a:gd name="T61" fmla="*/ 1725 h 2454"/>
                <a:gd name="T62" fmla="*/ 216 w 3642"/>
                <a:gd name="T63" fmla="*/ 1518 h 2454"/>
                <a:gd name="T64" fmla="*/ 426 w 3642"/>
                <a:gd name="T65" fmla="*/ 1067 h 2454"/>
                <a:gd name="T66" fmla="*/ 423 w 3642"/>
                <a:gd name="T67" fmla="*/ 842 h 2454"/>
                <a:gd name="T68" fmla="*/ 587 w 3642"/>
                <a:gd name="T69" fmla="*/ 710 h 2454"/>
                <a:gd name="T70" fmla="*/ 600 w 3642"/>
                <a:gd name="T71" fmla="*/ 840 h 2454"/>
                <a:gd name="T72" fmla="*/ 800 w 3642"/>
                <a:gd name="T73" fmla="*/ 908 h 2454"/>
                <a:gd name="T74" fmla="*/ 683 w 3642"/>
                <a:gd name="T75" fmla="*/ 1172 h 2454"/>
                <a:gd name="T76" fmla="*/ 991 w 3642"/>
                <a:gd name="T77" fmla="*/ 1087 h 2454"/>
                <a:gd name="T78" fmla="*/ 1173 w 3642"/>
                <a:gd name="T79" fmla="*/ 1127 h 2454"/>
                <a:gd name="T80" fmla="*/ 1256 w 3642"/>
                <a:gd name="T81" fmla="*/ 983 h 2454"/>
                <a:gd name="T82" fmla="*/ 1250 w 3642"/>
                <a:gd name="T83" fmla="*/ 837 h 2454"/>
                <a:gd name="T84" fmla="*/ 1277 w 3642"/>
                <a:gd name="T85" fmla="*/ 655 h 2454"/>
                <a:gd name="T86" fmla="*/ 1382 w 3642"/>
                <a:gd name="T87" fmla="*/ 618 h 2454"/>
                <a:gd name="T88" fmla="*/ 1194 w 3642"/>
                <a:gd name="T89" fmla="*/ 395 h 2454"/>
                <a:gd name="T90" fmla="*/ 1585 w 3642"/>
                <a:gd name="T91" fmla="*/ 153 h 2454"/>
                <a:gd name="T92" fmla="*/ 1836 w 3642"/>
                <a:gd name="T93" fmla="*/ 22 h 2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42" h="2454">
                  <a:moveTo>
                    <a:pt x="2017" y="18"/>
                  </a:moveTo>
                  <a:cubicBezTo>
                    <a:pt x="2059" y="51"/>
                    <a:pt x="2113" y="69"/>
                    <a:pt x="2140" y="120"/>
                  </a:cubicBezTo>
                  <a:cubicBezTo>
                    <a:pt x="2125" y="162"/>
                    <a:pt x="2185" y="204"/>
                    <a:pt x="2139" y="245"/>
                  </a:cubicBezTo>
                  <a:cubicBezTo>
                    <a:pt x="2140" y="244"/>
                    <a:pt x="2140" y="244"/>
                    <a:pt x="2140" y="244"/>
                  </a:cubicBezTo>
                  <a:cubicBezTo>
                    <a:pt x="2121" y="275"/>
                    <a:pt x="2120" y="313"/>
                    <a:pt x="2105" y="347"/>
                  </a:cubicBezTo>
                  <a:cubicBezTo>
                    <a:pt x="2084" y="371"/>
                    <a:pt x="2079" y="405"/>
                    <a:pt x="2057" y="430"/>
                  </a:cubicBezTo>
                  <a:cubicBezTo>
                    <a:pt x="2058" y="429"/>
                    <a:pt x="2058" y="429"/>
                    <a:pt x="2058" y="429"/>
                  </a:cubicBezTo>
                  <a:cubicBezTo>
                    <a:pt x="2030" y="491"/>
                    <a:pt x="2003" y="551"/>
                    <a:pt x="1916" y="543"/>
                  </a:cubicBezTo>
                  <a:cubicBezTo>
                    <a:pt x="1880" y="540"/>
                    <a:pt x="1876" y="585"/>
                    <a:pt x="1851" y="601"/>
                  </a:cubicBezTo>
                  <a:cubicBezTo>
                    <a:pt x="1828" y="639"/>
                    <a:pt x="1848" y="673"/>
                    <a:pt x="1861" y="708"/>
                  </a:cubicBezTo>
                  <a:cubicBezTo>
                    <a:pt x="1851" y="763"/>
                    <a:pt x="1810" y="803"/>
                    <a:pt x="1790" y="853"/>
                  </a:cubicBezTo>
                  <a:cubicBezTo>
                    <a:pt x="1790" y="862"/>
                    <a:pt x="1791" y="871"/>
                    <a:pt x="1792" y="879"/>
                  </a:cubicBezTo>
                  <a:cubicBezTo>
                    <a:pt x="1811" y="921"/>
                    <a:pt x="1792" y="973"/>
                    <a:pt x="1829" y="1009"/>
                  </a:cubicBezTo>
                  <a:cubicBezTo>
                    <a:pt x="1835" y="1015"/>
                    <a:pt x="1840" y="1023"/>
                    <a:pt x="1844" y="1031"/>
                  </a:cubicBezTo>
                  <a:cubicBezTo>
                    <a:pt x="1850" y="1054"/>
                    <a:pt x="1862" y="1066"/>
                    <a:pt x="1885" y="1047"/>
                  </a:cubicBezTo>
                  <a:cubicBezTo>
                    <a:pt x="1897" y="1040"/>
                    <a:pt x="1910" y="1038"/>
                    <a:pt x="1923" y="1046"/>
                  </a:cubicBezTo>
                  <a:cubicBezTo>
                    <a:pt x="1933" y="1055"/>
                    <a:pt x="1940" y="1066"/>
                    <a:pt x="1949" y="1076"/>
                  </a:cubicBezTo>
                  <a:cubicBezTo>
                    <a:pt x="1980" y="1109"/>
                    <a:pt x="2020" y="1124"/>
                    <a:pt x="2054" y="1090"/>
                  </a:cubicBezTo>
                  <a:cubicBezTo>
                    <a:pt x="2085" y="1058"/>
                    <a:pt x="2073" y="1013"/>
                    <a:pt x="2052" y="979"/>
                  </a:cubicBezTo>
                  <a:cubicBezTo>
                    <a:pt x="2037" y="955"/>
                    <a:pt x="2001" y="945"/>
                    <a:pt x="2003" y="909"/>
                  </a:cubicBezTo>
                  <a:cubicBezTo>
                    <a:pt x="2015" y="839"/>
                    <a:pt x="1963" y="792"/>
                    <a:pt x="1940" y="734"/>
                  </a:cubicBezTo>
                  <a:cubicBezTo>
                    <a:pt x="1931" y="702"/>
                    <a:pt x="1919" y="670"/>
                    <a:pt x="1929" y="635"/>
                  </a:cubicBezTo>
                  <a:cubicBezTo>
                    <a:pt x="1964" y="608"/>
                    <a:pt x="2002" y="640"/>
                    <a:pt x="2038" y="629"/>
                  </a:cubicBezTo>
                  <a:cubicBezTo>
                    <a:pt x="2060" y="702"/>
                    <a:pt x="2124" y="712"/>
                    <a:pt x="2185" y="726"/>
                  </a:cubicBezTo>
                  <a:cubicBezTo>
                    <a:pt x="2234" y="750"/>
                    <a:pt x="2286" y="757"/>
                    <a:pt x="2340" y="747"/>
                  </a:cubicBezTo>
                  <a:cubicBezTo>
                    <a:pt x="2373" y="760"/>
                    <a:pt x="2407" y="763"/>
                    <a:pt x="2442" y="750"/>
                  </a:cubicBezTo>
                  <a:cubicBezTo>
                    <a:pt x="2460" y="726"/>
                    <a:pt x="2479" y="704"/>
                    <a:pt x="2510" y="696"/>
                  </a:cubicBezTo>
                  <a:cubicBezTo>
                    <a:pt x="2509" y="696"/>
                    <a:pt x="2509" y="696"/>
                    <a:pt x="2509" y="696"/>
                  </a:cubicBezTo>
                  <a:cubicBezTo>
                    <a:pt x="2549" y="683"/>
                    <a:pt x="2582" y="614"/>
                    <a:pt x="2633" y="680"/>
                  </a:cubicBezTo>
                  <a:cubicBezTo>
                    <a:pt x="2649" y="703"/>
                    <a:pt x="2706" y="705"/>
                    <a:pt x="2674" y="754"/>
                  </a:cubicBezTo>
                  <a:cubicBezTo>
                    <a:pt x="2652" y="783"/>
                    <a:pt x="2653" y="801"/>
                    <a:pt x="2695" y="801"/>
                  </a:cubicBezTo>
                  <a:cubicBezTo>
                    <a:pt x="2718" y="801"/>
                    <a:pt x="2736" y="782"/>
                    <a:pt x="2759" y="783"/>
                  </a:cubicBezTo>
                  <a:cubicBezTo>
                    <a:pt x="2794" y="791"/>
                    <a:pt x="2827" y="778"/>
                    <a:pt x="2855" y="830"/>
                  </a:cubicBezTo>
                  <a:cubicBezTo>
                    <a:pt x="2878" y="872"/>
                    <a:pt x="2951" y="870"/>
                    <a:pt x="2996" y="819"/>
                  </a:cubicBezTo>
                  <a:cubicBezTo>
                    <a:pt x="3019" y="786"/>
                    <a:pt x="3045" y="760"/>
                    <a:pt x="3089" y="787"/>
                  </a:cubicBezTo>
                  <a:cubicBezTo>
                    <a:pt x="3120" y="762"/>
                    <a:pt x="3151" y="733"/>
                    <a:pt x="3168" y="801"/>
                  </a:cubicBezTo>
                  <a:cubicBezTo>
                    <a:pt x="3171" y="815"/>
                    <a:pt x="3199" y="808"/>
                    <a:pt x="3211" y="820"/>
                  </a:cubicBezTo>
                  <a:cubicBezTo>
                    <a:pt x="3217" y="820"/>
                    <a:pt x="3223" y="820"/>
                    <a:pt x="3229" y="820"/>
                  </a:cubicBezTo>
                  <a:cubicBezTo>
                    <a:pt x="3269" y="838"/>
                    <a:pt x="3268" y="888"/>
                    <a:pt x="3301" y="912"/>
                  </a:cubicBezTo>
                  <a:cubicBezTo>
                    <a:pt x="3352" y="908"/>
                    <a:pt x="3389" y="932"/>
                    <a:pt x="3417" y="973"/>
                  </a:cubicBezTo>
                  <a:cubicBezTo>
                    <a:pt x="3441" y="994"/>
                    <a:pt x="3464" y="1000"/>
                    <a:pt x="3498" y="992"/>
                  </a:cubicBezTo>
                  <a:cubicBezTo>
                    <a:pt x="3537" y="982"/>
                    <a:pt x="3582" y="962"/>
                    <a:pt x="3620" y="999"/>
                  </a:cubicBezTo>
                  <a:cubicBezTo>
                    <a:pt x="3642" y="1028"/>
                    <a:pt x="3581" y="1055"/>
                    <a:pt x="3617" y="1084"/>
                  </a:cubicBezTo>
                  <a:cubicBezTo>
                    <a:pt x="3618" y="1090"/>
                    <a:pt x="3618" y="1096"/>
                    <a:pt x="3618" y="1102"/>
                  </a:cubicBezTo>
                  <a:cubicBezTo>
                    <a:pt x="3617" y="1123"/>
                    <a:pt x="3633" y="1142"/>
                    <a:pt x="3623" y="1164"/>
                  </a:cubicBezTo>
                  <a:cubicBezTo>
                    <a:pt x="3595" y="1217"/>
                    <a:pt x="3625" y="1284"/>
                    <a:pt x="3582" y="1334"/>
                  </a:cubicBezTo>
                  <a:cubicBezTo>
                    <a:pt x="3575" y="1341"/>
                    <a:pt x="3567" y="1345"/>
                    <a:pt x="3558" y="1348"/>
                  </a:cubicBezTo>
                  <a:cubicBezTo>
                    <a:pt x="3544" y="1351"/>
                    <a:pt x="3530" y="1351"/>
                    <a:pt x="3517" y="1349"/>
                  </a:cubicBezTo>
                  <a:cubicBezTo>
                    <a:pt x="3484" y="1342"/>
                    <a:pt x="3453" y="1354"/>
                    <a:pt x="3422" y="1356"/>
                  </a:cubicBezTo>
                  <a:cubicBezTo>
                    <a:pt x="3402" y="1358"/>
                    <a:pt x="3383" y="1359"/>
                    <a:pt x="3363" y="1359"/>
                  </a:cubicBezTo>
                  <a:cubicBezTo>
                    <a:pt x="3314" y="1358"/>
                    <a:pt x="3264" y="1365"/>
                    <a:pt x="3216" y="1346"/>
                  </a:cubicBezTo>
                  <a:cubicBezTo>
                    <a:pt x="3199" y="1340"/>
                    <a:pt x="3185" y="1317"/>
                    <a:pt x="3165" y="1338"/>
                  </a:cubicBezTo>
                  <a:cubicBezTo>
                    <a:pt x="3163" y="1377"/>
                    <a:pt x="3144" y="1416"/>
                    <a:pt x="3164" y="1454"/>
                  </a:cubicBezTo>
                  <a:cubicBezTo>
                    <a:pt x="3195" y="1474"/>
                    <a:pt x="3233" y="1467"/>
                    <a:pt x="3266" y="1477"/>
                  </a:cubicBezTo>
                  <a:cubicBezTo>
                    <a:pt x="3275" y="1480"/>
                    <a:pt x="3283" y="1483"/>
                    <a:pt x="3291" y="1488"/>
                  </a:cubicBezTo>
                  <a:cubicBezTo>
                    <a:pt x="3312" y="1510"/>
                    <a:pt x="3333" y="1533"/>
                    <a:pt x="3355" y="1554"/>
                  </a:cubicBezTo>
                  <a:cubicBezTo>
                    <a:pt x="3359" y="1562"/>
                    <a:pt x="3361" y="1571"/>
                    <a:pt x="3361" y="1580"/>
                  </a:cubicBezTo>
                  <a:cubicBezTo>
                    <a:pt x="3357" y="1603"/>
                    <a:pt x="3351" y="1625"/>
                    <a:pt x="3336" y="1644"/>
                  </a:cubicBezTo>
                  <a:cubicBezTo>
                    <a:pt x="3329" y="1650"/>
                    <a:pt x="3321" y="1654"/>
                    <a:pt x="3312" y="1656"/>
                  </a:cubicBezTo>
                  <a:cubicBezTo>
                    <a:pt x="3287" y="1659"/>
                    <a:pt x="3257" y="1652"/>
                    <a:pt x="3253" y="1691"/>
                  </a:cubicBezTo>
                  <a:cubicBezTo>
                    <a:pt x="3251" y="1709"/>
                    <a:pt x="3250" y="1727"/>
                    <a:pt x="3246" y="1745"/>
                  </a:cubicBezTo>
                  <a:cubicBezTo>
                    <a:pt x="3237" y="1773"/>
                    <a:pt x="3219" y="1795"/>
                    <a:pt x="3198" y="1815"/>
                  </a:cubicBezTo>
                  <a:cubicBezTo>
                    <a:pt x="3168" y="1840"/>
                    <a:pt x="3136" y="1860"/>
                    <a:pt x="3105" y="1882"/>
                  </a:cubicBezTo>
                  <a:cubicBezTo>
                    <a:pt x="3075" y="1899"/>
                    <a:pt x="3043" y="1909"/>
                    <a:pt x="3010" y="1911"/>
                  </a:cubicBezTo>
                  <a:cubicBezTo>
                    <a:pt x="2941" y="1901"/>
                    <a:pt x="2918" y="1947"/>
                    <a:pt x="2900" y="2000"/>
                  </a:cubicBezTo>
                  <a:cubicBezTo>
                    <a:pt x="2897" y="2008"/>
                    <a:pt x="2892" y="2016"/>
                    <a:pt x="2887" y="2024"/>
                  </a:cubicBezTo>
                  <a:cubicBezTo>
                    <a:pt x="2867" y="2057"/>
                    <a:pt x="2834" y="2083"/>
                    <a:pt x="2822" y="2122"/>
                  </a:cubicBezTo>
                  <a:cubicBezTo>
                    <a:pt x="2809" y="2155"/>
                    <a:pt x="2802" y="2190"/>
                    <a:pt x="2792" y="2224"/>
                  </a:cubicBezTo>
                  <a:cubicBezTo>
                    <a:pt x="2789" y="2233"/>
                    <a:pt x="2785" y="2240"/>
                    <a:pt x="2780" y="2248"/>
                  </a:cubicBezTo>
                  <a:cubicBezTo>
                    <a:pt x="2754" y="2277"/>
                    <a:pt x="2762" y="2316"/>
                    <a:pt x="2750" y="2350"/>
                  </a:cubicBezTo>
                  <a:cubicBezTo>
                    <a:pt x="2742" y="2369"/>
                    <a:pt x="2729" y="2384"/>
                    <a:pt x="2711" y="2393"/>
                  </a:cubicBezTo>
                  <a:cubicBezTo>
                    <a:pt x="2666" y="2408"/>
                    <a:pt x="2630" y="2395"/>
                    <a:pt x="2604" y="2358"/>
                  </a:cubicBezTo>
                  <a:cubicBezTo>
                    <a:pt x="2565" y="2302"/>
                    <a:pt x="2518" y="2301"/>
                    <a:pt x="2454" y="2311"/>
                  </a:cubicBezTo>
                  <a:cubicBezTo>
                    <a:pt x="2370" y="2324"/>
                    <a:pt x="2282" y="2312"/>
                    <a:pt x="2201" y="2273"/>
                  </a:cubicBezTo>
                  <a:cubicBezTo>
                    <a:pt x="2169" y="2258"/>
                    <a:pt x="2138" y="2231"/>
                    <a:pt x="2097" y="2248"/>
                  </a:cubicBezTo>
                  <a:cubicBezTo>
                    <a:pt x="2000" y="2298"/>
                    <a:pt x="1908" y="2356"/>
                    <a:pt x="1792" y="2285"/>
                  </a:cubicBezTo>
                  <a:cubicBezTo>
                    <a:pt x="1757" y="2263"/>
                    <a:pt x="1700" y="2248"/>
                    <a:pt x="1655" y="2287"/>
                  </a:cubicBezTo>
                  <a:cubicBezTo>
                    <a:pt x="1615" y="2331"/>
                    <a:pt x="1558" y="2327"/>
                    <a:pt x="1507" y="2332"/>
                  </a:cubicBezTo>
                  <a:cubicBezTo>
                    <a:pt x="1436" y="2339"/>
                    <a:pt x="1434" y="2282"/>
                    <a:pt x="1430" y="2231"/>
                  </a:cubicBezTo>
                  <a:cubicBezTo>
                    <a:pt x="1404" y="2174"/>
                    <a:pt x="1365" y="2157"/>
                    <a:pt x="1309" y="2193"/>
                  </a:cubicBezTo>
                  <a:cubicBezTo>
                    <a:pt x="1301" y="2199"/>
                    <a:pt x="1291" y="2209"/>
                    <a:pt x="1282" y="2206"/>
                  </a:cubicBezTo>
                  <a:cubicBezTo>
                    <a:pt x="1165" y="2167"/>
                    <a:pt x="1112" y="2251"/>
                    <a:pt x="1054" y="2325"/>
                  </a:cubicBezTo>
                  <a:cubicBezTo>
                    <a:pt x="1030" y="2369"/>
                    <a:pt x="994" y="2399"/>
                    <a:pt x="950" y="2422"/>
                  </a:cubicBezTo>
                  <a:cubicBezTo>
                    <a:pt x="873" y="2454"/>
                    <a:pt x="847" y="2412"/>
                    <a:pt x="837" y="2345"/>
                  </a:cubicBezTo>
                  <a:cubicBezTo>
                    <a:pt x="804" y="2300"/>
                    <a:pt x="759" y="2289"/>
                    <a:pt x="704" y="2289"/>
                  </a:cubicBezTo>
                  <a:cubicBezTo>
                    <a:pt x="593" y="2289"/>
                    <a:pt x="470" y="2318"/>
                    <a:pt x="396" y="2192"/>
                  </a:cubicBezTo>
                  <a:cubicBezTo>
                    <a:pt x="381" y="2166"/>
                    <a:pt x="345" y="2160"/>
                    <a:pt x="312" y="2168"/>
                  </a:cubicBezTo>
                  <a:cubicBezTo>
                    <a:pt x="247" y="2182"/>
                    <a:pt x="209" y="2164"/>
                    <a:pt x="197" y="2091"/>
                  </a:cubicBezTo>
                  <a:cubicBezTo>
                    <a:pt x="189" y="2049"/>
                    <a:pt x="167" y="2010"/>
                    <a:pt x="103" y="2037"/>
                  </a:cubicBezTo>
                  <a:cubicBezTo>
                    <a:pt x="55" y="2057"/>
                    <a:pt x="9" y="2037"/>
                    <a:pt x="21" y="1974"/>
                  </a:cubicBezTo>
                  <a:cubicBezTo>
                    <a:pt x="29" y="1932"/>
                    <a:pt x="1" y="1903"/>
                    <a:pt x="0" y="1867"/>
                  </a:cubicBezTo>
                  <a:cubicBezTo>
                    <a:pt x="25" y="1848"/>
                    <a:pt x="58" y="1863"/>
                    <a:pt x="83" y="1845"/>
                  </a:cubicBezTo>
                  <a:cubicBezTo>
                    <a:pt x="134" y="1821"/>
                    <a:pt x="145" y="1774"/>
                    <a:pt x="149" y="1725"/>
                  </a:cubicBezTo>
                  <a:cubicBezTo>
                    <a:pt x="153" y="1716"/>
                    <a:pt x="157" y="1708"/>
                    <a:pt x="162" y="1700"/>
                  </a:cubicBezTo>
                  <a:cubicBezTo>
                    <a:pt x="183" y="1673"/>
                    <a:pt x="226" y="1652"/>
                    <a:pt x="182" y="1610"/>
                  </a:cubicBezTo>
                  <a:cubicBezTo>
                    <a:pt x="120" y="1552"/>
                    <a:pt x="168" y="1538"/>
                    <a:pt x="216" y="1518"/>
                  </a:cubicBezTo>
                  <a:cubicBezTo>
                    <a:pt x="251" y="1504"/>
                    <a:pt x="326" y="1513"/>
                    <a:pt x="282" y="1434"/>
                  </a:cubicBezTo>
                  <a:cubicBezTo>
                    <a:pt x="242" y="1352"/>
                    <a:pt x="325" y="1370"/>
                    <a:pt x="355" y="1345"/>
                  </a:cubicBezTo>
                  <a:cubicBezTo>
                    <a:pt x="411" y="1303"/>
                    <a:pt x="467" y="1122"/>
                    <a:pt x="426" y="1067"/>
                  </a:cubicBezTo>
                  <a:cubicBezTo>
                    <a:pt x="390" y="1019"/>
                    <a:pt x="392" y="964"/>
                    <a:pt x="366" y="916"/>
                  </a:cubicBezTo>
                  <a:cubicBezTo>
                    <a:pt x="366" y="901"/>
                    <a:pt x="376" y="891"/>
                    <a:pt x="384" y="879"/>
                  </a:cubicBezTo>
                  <a:cubicBezTo>
                    <a:pt x="394" y="864"/>
                    <a:pt x="408" y="852"/>
                    <a:pt x="423" y="842"/>
                  </a:cubicBezTo>
                  <a:cubicBezTo>
                    <a:pt x="443" y="829"/>
                    <a:pt x="443" y="804"/>
                    <a:pt x="459" y="788"/>
                  </a:cubicBezTo>
                  <a:cubicBezTo>
                    <a:pt x="478" y="775"/>
                    <a:pt x="503" y="768"/>
                    <a:pt x="514" y="746"/>
                  </a:cubicBezTo>
                  <a:cubicBezTo>
                    <a:pt x="529" y="715"/>
                    <a:pt x="553" y="698"/>
                    <a:pt x="587" y="710"/>
                  </a:cubicBezTo>
                  <a:cubicBezTo>
                    <a:pt x="627" y="724"/>
                    <a:pt x="579" y="758"/>
                    <a:pt x="600" y="778"/>
                  </a:cubicBezTo>
                  <a:cubicBezTo>
                    <a:pt x="591" y="801"/>
                    <a:pt x="547" y="806"/>
                    <a:pt x="565" y="841"/>
                  </a:cubicBezTo>
                  <a:cubicBezTo>
                    <a:pt x="568" y="846"/>
                    <a:pt x="588" y="841"/>
                    <a:pt x="600" y="840"/>
                  </a:cubicBezTo>
                  <a:cubicBezTo>
                    <a:pt x="613" y="856"/>
                    <a:pt x="631" y="860"/>
                    <a:pt x="650" y="862"/>
                  </a:cubicBezTo>
                  <a:cubicBezTo>
                    <a:pt x="687" y="883"/>
                    <a:pt x="721" y="876"/>
                    <a:pt x="753" y="851"/>
                  </a:cubicBezTo>
                  <a:cubicBezTo>
                    <a:pt x="798" y="846"/>
                    <a:pt x="791" y="884"/>
                    <a:pt x="800" y="908"/>
                  </a:cubicBezTo>
                  <a:cubicBezTo>
                    <a:pt x="818" y="934"/>
                    <a:pt x="853" y="960"/>
                    <a:pt x="798" y="984"/>
                  </a:cubicBezTo>
                  <a:cubicBezTo>
                    <a:pt x="756" y="1017"/>
                    <a:pt x="781" y="1063"/>
                    <a:pt x="774" y="1102"/>
                  </a:cubicBezTo>
                  <a:cubicBezTo>
                    <a:pt x="784" y="1179"/>
                    <a:pt x="719" y="1156"/>
                    <a:pt x="683" y="1172"/>
                  </a:cubicBezTo>
                  <a:cubicBezTo>
                    <a:pt x="665" y="1219"/>
                    <a:pt x="700" y="1222"/>
                    <a:pt x="729" y="1229"/>
                  </a:cubicBezTo>
                  <a:cubicBezTo>
                    <a:pt x="805" y="1214"/>
                    <a:pt x="867" y="1178"/>
                    <a:pt x="907" y="1110"/>
                  </a:cubicBezTo>
                  <a:cubicBezTo>
                    <a:pt x="927" y="1075"/>
                    <a:pt x="955" y="1066"/>
                    <a:pt x="991" y="1087"/>
                  </a:cubicBezTo>
                  <a:cubicBezTo>
                    <a:pt x="989" y="1086"/>
                    <a:pt x="989" y="1086"/>
                    <a:pt x="989" y="1086"/>
                  </a:cubicBezTo>
                  <a:cubicBezTo>
                    <a:pt x="1036" y="1117"/>
                    <a:pt x="1092" y="1078"/>
                    <a:pt x="1139" y="1108"/>
                  </a:cubicBezTo>
                  <a:cubicBezTo>
                    <a:pt x="1151" y="1114"/>
                    <a:pt x="1162" y="1121"/>
                    <a:pt x="1173" y="1127"/>
                  </a:cubicBezTo>
                  <a:cubicBezTo>
                    <a:pt x="1231" y="1152"/>
                    <a:pt x="1227" y="1118"/>
                    <a:pt x="1231" y="1076"/>
                  </a:cubicBezTo>
                  <a:cubicBezTo>
                    <a:pt x="1233" y="1046"/>
                    <a:pt x="1192" y="997"/>
                    <a:pt x="1257" y="984"/>
                  </a:cubicBezTo>
                  <a:cubicBezTo>
                    <a:pt x="1256" y="983"/>
                    <a:pt x="1256" y="983"/>
                    <a:pt x="1256" y="983"/>
                  </a:cubicBezTo>
                  <a:cubicBezTo>
                    <a:pt x="1282" y="1003"/>
                    <a:pt x="1299" y="995"/>
                    <a:pt x="1310" y="967"/>
                  </a:cubicBezTo>
                  <a:cubicBezTo>
                    <a:pt x="1319" y="944"/>
                    <a:pt x="1322" y="921"/>
                    <a:pt x="1303" y="902"/>
                  </a:cubicBezTo>
                  <a:cubicBezTo>
                    <a:pt x="1283" y="882"/>
                    <a:pt x="1245" y="877"/>
                    <a:pt x="1250" y="837"/>
                  </a:cubicBezTo>
                  <a:cubicBezTo>
                    <a:pt x="1265" y="800"/>
                    <a:pt x="1228" y="723"/>
                    <a:pt x="1303" y="745"/>
                  </a:cubicBezTo>
                  <a:cubicBezTo>
                    <a:pt x="1298" y="744"/>
                    <a:pt x="1274" y="758"/>
                    <a:pt x="1257" y="733"/>
                  </a:cubicBezTo>
                  <a:cubicBezTo>
                    <a:pt x="1274" y="710"/>
                    <a:pt x="1280" y="683"/>
                    <a:pt x="1277" y="655"/>
                  </a:cubicBezTo>
                  <a:cubicBezTo>
                    <a:pt x="1308" y="607"/>
                    <a:pt x="1370" y="646"/>
                    <a:pt x="1404" y="608"/>
                  </a:cubicBezTo>
                  <a:cubicBezTo>
                    <a:pt x="1451" y="619"/>
                    <a:pt x="1456" y="656"/>
                    <a:pt x="1456" y="676"/>
                  </a:cubicBezTo>
                  <a:cubicBezTo>
                    <a:pt x="1444" y="657"/>
                    <a:pt x="1467" y="586"/>
                    <a:pt x="1382" y="618"/>
                  </a:cubicBezTo>
                  <a:cubicBezTo>
                    <a:pt x="1326" y="629"/>
                    <a:pt x="1270" y="640"/>
                    <a:pt x="1213" y="623"/>
                  </a:cubicBezTo>
                  <a:cubicBezTo>
                    <a:pt x="1116" y="596"/>
                    <a:pt x="1087" y="497"/>
                    <a:pt x="1152" y="413"/>
                  </a:cubicBezTo>
                  <a:cubicBezTo>
                    <a:pt x="1157" y="385"/>
                    <a:pt x="1183" y="409"/>
                    <a:pt x="1194" y="395"/>
                  </a:cubicBezTo>
                  <a:cubicBezTo>
                    <a:pt x="1246" y="293"/>
                    <a:pt x="1371" y="285"/>
                    <a:pt x="1439" y="204"/>
                  </a:cubicBezTo>
                  <a:cubicBezTo>
                    <a:pt x="1447" y="204"/>
                    <a:pt x="1454" y="204"/>
                    <a:pt x="1462" y="203"/>
                  </a:cubicBezTo>
                  <a:cubicBezTo>
                    <a:pt x="1505" y="193"/>
                    <a:pt x="1550" y="186"/>
                    <a:pt x="1585" y="153"/>
                  </a:cubicBezTo>
                  <a:cubicBezTo>
                    <a:pt x="1625" y="130"/>
                    <a:pt x="1657" y="95"/>
                    <a:pt x="1704" y="84"/>
                  </a:cubicBezTo>
                  <a:cubicBezTo>
                    <a:pt x="1740" y="79"/>
                    <a:pt x="1779" y="83"/>
                    <a:pt x="1802" y="45"/>
                  </a:cubicBezTo>
                  <a:cubicBezTo>
                    <a:pt x="1811" y="33"/>
                    <a:pt x="1822" y="26"/>
                    <a:pt x="1836" y="22"/>
                  </a:cubicBezTo>
                  <a:cubicBezTo>
                    <a:pt x="1896" y="0"/>
                    <a:pt x="1957" y="65"/>
                    <a:pt x="2017" y="1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66">
              <a:extLst>
                <a:ext uri="{FF2B5EF4-FFF2-40B4-BE49-F238E27FC236}">
                  <a16:creationId xmlns:a16="http://schemas.microsoft.com/office/drawing/2014/main" id="{1CE94693-CB3A-4E3C-8EE1-B6134A0AEA1E}"/>
                </a:ext>
              </a:extLst>
            </p:cNvPr>
            <p:cNvSpPr>
              <a:spLocks/>
            </p:cNvSpPr>
            <p:nvPr/>
          </p:nvSpPr>
          <p:spPr bwMode="auto">
            <a:xfrm>
              <a:off x="3945838" y="2145947"/>
              <a:ext cx="512857" cy="586122"/>
            </a:xfrm>
            <a:custGeom>
              <a:avLst/>
              <a:gdLst>
                <a:gd name="T0" fmla="*/ 21 w 1224"/>
                <a:gd name="T1" fmla="*/ 445 h 1396"/>
                <a:gd name="T2" fmla="*/ 81 w 1224"/>
                <a:gd name="T3" fmla="*/ 362 h 1396"/>
                <a:gd name="T4" fmla="*/ 184 w 1224"/>
                <a:gd name="T5" fmla="*/ 355 h 1396"/>
                <a:gd name="T6" fmla="*/ 273 w 1224"/>
                <a:gd name="T7" fmla="*/ 439 h 1396"/>
                <a:gd name="T8" fmla="*/ 296 w 1224"/>
                <a:gd name="T9" fmla="*/ 507 h 1396"/>
                <a:gd name="T10" fmla="*/ 412 w 1224"/>
                <a:gd name="T11" fmla="*/ 440 h 1396"/>
                <a:gd name="T12" fmla="*/ 558 w 1224"/>
                <a:gd name="T13" fmla="*/ 457 h 1396"/>
                <a:gd name="T14" fmla="*/ 679 w 1224"/>
                <a:gd name="T15" fmla="*/ 375 h 1396"/>
                <a:gd name="T16" fmla="*/ 745 w 1224"/>
                <a:gd name="T17" fmla="*/ 299 h 1396"/>
                <a:gd name="T18" fmla="*/ 943 w 1224"/>
                <a:gd name="T19" fmla="*/ 153 h 1396"/>
                <a:gd name="T20" fmla="*/ 943 w 1224"/>
                <a:gd name="T21" fmla="*/ 114 h 1396"/>
                <a:gd name="T22" fmla="*/ 896 w 1224"/>
                <a:gd name="T23" fmla="*/ 28 h 1396"/>
                <a:gd name="T24" fmla="*/ 928 w 1224"/>
                <a:gd name="T25" fmla="*/ 0 h 1396"/>
                <a:gd name="T26" fmla="*/ 1054 w 1224"/>
                <a:gd name="T27" fmla="*/ 78 h 1396"/>
                <a:gd name="T28" fmla="*/ 1116 w 1224"/>
                <a:gd name="T29" fmla="*/ 181 h 1396"/>
                <a:gd name="T30" fmla="*/ 1149 w 1224"/>
                <a:gd name="T31" fmla="*/ 343 h 1396"/>
                <a:gd name="T32" fmla="*/ 1150 w 1224"/>
                <a:gd name="T33" fmla="*/ 342 h 1396"/>
                <a:gd name="T34" fmla="*/ 1009 w 1224"/>
                <a:gd name="T35" fmla="*/ 552 h 1396"/>
                <a:gd name="T36" fmla="*/ 994 w 1224"/>
                <a:gd name="T37" fmla="*/ 739 h 1396"/>
                <a:gd name="T38" fmla="*/ 995 w 1224"/>
                <a:gd name="T39" fmla="*/ 842 h 1396"/>
                <a:gd name="T40" fmla="*/ 932 w 1224"/>
                <a:gd name="T41" fmla="*/ 986 h 1396"/>
                <a:gd name="T42" fmla="*/ 1073 w 1224"/>
                <a:gd name="T43" fmla="*/ 1079 h 1396"/>
                <a:gd name="T44" fmla="*/ 1148 w 1224"/>
                <a:gd name="T45" fmla="*/ 1202 h 1396"/>
                <a:gd name="T46" fmla="*/ 1150 w 1224"/>
                <a:gd name="T47" fmla="*/ 1264 h 1396"/>
                <a:gd name="T48" fmla="*/ 1054 w 1224"/>
                <a:gd name="T49" fmla="*/ 1346 h 1396"/>
                <a:gd name="T50" fmla="*/ 922 w 1224"/>
                <a:gd name="T51" fmla="*/ 1396 h 1396"/>
                <a:gd name="T52" fmla="*/ 908 w 1224"/>
                <a:gd name="T53" fmla="*/ 1252 h 1396"/>
                <a:gd name="T54" fmla="*/ 861 w 1224"/>
                <a:gd name="T55" fmla="*/ 1198 h 1396"/>
                <a:gd name="T56" fmla="*/ 724 w 1224"/>
                <a:gd name="T57" fmla="*/ 1208 h 1396"/>
                <a:gd name="T58" fmla="*/ 611 w 1224"/>
                <a:gd name="T59" fmla="*/ 1279 h 1396"/>
                <a:gd name="T60" fmla="*/ 562 w 1224"/>
                <a:gd name="T61" fmla="*/ 1309 h 1396"/>
                <a:gd name="T62" fmla="*/ 536 w 1224"/>
                <a:gd name="T63" fmla="*/ 1250 h 1396"/>
                <a:gd name="T64" fmla="*/ 471 w 1224"/>
                <a:gd name="T65" fmla="*/ 1040 h 1396"/>
                <a:gd name="T66" fmla="*/ 431 w 1224"/>
                <a:gd name="T67" fmla="*/ 1041 h 1396"/>
                <a:gd name="T68" fmla="*/ 372 w 1224"/>
                <a:gd name="T69" fmla="*/ 917 h 1396"/>
                <a:gd name="T70" fmla="*/ 359 w 1224"/>
                <a:gd name="T71" fmla="*/ 777 h 1396"/>
                <a:gd name="T72" fmla="*/ 245 w 1224"/>
                <a:gd name="T73" fmla="*/ 688 h 1396"/>
                <a:gd name="T74" fmla="*/ 169 w 1224"/>
                <a:gd name="T75" fmla="*/ 645 h 1396"/>
                <a:gd name="T76" fmla="*/ 105 w 1224"/>
                <a:gd name="T77" fmla="*/ 650 h 1396"/>
                <a:gd name="T78" fmla="*/ 81 w 1224"/>
                <a:gd name="T79" fmla="*/ 650 h 1396"/>
                <a:gd name="T80" fmla="*/ 29 w 1224"/>
                <a:gd name="T81" fmla="*/ 540 h 1396"/>
                <a:gd name="T82" fmla="*/ 21 w 1224"/>
                <a:gd name="T83" fmla="*/ 445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24" h="1396">
                  <a:moveTo>
                    <a:pt x="21" y="445"/>
                  </a:moveTo>
                  <a:cubicBezTo>
                    <a:pt x="46" y="421"/>
                    <a:pt x="29" y="366"/>
                    <a:pt x="81" y="362"/>
                  </a:cubicBezTo>
                  <a:cubicBezTo>
                    <a:pt x="113" y="320"/>
                    <a:pt x="149" y="345"/>
                    <a:pt x="184" y="355"/>
                  </a:cubicBezTo>
                  <a:cubicBezTo>
                    <a:pt x="212" y="385"/>
                    <a:pt x="263" y="391"/>
                    <a:pt x="273" y="439"/>
                  </a:cubicBezTo>
                  <a:cubicBezTo>
                    <a:pt x="276" y="464"/>
                    <a:pt x="274" y="490"/>
                    <a:pt x="296" y="507"/>
                  </a:cubicBezTo>
                  <a:cubicBezTo>
                    <a:pt x="342" y="498"/>
                    <a:pt x="356" y="433"/>
                    <a:pt x="412" y="440"/>
                  </a:cubicBezTo>
                  <a:cubicBezTo>
                    <a:pt x="459" y="461"/>
                    <a:pt x="515" y="406"/>
                    <a:pt x="558" y="457"/>
                  </a:cubicBezTo>
                  <a:cubicBezTo>
                    <a:pt x="627" y="472"/>
                    <a:pt x="672" y="451"/>
                    <a:pt x="679" y="375"/>
                  </a:cubicBezTo>
                  <a:cubicBezTo>
                    <a:pt x="683" y="334"/>
                    <a:pt x="701" y="296"/>
                    <a:pt x="745" y="299"/>
                  </a:cubicBezTo>
                  <a:cubicBezTo>
                    <a:pt x="856" y="308"/>
                    <a:pt x="867" y="188"/>
                    <a:pt x="943" y="153"/>
                  </a:cubicBezTo>
                  <a:cubicBezTo>
                    <a:pt x="949" y="150"/>
                    <a:pt x="944" y="127"/>
                    <a:pt x="943" y="114"/>
                  </a:cubicBezTo>
                  <a:cubicBezTo>
                    <a:pt x="932" y="82"/>
                    <a:pt x="899" y="63"/>
                    <a:pt x="896" y="28"/>
                  </a:cubicBezTo>
                  <a:cubicBezTo>
                    <a:pt x="901" y="12"/>
                    <a:pt x="912" y="4"/>
                    <a:pt x="928" y="0"/>
                  </a:cubicBezTo>
                  <a:cubicBezTo>
                    <a:pt x="985" y="2"/>
                    <a:pt x="1007" y="60"/>
                    <a:pt x="1054" y="78"/>
                  </a:cubicBezTo>
                  <a:cubicBezTo>
                    <a:pt x="1054" y="125"/>
                    <a:pt x="1070" y="156"/>
                    <a:pt x="1116" y="181"/>
                  </a:cubicBezTo>
                  <a:cubicBezTo>
                    <a:pt x="1224" y="241"/>
                    <a:pt x="1222" y="244"/>
                    <a:pt x="1149" y="343"/>
                  </a:cubicBezTo>
                  <a:cubicBezTo>
                    <a:pt x="1150" y="342"/>
                    <a:pt x="1150" y="342"/>
                    <a:pt x="1150" y="342"/>
                  </a:cubicBezTo>
                  <a:cubicBezTo>
                    <a:pt x="1095" y="407"/>
                    <a:pt x="1036" y="468"/>
                    <a:pt x="1009" y="552"/>
                  </a:cubicBezTo>
                  <a:cubicBezTo>
                    <a:pt x="989" y="613"/>
                    <a:pt x="967" y="674"/>
                    <a:pt x="994" y="739"/>
                  </a:cubicBezTo>
                  <a:cubicBezTo>
                    <a:pt x="996" y="773"/>
                    <a:pt x="995" y="808"/>
                    <a:pt x="995" y="842"/>
                  </a:cubicBezTo>
                  <a:cubicBezTo>
                    <a:pt x="986" y="895"/>
                    <a:pt x="916" y="922"/>
                    <a:pt x="932" y="986"/>
                  </a:cubicBezTo>
                  <a:cubicBezTo>
                    <a:pt x="970" y="1030"/>
                    <a:pt x="1048" y="1015"/>
                    <a:pt x="1073" y="1079"/>
                  </a:cubicBezTo>
                  <a:cubicBezTo>
                    <a:pt x="1096" y="1121"/>
                    <a:pt x="1119" y="1164"/>
                    <a:pt x="1148" y="1202"/>
                  </a:cubicBezTo>
                  <a:cubicBezTo>
                    <a:pt x="1149" y="1223"/>
                    <a:pt x="1149" y="1243"/>
                    <a:pt x="1150" y="1264"/>
                  </a:cubicBezTo>
                  <a:cubicBezTo>
                    <a:pt x="1128" y="1303"/>
                    <a:pt x="1083" y="1315"/>
                    <a:pt x="1054" y="1346"/>
                  </a:cubicBezTo>
                  <a:cubicBezTo>
                    <a:pt x="1009" y="1360"/>
                    <a:pt x="960" y="1363"/>
                    <a:pt x="922" y="1396"/>
                  </a:cubicBezTo>
                  <a:cubicBezTo>
                    <a:pt x="855" y="1355"/>
                    <a:pt x="918" y="1300"/>
                    <a:pt x="908" y="1252"/>
                  </a:cubicBezTo>
                  <a:cubicBezTo>
                    <a:pt x="901" y="1219"/>
                    <a:pt x="923" y="1178"/>
                    <a:pt x="861" y="1198"/>
                  </a:cubicBezTo>
                  <a:cubicBezTo>
                    <a:pt x="817" y="1224"/>
                    <a:pt x="783" y="1246"/>
                    <a:pt x="724" y="1208"/>
                  </a:cubicBezTo>
                  <a:cubicBezTo>
                    <a:pt x="675" y="1177"/>
                    <a:pt x="641" y="1241"/>
                    <a:pt x="611" y="1279"/>
                  </a:cubicBezTo>
                  <a:cubicBezTo>
                    <a:pt x="598" y="1296"/>
                    <a:pt x="583" y="1314"/>
                    <a:pt x="562" y="1309"/>
                  </a:cubicBezTo>
                  <a:cubicBezTo>
                    <a:pt x="534" y="1302"/>
                    <a:pt x="535" y="1274"/>
                    <a:pt x="536" y="1250"/>
                  </a:cubicBezTo>
                  <a:cubicBezTo>
                    <a:pt x="583" y="1159"/>
                    <a:pt x="525" y="1100"/>
                    <a:pt x="471" y="1040"/>
                  </a:cubicBezTo>
                  <a:cubicBezTo>
                    <a:pt x="458" y="1041"/>
                    <a:pt x="444" y="1041"/>
                    <a:pt x="431" y="1041"/>
                  </a:cubicBezTo>
                  <a:cubicBezTo>
                    <a:pt x="402" y="1004"/>
                    <a:pt x="382" y="963"/>
                    <a:pt x="372" y="917"/>
                  </a:cubicBezTo>
                  <a:cubicBezTo>
                    <a:pt x="364" y="871"/>
                    <a:pt x="373" y="824"/>
                    <a:pt x="359" y="777"/>
                  </a:cubicBezTo>
                  <a:cubicBezTo>
                    <a:pt x="340" y="717"/>
                    <a:pt x="325" y="667"/>
                    <a:pt x="245" y="688"/>
                  </a:cubicBezTo>
                  <a:cubicBezTo>
                    <a:pt x="211" y="696"/>
                    <a:pt x="191" y="665"/>
                    <a:pt x="169" y="645"/>
                  </a:cubicBezTo>
                  <a:cubicBezTo>
                    <a:pt x="146" y="625"/>
                    <a:pt x="124" y="613"/>
                    <a:pt x="105" y="650"/>
                  </a:cubicBezTo>
                  <a:cubicBezTo>
                    <a:pt x="97" y="650"/>
                    <a:pt x="89" y="650"/>
                    <a:pt x="81" y="650"/>
                  </a:cubicBezTo>
                  <a:cubicBezTo>
                    <a:pt x="33" y="628"/>
                    <a:pt x="0" y="602"/>
                    <a:pt x="29" y="540"/>
                  </a:cubicBezTo>
                  <a:cubicBezTo>
                    <a:pt x="43" y="511"/>
                    <a:pt x="38" y="475"/>
                    <a:pt x="21" y="44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8" name="Freeform 67">
              <a:extLst>
                <a:ext uri="{FF2B5EF4-FFF2-40B4-BE49-F238E27FC236}">
                  <a16:creationId xmlns:a16="http://schemas.microsoft.com/office/drawing/2014/main" id="{4D6DDE41-D0F5-49F2-93DA-87C1BF5C0DBE}"/>
                </a:ext>
              </a:extLst>
            </p:cNvPr>
            <p:cNvSpPr>
              <a:spLocks/>
            </p:cNvSpPr>
            <p:nvPr/>
          </p:nvSpPr>
          <p:spPr bwMode="auto">
            <a:xfrm>
              <a:off x="3910563" y="3250353"/>
              <a:ext cx="56984" cy="198088"/>
            </a:xfrm>
            <a:custGeom>
              <a:avLst/>
              <a:gdLst>
                <a:gd name="T0" fmla="*/ 41 w 137"/>
                <a:gd name="T1" fmla="*/ 8 h 473"/>
                <a:gd name="T2" fmla="*/ 101 w 137"/>
                <a:gd name="T3" fmla="*/ 392 h 473"/>
                <a:gd name="T4" fmla="*/ 23 w 137"/>
                <a:gd name="T5" fmla="*/ 461 h 473"/>
                <a:gd name="T6" fmla="*/ 3 w 137"/>
                <a:gd name="T7" fmla="*/ 444 h 473"/>
                <a:gd name="T8" fmla="*/ 50 w 137"/>
                <a:gd name="T9" fmla="*/ 151 h 473"/>
                <a:gd name="T10" fmla="*/ 19 w 137"/>
                <a:gd name="T11" fmla="*/ 8 h 473"/>
                <a:gd name="T12" fmla="*/ 41 w 137"/>
                <a:gd name="T13" fmla="*/ 8 h 473"/>
              </a:gdLst>
              <a:ahLst/>
              <a:cxnLst>
                <a:cxn ang="0">
                  <a:pos x="T0" y="T1"/>
                </a:cxn>
                <a:cxn ang="0">
                  <a:pos x="T2" y="T3"/>
                </a:cxn>
                <a:cxn ang="0">
                  <a:pos x="T4" y="T5"/>
                </a:cxn>
                <a:cxn ang="0">
                  <a:pos x="T6" y="T7"/>
                </a:cxn>
                <a:cxn ang="0">
                  <a:pos x="T8" y="T9"/>
                </a:cxn>
                <a:cxn ang="0">
                  <a:pos x="T10" y="T11"/>
                </a:cxn>
                <a:cxn ang="0">
                  <a:pos x="T12" y="T13"/>
                </a:cxn>
              </a:cxnLst>
              <a:rect l="0" t="0" r="r" b="b"/>
              <a:pathLst>
                <a:path w="137" h="473">
                  <a:moveTo>
                    <a:pt x="41" y="8"/>
                  </a:moveTo>
                  <a:cubicBezTo>
                    <a:pt x="109" y="129"/>
                    <a:pt x="137" y="256"/>
                    <a:pt x="101" y="392"/>
                  </a:cubicBezTo>
                  <a:cubicBezTo>
                    <a:pt x="91" y="430"/>
                    <a:pt x="67" y="458"/>
                    <a:pt x="23" y="461"/>
                  </a:cubicBezTo>
                  <a:cubicBezTo>
                    <a:pt x="1" y="473"/>
                    <a:pt x="0" y="461"/>
                    <a:pt x="3" y="444"/>
                  </a:cubicBezTo>
                  <a:cubicBezTo>
                    <a:pt x="84" y="390"/>
                    <a:pt x="106" y="225"/>
                    <a:pt x="50" y="151"/>
                  </a:cubicBezTo>
                  <a:cubicBezTo>
                    <a:pt x="22" y="113"/>
                    <a:pt x="17" y="58"/>
                    <a:pt x="19" y="8"/>
                  </a:cubicBezTo>
                  <a:cubicBezTo>
                    <a:pt x="27" y="0"/>
                    <a:pt x="34" y="0"/>
                    <a:pt x="41" y="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9" name="Freeform 68">
              <a:extLst>
                <a:ext uri="{FF2B5EF4-FFF2-40B4-BE49-F238E27FC236}">
                  <a16:creationId xmlns:a16="http://schemas.microsoft.com/office/drawing/2014/main" id="{24C8AE76-B0D6-448A-896F-8C3FD5B79B17}"/>
                </a:ext>
              </a:extLst>
            </p:cNvPr>
            <p:cNvSpPr>
              <a:spLocks/>
            </p:cNvSpPr>
            <p:nvPr/>
          </p:nvSpPr>
          <p:spPr bwMode="auto">
            <a:xfrm>
              <a:off x="4154780" y="2631669"/>
              <a:ext cx="160098" cy="78692"/>
            </a:xfrm>
            <a:custGeom>
              <a:avLst/>
              <a:gdLst>
                <a:gd name="T0" fmla="*/ 52 w 386"/>
                <a:gd name="T1" fmla="*/ 89 h 188"/>
                <a:gd name="T2" fmla="*/ 88 w 386"/>
                <a:gd name="T3" fmla="*/ 121 h 188"/>
                <a:gd name="T4" fmla="*/ 162 w 386"/>
                <a:gd name="T5" fmla="*/ 39 h 188"/>
                <a:gd name="T6" fmla="*/ 228 w 386"/>
                <a:gd name="T7" fmla="*/ 28 h 188"/>
                <a:gd name="T8" fmla="*/ 361 w 386"/>
                <a:gd name="T9" fmla="*/ 28 h 188"/>
                <a:gd name="T10" fmla="*/ 383 w 386"/>
                <a:gd name="T11" fmla="*/ 47 h 188"/>
                <a:gd name="T12" fmla="*/ 223 w 386"/>
                <a:gd name="T13" fmla="*/ 71 h 188"/>
                <a:gd name="T14" fmla="*/ 141 w 386"/>
                <a:gd name="T15" fmla="*/ 124 h 188"/>
                <a:gd name="T16" fmla="*/ 50 w 386"/>
                <a:gd name="T17" fmla="*/ 165 h 188"/>
                <a:gd name="T18" fmla="*/ 32 w 386"/>
                <a:gd name="T19" fmla="*/ 67 h 188"/>
                <a:gd name="T20" fmla="*/ 52 w 386"/>
                <a:gd name="T21" fmla="*/ 8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6" h="188">
                  <a:moveTo>
                    <a:pt x="52" y="89"/>
                  </a:moveTo>
                  <a:cubicBezTo>
                    <a:pt x="63" y="103"/>
                    <a:pt x="37" y="171"/>
                    <a:pt x="88" y="121"/>
                  </a:cubicBezTo>
                  <a:cubicBezTo>
                    <a:pt x="113" y="97"/>
                    <a:pt x="143" y="72"/>
                    <a:pt x="162" y="39"/>
                  </a:cubicBezTo>
                  <a:cubicBezTo>
                    <a:pt x="178" y="10"/>
                    <a:pt x="206" y="0"/>
                    <a:pt x="228" y="28"/>
                  </a:cubicBezTo>
                  <a:cubicBezTo>
                    <a:pt x="275" y="89"/>
                    <a:pt x="317" y="47"/>
                    <a:pt x="361" y="28"/>
                  </a:cubicBezTo>
                  <a:cubicBezTo>
                    <a:pt x="383" y="18"/>
                    <a:pt x="386" y="29"/>
                    <a:pt x="383" y="47"/>
                  </a:cubicBezTo>
                  <a:cubicBezTo>
                    <a:pt x="333" y="72"/>
                    <a:pt x="292" y="127"/>
                    <a:pt x="223" y="71"/>
                  </a:cubicBezTo>
                  <a:cubicBezTo>
                    <a:pt x="200" y="52"/>
                    <a:pt x="146" y="102"/>
                    <a:pt x="141" y="124"/>
                  </a:cubicBezTo>
                  <a:cubicBezTo>
                    <a:pt x="126" y="188"/>
                    <a:pt x="86" y="180"/>
                    <a:pt x="50" y="165"/>
                  </a:cubicBezTo>
                  <a:cubicBezTo>
                    <a:pt x="3" y="146"/>
                    <a:pt x="0" y="107"/>
                    <a:pt x="32" y="67"/>
                  </a:cubicBezTo>
                  <a:cubicBezTo>
                    <a:pt x="44" y="69"/>
                    <a:pt x="46" y="82"/>
                    <a:pt x="52" y="8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0" name="Freeform 69">
              <a:extLst>
                <a:ext uri="{FF2B5EF4-FFF2-40B4-BE49-F238E27FC236}">
                  <a16:creationId xmlns:a16="http://schemas.microsoft.com/office/drawing/2014/main" id="{6A6E8F72-3E41-422F-8047-797C2EFCE6CB}"/>
                </a:ext>
              </a:extLst>
            </p:cNvPr>
            <p:cNvSpPr>
              <a:spLocks/>
            </p:cNvSpPr>
            <p:nvPr/>
          </p:nvSpPr>
          <p:spPr bwMode="auto">
            <a:xfrm>
              <a:off x="3989255" y="2398306"/>
              <a:ext cx="122109" cy="141103"/>
            </a:xfrm>
            <a:custGeom>
              <a:avLst/>
              <a:gdLst>
                <a:gd name="T0" fmla="*/ 2 w 295"/>
                <a:gd name="T1" fmla="*/ 51 h 342"/>
                <a:gd name="T2" fmla="*/ 33 w 295"/>
                <a:gd name="T3" fmla="*/ 14 h 342"/>
                <a:gd name="T4" fmla="*/ 245 w 295"/>
                <a:gd name="T5" fmla="*/ 107 h 342"/>
                <a:gd name="T6" fmla="*/ 284 w 295"/>
                <a:gd name="T7" fmla="*/ 320 h 342"/>
                <a:gd name="T8" fmla="*/ 265 w 295"/>
                <a:gd name="T9" fmla="*/ 342 h 342"/>
                <a:gd name="T10" fmla="*/ 243 w 295"/>
                <a:gd name="T11" fmla="*/ 237 h 342"/>
                <a:gd name="T12" fmla="*/ 126 w 295"/>
                <a:gd name="T13" fmla="*/ 107 h 342"/>
                <a:gd name="T14" fmla="*/ 2 w 295"/>
                <a:gd name="T15" fmla="*/ 51 h 3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 h="342">
                  <a:moveTo>
                    <a:pt x="2" y="51"/>
                  </a:moveTo>
                  <a:cubicBezTo>
                    <a:pt x="0" y="27"/>
                    <a:pt x="18" y="0"/>
                    <a:pt x="33" y="14"/>
                  </a:cubicBezTo>
                  <a:cubicBezTo>
                    <a:pt x="95" y="71"/>
                    <a:pt x="193" y="47"/>
                    <a:pt x="245" y="107"/>
                  </a:cubicBezTo>
                  <a:cubicBezTo>
                    <a:pt x="295" y="164"/>
                    <a:pt x="291" y="245"/>
                    <a:pt x="284" y="320"/>
                  </a:cubicBezTo>
                  <a:cubicBezTo>
                    <a:pt x="278" y="327"/>
                    <a:pt x="277" y="339"/>
                    <a:pt x="265" y="342"/>
                  </a:cubicBezTo>
                  <a:cubicBezTo>
                    <a:pt x="234" y="311"/>
                    <a:pt x="256" y="269"/>
                    <a:pt x="243" y="237"/>
                  </a:cubicBezTo>
                  <a:cubicBezTo>
                    <a:pt x="221" y="182"/>
                    <a:pt x="256" y="71"/>
                    <a:pt x="126" y="107"/>
                  </a:cubicBezTo>
                  <a:cubicBezTo>
                    <a:pt x="77" y="120"/>
                    <a:pt x="68" y="17"/>
                    <a:pt x="2" y="5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1" name="Freeform 70">
              <a:extLst>
                <a:ext uri="{FF2B5EF4-FFF2-40B4-BE49-F238E27FC236}">
                  <a16:creationId xmlns:a16="http://schemas.microsoft.com/office/drawing/2014/main" id="{DBF8C7E1-F640-41DE-9266-3FB6CA206064}"/>
                </a:ext>
              </a:extLst>
            </p:cNvPr>
            <p:cNvSpPr>
              <a:spLocks/>
            </p:cNvSpPr>
            <p:nvPr/>
          </p:nvSpPr>
          <p:spPr bwMode="auto">
            <a:xfrm>
              <a:off x="4225332" y="3044125"/>
              <a:ext cx="135676" cy="116682"/>
            </a:xfrm>
            <a:custGeom>
              <a:avLst/>
              <a:gdLst>
                <a:gd name="T0" fmla="*/ 67 w 324"/>
                <a:gd name="T1" fmla="*/ 12 h 278"/>
                <a:gd name="T2" fmla="*/ 85 w 324"/>
                <a:gd name="T3" fmla="*/ 180 h 278"/>
                <a:gd name="T4" fmla="*/ 316 w 324"/>
                <a:gd name="T5" fmla="*/ 194 h 278"/>
                <a:gd name="T6" fmla="*/ 322 w 324"/>
                <a:gd name="T7" fmla="*/ 209 h 278"/>
                <a:gd name="T8" fmla="*/ 316 w 324"/>
                <a:gd name="T9" fmla="*/ 216 h 278"/>
                <a:gd name="T10" fmla="*/ 192 w 324"/>
                <a:gd name="T11" fmla="*/ 254 h 278"/>
                <a:gd name="T12" fmla="*/ 4 w 324"/>
                <a:gd name="T13" fmla="*/ 86 h 278"/>
                <a:gd name="T14" fmla="*/ 67 w 324"/>
                <a:gd name="T15" fmla="*/ 12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 h="278">
                  <a:moveTo>
                    <a:pt x="67" y="12"/>
                  </a:moveTo>
                  <a:cubicBezTo>
                    <a:pt x="31" y="72"/>
                    <a:pt x="41" y="141"/>
                    <a:pt x="85" y="180"/>
                  </a:cubicBezTo>
                  <a:cubicBezTo>
                    <a:pt x="151" y="238"/>
                    <a:pt x="237" y="219"/>
                    <a:pt x="316" y="194"/>
                  </a:cubicBezTo>
                  <a:cubicBezTo>
                    <a:pt x="322" y="199"/>
                    <a:pt x="324" y="204"/>
                    <a:pt x="322" y="209"/>
                  </a:cubicBezTo>
                  <a:cubicBezTo>
                    <a:pt x="320" y="213"/>
                    <a:pt x="318" y="216"/>
                    <a:pt x="316" y="216"/>
                  </a:cubicBezTo>
                  <a:cubicBezTo>
                    <a:pt x="290" y="278"/>
                    <a:pt x="227" y="220"/>
                    <a:pt x="192" y="254"/>
                  </a:cubicBezTo>
                  <a:cubicBezTo>
                    <a:pt x="88" y="244"/>
                    <a:pt x="14" y="201"/>
                    <a:pt x="4" y="86"/>
                  </a:cubicBezTo>
                  <a:cubicBezTo>
                    <a:pt x="0" y="41"/>
                    <a:pt x="3" y="0"/>
                    <a:pt x="67" y="1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2" name="Freeform 71">
              <a:extLst>
                <a:ext uri="{FF2B5EF4-FFF2-40B4-BE49-F238E27FC236}">
                  <a16:creationId xmlns:a16="http://schemas.microsoft.com/office/drawing/2014/main" id="{1941375A-0A60-448A-88BB-60C519FBD654}"/>
                </a:ext>
              </a:extLst>
            </p:cNvPr>
            <p:cNvSpPr>
              <a:spLocks/>
            </p:cNvSpPr>
            <p:nvPr/>
          </p:nvSpPr>
          <p:spPr bwMode="auto">
            <a:xfrm>
              <a:off x="3788454" y="3464722"/>
              <a:ext cx="135676" cy="124822"/>
            </a:xfrm>
            <a:custGeom>
              <a:avLst/>
              <a:gdLst>
                <a:gd name="T0" fmla="*/ 251 w 324"/>
                <a:gd name="T1" fmla="*/ 29 h 302"/>
                <a:gd name="T2" fmla="*/ 232 w 324"/>
                <a:gd name="T3" fmla="*/ 110 h 302"/>
                <a:gd name="T4" fmla="*/ 173 w 324"/>
                <a:gd name="T5" fmla="*/ 222 h 302"/>
                <a:gd name="T6" fmla="*/ 128 w 324"/>
                <a:gd name="T7" fmla="*/ 302 h 302"/>
                <a:gd name="T8" fmla="*/ 127 w 324"/>
                <a:gd name="T9" fmla="*/ 277 h 302"/>
                <a:gd name="T10" fmla="*/ 51 w 324"/>
                <a:gd name="T11" fmla="*/ 98 h 302"/>
                <a:gd name="T12" fmla="*/ 4 w 324"/>
                <a:gd name="T13" fmla="*/ 29 h 302"/>
                <a:gd name="T14" fmla="*/ 25 w 324"/>
                <a:gd name="T15" fmla="*/ 9 h 302"/>
                <a:gd name="T16" fmla="*/ 215 w 324"/>
                <a:gd name="T17" fmla="*/ 86 h 302"/>
                <a:gd name="T18" fmla="*/ 224 w 324"/>
                <a:gd name="T19" fmla="*/ 32 h 302"/>
                <a:gd name="T20" fmla="*/ 251 w 324"/>
                <a:gd name="T21" fmla="*/ 2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302">
                  <a:moveTo>
                    <a:pt x="251" y="29"/>
                  </a:moveTo>
                  <a:cubicBezTo>
                    <a:pt x="324" y="76"/>
                    <a:pt x="258" y="87"/>
                    <a:pt x="232" y="110"/>
                  </a:cubicBezTo>
                  <a:cubicBezTo>
                    <a:pt x="198" y="138"/>
                    <a:pt x="60" y="110"/>
                    <a:pt x="173" y="222"/>
                  </a:cubicBezTo>
                  <a:cubicBezTo>
                    <a:pt x="193" y="242"/>
                    <a:pt x="159" y="283"/>
                    <a:pt x="128" y="302"/>
                  </a:cubicBezTo>
                  <a:cubicBezTo>
                    <a:pt x="118" y="294"/>
                    <a:pt x="117" y="286"/>
                    <a:pt x="127" y="277"/>
                  </a:cubicBezTo>
                  <a:cubicBezTo>
                    <a:pt x="138" y="203"/>
                    <a:pt x="87" y="150"/>
                    <a:pt x="51" y="98"/>
                  </a:cubicBezTo>
                  <a:cubicBezTo>
                    <a:pt x="37" y="77"/>
                    <a:pt x="31" y="44"/>
                    <a:pt x="4" y="29"/>
                  </a:cubicBezTo>
                  <a:cubicBezTo>
                    <a:pt x="0" y="10"/>
                    <a:pt x="3" y="0"/>
                    <a:pt x="25" y="9"/>
                  </a:cubicBezTo>
                  <a:cubicBezTo>
                    <a:pt x="68" y="84"/>
                    <a:pt x="128" y="118"/>
                    <a:pt x="215" y="86"/>
                  </a:cubicBezTo>
                  <a:cubicBezTo>
                    <a:pt x="249" y="73"/>
                    <a:pt x="241" y="53"/>
                    <a:pt x="224" y="32"/>
                  </a:cubicBezTo>
                  <a:cubicBezTo>
                    <a:pt x="232" y="21"/>
                    <a:pt x="241" y="21"/>
                    <a:pt x="251" y="2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Freeform 72">
              <a:extLst>
                <a:ext uri="{FF2B5EF4-FFF2-40B4-BE49-F238E27FC236}">
                  <a16:creationId xmlns:a16="http://schemas.microsoft.com/office/drawing/2014/main" id="{553859FC-CDC7-47B9-89E3-83ED699497DD}"/>
                </a:ext>
              </a:extLst>
            </p:cNvPr>
            <p:cNvSpPr>
              <a:spLocks/>
            </p:cNvSpPr>
            <p:nvPr/>
          </p:nvSpPr>
          <p:spPr bwMode="auto">
            <a:xfrm>
              <a:off x="3641923" y="3253067"/>
              <a:ext cx="97687" cy="122109"/>
            </a:xfrm>
            <a:custGeom>
              <a:avLst/>
              <a:gdLst>
                <a:gd name="T0" fmla="*/ 111 w 235"/>
                <a:gd name="T1" fmla="*/ 268 h 292"/>
                <a:gd name="T2" fmla="*/ 119 w 235"/>
                <a:gd name="T3" fmla="*/ 210 h 292"/>
                <a:gd name="T4" fmla="*/ 39 w 235"/>
                <a:gd name="T5" fmla="*/ 57 h 292"/>
                <a:gd name="T6" fmla="*/ 9 w 235"/>
                <a:gd name="T7" fmla="*/ 23 h 292"/>
                <a:gd name="T8" fmla="*/ 3 w 235"/>
                <a:gd name="T9" fmla="*/ 8 h 292"/>
                <a:gd name="T10" fmla="*/ 8 w 235"/>
                <a:gd name="T11" fmla="*/ 0 h 292"/>
                <a:gd name="T12" fmla="*/ 71 w 235"/>
                <a:gd name="T13" fmla="*/ 80 h 292"/>
                <a:gd name="T14" fmla="*/ 101 w 235"/>
                <a:gd name="T15" fmla="*/ 173 h 292"/>
                <a:gd name="T16" fmla="*/ 129 w 235"/>
                <a:gd name="T17" fmla="*/ 288 h 292"/>
                <a:gd name="T18" fmla="*/ 111 w 235"/>
                <a:gd name="T19" fmla="*/ 26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92">
                  <a:moveTo>
                    <a:pt x="111" y="268"/>
                  </a:moveTo>
                  <a:cubicBezTo>
                    <a:pt x="109" y="247"/>
                    <a:pt x="171" y="224"/>
                    <a:pt x="119" y="210"/>
                  </a:cubicBezTo>
                  <a:cubicBezTo>
                    <a:pt x="31" y="185"/>
                    <a:pt x="0" y="144"/>
                    <a:pt x="39" y="57"/>
                  </a:cubicBezTo>
                  <a:cubicBezTo>
                    <a:pt x="46" y="41"/>
                    <a:pt x="27" y="27"/>
                    <a:pt x="9" y="23"/>
                  </a:cubicBezTo>
                  <a:cubicBezTo>
                    <a:pt x="3" y="18"/>
                    <a:pt x="1" y="13"/>
                    <a:pt x="3" y="8"/>
                  </a:cubicBezTo>
                  <a:cubicBezTo>
                    <a:pt x="4" y="3"/>
                    <a:pt x="6" y="0"/>
                    <a:pt x="8" y="0"/>
                  </a:cubicBezTo>
                  <a:cubicBezTo>
                    <a:pt x="70" y="1"/>
                    <a:pt x="103" y="36"/>
                    <a:pt x="71" y="80"/>
                  </a:cubicBezTo>
                  <a:cubicBezTo>
                    <a:pt x="31" y="135"/>
                    <a:pt x="66" y="170"/>
                    <a:pt x="101" y="173"/>
                  </a:cubicBezTo>
                  <a:cubicBezTo>
                    <a:pt x="235" y="185"/>
                    <a:pt x="160" y="240"/>
                    <a:pt x="129" y="288"/>
                  </a:cubicBezTo>
                  <a:cubicBezTo>
                    <a:pt x="112" y="292"/>
                    <a:pt x="101" y="290"/>
                    <a:pt x="111" y="26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4" name="Freeform 73">
              <a:extLst>
                <a:ext uri="{FF2B5EF4-FFF2-40B4-BE49-F238E27FC236}">
                  <a16:creationId xmlns:a16="http://schemas.microsoft.com/office/drawing/2014/main" id="{242CB010-0C7A-4D7B-AA35-6F484A7CEC52}"/>
                </a:ext>
              </a:extLst>
            </p:cNvPr>
            <p:cNvSpPr>
              <a:spLocks/>
            </p:cNvSpPr>
            <p:nvPr/>
          </p:nvSpPr>
          <p:spPr bwMode="auto">
            <a:xfrm>
              <a:off x="4377289" y="2675085"/>
              <a:ext cx="59698" cy="122109"/>
            </a:xfrm>
            <a:custGeom>
              <a:avLst/>
              <a:gdLst>
                <a:gd name="T0" fmla="*/ 12 w 138"/>
                <a:gd name="T1" fmla="*/ 65 h 292"/>
                <a:gd name="T2" fmla="*/ 115 w 138"/>
                <a:gd name="T3" fmla="*/ 0 h 292"/>
                <a:gd name="T4" fmla="*/ 115 w 138"/>
                <a:gd name="T5" fmla="*/ 33 h 292"/>
                <a:gd name="T6" fmla="*/ 138 w 138"/>
                <a:gd name="T7" fmla="*/ 268 h 292"/>
                <a:gd name="T8" fmla="*/ 114 w 138"/>
                <a:gd name="T9" fmla="*/ 292 h 292"/>
                <a:gd name="T10" fmla="*/ 11 w 138"/>
                <a:gd name="T11" fmla="*/ 107 h 292"/>
                <a:gd name="T12" fmla="*/ 12 w 138"/>
                <a:gd name="T13" fmla="*/ 65 h 292"/>
              </a:gdLst>
              <a:ahLst/>
              <a:cxnLst>
                <a:cxn ang="0">
                  <a:pos x="T0" y="T1"/>
                </a:cxn>
                <a:cxn ang="0">
                  <a:pos x="T2" y="T3"/>
                </a:cxn>
                <a:cxn ang="0">
                  <a:pos x="T4" y="T5"/>
                </a:cxn>
                <a:cxn ang="0">
                  <a:pos x="T6" y="T7"/>
                </a:cxn>
                <a:cxn ang="0">
                  <a:pos x="T8" y="T9"/>
                </a:cxn>
                <a:cxn ang="0">
                  <a:pos x="T10" y="T11"/>
                </a:cxn>
                <a:cxn ang="0">
                  <a:pos x="T12" y="T13"/>
                </a:cxn>
              </a:cxnLst>
              <a:rect l="0" t="0" r="r" b="b"/>
              <a:pathLst>
                <a:path w="138" h="292">
                  <a:moveTo>
                    <a:pt x="12" y="65"/>
                  </a:moveTo>
                  <a:cubicBezTo>
                    <a:pt x="46" y="43"/>
                    <a:pt x="81" y="21"/>
                    <a:pt x="115" y="0"/>
                  </a:cubicBezTo>
                  <a:cubicBezTo>
                    <a:pt x="127" y="11"/>
                    <a:pt x="127" y="23"/>
                    <a:pt x="115" y="33"/>
                  </a:cubicBezTo>
                  <a:cubicBezTo>
                    <a:pt x="25" y="117"/>
                    <a:pt x="34" y="204"/>
                    <a:pt x="138" y="268"/>
                  </a:cubicBezTo>
                  <a:cubicBezTo>
                    <a:pt x="135" y="281"/>
                    <a:pt x="127" y="290"/>
                    <a:pt x="114" y="292"/>
                  </a:cubicBezTo>
                  <a:cubicBezTo>
                    <a:pt x="31" y="257"/>
                    <a:pt x="23" y="181"/>
                    <a:pt x="11" y="107"/>
                  </a:cubicBezTo>
                  <a:cubicBezTo>
                    <a:pt x="0" y="93"/>
                    <a:pt x="1" y="79"/>
                    <a:pt x="12" y="6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5" name="Freeform 74">
              <a:extLst>
                <a:ext uri="{FF2B5EF4-FFF2-40B4-BE49-F238E27FC236}">
                  <a16:creationId xmlns:a16="http://schemas.microsoft.com/office/drawing/2014/main" id="{F636E3B1-B40B-4FDC-9DD3-04E1DB4B4196}"/>
                </a:ext>
              </a:extLst>
            </p:cNvPr>
            <p:cNvSpPr>
              <a:spLocks/>
            </p:cNvSpPr>
            <p:nvPr/>
          </p:nvSpPr>
          <p:spPr bwMode="auto">
            <a:xfrm>
              <a:off x="4067947" y="3315478"/>
              <a:ext cx="119395" cy="92260"/>
            </a:xfrm>
            <a:custGeom>
              <a:avLst/>
              <a:gdLst>
                <a:gd name="T0" fmla="*/ 282 w 282"/>
                <a:gd name="T1" fmla="*/ 34 h 217"/>
                <a:gd name="T2" fmla="*/ 226 w 282"/>
                <a:gd name="T3" fmla="*/ 48 h 217"/>
                <a:gd name="T4" fmla="*/ 14 w 282"/>
                <a:gd name="T5" fmla="*/ 217 h 217"/>
                <a:gd name="T6" fmla="*/ 2 w 282"/>
                <a:gd name="T7" fmla="*/ 175 h 217"/>
                <a:gd name="T8" fmla="*/ 117 w 282"/>
                <a:gd name="T9" fmla="*/ 95 h 217"/>
                <a:gd name="T10" fmla="*/ 185 w 282"/>
                <a:gd name="T11" fmla="*/ 45 h 217"/>
                <a:gd name="T12" fmla="*/ 282 w 282"/>
                <a:gd name="T13" fmla="*/ 34 h 217"/>
              </a:gdLst>
              <a:ahLst/>
              <a:cxnLst>
                <a:cxn ang="0">
                  <a:pos x="T0" y="T1"/>
                </a:cxn>
                <a:cxn ang="0">
                  <a:pos x="T2" y="T3"/>
                </a:cxn>
                <a:cxn ang="0">
                  <a:pos x="T4" y="T5"/>
                </a:cxn>
                <a:cxn ang="0">
                  <a:pos x="T6" y="T7"/>
                </a:cxn>
                <a:cxn ang="0">
                  <a:pos x="T8" y="T9"/>
                </a:cxn>
                <a:cxn ang="0">
                  <a:pos x="T10" y="T11"/>
                </a:cxn>
                <a:cxn ang="0">
                  <a:pos x="T12" y="T13"/>
                </a:cxn>
              </a:cxnLst>
              <a:rect l="0" t="0" r="r" b="b"/>
              <a:pathLst>
                <a:path w="282" h="217">
                  <a:moveTo>
                    <a:pt x="282" y="34"/>
                  </a:moveTo>
                  <a:cubicBezTo>
                    <a:pt x="263" y="38"/>
                    <a:pt x="233" y="36"/>
                    <a:pt x="226" y="48"/>
                  </a:cubicBezTo>
                  <a:cubicBezTo>
                    <a:pt x="179" y="135"/>
                    <a:pt x="106" y="186"/>
                    <a:pt x="14" y="217"/>
                  </a:cubicBezTo>
                  <a:cubicBezTo>
                    <a:pt x="4" y="205"/>
                    <a:pt x="0" y="191"/>
                    <a:pt x="2" y="175"/>
                  </a:cubicBezTo>
                  <a:cubicBezTo>
                    <a:pt x="21" y="121"/>
                    <a:pt x="91" y="139"/>
                    <a:pt x="117" y="95"/>
                  </a:cubicBezTo>
                  <a:cubicBezTo>
                    <a:pt x="152" y="96"/>
                    <a:pt x="169" y="72"/>
                    <a:pt x="185" y="45"/>
                  </a:cubicBezTo>
                  <a:cubicBezTo>
                    <a:pt x="211" y="2"/>
                    <a:pt x="245" y="0"/>
                    <a:pt x="282" y="3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6" name="Freeform 75">
              <a:extLst>
                <a:ext uri="{FF2B5EF4-FFF2-40B4-BE49-F238E27FC236}">
                  <a16:creationId xmlns:a16="http://schemas.microsoft.com/office/drawing/2014/main" id="{4F287FA6-B27F-4C44-82DA-2B113EBD1B05}"/>
                </a:ext>
              </a:extLst>
            </p:cNvPr>
            <p:cNvSpPr>
              <a:spLocks/>
            </p:cNvSpPr>
            <p:nvPr/>
          </p:nvSpPr>
          <p:spPr bwMode="auto">
            <a:xfrm>
              <a:off x="3503533" y="3204223"/>
              <a:ext cx="124822" cy="73265"/>
            </a:xfrm>
            <a:custGeom>
              <a:avLst/>
              <a:gdLst>
                <a:gd name="T0" fmla="*/ 271 w 297"/>
                <a:gd name="T1" fmla="*/ 161 h 176"/>
                <a:gd name="T2" fmla="*/ 86 w 297"/>
                <a:gd name="T3" fmla="*/ 79 h 176"/>
                <a:gd name="T4" fmla="*/ 0 w 297"/>
                <a:gd name="T5" fmla="*/ 15 h 176"/>
                <a:gd name="T6" fmla="*/ 198 w 297"/>
                <a:gd name="T7" fmla="*/ 104 h 176"/>
                <a:gd name="T8" fmla="*/ 297 w 297"/>
                <a:gd name="T9" fmla="*/ 159 h 176"/>
                <a:gd name="T10" fmla="*/ 271 w 297"/>
                <a:gd name="T11" fmla="*/ 161 h 176"/>
              </a:gdLst>
              <a:ahLst/>
              <a:cxnLst>
                <a:cxn ang="0">
                  <a:pos x="T0" y="T1"/>
                </a:cxn>
                <a:cxn ang="0">
                  <a:pos x="T2" y="T3"/>
                </a:cxn>
                <a:cxn ang="0">
                  <a:pos x="T4" y="T5"/>
                </a:cxn>
                <a:cxn ang="0">
                  <a:pos x="T6" y="T7"/>
                </a:cxn>
                <a:cxn ang="0">
                  <a:pos x="T8" y="T9"/>
                </a:cxn>
                <a:cxn ang="0">
                  <a:pos x="T10" y="T11"/>
                </a:cxn>
              </a:cxnLst>
              <a:rect l="0" t="0" r="r" b="b"/>
              <a:pathLst>
                <a:path w="297" h="176">
                  <a:moveTo>
                    <a:pt x="271" y="161"/>
                  </a:moveTo>
                  <a:cubicBezTo>
                    <a:pt x="192" y="176"/>
                    <a:pt x="142" y="114"/>
                    <a:pt x="86" y="79"/>
                  </a:cubicBezTo>
                  <a:cubicBezTo>
                    <a:pt x="59" y="62"/>
                    <a:pt x="27" y="40"/>
                    <a:pt x="0" y="15"/>
                  </a:cubicBezTo>
                  <a:cubicBezTo>
                    <a:pt x="84" y="0"/>
                    <a:pt x="131" y="77"/>
                    <a:pt x="198" y="104"/>
                  </a:cubicBezTo>
                  <a:cubicBezTo>
                    <a:pt x="228" y="115"/>
                    <a:pt x="270" y="130"/>
                    <a:pt x="297" y="159"/>
                  </a:cubicBezTo>
                  <a:cubicBezTo>
                    <a:pt x="289" y="167"/>
                    <a:pt x="281" y="168"/>
                    <a:pt x="271" y="16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7" name="Freeform 76">
              <a:extLst>
                <a:ext uri="{FF2B5EF4-FFF2-40B4-BE49-F238E27FC236}">
                  <a16:creationId xmlns:a16="http://schemas.microsoft.com/office/drawing/2014/main" id="{E620B9CC-79E5-43C9-9E1F-6CBC33BF7F7D}"/>
                </a:ext>
              </a:extLst>
            </p:cNvPr>
            <p:cNvSpPr>
              <a:spLocks/>
            </p:cNvSpPr>
            <p:nvPr/>
          </p:nvSpPr>
          <p:spPr bwMode="auto">
            <a:xfrm>
              <a:off x="4412565" y="2813475"/>
              <a:ext cx="62411" cy="65125"/>
            </a:xfrm>
            <a:custGeom>
              <a:avLst/>
              <a:gdLst>
                <a:gd name="T0" fmla="*/ 71 w 144"/>
                <a:gd name="T1" fmla="*/ 23 h 158"/>
                <a:gd name="T2" fmla="*/ 114 w 144"/>
                <a:gd name="T3" fmla="*/ 122 h 158"/>
                <a:gd name="T4" fmla="*/ 113 w 144"/>
                <a:gd name="T5" fmla="*/ 145 h 158"/>
                <a:gd name="T6" fmla="*/ 94 w 144"/>
                <a:gd name="T7" fmla="*/ 149 h 158"/>
                <a:gd name="T8" fmla="*/ 7 w 144"/>
                <a:gd name="T9" fmla="*/ 125 h 158"/>
                <a:gd name="T10" fmla="*/ 49 w 144"/>
                <a:gd name="T11" fmla="*/ 0 h 158"/>
                <a:gd name="T12" fmla="*/ 71 w 144"/>
                <a:gd name="T13" fmla="*/ 23 h 158"/>
              </a:gdLst>
              <a:ahLst/>
              <a:cxnLst>
                <a:cxn ang="0">
                  <a:pos x="T0" y="T1"/>
                </a:cxn>
                <a:cxn ang="0">
                  <a:pos x="T2" y="T3"/>
                </a:cxn>
                <a:cxn ang="0">
                  <a:pos x="T4" y="T5"/>
                </a:cxn>
                <a:cxn ang="0">
                  <a:pos x="T6" y="T7"/>
                </a:cxn>
                <a:cxn ang="0">
                  <a:pos x="T8" y="T9"/>
                </a:cxn>
                <a:cxn ang="0">
                  <a:pos x="T10" y="T11"/>
                </a:cxn>
                <a:cxn ang="0">
                  <a:pos x="T12" y="T13"/>
                </a:cxn>
              </a:cxnLst>
              <a:rect l="0" t="0" r="r" b="b"/>
              <a:pathLst>
                <a:path w="144" h="158">
                  <a:moveTo>
                    <a:pt x="71" y="23"/>
                  </a:moveTo>
                  <a:cubicBezTo>
                    <a:pt x="43" y="75"/>
                    <a:pt x="144" y="70"/>
                    <a:pt x="114" y="122"/>
                  </a:cubicBezTo>
                  <a:cubicBezTo>
                    <a:pt x="125" y="130"/>
                    <a:pt x="125" y="138"/>
                    <a:pt x="113" y="145"/>
                  </a:cubicBezTo>
                  <a:cubicBezTo>
                    <a:pt x="107" y="146"/>
                    <a:pt x="100" y="148"/>
                    <a:pt x="94" y="149"/>
                  </a:cubicBezTo>
                  <a:cubicBezTo>
                    <a:pt x="63" y="149"/>
                    <a:pt x="29" y="158"/>
                    <a:pt x="7" y="125"/>
                  </a:cubicBezTo>
                  <a:cubicBezTo>
                    <a:pt x="14" y="81"/>
                    <a:pt x="0" y="30"/>
                    <a:pt x="49" y="0"/>
                  </a:cubicBezTo>
                  <a:cubicBezTo>
                    <a:pt x="62" y="3"/>
                    <a:pt x="69" y="11"/>
                    <a:pt x="71" y="2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8" name="Freeform 77">
              <a:extLst>
                <a:ext uri="{FF2B5EF4-FFF2-40B4-BE49-F238E27FC236}">
                  <a16:creationId xmlns:a16="http://schemas.microsoft.com/office/drawing/2014/main" id="{9A9661CF-DEE9-4680-BAF7-F253008F5B2E}"/>
                </a:ext>
              </a:extLst>
            </p:cNvPr>
            <p:cNvSpPr>
              <a:spLocks/>
            </p:cNvSpPr>
            <p:nvPr/>
          </p:nvSpPr>
          <p:spPr bwMode="auto">
            <a:xfrm>
              <a:off x="4304024" y="2634382"/>
              <a:ext cx="32562" cy="103114"/>
            </a:xfrm>
            <a:custGeom>
              <a:avLst/>
              <a:gdLst>
                <a:gd name="T0" fmla="*/ 23 w 73"/>
                <a:gd name="T1" fmla="*/ 41 h 246"/>
                <a:gd name="T2" fmla="*/ 1 w 73"/>
                <a:gd name="T3" fmla="*/ 22 h 246"/>
                <a:gd name="T4" fmla="*/ 70 w 73"/>
                <a:gd name="T5" fmla="*/ 81 h 246"/>
                <a:gd name="T6" fmla="*/ 63 w 73"/>
                <a:gd name="T7" fmla="*/ 224 h 246"/>
                <a:gd name="T8" fmla="*/ 69 w 73"/>
                <a:gd name="T9" fmla="*/ 238 h 246"/>
                <a:gd name="T10" fmla="*/ 63 w 73"/>
                <a:gd name="T11" fmla="*/ 246 h 246"/>
                <a:gd name="T12" fmla="*/ 23 w 73"/>
                <a:gd name="T13" fmla="*/ 165 h 246"/>
                <a:gd name="T14" fmla="*/ 23 w 73"/>
                <a:gd name="T15" fmla="*/ 41 h 2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246">
                  <a:moveTo>
                    <a:pt x="23" y="41"/>
                  </a:moveTo>
                  <a:cubicBezTo>
                    <a:pt x="16" y="35"/>
                    <a:pt x="8" y="29"/>
                    <a:pt x="1" y="22"/>
                  </a:cubicBezTo>
                  <a:cubicBezTo>
                    <a:pt x="60" y="0"/>
                    <a:pt x="73" y="21"/>
                    <a:pt x="70" y="81"/>
                  </a:cubicBezTo>
                  <a:cubicBezTo>
                    <a:pt x="68" y="128"/>
                    <a:pt x="26" y="175"/>
                    <a:pt x="63" y="224"/>
                  </a:cubicBezTo>
                  <a:cubicBezTo>
                    <a:pt x="69" y="229"/>
                    <a:pt x="71" y="234"/>
                    <a:pt x="69" y="238"/>
                  </a:cubicBezTo>
                  <a:cubicBezTo>
                    <a:pt x="67" y="243"/>
                    <a:pt x="65" y="246"/>
                    <a:pt x="63" y="246"/>
                  </a:cubicBezTo>
                  <a:cubicBezTo>
                    <a:pt x="0" y="244"/>
                    <a:pt x="25" y="196"/>
                    <a:pt x="23" y="165"/>
                  </a:cubicBezTo>
                  <a:cubicBezTo>
                    <a:pt x="20" y="124"/>
                    <a:pt x="23" y="83"/>
                    <a:pt x="23" y="4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9" name="Freeform 78">
              <a:extLst>
                <a:ext uri="{FF2B5EF4-FFF2-40B4-BE49-F238E27FC236}">
                  <a16:creationId xmlns:a16="http://schemas.microsoft.com/office/drawing/2014/main" id="{70B4CDFD-7D59-4115-9BBF-68939F771ED9}"/>
                </a:ext>
              </a:extLst>
            </p:cNvPr>
            <p:cNvSpPr>
              <a:spLocks/>
            </p:cNvSpPr>
            <p:nvPr/>
          </p:nvSpPr>
          <p:spPr bwMode="auto">
            <a:xfrm>
              <a:off x="3926844" y="2333181"/>
              <a:ext cx="51557" cy="86833"/>
            </a:xfrm>
            <a:custGeom>
              <a:avLst/>
              <a:gdLst>
                <a:gd name="T0" fmla="*/ 67 w 127"/>
                <a:gd name="T1" fmla="*/ 0 h 205"/>
                <a:gd name="T2" fmla="*/ 98 w 127"/>
                <a:gd name="T3" fmla="*/ 63 h 205"/>
                <a:gd name="T4" fmla="*/ 127 w 127"/>
                <a:gd name="T5" fmla="*/ 205 h 205"/>
                <a:gd name="T6" fmla="*/ 60 w 127"/>
                <a:gd name="T7" fmla="*/ 97 h 205"/>
                <a:gd name="T8" fmla="*/ 49 w 127"/>
                <a:gd name="T9" fmla="*/ 20 h 205"/>
                <a:gd name="T10" fmla="*/ 67 w 127"/>
                <a:gd name="T11" fmla="*/ 0 h 205"/>
              </a:gdLst>
              <a:ahLst/>
              <a:cxnLst>
                <a:cxn ang="0">
                  <a:pos x="T0" y="T1"/>
                </a:cxn>
                <a:cxn ang="0">
                  <a:pos x="T2" y="T3"/>
                </a:cxn>
                <a:cxn ang="0">
                  <a:pos x="T4" y="T5"/>
                </a:cxn>
                <a:cxn ang="0">
                  <a:pos x="T6" y="T7"/>
                </a:cxn>
                <a:cxn ang="0">
                  <a:pos x="T8" y="T9"/>
                </a:cxn>
                <a:cxn ang="0">
                  <a:pos x="T10" y="T11"/>
                </a:cxn>
              </a:cxnLst>
              <a:rect l="0" t="0" r="r" b="b"/>
              <a:pathLst>
                <a:path w="127" h="205">
                  <a:moveTo>
                    <a:pt x="67" y="0"/>
                  </a:moveTo>
                  <a:cubicBezTo>
                    <a:pt x="89" y="15"/>
                    <a:pt x="116" y="31"/>
                    <a:pt x="98" y="63"/>
                  </a:cubicBezTo>
                  <a:cubicBezTo>
                    <a:pt x="67" y="120"/>
                    <a:pt x="99" y="162"/>
                    <a:pt x="127" y="205"/>
                  </a:cubicBezTo>
                  <a:cubicBezTo>
                    <a:pt x="62" y="196"/>
                    <a:pt x="0" y="186"/>
                    <a:pt x="60" y="97"/>
                  </a:cubicBezTo>
                  <a:cubicBezTo>
                    <a:pt x="76" y="73"/>
                    <a:pt x="59" y="45"/>
                    <a:pt x="49" y="20"/>
                  </a:cubicBezTo>
                  <a:cubicBezTo>
                    <a:pt x="55" y="13"/>
                    <a:pt x="61" y="6"/>
                    <a:pt x="67"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0" name="Freeform 79">
              <a:extLst>
                <a:ext uri="{FF2B5EF4-FFF2-40B4-BE49-F238E27FC236}">
                  <a16:creationId xmlns:a16="http://schemas.microsoft.com/office/drawing/2014/main" id="{08163B14-C1DC-47A9-9491-6D8265994BD4}"/>
                </a:ext>
              </a:extLst>
            </p:cNvPr>
            <p:cNvSpPr>
              <a:spLocks/>
            </p:cNvSpPr>
            <p:nvPr/>
          </p:nvSpPr>
          <p:spPr bwMode="auto">
            <a:xfrm>
              <a:off x="4271462" y="2960006"/>
              <a:ext cx="103114" cy="81406"/>
            </a:xfrm>
            <a:custGeom>
              <a:avLst/>
              <a:gdLst>
                <a:gd name="T0" fmla="*/ 245 w 246"/>
                <a:gd name="T1" fmla="*/ 0 h 191"/>
                <a:gd name="T2" fmla="*/ 222 w 246"/>
                <a:gd name="T3" fmla="*/ 42 h 191"/>
                <a:gd name="T4" fmla="*/ 0 w 246"/>
                <a:gd name="T5" fmla="*/ 191 h 191"/>
                <a:gd name="T6" fmla="*/ 245 w 246"/>
                <a:gd name="T7" fmla="*/ 0 h 191"/>
              </a:gdLst>
              <a:ahLst/>
              <a:cxnLst>
                <a:cxn ang="0">
                  <a:pos x="T0" y="T1"/>
                </a:cxn>
                <a:cxn ang="0">
                  <a:pos x="T2" y="T3"/>
                </a:cxn>
                <a:cxn ang="0">
                  <a:pos x="T4" y="T5"/>
                </a:cxn>
                <a:cxn ang="0">
                  <a:pos x="T6" y="T7"/>
                </a:cxn>
              </a:cxnLst>
              <a:rect l="0" t="0" r="r" b="b"/>
              <a:pathLst>
                <a:path w="246" h="191">
                  <a:moveTo>
                    <a:pt x="245" y="0"/>
                  </a:moveTo>
                  <a:cubicBezTo>
                    <a:pt x="246" y="19"/>
                    <a:pt x="239" y="33"/>
                    <a:pt x="222" y="42"/>
                  </a:cubicBezTo>
                  <a:cubicBezTo>
                    <a:pt x="141" y="80"/>
                    <a:pt x="71" y="136"/>
                    <a:pt x="0" y="191"/>
                  </a:cubicBezTo>
                  <a:cubicBezTo>
                    <a:pt x="39" y="72"/>
                    <a:pt x="160" y="59"/>
                    <a:pt x="245"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 name="Freeform 80">
              <a:extLst>
                <a:ext uri="{FF2B5EF4-FFF2-40B4-BE49-F238E27FC236}">
                  <a16:creationId xmlns:a16="http://schemas.microsoft.com/office/drawing/2014/main" id="{3EFD7DED-2566-45D3-9C15-13EBB946244B}"/>
                </a:ext>
              </a:extLst>
            </p:cNvPr>
            <p:cNvSpPr>
              <a:spLocks/>
            </p:cNvSpPr>
            <p:nvPr/>
          </p:nvSpPr>
          <p:spPr bwMode="auto">
            <a:xfrm>
              <a:off x="4279602" y="3209650"/>
              <a:ext cx="54271" cy="92260"/>
            </a:xfrm>
            <a:custGeom>
              <a:avLst/>
              <a:gdLst>
                <a:gd name="T0" fmla="*/ 45 w 131"/>
                <a:gd name="T1" fmla="*/ 42 h 220"/>
                <a:gd name="T2" fmla="*/ 104 w 131"/>
                <a:gd name="T3" fmla="*/ 92 h 220"/>
                <a:gd name="T4" fmla="*/ 111 w 131"/>
                <a:gd name="T5" fmla="*/ 173 h 220"/>
                <a:gd name="T6" fmla="*/ 43 w 131"/>
                <a:gd name="T7" fmla="*/ 183 h 220"/>
                <a:gd name="T8" fmla="*/ 55 w 131"/>
                <a:gd name="T9" fmla="*/ 102 h 220"/>
                <a:gd name="T10" fmla="*/ 26 w 131"/>
                <a:gd name="T11" fmla="*/ 0 h 220"/>
                <a:gd name="T12" fmla="*/ 45 w 131"/>
                <a:gd name="T13" fmla="*/ 42 h 220"/>
              </a:gdLst>
              <a:ahLst/>
              <a:cxnLst>
                <a:cxn ang="0">
                  <a:pos x="T0" y="T1"/>
                </a:cxn>
                <a:cxn ang="0">
                  <a:pos x="T2" y="T3"/>
                </a:cxn>
                <a:cxn ang="0">
                  <a:pos x="T4" y="T5"/>
                </a:cxn>
                <a:cxn ang="0">
                  <a:pos x="T6" y="T7"/>
                </a:cxn>
                <a:cxn ang="0">
                  <a:pos x="T8" y="T9"/>
                </a:cxn>
                <a:cxn ang="0">
                  <a:pos x="T10" y="T11"/>
                </a:cxn>
                <a:cxn ang="0">
                  <a:pos x="T12" y="T13"/>
                </a:cxn>
              </a:cxnLst>
              <a:rect l="0" t="0" r="r" b="b"/>
              <a:pathLst>
                <a:path w="131" h="220">
                  <a:moveTo>
                    <a:pt x="45" y="42"/>
                  </a:moveTo>
                  <a:cubicBezTo>
                    <a:pt x="65" y="59"/>
                    <a:pt x="85" y="75"/>
                    <a:pt x="104" y="92"/>
                  </a:cubicBezTo>
                  <a:cubicBezTo>
                    <a:pt x="131" y="117"/>
                    <a:pt x="128" y="145"/>
                    <a:pt x="111" y="173"/>
                  </a:cubicBezTo>
                  <a:cubicBezTo>
                    <a:pt x="93" y="203"/>
                    <a:pt x="72" y="220"/>
                    <a:pt x="43" y="183"/>
                  </a:cubicBezTo>
                  <a:cubicBezTo>
                    <a:pt x="104" y="164"/>
                    <a:pt x="100" y="125"/>
                    <a:pt x="55" y="102"/>
                  </a:cubicBezTo>
                  <a:cubicBezTo>
                    <a:pt x="0" y="73"/>
                    <a:pt x="7" y="42"/>
                    <a:pt x="26" y="0"/>
                  </a:cubicBezTo>
                  <a:cubicBezTo>
                    <a:pt x="63" y="1"/>
                    <a:pt x="54" y="21"/>
                    <a:pt x="45" y="4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2" name="Freeform 81">
              <a:extLst>
                <a:ext uri="{FF2B5EF4-FFF2-40B4-BE49-F238E27FC236}">
                  <a16:creationId xmlns:a16="http://schemas.microsoft.com/office/drawing/2014/main" id="{E2A7FD96-8954-40D2-A73A-24EDB810E3B9}"/>
                </a:ext>
              </a:extLst>
            </p:cNvPr>
            <p:cNvSpPr>
              <a:spLocks/>
            </p:cNvSpPr>
            <p:nvPr/>
          </p:nvSpPr>
          <p:spPr bwMode="auto">
            <a:xfrm>
              <a:off x="3951265" y="3155380"/>
              <a:ext cx="89546" cy="56984"/>
            </a:xfrm>
            <a:custGeom>
              <a:avLst/>
              <a:gdLst>
                <a:gd name="T0" fmla="*/ 169 w 209"/>
                <a:gd name="T1" fmla="*/ 107 h 134"/>
                <a:gd name="T2" fmla="*/ 94 w 209"/>
                <a:gd name="T3" fmla="*/ 89 h 134"/>
                <a:gd name="T4" fmla="*/ 26 w 209"/>
                <a:gd name="T5" fmla="*/ 128 h 134"/>
                <a:gd name="T6" fmla="*/ 12 w 209"/>
                <a:gd name="T7" fmla="*/ 134 h 134"/>
                <a:gd name="T8" fmla="*/ 0 w 209"/>
                <a:gd name="T9" fmla="*/ 124 h 134"/>
                <a:gd name="T10" fmla="*/ 24 w 209"/>
                <a:gd name="T11" fmla="*/ 89 h 134"/>
                <a:gd name="T12" fmla="*/ 84 w 209"/>
                <a:gd name="T13" fmla="*/ 42 h 134"/>
                <a:gd name="T14" fmla="*/ 169 w 209"/>
                <a:gd name="T15" fmla="*/ 30 h 134"/>
                <a:gd name="T16" fmla="*/ 169 w 209"/>
                <a:gd name="T17" fmla="*/ 10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134">
                  <a:moveTo>
                    <a:pt x="169" y="107"/>
                  </a:moveTo>
                  <a:cubicBezTo>
                    <a:pt x="152" y="68"/>
                    <a:pt x="144" y="0"/>
                    <a:pt x="94" y="89"/>
                  </a:cubicBezTo>
                  <a:cubicBezTo>
                    <a:pt x="81" y="113"/>
                    <a:pt x="55" y="126"/>
                    <a:pt x="26" y="128"/>
                  </a:cubicBezTo>
                  <a:cubicBezTo>
                    <a:pt x="21" y="130"/>
                    <a:pt x="17" y="132"/>
                    <a:pt x="12" y="134"/>
                  </a:cubicBezTo>
                  <a:cubicBezTo>
                    <a:pt x="8" y="131"/>
                    <a:pt x="4" y="127"/>
                    <a:pt x="0" y="124"/>
                  </a:cubicBezTo>
                  <a:cubicBezTo>
                    <a:pt x="0" y="107"/>
                    <a:pt x="8" y="95"/>
                    <a:pt x="24" y="89"/>
                  </a:cubicBezTo>
                  <a:cubicBezTo>
                    <a:pt x="58" y="91"/>
                    <a:pt x="66" y="61"/>
                    <a:pt x="84" y="42"/>
                  </a:cubicBezTo>
                  <a:cubicBezTo>
                    <a:pt x="109" y="17"/>
                    <a:pt x="143" y="16"/>
                    <a:pt x="169" y="30"/>
                  </a:cubicBezTo>
                  <a:cubicBezTo>
                    <a:pt x="209" y="50"/>
                    <a:pt x="178" y="81"/>
                    <a:pt x="169" y="10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3" name="Freeform 82">
              <a:extLst>
                <a:ext uri="{FF2B5EF4-FFF2-40B4-BE49-F238E27FC236}">
                  <a16:creationId xmlns:a16="http://schemas.microsoft.com/office/drawing/2014/main" id="{15901441-9487-404D-8923-33445E7AC19B}"/>
                </a:ext>
              </a:extLst>
            </p:cNvPr>
            <p:cNvSpPr>
              <a:spLocks/>
            </p:cNvSpPr>
            <p:nvPr/>
          </p:nvSpPr>
          <p:spPr bwMode="auto">
            <a:xfrm>
              <a:off x="4040812" y="3356181"/>
              <a:ext cx="84119" cy="37989"/>
            </a:xfrm>
            <a:custGeom>
              <a:avLst/>
              <a:gdLst>
                <a:gd name="T0" fmla="*/ 186 w 201"/>
                <a:gd name="T1" fmla="*/ 0 h 90"/>
                <a:gd name="T2" fmla="*/ 82 w 201"/>
                <a:gd name="T3" fmla="*/ 81 h 90"/>
                <a:gd name="T4" fmla="*/ 20 w 201"/>
                <a:gd name="T5" fmla="*/ 16 h 90"/>
                <a:gd name="T6" fmla="*/ 164 w 201"/>
                <a:gd name="T7" fmla="*/ 0 h 90"/>
                <a:gd name="T8" fmla="*/ 186 w 201"/>
                <a:gd name="T9" fmla="*/ 0 h 90"/>
              </a:gdLst>
              <a:ahLst/>
              <a:cxnLst>
                <a:cxn ang="0">
                  <a:pos x="T0" y="T1"/>
                </a:cxn>
                <a:cxn ang="0">
                  <a:pos x="T2" y="T3"/>
                </a:cxn>
                <a:cxn ang="0">
                  <a:pos x="T4" y="T5"/>
                </a:cxn>
                <a:cxn ang="0">
                  <a:pos x="T6" y="T7"/>
                </a:cxn>
                <a:cxn ang="0">
                  <a:pos x="T8" y="T9"/>
                </a:cxn>
              </a:cxnLst>
              <a:rect l="0" t="0" r="r" b="b"/>
              <a:pathLst>
                <a:path w="201" h="90">
                  <a:moveTo>
                    <a:pt x="186" y="0"/>
                  </a:moveTo>
                  <a:cubicBezTo>
                    <a:pt x="201" y="90"/>
                    <a:pt x="107" y="41"/>
                    <a:pt x="82" y="81"/>
                  </a:cubicBezTo>
                  <a:cubicBezTo>
                    <a:pt x="43" y="77"/>
                    <a:pt x="0" y="78"/>
                    <a:pt x="20" y="16"/>
                  </a:cubicBezTo>
                  <a:cubicBezTo>
                    <a:pt x="67" y="2"/>
                    <a:pt x="117" y="12"/>
                    <a:pt x="164" y="0"/>
                  </a:cubicBezTo>
                  <a:cubicBezTo>
                    <a:pt x="172" y="0"/>
                    <a:pt x="179" y="0"/>
                    <a:pt x="186"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 name="Freeform 83">
              <a:extLst>
                <a:ext uri="{FF2B5EF4-FFF2-40B4-BE49-F238E27FC236}">
                  <a16:creationId xmlns:a16="http://schemas.microsoft.com/office/drawing/2014/main" id="{317DD880-A70C-4A3E-AACC-30E2B389868A}"/>
                </a:ext>
              </a:extLst>
            </p:cNvPr>
            <p:cNvSpPr>
              <a:spLocks/>
            </p:cNvSpPr>
            <p:nvPr/>
          </p:nvSpPr>
          <p:spPr bwMode="auto">
            <a:xfrm>
              <a:off x="4461409" y="2840611"/>
              <a:ext cx="81406" cy="62411"/>
            </a:xfrm>
            <a:custGeom>
              <a:avLst/>
              <a:gdLst>
                <a:gd name="T0" fmla="*/ 0 w 197"/>
                <a:gd name="T1" fmla="*/ 78 h 145"/>
                <a:gd name="T2" fmla="*/ 1 w 197"/>
                <a:gd name="T3" fmla="*/ 55 h 145"/>
                <a:gd name="T4" fmla="*/ 188 w 197"/>
                <a:gd name="T5" fmla="*/ 76 h 145"/>
                <a:gd name="T6" fmla="*/ 184 w 197"/>
                <a:gd name="T7" fmla="*/ 119 h 145"/>
                <a:gd name="T8" fmla="*/ 163 w 197"/>
                <a:gd name="T9" fmla="*/ 141 h 145"/>
                <a:gd name="T10" fmla="*/ 142 w 197"/>
                <a:gd name="T11" fmla="*/ 120 h 145"/>
                <a:gd name="T12" fmla="*/ 129 w 197"/>
                <a:gd name="T13" fmla="*/ 87 h 145"/>
                <a:gd name="T14" fmla="*/ 0 w 197"/>
                <a:gd name="T15" fmla="*/ 78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145">
                  <a:moveTo>
                    <a:pt x="0" y="78"/>
                  </a:moveTo>
                  <a:cubicBezTo>
                    <a:pt x="1" y="70"/>
                    <a:pt x="1" y="63"/>
                    <a:pt x="1" y="55"/>
                  </a:cubicBezTo>
                  <a:cubicBezTo>
                    <a:pt x="60" y="89"/>
                    <a:pt x="134" y="0"/>
                    <a:pt x="188" y="76"/>
                  </a:cubicBezTo>
                  <a:cubicBezTo>
                    <a:pt x="197" y="92"/>
                    <a:pt x="197" y="106"/>
                    <a:pt x="184" y="119"/>
                  </a:cubicBezTo>
                  <a:cubicBezTo>
                    <a:pt x="177" y="126"/>
                    <a:pt x="170" y="133"/>
                    <a:pt x="163" y="141"/>
                  </a:cubicBezTo>
                  <a:cubicBezTo>
                    <a:pt x="145" y="145"/>
                    <a:pt x="136" y="140"/>
                    <a:pt x="142" y="120"/>
                  </a:cubicBezTo>
                  <a:cubicBezTo>
                    <a:pt x="144" y="106"/>
                    <a:pt x="172" y="79"/>
                    <a:pt x="129" y="87"/>
                  </a:cubicBezTo>
                  <a:cubicBezTo>
                    <a:pt x="84" y="96"/>
                    <a:pt x="43" y="86"/>
                    <a:pt x="0" y="7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5" name="Freeform 84">
              <a:extLst>
                <a:ext uri="{FF2B5EF4-FFF2-40B4-BE49-F238E27FC236}">
                  <a16:creationId xmlns:a16="http://schemas.microsoft.com/office/drawing/2014/main" id="{CF7514B0-E035-4CB2-801A-D8DA11EC3C57}"/>
                </a:ext>
              </a:extLst>
            </p:cNvPr>
            <p:cNvSpPr>
              <a:spLocks/>
            </p:cNvSpPr>
            <p:nvPr/>
          </p:nvSpPr>
          <p:spPr bwMode="auto">
            <a:xfrm>
              <a:off x="4263321" y="3282916"/>
              <a:ext cx="35276" cy="81406"/>
            </a:xfrm>
            <a:custGeom>
              <a:avLst/>
              <a:gdLst>
                <a:gd name="T0" fmla="*/ 84 w 87"/>
                <a:gd name="T1" fmla="*/ 12 h 196"/>
                <a:gd name="T2" fmla="*/ 76 w 87"/>
                <a:gd name="T3" fmla="*/ 114 h 196"/>
                <a:gd name="T4" fmla="*/ 53 w 87"/>
                <a:gd name="T5" fmla="*/ 173 h 196"/>
                <a:gd name="T6" fmla="*/ 0 w 87"/>
                <a:gd name="T7" fmla="*/ 155 h 196"/>
                <a:gd name="T8" fmla="*/ 38 w 87"/>
                <a:gd name="T9" fmla="*/ 41 h 196"/>
                <a:gd name="T10" fmla="*/ 84 w 87"/>
                <a:gd name="T11" fmla="*/ 12 h 196"/>
              </a:gdLst>
              <a:ahLst/>
              <a:cxnLst>
                <a:cxn ang="0">
                  <a:pos x="T0" y="T1"/>
                </a:cxn>
                <a:cxn ang="0">
                  <a:pos x="T2" y="T3"/>
                </a:cxn>
                <a:cxn ang="0">
                  <a:pos x="T4" y="T5"/>
                </a:cxn>
                <a:cxn ang="0">
                  <a:pos x="T6" y="T7"/>
                </a:cxn>
                <a:cxn ang="0">
                  <a:pos x="T8" y="T9"/>
                </a:cxn>
                <a:cxn ang="0">
                  <a:pos x="T10" y="T11"/>
                </a:cxn>
              </a:cxnLst>
              <a:rect l="0" t="0" r="r" b="b"/>
              <a:pathLst>
                <a:path w="87" h="196">
                  <a:moveTo>
                    <a:pt x="84" y="12"/>
                  </a:moveTo>
                  <a:cubicBezTo>
                    <a:pt x="51" y="43"/>
                    <a:pt x="63" y="79"/>
                    <a:pt x="76" y="114"/>
                  </a:cubicBezTo>
                  <a:cubicBezTo>
                    <a:pt x="87" y="142"/>
                    <a:pt x="72" y="158"/>
                    <a:pt x="53" y="173"/>
                  </a:cubicBezTo>
                  <a:cubicBezTo>
                    <a:pt x="26" y="196"/>
                    <a:pt x="11" y="180"/>
                    <a:pt x="0" y="155"/>
                  </a:cubicBezTo>
                  <a:cubicBezTo>
                    <a:pt x="75" y="138"/>
                    <a:pt x="33" y="80"/>
                    <a:pt x="38" y="41"/>
                  </a:cubicBezTo>
                  <a:cubicBezTo>
                    <a:pt x="44" y="0"/>
                    <a:pt x="40" y="0"/>
                    <a:pt x="84" y="1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 name="Freeform 85">
              <a:extLst>
                <a:ext uri="{FF2B5EF4-FFF2-40B4-BE49-F238E27FC236}">
                  <a16:creationId xmlns:a16="http://schemas.microsoft.com/office/drawing/2014/main" id="{1B9205BF-AFFD-46A3-9E93-F5209CF62DE1}"/>
                </a:ext>
              </a:extLst>
            </p:cNvPr>
            <p:cNvSpPr>
              <a:spLocks/>
            </p:cNvSpPr>
            <p:nvPr/>
          </p:nvSpPr>
          <p:spPr bwMode="auto">
            <a:xfrm>
              <a:off x="4141212" y="2582825"/>
              <a:ext cx="54271" cy="84119"/>
            </a:xfrm>
            <a:custGeom>
              <a:avLst/>
              <a:gdLst>
                <a:gd name="T0" fmla="*/ 81 w 130"/>
                <a:gd name="T1" fmla="*/ 205 h 205"/>
                <a:gd name="T2" fmla="*/ 61 w 130"/>
                <a:gd name="T3" fmla="*/ 183 h 205"/>
                <a:gd name="T4" fmla="*/ 0 w 130"/>
                <a:gd name="T5" fmla="*/ 0 h 205"/>
                <a:gd name="T6" fmla="*/ 81 w 130"/>
                <a:gd name="T7" fmla="*/ 205 h 205"/>
              </a:gdLst>
              <a:ahLst/>
              <a:cxnLst>
                <a:cxn ang="0">
                  <a:pos x="T0" y="T1"/>
                </a:cxn>
                <a:cxn ang="0">
                  <a:pos x="T2" y="T3"/>
                </a:cxn>
                <a:cxn ang="0">
                  <a:pos x="T4" y="T5"/>
                </a:cxn>
                <a:cxn ang="0">
                  <a:pos x="T6" y="T7"/>
                </a:cxn>
              </a:cxnLst>
              <a:rect l="0" t="0" r="r" b="b"/>
              <a:pathLst>
                <a:path w="130" h="205">
                  <a:moveTo>
                    <a:pt x="81" y="205"/>
                  </a:moveTo>
                  <a:cubicBezTo>
                    <a:pt x="75" y="198"/>
                    <a:pt x="68" y="190"/>
                    <a:pt x="61" y="183"/>
                  </a:cubicBezTo>
                  <a:cubicBezTo>
                    <a:pt x="92" y="105"/>
                    <a:pt x="11" y="64"/>
                    <a:pt x="0" y="0"/>
                  </a:cubicBezTo>
                  <a:cubicBezTo>
                    <a:pt x="74" y="50"/>
                    <a:pt x="130" y="107"/>
                    <a:pt x="81" y="20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7" name="Freeform 86">
              <a:extLst>
                <a:ext uri="{FF2B5EF4-FFF2-40B4-BE49-F238E27FC236}">
                  <a16:creationId xmlns:a16="http://schemas.microsoft.com/office/drawing/2014/main" id="{4A594CC4-3A9E-431C-9E25-FF8DD46037FC}"/>
                </a:ext>
              </a:extLst>
            </p:cNvPr>
            <p:cNvSpPr>
              <a:spLocks/>
            </p:cNvSpPr>
            <p:nvPr/>
          </p:nvSpPr>
          <p:spPr bwMode="auto">
            <a:xfrm>
              <a:off x="4388143" y="2865032"/>
              <a:ext cx="65125" cy="40703"/>
            </a:xfrm>
            <a:custGeom>
              <a:avLst/>
              <a:gdLst>
                <a:gd name="T0" fmla="*/ 66 w 153"/>
                <a:gd name="T1" fmla="*/ 0 h 99"/>
                <a:gd name="T2" fmla="*/ 153 w 153"/>
                <a:gd name="T3" fmla="*/ 24 h 99"/>
                <a:gd name="T4" fmla="*/ 79 w 153"/>
                <a:gd name="T5" fmla="*/ 47 h 99"/>
                <a:gd name="T6" fmla="*/ 17 w 153"/>
                <a:gd name="T7" fmla="*/ 54 h 99"/>
                <a:gd name="T8" fmla="*/ 66 w 153"/>
                <a:gd name="T9" fmla="*/ 0 h 99"/>
              </a:gdLst>
              <a:ahLst/>
              <a:cxnLst>
                <a:cxn ang="0">
                  <a:pos x="T0" y="T1"/>
                </a:cxn>
                <a:cxn ang="0">
                  <a:pos x="T2" y="T3"/>
                </a:cxn>
                <a:cxn ang="0">
                  <a:pos x="T4" y="T5"/>
                </a:cxn>
                <a:cxn ang="0">
                  <a:pos x="T6" y="T7"/>
                </a:cxn>
                <a:cxn ang="0">
                  <a:pos x="T8" y="T9"/>
                </a:cxn>
              </a:cxnLst>
              <a:rect l="0" t="0" r="r" b="b"/>
              <a:pathLst>
                <a:path w="153" h="99">
                  <a:moveTo>
                    <a:pt x="66" y="0"/>
                  </a:moveTo>
                  <a:cubicBezTo>
                    <a:pt x="95" y="8"/>
                    <a:pt x="124" y="16"/>
                    <a:pt x="153" y="24"/>
                  </a:cubicBezTo>
                  <a:cubicBezTo>
                    <a:pt x="135" y="53"/>
                    <a:pt x="104" y="39"/>
                    <a:pt x="79" y="47"/>
                  </a:cubicBezTo>
                  <a:cubicBezTo>
                    <a:pt x="59" y="54"/>
                    <a:pt x="36" y="99"/>
                    <a:pt x="17" y="54"/>
                  </a:cubicBezTo>
                  <a:cubicBezTo>
                    <a:pt x="0" y="16"/>
                    <a:pt x="33" y="3"/>
                    <a:pt x="66"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8" name="Freeform 87">
              <a:extLst>
                <a:ext uri="{FF2B5EF4-FFF2-40B4-BE49-F238E27FC236}">
                  <a16:creationId xmlns:a16="http://schemas.microsoft.com/office/drawing/2014/main" id="{BFD7E7AD-6325-423D-B975-7B55E71969EA}"/>
                </a:ext>
              </a:extLst>
            </p:cNvPr>
            <p:cNvSpPr>
              <a:spLocks/>
            </p:cNvSpPr>
            <p:nvPr/>
          </p:nvSpPr>
          <p:spPr bwMode="auto">
            <a:xfrm>
              <a:off x="3728756" y="3440300"/>
              <a:ext cx="70552" cy="35276"/>
            </a:xfrm>
            <a:custGeom>
              <a:avLst/>
              <a:gdLst>
                <a:gd name="T0" fmla="*/ 167 w 167"/>
                <a:gd name="T1" fmla="*/ 64 h 84"/>
                <a:gd name="T2" fmla="*/ 146 w 167"/>
                <a:gd name="T3" fmla="*/ 84 h 84"/>
                <a:gd name="T4" fmla="*/ 0 w 167"/>
                <a:gd name="T5" fmla="*/ 25 h 84"/>
                <a:gd name="T6" fmla="*/ 21 w 167"/>
                <a:gd name="T7" fmla="*/ 5 h 84"/>
                <a:gd name="T8" fmla="*/ 167 w 167"/>
                <a:gd name="T9" fmla="*/ 64 h 84"/>
              </a:gdLst>
              <a:ahLst/>
              <a:cxnLst>
                <a:cxn ang="0">
                  <a:pos x="T0" y="T1"/>
                </a:cxn>
                <a:cxn ang="0">
                  <a:pos x="T2" y="T3"/>
                </a:cxn>
                <a:cxn ang="0">
                  <a:pos x="T4" y="T5"/>
                </a:cxn>
                <a:cxn ang="0">
                  <a:pos x="T6" y="T7"/>
                </a:cxn>
                <a:cxn ang="0">
                  <a:pos x="T8" y="T9"/>
                </a:cxn>
              </a:cxnLst>
              <a:rect l="0" t="0" r="r" b="b"/>
              <a:pathLst>
                <a:path w="167" h="84">
                  <a:moveTo>
                    <a:pt x="167" y="64"/>
                  </a:moveTo>
                  <a:cubicBezTo>
                    <a:pt x="160" y="70"/>
                    <a:pt x="153" y="77"/>
                    <a:pt x="146" y="84"/>
                  </a:cubicBezTo>
                  <a:cubicBezTo>
                    <a:pt x="91" y="81"/>
                    <a:pt x="48" y="46"/>
                    <a:pt x="0" y="25"/>
                  </a:cubicBezTo>
                  <a:cubicBezTo>
                    <a:pt x="5" y="15"/>
                    <a:pt x="12" y="9"/>
                    <a:pt x="21" y="5"/>
                  </a:cubicBezTo>
                  <a:cubicBezTo>
                    <a:pt x="80" y="0"/>
                    <a:pt x="116" y="51"/>
                    <a:pt x="167" y="6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9" name="Freeform 88">
              <a:extLst>
                <a:ext uri="{FF2B5EF4-FFF2-40B4-BE49-F238E27FC236}">
                  <a16:creationId xmlns:a16="http://schemas.microsoft.com/office/drawing/2014/main" id="{EE042C42-8A57-4BC7-8CC0-FBFFBF5B8B1A}"/>
                </a:ext>
              </a:extLst>
            </p:cNvPr>
            <p:cNvSpPr>
              <a:spLocks/>
            </p:cNvSpPr>
            <p:nvPr/>
          </p:nvSpPr>
          <p:spPr bwMode="auto">
            <a:xfrm>
              <a:off x="4287743" y="3182515"/>
              <a:ext cx="56984" cy="46130"/>
            </a:xfrm>
            <a:custGeom>
              <a:avLst/>
              <a:gdLst>
                <a:gd name="T0" fmla="*/ 28 w 140"/>
                <a:gd name="T1" fmla="*/ 109 h 109"/>
                <a:gd name="T2" fmla="*/ 9 w 140"/>
                <a:gd name="T3" fmla="*/ 66 h 109"/>
                <a:gd name="T4" fmla="*/ 27 w 140"/>
                <a:gd name="T5" fmla="*/ 0 h 109"/>
                <a:gd name="T6" fmla="*/ 140 w 140"/>
                <a:gd name="T7" fmla="*/ 0 h 109"/>
                <a:gd name="T8" fmla="*/ 28 w 140"/>
                <a:gd name="T9" fmla="*/ 109 h 109"/>
              </a:gdLst>
              <a:ahLst/>
              <a:cxnLst>
                <a:cxn ang="0">
                  <a:pos x="T0" y="T1"/>
                </a:cxn>
                <a:cxn ang="0">
                  <a:pos x="T2" y="T3"/>
                </a:cxn>
                <a:cxn ang="0">
                  <a:pos x="T4" y="T5"/>
                </a:cxn>
                <a:cxn ang="0">
                  <a:pos x="T6" y="T7"/>
                </a:cxn>
                <a:cxn ang="0">
                  <a:pos x="T8" y="T9"/>
                </a:cxn>
              </a:cxnLst>
              <a:rect l="0" t="0" r="r" b="b"/>
              <a:pathLst>
                <a:path w="140" h="109">
                  <a:moveTo>
                    <a:pt x="28" y="109"/>
                  </a:moveTo>
                  <a:cubicBezTo>
                    <a:pt x="21" y="95"/>
                    <a:pt x="15" y="81"/>
                    <a:pt x="9" y="66"/>
                  </a:cubicBezTo>
                  <a:cubicBezTo>
                    <a:pt x="4" y="41"/>
                    <a:pt x="0" y="17"/>
                    <a:pt x="27" y="0"/>
                  </a:cubicBezTo>
                  <a:cubicBezTo>
                    <a:pt x="64" y="0"/>
                    <a:pt x="102" y="0"/>
                    <a:pt x="140" y="0"/>
                  </a:cubicBezTo>
                  <a:cubicBezTo>
                    <a:pt x="71" y="7"/>
                    <a:pt x="34" y="42"/>
                    <a:pt x="28" y="10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0" name="Freeform 89">
              <a:extLst>
                <a:ext uri="{FF2B5EF4-FFF2-40B4-BE49-F238E27FC236}">
                  <a16:creationId xmlns:a16="http://schemas.microsoft.com/office/drawing/2014/main" id="{677C859E-A70C-47A6-A685-BE830CF3262E}"/>
                </a:ext>
              </a:extLst>
            </p:cNvPr>
            <p:cNvSpPr>
              <a:spLocks/>
            </p:cNvSpPr>
            <p:nvPr/>
          </p:nvSpPr>
          <p:spPr bwMode="auto">
            <a:xfrm>
              <a:off x="3411273" y="3187942"/>
              <a:ext cx="67838" cy="56984"/>
            </a:xfrm>
            <a:custGeom>
              <a:avLst/>
              <a:gdLst>
                <a:gd name="T0" fmla="*/ 162 w 162"/>
                <a:gd name="T1" fmla="*/ 12 h 133"/>
                <a:gd name="T2" fmla="*/ 0 w 162"/>
                <a:gd name="T3" fmla="*/ 10 h 133"/>
                <a:gd name="T4" fmla="*/ 162 w 162"/>
                <a:gd name="T5" fmla="*/ 12 h 133"/>
              </a:gdLst>
              <a:ahLst/>
              <a:cxnLst>
                <a:cxn ang="0">
                  <a:pos x="T0" y="T1"/>
                </a:cxn>
                <a:cxn ang="0">
                  <a:pos x="T2" y="T3"/>
                </a:cxn>
                <a:cxn ang="0">
                  <a:pos x="T4" y="T5"/>
                </a:cxn>
              </a:cxnLst>
              <a:rect l="0" t="0" r="r" b="b"/>
              <a:pathLst>
                <a:path w="162" h="133">
                  <a:moveTo>
                    <a:pt x="162" y="12"/>
                  </a:moveTo>
                  <a:cubicBezTo>
                    <a:pt x="107" y="133"/>
                    <a:pt x="54" y="22"/>
                    <a:pt x="0" y="10"/>
                  </a:cubicBezTo>
                  <a:cubicBezTo>
                    <a:pt x="54" y="0"/>
                    <a:pt x="108" y="39"/>
                    <a:pt x="162" y="1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1" name="Freeform 90">
              <a:extLst>
                <a:ext uri="{FF2B5EF4-FFF2-40B4-BE49-F238E27FC236}">
                  <a16:creationId xmlns:a16="http://schemas.microsoft.com/office/drawing/2014/main" id="{014BF61F-83FA-44F3-AF98-96B52ECD5866}"/>
                </a:ext>
              </a:extLst>
            </p:cNvPr>
            <p:cNvSpPr>
              <a:spLocks/>
            </p:cNvSpPr>
            <p:nvPr/>
          </p:nvSpPr>
          <p:spPr bwMode="auto">
            <a:xfrm>
              <a:off x="3867146" y="3434873"/>
              <a:ext cx="54271" cy="43416"/>
            </a:xfrm>
            <a:custGeom>
              <a:avLst/>
              <a:gdLst>
                <a:gd name="T0" fmla="*/ 65 w 127"/>
                <a:gd name="T1" fmla="*/ 97 h 100"/>
                <a:gd name="T2" fmla="*/ 38 w 127"/>
                <a:gd name="T3" fmla="*/ 100 h 100"/>
                <a:gd name="T4" fmla="*/ 17 w 127"/>
                <a:gd name="T5" fmla="*/ 53 h 100"/>
                <a:gd name="T6" fmla="*/ 107 w 127"/>
                <a:gd name="T7" fmla="*/ 0 h 100"/>
                <a:gd name="T8" fmla="*/ 127 w 127"/>
                <a:gd name="T9" fmla="*/ 17 h 100"/>
                <a:gd name="T10" fmla="*/ 65 w 127"/>
                <a:gd name="T11" fmla="*/ 97 h 100"/>
              </a:gdLst>
              <a:ahLst/>
              <a:cxnLst>
                <a:cxn ang="0">
                  <a:pos x="T0" y="T1"/>
                </a:cxn>
                <a:cxn ang="0">
                  <a:pos x="T2" y="T3"/>
                </a:cxn>
                <a:cxn ang="0">
                  <a:pos x="T4" y="T5"/>
                </a:cxn>
                <a:cxn ang="0">
                  <a:pos x="T6" y="T7"/>
                </a:cxn>
                <a:cxn ang="0">
                  <a:pos x="T8" y="T9"/>
                </a:cxn>
                <a:cxn ang="0">
                  <a:pos x="T10" y="T11"/>
                </a:cxn>
              </a:cxnLst>
              <a:rect l="0" t="0" r="r" b="b"/>
              <a:pathLst>
                <a:path w="127" h="100">
                  <a:moveTo>
                    <a:pt x="65" y="97"/>
                  </a:moveTo>
                  <a:cubicBezTo>
                    <a:pt x="56" y="98"/>
                    <a:pt x="47" y="99"/>
                    <a:pt x="38" y="100"/>
                  </a:cubicBezTo>
                  <a:cubicBezTo>
                    <a:pt x="5" y="96"/>
                    <a:pt x="0" y="79"/>
                    <a:pt x="17" y="53"/>
                  </a:cubicBezTo>
                  <a:cubicBezTo>
                    <a:pt x="37" y="20"/>
                    <a:pt x="73" y="11"/>
                    <a:pt x="107" y="0"/>
                  </a:cubicBezTo>
                  <a:cubicBezTo>
                    <a:pt x="114" y="6"/>
                    <a:pt x="120" y="12"/>
                    <a:pt x="127" y="17"/>
                  </a:cubicBezTo>
                  <a:cubicBezTo>
                    <a:pt x="115" y="51"/>
                    <a:pt x="24" y="23"/>
                    <a:pt x="65" y="9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2" name="Freeform 91">
              <a:extLst>
                <a:ext uri="{FF2B5EF4-FFF2-40B4-BE49-F238E27FC236}">
                  <a16:creationId xmlns:a16="http://schemas.microsoft.com/office/drawing/2014/main" id="{DDA9EC3C-26E8-483F-87C9-89674A67A5C5}"/>
                </a:ext>
              </a:extLst>
            </p:cNvPr>
            <p:cNvSpPr>
              <a:spLocks/>
            </p:cNvSpPr>
            <p:nvPr/>
          </p:nvSpPr>
          <p:spPr bwMode="auto">
            <a:xfrm>
              <a:off x="3666345" y="3364321"/>
              <a:ext cx="48843" cy="51557"/>
            </a:xfrm>
            <a:custGeom>
              <a:avLst/>
              <a:gdLst>
                <a:gd name="T0" fmla="*/ 51 w 115"/>
                <a:gd name="T1" fmla="*/ 0 h 125"/>
                <a:gd name="T2" fmla="*/ 70 w 115"/>
                <a:gd name="T3" fmla="*/ 20 h 125"/>
                <a:gd name="T4" fmla="*/ 115 w 115"/>
                <a:gd name="T5" fmla="*/ 101 h 125"/>
                <a:gd name="T6" fmla="*/ 91 w 115"/>
                <a:gd name="T7" fmla="*/ 125 h 125"/>
                <a:gd name="T8" fmla="*/ 51 w 115"/>
                <a:gd name="T9" fmla="*/ 0 h 125"/>
              </a:gdLst>
              <a:ahLst/>
              <a:cxnLst>
                <a:cxn ang="0">
                  <a:pos x="T0" y="T1"/>
                </a:cxn>
                <a:cxn ang="0">
                  <a:pos x="T2" y="T3"/>
                </a:cxn>
                <a:cxn ang="0">
                  <a:pos x="T4" y="T5"/>
                </a:cxn>
                <a:cxn ang="0">
                  <a:pos x="T6" y="T7"/>
                </a:cxn>
                <a:cxn ang="0">
                  <a:pos x="T8" y="T9"/>
                </a:cxn>
              </a:cxnLst>
              <a:rect l="0" t="0" r="r" b="b"/>
              <a:pathLst>
                <a:path w="115" h="125">
                  <a:moveTo>
                    <a:pt x="51" y="0"/>
                  </a:moveTo>
                  <a:cubicBezTo>
                    <a:pt x="57" y="7"/>
                    <a:pt x="63" y="13"/>
                    <a:pt x="70" y="20"/>
                  </a:cubicBezTo>
                  <a:cubicBezTo>
                    <a:pt x="81" y="49"/>
                    <a:pt x="114" y="66"/>
                    <a:pt x="115" y="101"/>
                  </a:cubicBezTo>
                  <a:cubicBezTo>
                    <a:pt x="111" y="113"/>
                    <a:pt x="103" y="121"/>
                    <a:pt x="91" y="125"/>
                  </a:cubicBezTo>
                  <a:cubicBezTo>
                    <a:pt x="76" y="84"/>
                    <a:pt x="0" y="62"/>
                    <a:pt x="51"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3" name="Freeform 92">
              <a:extLst>
                <a:ext uri="{FF2B5EF4-FFF2-40B4-BE49-F238E27FC236}">
                  <a16:creationId xmlns:a16="http://schemas.microsoft.com/office/drawing/2014/main" id="{6BAB3F67-34EA-4BC2-B7C9-E2ADD4AE44F1}"/>
                </a:ext>
              </a:extLst>
            </p:cNvPr>
            <p:cNvSpPr>
              <a:spLocks/>
            </p:cNvSpPr>
            <p:nvPr/>
          </p:nvSpPr>
          <p:spPr bwMode="auto">
            <a:xfrm>
              <a:off x="4477690" y="2892168"/>
              <a:ext cx="51557" cy="29849"/>
            </a:xfrm>
            <a:custGeom>
              <a:avLst/>
              <a:gdLst>
                <a:gd name="T0" fmla="*/ 102 w 123"/>
                <a:gd name="T1" fmla="*/ 0 h 72"/>
                <a:gd name="T2" fmla="*/ 123 w 123"/>
                <a:gd name="T3" fmla="*/ 21 h 72"/>
                <a:gd name="T4" fmla="*/ 20 w 123"/>
                <a:gd name="T5" fmla="*/ 61 h 72"/>
                <a:gd name="T6" fmla="*/ 0 w 123"/>
                <a:gd name="T7" fmla="*/ 41 h 72"/>
                <a:gd name="T8" fmla="*/ 102 w 123"/>
                <a:gd name="T9" fmla="*/ 0 h 72"/>
              </a:gdLst>
              <a:ahLst/>
              <a:cxnLst>
                <a:cxn ang="0">
                  <a:pos x="T0" y="T1"/>
                </a:cxn>
                <a:cxn ang="0">
                  <a:pos x="T2" y="T3"/>
                </a:cxn>
                <a:cxn ang="0">
                  <a:pos x="T4" y="T5"/>
                </a:cxn>
                <a:cxn ang="0">
                  <a:pos x="T6" y="T7"/>
                </a:cxn>
                <a:cxn ang="0">
                  <a:pos x="T8" y="T9"/>
                </a:cxn>
              </a:cxnLst>
              <a:rect l="0" t="0" r="r" b="b"/>
              <a:pathLst>
                <a:path w="123" h="72">
                  <a:moveTo>
                    <a:pt x="102" y="0"/>
                  </a:moveTo>
                  <a:cubicBezTo>
                    <a:pt x="109" y="7"/>
                    <a:pt x="116" y="14"/>
                    <a:pt x="123" y="21"/>
                  </a:cubicBezTo>
                  <a:cubicBezTo>
                    <a:pt x="103" y="72"/>
                    <a:pt x="61" y="63"/>
                    <a:pt x="20" y="61"/>
                  </a:cubicBezTo>
                  <a:cubicBezTo>
                    <a:pt x="14" y="54"/>
                    <a:pt x="0" y="54"/>
                    <a:pt x="0" y="41"/>
                  </a:cubicBezTo>
                  <a:cubicBezTo>
                    <a:pt x="34" y="27"/>
                    <a:pt x="68" y="13"/>
                    <a:pt x="102"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4" name="Freeform 93">
              <a:extLst>
                <a:ext uri="{FF2B5EF4-FFF2-40B4-BE49-F238E27FC236}">
                  <a16:creationId xmlns:a16="http://schemas.microsoft.com/office/drawing/2014/main" id="{877B98E4-049D-413D-AC32-897C6E255C34}"/>
                </a:ext>
              </a:extLst>
            </p:cNvPr>
            <p:cNvSpPr>
              <a:spLocks/>
            </p:cNvSpPr>
            <p:nvPr/>
          </p:nvSpPr>
          <p:spPr bwMode="auto">
            <a:xfrm>
              <a:off x="4046239" y="3337186"/>
              <a:ext cx="62411" cy="35276"/>
            </a:xfrm>
            <a:custGeom>
              <a:avLst/>
              <a:gdLst>
                <a:gd name="T0" fmla="*/ 150 w 150"/>
                <a:gd name="T1" fmla="*/ 43 h 84"/>
                <a:gd name="T2" fmla="*/ 8 w 150"/>
                <a:gd name="T3" fmla="*/ 65 h 84"/>
                <a:gd name="T4" fmla="*/ 2 w 150"/>
                <a:gd name="T5" fmla="*/ 51 h 84"/>
                <a:gd name="T6" fmla="*/ 8 w 150"/>
                <a:gd name="T7" fmla="*/ 44 h 84"/>
                <a:gd name="T8" fmla="*/ 114 w 150"/>
                <a:gd name="T9" fmla="*/ 2 h 84"/>
                <a:gd name="T10" fmla="*/ 128 w 150"/>
                <a:gd name="T11" fmla="*/ 2 h 84"/>
                <a:gd name="T12" fmla="*/ 150 w 150"/>
                <a:gd name="T13" fmla="*/ 43 h 84"/>
              </a:gdLst>
              <a:ahLst/>
              <a:cxnLst>
                <a:cxn ang="0">
                  <a:pos x="T0" y="T1"/>
                </a:cxn>
                <a:cxn ang="0">
                  <a:pos x="T2" y="T3"/>
                </a:cxn>
                <a:cxn ang="0">
                  <a:pos x="T4" y="T5"/>
                </a:cxn>
                <a:cxn ang="0">
                  <a:pos x="T6" y="T7"/>
                </a:cxn>
                <a:cxn ang="0">
                  <a:pos x="T8" y="T9"/>
                </a:cxn>
                <a:cxn ang="0">
                  <a:pos x="T10" y="T11"/>
                </a:cxn>
                <a:cxn ang="0">
                  <a:pos x="T12" y="T13"/>
                </a:cxn>
              </a:cxnLst>
              <a:rect l="0" t="0" r="r" b="b"/>
              <a:pathLst>
                <a:path w="150" h="84">
                  <a:moveTo>
                    <a:pt x="150" y="43"/>
                  </a:moveTo>
                  <a:cubicBezTo>
                    <a:pt x="106" y="73"/>
                    <a:pt x="56" y="61"/>
                    <a:pt x="8" y="65"/>
                  </a:cubicBezTo>
                  <a:cubicBezTo>
                    <a:pt x="2" y="60"/>
                    <a:pt x="0" y="56"/>
                    <a:pt x="2" y="51"/>
                  </a:cubicBezTo>
                  <a:cubicBezTo>
                    <a:pt x="4" y="47"/>
                    <a:pt x="6" y="44"/>
                    <a:pt x="8" y="44"/>
                  </a:cubicBezTo>
                  <a:cubicBezTo>
                    <a:pt x="31" y="0"/>
                    <a:pt x="106" y="84"/>
                    <a:pt x="114" y="2"/>
                  </a:cubicBezTo>
                  <a:cubicBezTo>
                    <a:pt x="119" y="2"/>
                    <a:pt x="123" y="2"/>
                    <a:pt x="128" y="2"/>
                  </a:cubicBezTo>
                  <a:cubicBezTo>
                    <a:pt x="135" y="15"/>
                    <a:pt x="143" y="29"/>
                    <a:pt x="150" y="4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5" name="Freeform 94">
              <a:extLst>
                <a:ext uri="{FF2B5EF4-FFF2-40B4-BE49-F238E27FC236}">
                  <a16:creationId xmlns:a16="http://schemas.microsoft.com/office/drawing/2014/main" id="{27811CC9-1CB5-4007-8276-475A65A2C8F9}"/>
                </a:ext>
              </a:extLst>
            </p:cNvPr>
            <p:cNvSpPr>
              <a:spLocks/>
            </p:cNvSpPr>
            <p:nvPr/>
          </p:nvSpPr>
          <p:spPr bwMode="auto">
            <a:xfrm>
              <a:off x="4331159" y="2702221"/>
              <a:ext cx="51557" cy="35276"/>
            </a:xfrm>
            <a:custGeom>
              <a:avLst/>
              <a:gdLst>
                <a:gd name="T0" fmla="*/ 0 w 124"/>
                <a:gd name="T1" fmla="*/ 79 h 79"/>
                <a:gd name="T2" fmla="*/ 0 w 124"/>
                <a:gd name="T3" fmla="*/ 57 h 79"/>
                <a:gd name="T4" fmla="*/ 124 w 124"/>
                <a:gd name="T5" fmla="*/ 0 h 79"/>
                <a:gd name="T6" fmla="*/ 123 w 124"/>
                <a:gd name="T7" fmla="*/ 42 h 79"/>
                <a:gd name="T8" fmla="*/ 0 w 124"/>
                <a:gd name="T9" fmla="*/ 79 h 79"/>
              </a:gdLst>
              <a:ahLst/>
              <a:cxnLst>
                <a:cxn ang="0">
                  <a:pos x="T0" y="T1"/>
                </a:cxn>
                <a:cxn ang="0">
                  <a:pos x="T2" y="T3"/>
                </a:cxn>
                <a:cxn ang="0">
                  <a:pos x="T4" y="T5"/>
                </a:cxn>
                <a:cxn ang="0">
                  <a:pos x="T6" y="T7"/>
                </a:cxn>
                <a:cxn ang="0">
                  <a:pos x="T8" y="T9"/>
                </a:cxn>
              </a:cxnLst>
              <a:rect l="0" t="0" r="r" b="b"/>
              <a:pathLst>
                <a:path w="124" h="79">
                  <a:moveTo>
                    <a:pt x="0" y="79"/>
                  </a:moveTo>
                  <a:cubicBezTo>
                    <a:pt x="0" y="72"/>
                    <a:pt x="0" y="64"/>
                    <a:pt x="0" y="57"/>
                  </a:cubicBezTo>
                  <a:cubicBezTo>
                    <a:pt x="26" y="4"/>
                    <a:pt x="86" y="27"/>
                    <a:pt x="124" y="0"/>
                  </a:cubicBezTo>
                  <a:cubicBezTo>
                    <a:pt x="124" y="14"/>
                    <a:pt x="124" y="28"/>
                    <a:pt x="123" y="42"/>
                  </a:cubicBezTo>
                  <a:cubicBezTo>
                    <a:pt x="76" y="32"/>
                    <a:pt x="41" y="65"/>
                    <a:pt x="0" y="7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6" name="Freeform 95">
              <a:extLst>
                <a:ext uri="{FF2B5EF4-FFF2-40B4-BE49-F238E27FC236}">
                  <a16:creationId xmlns:a16="http://schemas.microsoft.com/office/drawing/2014/main" id="{5847013C-CEE0-4D2E-805F-4BE69645D8B1}"/>
                </a:ext>
              </a:extLst>
            </p:cNvPr>
            <p:cNvSpPr>
              <a:spLocks/>
            </p:cNvSpPr>
            <p:nvPr/>
          </p:nvSpPr>
          <p:spPr bwMode="auto">
            <a:xfrm>
              <a:off x="4423419" y="2908449"/>
              <a:ext cx="62411" cy="37989"/>
            </a:xfrm>
            <a:custGeom>
              <a:avLst/>
              <a:gdLst>
                <a:gd name="T0" fmla="*/ 127 w 147"/>
                <a:gd name="T1" fmla="*/ 0 h 93"/>
                <a:gd name="T2" fmla="*/ 147 w 147"/>
                <a:gd name="T3" fmla="*/ 20 h 93"/>
                <a:gd name="T4" fmla="*/ 25 w 147"/>
                <a:gd name="T5" fmla="*/ 83 h 93"/>
                <a:gd name="T6" fmla="*/ 0 w 147"/>
                <a:gd name="T7" fmla="*/ 82 h 93"/>
                <a:gd name="T8" fmla="*/ 127 w 147"/>
                <a:gd name="T9" fmla="*/ 0 h 93"/>
              </a:gdLst>
              <a:ahLst/>
              <a:cxnLst>
                <a:cxn ang="0">
                  <a:pos x="T0" y="T1"/>
                </a:cxn>
                <a:cxn ang="0">
                  <a:pos x="T2" y="T3"/>
                </a:cxn>
                <a:cxn ang="0">
                  <a:pos x="T4" y="T5"/>
                </a:cxn>
                <a:cxn ang="0">
                  <a:pos x="T6" y="T7"/>
                </a:cxn>
                <a:cxn ang="0">
                  <a:pos x="T8" y="T9"/>
                </a:cxn>
              </a:cxnLst>
              <a:rect l="0" t="0" r="r" b="b"/>
              <a:pathLst>
                <a:path w="147" h="93">
                  <a:moveTo>
                    <a:pt x="127" y="0"/>
                  </a:moveTo>
                  <a:cubicBezTo>
                    <a:pt x="133" y="7"/>
                    <a:pt x="140" y="13"/>
                    <a:pt x="147" y="20"/>
                  </a:cubicBezTo>
                  <a:cubicBezTo>
                    <a:pt x="106" y="41"/>
                    <a:pt x="65" y="62"/>
                    <a:pt x="25" y="83"/>
                  </a:cubicBezTo>
                  <a:cubicBezTo>
                    <a:pt x="16" y="93"/>
                    <a:pt x="8" y="93"/>
                    <a:pt x="0" y="82"/>
                  </a:cubicBezTo>
                  <a:cubicBezTo>
                    <a:pt x="35" y="44"/>
                    <a:pt x="76" y="14"/>
                    <a:pt x="127"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7" name="Freeform 96">
              <a:extLst>
                <a:ext uri="{FF2B5EF4-FFF2-40B4-BE49-F238E27FC236}">
                  <a16:creationId xmlns:a16="http://schemas.microsoft.com/office/drawing/2014/main" id="{B46F0036-E3D9-4BCC-92EA-2BE4FCA3F58F}"/>
                </a:ext>
              </a:extLst>
            </p:cNvPr>
            <p:cNvSpPr>
              <a:spLocks/>
            </p:cNvSpPr>
            <p:nvPr/>
          </p:nvSpPr>
          <p:spPr bwMode="auto">
            <a:xfrm>
              <a:off x="4184629" y="3307337"/>
              <a:ext cx="62411" cy="40703"/>
            </a:xfrm>
            <a:custGeom>
              <a:avLst/>
              <a:gdLst>
                <a:gd name="T0" fmla="*/ 150 w 150"/>
                <a:gd name="T1" fmla="*/ 79 h 98"/>
                <a:gd name="T2" fmla="*/ 0 w 150"/>
                <a:gd name="T3" fmla="*/ 57 h 98"/>
                <a:gd name="T4" fmla="*/ 150 w 150"/>
                <a:gd name="T5" fmla="*/ 79 h 98"/>
              </a:gdLst>
              <a:ahLst/>
              <a:cxnLst>
                <a:cxn ang="0">
                  <a:pos x="T0" y="T1"/>
                </a:cxn>
                <a:cxn ang="0">
                  <a:pos x="T2" y="T3"/>
                </a:cxn>
                <a:cxn ang="0">
                  <a:pos x="T4" y="T5"/>
                </a:cxn>
              </a:cxnLst>
              <a:rect l="0" t="0" r="r" b="b"/>
              <a:pathLst>
                <a:path w="150" h="98">
                  <a:moveTo>
                    <a:pt x="150" y="79"/>
                  </a:moveTo>
                  <a:cubicBezTo>
                    <a:pt x="98" y="83"/>
                    <a:pt x="45" y="98"/>
                    <a:pt x="0" y="57"/>
                  </a:cubicBezTo>
                  <a:cubicBezTo>
                    <a:pt x="47" y="83"/>
                    <a:pt x="111" y="0"/>
                    <a:pt x="150" y="7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8" name="Freeform 97">
              <a:extLst>
                <a:ext uri="{FF2B5EF4-FFF2-40B4-BE49-F238E27FC236}">
                  <a16:creationId xmlns:a16="http://schemas.microsoft.com/office/drawing/2014/main" id="{384AA002-0658-4C8B-998F-C022A7B30441}"/>
                </a:ext>
              </a:extLst>
            </p:cNvPr>
            <p:cNvSpPr>
              <a:spLocks/>
            </p:cNvSpPr>
            <p:nvPr/>
          </p:nvSpPr>
          <p:spPr bwMode="auto">
            <a:xfrm>
              <a:off x="4100509" y="2531268"/>
              <a:ext cx="24422" cy="51557"/>
            </a:xfrm>
            <a:custGeom>
              <a:avLst/>
              <a:gdLst>
                <a:gd name="T0" fmla="*/ 0 w 63"/>
                <a:gd name="T1" fmla="*/ 22 h 122"/>
                <a:gd name="T2" fmla="*/ 19 w 63"/>
                <a:gd name="T3" fmla="*/ 0 h 122"/>
                <a:gd name="T4" fmla="*/ 63 w 63"/>
                <a:gd name="T5" fmla="*/ 122 h 122"/>
                <a:gd name="T6" fmla="*/ 0 w 63"/>
                <a:gd name="T7" fmla="*/ 22 h 122"/>
              </a:gdLst>
              <a:ahLst/>
              <a:cxnLst>
                <a:cxn ang="0">
                  <a:pos x="T0" y="T1"/>
                </a:cxn>
                <a:cxn ang="0">
                  <a:pos x="T2" y="T3"/>
                </a:cxn>
                <a:cxn ang="0">
                  <a:pos x="T4" y="T5"/>
                </a:cxn>
                <a:cxn ang="0">
                  <a:pos x="T6" y="T7"/>
                </a:cxn>
              </a:cxnLst>
              <a:rect l="0" t="0" r="r" b="b"/>
              <a:pathLst>
                <a:path w="63" h="122">
                  <a:moveTo>
                    <a:pt x="0" y="22"/>
                  </a:moveTo>
                  <a:cubicBezTo>
                    <a:pt x="6" y="15"/>
                    <a:pt x="13" y="7"/>
                    <a:pt x="19" y="0"/>
                  </a:cubicBezTo>
                  <a:cubicBezTo>
                    <a:pt x="34" y="40"/>
                    <a:pt x="48" y="81"/>
                    <a:pt x="63" y="122"/>
                  </a:cubicBezTo>
                  <a:cubicBezTo>
                    <a:pt x="18" y="104"/>
                    <a:pt x="0" y="68"/>
                    <a:pt x="0" y="2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9" name="Freeform 98">
              <a:extLst>
                <a:ext uri="{FF2B5EF4-FFF2-40B4-BE49-F238E27FC236}">
                  <a16:creationId xmlns:a16="http://schemas.microsoft.com/office/drawing/2014/main" id="{E4DBC522-BDDF-4A17-9C49-D60A2AF43BFC}"/>
                </a:ext>
              </a:extLst>
            </p:cNvPr>
            <p:cNvSpPr>
              <a:spLocks/>
            </p:cNvSpPr>
            <p:nvPr/>
          </p:nvSpPr>
          <p:spPr bwMode="auto">
            <a:xfrm>
              <a:off x="4097796" y="3253067"/>
              <a:ext cx="37989" cy="40703"/>
            </a:xfrm>
            <a:custGeom>
              <a:avLst/>
              <a:gdLst>
                <a:gd name="T0" fmla="*/ 5 w 88"/>
                <a:gd name="T1" fmla="*/ 65 h 98"/>
                <a:gd name="T2" fmla="*/ 9 w 88"/>
                <a:gd name="T3" fmla="*/ 20 h 98"/>
                <a:gd name="T4" fmla="*/ 25 w 88"/>
                <a:gd name="T5" fmla="*/ 0 h 98"/>
                <a:gd name="T6" fmla="*/ 24 w 88"/>
                <a:gd name="T7" fmla="*/ 98 h 98"/>
                <a:gd name="T8" fmla="*/ 5 w 88"/>
                <a:gd name="T9" fmla="*/ 65 h 98"/>
              </a:gdLst>
              <a:ahLst/>
              <a:cxnLst>
                <a:cxn ang="0">
                  <a:pos x="T0" y="T1"/>
                </a:cxn>
                <a:cxn ang="0">
                  <a:pos x="T2" y="T3"/>
                </a:cxn>
                <a:cxn ang="0">
                  <a:pos x="T4" y="T5"/>
                </a:cxn>
                <a:cxn ang="0">
                  <a:pos x="T6" y="T7"/>
                </a:cxn>
                <a:cxn ang="0">
                  <a:pos x="T8" y="T9"/>
                </a:cxn>
              </a:cxnLst>
              <a:rect l="0" t="0" r="r" b="b"/>
              <a:pathLst>
                <a:path w="88" h="98">
                  <a:moveTo>
                    <a:pt x="5" y="65"/>
                  </a:moveTo>
                  <a:cubicBezTo>
                    <a:pt x="67" y="54"/>
                    <a:pt x="4" y="34"/>
                    <a:pt x="9" y="20"/>
                  </a:cubicBezTo>
                  <a:cubicBezTo>
                    <a:pt x="11" y="11"/>
                    <a:pt x="17" y="4"/>
                    <a:pt x="25" y="0"/>
                  </a:cubicBezTo>
                  <a:cubicBezTo>
                    <a:pt x="77" y="33"/>
                    <a:pt x="88" y="66"/>
                    <a:pt x="24" y="98"/>
                  </a:cubicBezTo>
                  <a:cubicBezTo>
                    <a:pt x="8" y="92"/>
                    <a:pt x="0" y="82"/>
                    <a:pt x="5" y="6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0" name="Freeform 99">
              <a:extLst>
                <a:ext uri="{FF2B5EF4-FFF2-40B4-BE49-F238E27FC236}">
                  <a16:creationId xmlns:a16="http://schemas.microsoft.com/office/drawing/2014/main" id="{657A1BE2-2CBA-4779-BE5F-5731A126442E}"/>
                </a:ext>
              </a:extLst>
            </p:cNvPr>
            <p:cNvSpPr>
              <a:spLocks/>
            </p:cNvSpPr>
            <p:nvPr/>
          </p:nvSpPr>
          <p:spPr bwMode="auto">
            <a:xfrm>
              <a:off x="3704334" y="3407738"/>
              <a:ext cx="35276" cy="43416"/>
            </a:xfrm>
            <a:custGeom>
              <a:avLst/>
              <a:gdLst>
                <a:gd name="T0" fmla="*/ 0 w 84"/>
                <a:gd name="T1" fmla="*/ 24 h 106"/>
                <a:gd name="T2" fmla="*/ 24 w 84"/>
                <a:gd name="T3" fmla="*/ 0 h 106"/>
                <a:gd name="T4" fmla="*/ 82 w 84"/>
                <a:gd name="T5" fmla="*/ 86 h 106"/>
                <a:gd name="T6" fmla="*/ 61 w 84"/>
                <a:gd name="T7" fmla="*/ 106 h 106"/>
                <a:gd name="T8" fmla="*/ 0 w 84"/>
                <a:gd name="T9" fmla="*/ 24 h 106"/>
              </a:gdLst>
              <a:ahLst/>
              <a:cxnLst>
                <a:cxn ang="0">
                  <a:pos x="T0" y="T1"/>
                </a:cxn>
                <a:cxn ang="0">
                  <a:pos x="T2" y="T3"/>
                </a:cxn>
                <a:cxn ang="0">
                  <a:pos x="T4" y="T5"/>
                </a:cxn>
                <a:cxn ang="0">
                  <a:pos x="T6" y="T7"/>
                </a:cxn>
                <a:cxn ang="0">
                  <a:pos x="T8" y="T9"/>
                </a:cxn>
              </a:cxnLst>
              <a:rect l="0" t="0" r="r" b="b"/>
              <a:pathLst>
                <a:path w="84" h="106">
                  <a:moveTo>
                    <a:pt x="0" y="24"/>
                  </a:moveTo>
                  <a:cubicBezTo>
                    <a:pt x="8" y="16"/>
                    <a:pt x="16" y="8"/>
                    <a:pt x="24" y="0"/>
                  </a:cubicBezTo>
                  <a:cubicBezTo>
                    <a:pt x="84" y="1"/>
                    <a:pt x="48" y="67"/>
                    <a:pt x="82" y="86"/>
                  </a:cubicBezTo>
                  <a:cubicBezTo>
                    <a:pt x="75" y="93"/>
                    <a:pt x="68" y="99"/>
                    <a:pt x="61" y="106"/>
                  </a:cubicBezTo>
                  <a:cubicBezTo>
                    <a:pt x="31" y="85"/>
                    <a:pt x="50" y="29"/>
                    <a:pt x="0" y="2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1" name="Freeform 100">
              <a:extLst>
                <a:ext uri="{FF2B5EF4-FFF2-40B4-BE49-F238E27FC236}">
                  <a16:creationId xmlns:a16="http://schemas.microsoft.com/office/drawing/2014/main" id="{F005739D-6D61-4267-AF52-6F0D24DB5976}"/>
                </a:ext>
              </a:extLst>
            </p:cNvPr>
            <p:cNvSpPr>
              <a:spLocks/>
            </p:cNvSpPr>
            <p:nvPr/>
          </p:nvSpPr>
          <p:spPr bwMode="auto">
            <a:xfrm>
              <a:off x="3929557" y="3198796"/>
              <a:ext cx="32562" cy="46130"/>
            </a:xfrm>
            <a:custGeom>
              <a:avLst/>
              <a:gdLst>
                <a:gd name="T0" fmla="*/ 61 w 78"/>
                <a:gd name="T1" fmla="*/ 90 h 111"/>
                <a:gd name="T2" fmla="*/ 20 w 78"/>
                <a:gd name="T3" fmla="*/ 111 h 111"/>
                <a:gd name="T4" fmla="*/ 0 w 78"/>
                <a:gd name="T5" fmla="*/ 50 h 111"/>
                <a:gd name="T6" fmla="*/ 22 w 78"/>
                <a:gd name="T7" fmla="*/ 7 h 111"/>
                <a:gd name="T8" fmla="*/ 60 w 78"/>
                <a:gd name="T9" fmla="*/ 29 h 111"/>
                <a:gd name="T10" fmla="*/ 60 w 78"/>
                <a:gd name="T11" fmla="*/ 29 h 111"/>
                <a:gd name="T12" fmla="*/ 61 w 78"/>
                <a:gd name="T13" fmla="*/ 90 h 111"/>
              </a:gdLst>
              <a:ahLst/>
              <a:cxnLst>
                <a:cxn ang="0">
                  <a:pos x="T0" y="T1"/>
                </a:cxn>
                <a:cxn ang="0">
                  <a:pos x="T2" y="T3"/>
                </a:cxn>
                <a:cxn ang="0">
                  <a:pos x="T4" y="T5"/>
                </a:cxn>
                <a:cxn ang="0">
                  <a:pos x="T6" y="T7"/>
                </a:cxn>
                <a:cxn ang="0">
                  <a:pos x="T8" y="T9"/>
                </a:cxn>
                <a:cxn ang="0">
                  <a:pos x="T10" y="T11"/>
                </a:cxn>
                <a:cxn ang="0">
                  <a:pos x="T12" y="T13"/>
                </a:cxn>
              </a:cxnLst>
              <a:rect l="0" t="0" r="r" b="b"/>
              <a:pathLst>
                <a:path w="78" h="111">
                  <a:moveTo>
                    <a:pt x="61" y="90"/>
                  </a:moveTo>
                  <a:cubicBezTo>
                    <a:pt x="47" y="97"/>
                    <a:pt x="33" y="104"/>
                    <a:pt x="20" y="111"/>
                  </a:cubicBezTo>
                  <a:cubicBezTo>
                    <a:pt x="0" y="95"/>
                    <a:pt x="23" y="65"/>
                    <a:pt x="0" y="50"/>
                  </a:cubicBezTo>
                  <a:cubicBezTo>
                    <a:pt x="7" y="36"/>
                    <a:pt x="15" y="22"/>
                    <a:pt x="22" y="7"/>
                  </a:cubicBezTo>
                  <a:cubicBezTo>
                    <a:pt x="43" y="0"/>
                    <a:pt x="52" y="14"/>
                    <a:pt x="60" y="29"/>
                  </a:cubicBezTo>
                  <a:cubicBezTo>
                    <a:pt x="60" y="29"/>
                    <a:pt x="60" y="29"/>
                    <a:pt x="60" y="29"/>
                  </a:cubicBezTo>
                  <a:cubicBezTo>
                    <a:pt x="76" y="49"/>
                    <a:pt x="78" y="69"/>
                    <a:pt x="61" y="9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2" name="Freeform 101">
              <a:extLst>
                <a:ext uri="{FF2B5EF4-FFF2-40B4-BE49-F238E27FC236}">
                  <a16:creationId xmlns:a16="http://schemas.microsoft.com/office/drawing/2014/main" id="{B2E8BDCA-5DFB-4DEF-B7F0-07E59B45DF34}"/>
                </a:ext>
              </a:extLst>
            </p:cNvPr>
            <p:cNvSpPr>
              <a:spLocks/>
            </p:cNvSpPr>
            <p:nvPr/>
          </p:nvSpPr>
          <p:spPr bwMode="auto">
            <a:xfrm>
              <a:off x="3932271" y="3177088"/>
              <a:ext cx="29849" cy="32562"/>
            </a:xfrm>
            <a:custGeom>
              <a:avLst/>
              <a:gdLst>
                <a:gd name="T0" fmla="*/ 50 w 70"/>
                <a:gd name="T1" fmla="*/ 79 h 79"/>
                <a:gd name="T2" fmla="*/ 12 w 70"/>
                <a:gd name="T3" fmla="*/ 57 h 79"/>
                <a:gd name="T4" fmla="*/ 25 w 70"/>
                <a:gd name="T5" fmla="*/ 6 h 79"/>
                <a:gd name="T6" fmla="*/ 70 w 70"/>
                <a:gd name="T7" fmla="*/ 40 h 79"/>
                <a:gd name="T8" fmla="*/ 50 w 70"/>
                <a:gd name="T9" fmla="*/ 79 h 79"/>
              </a:gdLst>
              <a:ahLst/>
              <a:cxnLst>
                <a:cxn ang="0">
                  <a:pos x="T0" y="T1"/>
                </a:cxn>
                <a:cxn ang="0">
                  <a:pos x="T2" y="T3"/>
                </a:cxn>
                <a:cxn ang="0">
                  <a:pos x="T4" y="T5"/>
                </a:cxn>
                <a:cxn ang="0">
                  <a:pos x="T6" y="T7"/>
                </a:cxn>
                <a:cxn ang="0">
                  <a:pos x="T8" y="T9"/>
                </a:cxn>
              </a:cxnLst>
              <a:rect l="0" t="0" r="r" b="b"/>
              <a:pathLst>
                <a:path w="70" h="79">
                  <a:moveTo>
                    <a:pt x="50" y="79"/>
                  </a:moveTo>
                  <a:cubicBezTo>
                    <a:pt x="38" y="72"/>
                    <a:pt x="25" y="65"/>
                    <a:pt x="12" y="57"/>
                  </a:cubicBezTo>
                  <a:cubicBezTo>
                    <a:pt x="11" y="39"/>
                    <a:pt x="0" y="14"/>
                    <a:pt x="25" y="6"/>
                  </a:cubicBezTo>
                  <a:cubicBezTo>
                    <a:pt x="49" y="0"/>
                    <a:pt x="54" y="30"/>
                    <a:pt x="70" y="40"/>
                  </a:cubicBezTo>
                  <a:cubicBezTo>
                    <a:pt x="64" y="53"/>
                    <a:pt x="57" y="66"/>
                    <a:pt x="50" y="7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3" name="Freeform 102">
              <a:extLst>
                <a:ext uri="{FF2B5EF4-FFF2-40B4-BE49-F238E27FC236}">
                  <a16:creationId xmlns:a16="http://schemas.microsoft.com/office/drawing/2014/main" id="{BDC5FC8A-CB91-45C0-A7D9-77317E251F83}"/>
                </a:ext>
              </a:extLst>
            </p:cNvPr>
            <p:cNvSpPr>
              <a:spLocks/>
            </p:cNvSpPr>
            <p:nvPr/>
          </p:nvSpPr>
          <p:spPr bwMode="auto">
            <a:xfrm>
              <a:off x="4382716" y="2943725"/>
              <a:ext cx="51557" cy="21708"/>
            </a:xfrm>
            <a:custGeom>
              <a:avLst/>
              <a:gdLst>
                <a:gd name="T0" fmla="*/ 98 w 123"/>
                <a:gd name="T1" fmla="*/ 0 h 56"/>
                <a:gd name="T2" fmla="*/ 123 w 123"/>
                <a:gd name="T3" fmla="*/ 1 h 56"/>
                <a:gd name="T4" fmla="*/ 0 w 123"/>
                <a:gd name="T5" fmla="*/ 42 h 56"/>
                <a:gd name="T6" fmla="*/ 98 w 123"/>
                <a:gd name="T7" fmla="*/ 0 h 56"/>
              </a:gdLst>
              <a:ahLst/>
              <a:cxnLst>
                <a:cxn ang="0">
                  <a:pos x="T0" y="T1"/>
                </a:cxn>
                <a:cxn ang="0">
                  <a:pos x="T2" y="T3"/>
                </a:cxn>
                <a:cxn ang="0">
                  <a:pos x="T4" y="T5"/>
                </a:cxn>
                <a:cxn ang="0">
                  <a:pos x="T6" y="T7"/>
                </a:cxn>
              </a:cxnLst>
              <a:rect l="0" t="0" r="r" b="b"/>
              <a:pathLst>
                <a:path w="123" h="56">
                  <a:moveTo>
                    <a:pt x="98" y="0"/>
                  </a:moveTo>
                  <a:cubicBezTo>
                    <a:pt x="106" y="0"/>
                    <a:pt x="115" y="1"/>
                    <a:pt x="123" y="1"/>
                  </a:cubicBezTo>
                  <a:cubicBezTo>
                    <a:pt x="89" y="35"/>
                    <a:pt x="50" y="56"/>
                    <a:pt x="0" y="42"/>
                  </a:cubicBezTo>
                  <a:cubicBezTo>
                    <a:pt x="27" y="14"/>
                    <a:pt x="65" y="12"/>
                    <a:pt x="98"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4" name="Freeform 103">
              <a:extLst>
                <a:ext uri="{FF2B5EF4-FFF2-40B4-BE49-F238E27FC236}">
                  <a16:creationId xmlns:a16="http://schemas.microsoft.com/office/drawing/2014/main" id="{B85FBBC0-867B-434B-A530-AF57705F5C5F}"/>
                </a:ext>
              </a:extLst>
            </p:cNvPr>
            <p:cNvSpPr>
              <a:spLocks/>
            </p:cNvSpPr>
            <p:nvPr/>
          </p:nvSpPr>
          <p:spPr bwMode="auto">
            <a:xfrm>
              <a:off x="4426133" y="2789054"/>
              <a:ext cx="32562" cy="32562"/>
            </a:xfrm>
            <a:custGeom>
              <a:avLst/>
              <a:gdLst>
                <a:gd name="T0" fmla="*/ 41 w 76"/>
                <a:gd name="T1" fmla="*/ 83 h 83"/>
                <a:gd name="T2" fmla="*/ 19 w 76"/>
                <a:gd name="T3" fmla="*/ 60 h 83"/>
                <a:gd name="T4" fmla="*/ 0 w 76"/>
                <a:gd name="T5" fmla="*/ 24 h 83"/>
                <a:gd name="T6" fmla="*/ 24 w 76"/>
                <a:gd name="T7" fmla="*/ 0 h 83"/>
                <a:gd name="T8" fmla="*/ 41 w 76"/>
                <a:gd name="T9" fmla="*/ 83 h 83"/>
              </a:gdLst>
              <a:ahLst/>
              <a:cxnLst>
                <a:cxn ang="0">
                  <a:pos x="T0" y="T1"/>
                </a:cxn>
                <a:cxn ang="0">
                  <a:pos x="T2" y="T3"/>
                </a:cxn>
                <a:cxn ang="0">
                  <a:pos x="T4" y="T5"/>
                </a:cxn>
                <a:cxn ang="0">
                  <a:pos x="T6" y="T7"/>
                </a:cxn>
                <a:cxn ang="0">
                  <a:pos x="T8" y="T9"/>
                </a:cxn>
              </a:cxnLst>
              <a:rect l="0" t="0" r="r" b="b"/>
              <a:pathLst>
                <a:path w="76" h="83">
                  <a:moveTo>
                    <a:pt x="41" y="83"/>
                  </a:moveTo>
                  <a:cubicBezTo>
                    <a:pt x="33" y="76"/>
                    <a:pt x="26" y="68"/>
                    <a:pt x="19" y="60"/>
                  </a:cubicBezTo>
                  <a:cubicBezTo>
                    <a:pt x="12" y="48"/>
                    <a:pt x="6" y="36"/>
                    <a:pt x="0" y="24"/>
                  </a:cubicBezTo>
                  <a:cubicBezTo>
                    <a:pt x="8" y="16"/>
                    <a:pt x="16" y="8"/>
                    <a:pt x="24" y="0"/>
                  </a:cubicBezTo>
                  <a:cubicBezTo>
                    <a:pt x="42" y="25"/>
                    <a:pt x="76" y="47"/>
                    <a:pt x="41" y="8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5" name="Freeform 104">
              <a:extLst>
                <a:ext uri="{FF2B5EF4-FFF2-40B4-BE49-F238E27FC236}">
                  <a16:creationId xmlns:a16="http://schemas.microsoft.com/office/drawing/2014/main" id="{DA1028DD-58AE-4E4F-8FDB-C5F75685B825}"/>
                </a:ext>
              </a:extLst>
            </p:cNvPr>
            <p:cNvSpPr>
              <a:spLocks/>
            </p:cNvSpPr>
            <p:nvPr/>
          </p:nvSpPr>
          <p:spPr bwMode="auto">
            <a:xfrm>
              <a:off x="4081515" y="3280202"/>
              <a:ext cx="27135" cy="59698"/>
            </a:xfrm>
            <a:custGeom>
              <a:avLst/>
              <a:gdLst>
                <a:gd name="T0" fmla="*/ 43 w 62"/>
                <a:gd name="T1" fmla="*/ 0 h 141"/>
                <a:gd name="T2" fmla="*/ 62 w 62"/>
                <a:gd name="T3" fmla="*/ 33 h 141"/>
                <a:gd name="T4" fmla="*/ 40 w 62"/>
                <a:gd name="T5" fmla="*/ 141 h 141"/>
                <a:gd name="T6" fmla="*/ 33 w 62"/>
                <a:gd name="T7" fmla="*/ 141 h 141"/>
                <a:gd name="T8" fmla="*/ 26 w 62"/>
                <a:gd name="T9" fmla="*/ 141 h 141"/>
                <a:gd name="T10" fmla="*/ 43 w 62"/>
                <a:gd name="T11" fmla="*/ 0 h 141"/>
              </a:gdLst>
              <a:ahLst/>
              <a:cxnLst>
                <a:cxn ang="0">
                  <a:pos x="T0" y="T1"/>
                </a:cxn>
                <a:cxn ang="0">
                  <a:pos x="T2" y="T3"/>
                </a:cxn>
                <a:cxn ang="0">
                  <a:pos x="T4" y="T5"/>
                </a:cxn>
                <a:cxn ang="0">
                  <a:pos x="T6" y="T7"/>
                </a:cxn>
                <a:cxn ang="0">
                  <a:pos x="T8" y="T9"/>
                </a:cxn>
                <a:cxn ang="0">
                  <a:pos x="T10" y="T11"/>
                </a:cxn>
              </a:cxnLst>
              <a:rect l="0" t="0" r="r" b="b"/>
              <a:pathLst>
                <a:path w="62" h="141">
                  <a:moveTo>
                    <a:pt x="43" y="0"/>
                  </a:moveTo>
                  <a:cubicBezTo>
                    <a:pt x="50" y="11"/>
                    <a:pt x="56" y="22"/>
                    <a:pt x="62" y="33"/>
                  </a:cubicBezTo>
                  <a:cubicBezTo>
                    <a:pt x="29" y="64"/>
                    <a:pt x="52" y="106"/>
                    <a:pt x="40" y="141"/>
                  </a:cubicBezTo>
                  <a:cubicBezTo>
                    <a:pt x="40" y="141"/>
                    <a:pt x="33" y="141"/>
                    <a:pt x="33" y="141"/>
                  </a:cubicBezTo>
                  <a:cubicBezTo>
                    <a:pt x="33" y="141"/>
                    <a:pt x="26" y="141"/>
                    <a:pt x="26" y="141"/>
                  </a:cubicBezTo>
                  <a:cubicBezTo>
                    <a:pt x="29" y="93"/>
                    <a:pt x="0" y="42"/>
                    <a:pt x="43"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6" name="Freeform 105">
              <a:extLst>
                <a:ext uri="{FF2B5EF4-FFF2-40B4-BE49-F238E27FC236}">
                  <a16:creationId xmlns:a16="http://schemas.microsoft.com/office/drawing/2014/main" id="{7E874CCB-43D2-49AE-8403-46DA3E86A8B6}"/>
                </a:ext>
              </a:extLst>
            </p:cNvPr>
            <p:cNvSpPr>
              <a:spLocks/>
            </p:cNvSpPr>
            <p:nvPr/>
          </p:nvSpPr>
          <p:spPr bwMode="auto">
            <a:xfrm>
              <a:off x="4040812" y="3228645"/>
              <a:ext cx="46130" cy="32562"/>
            </a:xfrm>
            <a:custGeom>
              <a:avLst/>
              <a:gdLst>
                <a:gd name="T0" fmla="*/ 105 w 113"/>
                <a:gd name="T1" fmla="*/ 25 h 79"/>
                <a:gd name="T2" fmla="*/ 2 w 113"/>
                <a:gd name="T3" fmla="*/ 39 h 79"/>
                <a:gd name="T4" fmla="*/ 44 w 113"/>
                <a:gd name="T5" fmla="*/ 18 h 79"/>
                <a:gd name="T6" fmla="*/ 105 w 113"/>
                <a:gd name="T7" fmla="*/ 4 h 79"/>
                <a:gd name="T8" fmla="*/ 111 w 113"/>
                <a:gd name="T9" fmla="*/ 18 h 79"/>
                <a:gd name="T10" fmla="*/ 105 w 113"/>
                <a:gd name="T11" fmla="*/ 25 h 79"/>
              </a:gdLst>
              <a:ahLst/>
              <a:cxnLst>
                <a:cxn ang="0">
                  <a:pos x="T0" y="T1"/>
                </a:cxn>
                <a:cxn ang="0">
                  <a:pos x="T2" y="T3"/>
                </a:cxn>
                <a:cxn ang="0">
                  <a:pos x="T4" y="T5"/>
                </a:cxn>
                <a:cxn ang="0">
                  <a:pos x="T6" y="T7"/>
                </a:cxn>
                <a:cxn ang="0">
                  <a:pos x="T8" y="T9"/>
                </a:cxn>
                <a:cxn ang="0">
                  <a:pos x="T10" y="T11"/>
                </a:cxn>
              </a:cxnLst>
              <a:rect l="0" t="0" r="r" b="b"/>
              <a:pathLst>
                <a:path w="113" h="79">
                  <a:moveTo>
                    <a:pt x="105" y="25"/>
                  </a:moveTo>
                  <a:cubicBezTo>
                    <a:pt x="77" y="79"/>
                    <a:pt x="38" y="44"/>
                    <a:pt x="2" y="39"/>
                  </a:cubicBezTo>
                  <a:cubicBezTo>
                    <a:pt x="0" y="0"/>
                    <a:pt x="23" y="11"/>
                    <a:pt x="44" y="18"/>
                  </a:cubicBezTo>
                  <a:cubicBezTo>
                    <a:pt x="64" y="14"/>
                    <a:pt x="84" y="9"/>
                    <a:pt x="105" y="4"/>
                  </a:cubicBezTo>
                  <a:cubicBezTo>
                    <a:pt x="111" y="9"/>
                    <a:pt x="113" y="13"/>
                    <a:pt x="111" y="18"/>
                  </a:cubicBezTo>
                  <a:cubicBezTo>
                    <a:pt x="109" y="23"/>
                    <a:pt x="107" y="25"/>
                    <a:pt x="105" y="2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7" name="Freeform 106">
              <a:extLst>
                <a:ext uri="{FF2B5EF4-FFF2-40B4-BE49-F238E27FC236}">
                  <a16:creationId xmlns:a16="http://schemas.microsoft.com/office/drawing/2014/main" id="{974472E3-F3EE-449F-A343-B59938C7078B}"/>
                </a:ext>
              </a:extLst>
            </p:cNvPr>
            <p:cNvSpPr>
              <a:spLocks/>
            </p:cNvSpPr>
            <p:nvPr/>
          </p:nvSpPr>
          <p:spPr bwMode="auto">
            <a:xfrm>
              <a:off x="4021817" y="3223218"/>
              <a:ext cx="35276" cy="21708"/>
            </a:xfrm>
            <a:custGeom>
              <a:avLst/>
              <a:gdLst>
                <a:gd name="T0" fmla="*/ 84 w 84"/>
                <a:gd name="T1" fmla="*/ 26 h 49"/>
                <a:gd name="T2" fmla="*/ 42 w 84"/>
                <a:gd name="T3" fmla="*/ 47 h 49"/>
                <a:gd name="T4" fmla="*/ 0 w 84"/>
                <a:gd name="T5" fmla="*/ 8 h 49"/>
                <a:gd name="T6" fmla="*/ 84 w 84"/>
                <a:gd name="T7" fmla="*/ 26 h 49"/>
              </a:gdLst>
              <a:ahLst/>
              <a:cxnLst>
                <a:cxn ang="0">
                  <a:pos x="T0" y="T1"/>
                </a:cxn>
                <a:cxn ang="0">
                  <a:pos x="T2" y="T3"/>
                </a:cxn>
                <a:cxn ang="0">
                  <a:pos x="T4" y="T5"/>
                </a:cxn>
                <a:cxn ang="0">
                  <a:pos x="T6" y="T7"/>
                </a:cxn>
              </a:cxnLst>
              <a:rect l="0" t="0" r="r" b="b"/>
              <a:pathLst>
                <a:path w="84" h="49">
                  <a:moveTo>
                    <a:pt x="84" y="26"/>
                  </a:moveTo>
                  <a:cubicBezTo>
                    <a:pt x="70" y="33"/>
                    <a:pt x="56" y="40"/>
                    <a:pt x="42" y="47"/>
                  </a:cubicBezTo>
                  <a:cubicBezTo>
                    <a:pt x="14" y="49"/>
                    <a:pt x="0" y="37"/>
                    <a:pt x="0" y="8"/>
                  </a:cubicBezTo>
                  <a:cubicBezTo>
                    <a:pt x="29" y="11"/>
                    <a:pt x="61" y="0"/>
                    <a:pt x="84" y="2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8" name="Freeform 107">
              <a:extLst>
                <a:ext uri="{FF2B5EF4-FFF2-40B4-BE49-F238E27FC236}">
                  <a16:creationId xmlns:a16="http://schemas.microsoft.com/office/drawing/2014/main" id="{D83754B9-1710-406D-A3FF-33762F0E8663}"/>
                </a:ext>
              </a:extLst>
            </p:cNvPr>
            <p:cNvSpPr>
              <a:spLocks/>
            </p:cNvSpPr>
            <p:nvPr/>
          </p:nvSpPr>
          <p:spPr bwMode="auto">
            <a:xfrm>
              <a:off x="4084228" y="3223218"/>
              <a:ext cx="27135" cy="37989"/>
            </a:xfrm>
            <a:custGeom>
              <a:avLst/>
              <a:gdLst>
                <a:gd name="T0" fmla="*/ 0 w 64"/>
                <a:gd name="T1" fmla="*/ 33 h 89"/>
                <a:gd name="T2" fmla="*/ 0 w 64"/>
                <a:gd name="T3" fmla="*/ 12 h 89"/>
                <a:gd name="T4" fmla="*/ 60 w 64"/>
                <a:gd name="T5" fmla="*/ 69 h 89"/>
                <a:gd name="T6" fmla="*/ 44 w 64"/>
                <a:gd name="T7" fmla="*/ 89 h 89"/>
                <a:gd name="T8" fmla="*/ 0 w 64"/>
                <a:gd name="T9" fmla="*/ 33 h 89"/>
              </a:gdLst>
              <a:ahLst/>
              <a:cxnLst>
                <a:cxn ang="0">
                  <a:pos x="T0" y="T1"/>
                </a:cxn>
                <a:cxn ang="0">
                  <a:pos x="T2" y="T3"/>
                </a:cxn>
                <a:cxn ang="0">
                  <a:pos x="T4" y="T5"/>
                </a:cxn>
                <a:cxn ang="0">
                  <a:pos x="T6" y="T7"/>
                </a:cxn>
                <a:cxn ang="0">
                  <a:pos x="T8" y="T9"/>
                </a:cxn>
              </a:cxnLst>
              <a:rect l="0" t="0" r="r" b="b"/>
              <a:pathLst>
                <a:path w="64" h="89">
                  <a:moveTo>
                    <a:pt x="0" y="33"/>
                  </a:moveTo>
                  <a:cubicBezTo>
                    <a:pt x="0" y="26"/>
                    <a:pt x="0" y="19"/>
                    <a:pt x="0" y="12"/>
                  </a:cubicBezTo>
                  <a:cubicBezTo>
                    <a:pt x="49" y="0"/>
                    <a:pt x="64" y="25"/>
                    <a:pt x="60" y="69"/>
                  </a:cubicBezTo>
                  <a:cubicBezTo>
                    <a:pt x="55" y="75"/>
                    <a:pt x="49" y="82"/>
                    <a:pt x="44" y="89"/>
                  </a:cubicBezTo>
                  <a:cubicBezTo>
                    <a:pt x="34" y="66"/>
                    <a:pt x="48" y="25"/>
                    <a:pt x="0" y="3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9" name="Freeform 108">
              <a:extLst>
                <a:ext uri="{FF2B5EF4-FFF2-40B4-BE49-F238E27FC236}">
                  <a16:creationId xmlns:a16="http://schemas.microsoft.com/office/drawing/2014/main" id="{EEA3B7DA-9023-4935-B203-1FA6E5C74408}"/>
                </a:ext>
              </a:extLst>
            </p:cNvPr>
            <p:cNvSpPr>
              <a:spLocks/>
            </p:cNvSpPr>
            <p:nvPr/>
          </p:nvSpPr>
          <p:spPr bwMode="auto">
            <a:xfrm>
              <a:off x="3918703" y="3217791"/>
              <a:ext cx="32562" cy="35276"/>
            </a:xfrm>
            <a:custGeom>
              <a:avLst/>
              <a:gdLst>
                <a:gd name="T0" fmla="*/ 24 w 80"/>
                <a:gd name="T1" fmla="*/ 0 h 81"/>
                <a:gd name="T2" fmla="*/ 44 w 80"/>
                <a:gd name="T3" fmla="*/ 61 h 81"/>
                <a:gd name="T4" fmla="*/ 22 w 80"/>
                <a:gd name="T5" fmla="*/ 81 h 81"/>
                <a:gd name="T6" fmla="*/ 0 w 80"/>
                <a:gd name="T7" fmla="*/ 81 h 81"/>
                <a:gd name="T8" fmla="*/ 24 w 80"/>
                <a:gd name="T9" fmla="*/ 0 h 81"/>
              </a:gdLst>
              <a:ahLst/>
              <a:cxnLst>
                <a:cxn ang="0">
                  <a:pos x="T0" y="T1"/>
                </a:cxn>
                <a:cxn ang="0">
                  <a:pos x="T2" y="T3"/>
                </a:cxn>
                <a:cxn ang="0">
                  <a:pos x="T4" y="T5"/>
                </a:cxn>
                <a:cxn ang="0">
                  <a:pos x="T6" y="T7"/>
                </a:cxn>
                <a:cxn ang="0">
                  <a:pos x="T8" y="T9"/>
                </a:cxn>
              </a:cxnLst>
              <a:rect l="0" t="0" r="r" b="b"/>
              <a:pathLst>
                <a:path w="80" h="81">
                  <a:moveTo>
                    <a:pt x="24" y="0"/>
                  </a:moveTo>
                  <a:cubicBezTo>
                    <a:pt x="80" y="4"/>
                    <a:pt x="33" y="42"/>
                    <a:pt x="44" y="61"/>
                  </a:cubicBezTo>
                  <a:cubicBezTo>
                    <a:pt x="37" y="68"/>
                    <a:pt x="29" y="75"/>
                    <a:pt x="22" y="81"/>
                  </a:cubicBezTo>
                  <a:cubicBezTo>
                    <a:pt x="15" y="81"/>
                    <a:pt x="7" y="81"/>
                    <a:pt x="0" y="81"/>
                  </a:cubicBezTo>
                  <a:cubicBezTo>
                    <a:pt x="15" y="56"/>
                    <a:pt x="25" y="29"/>
                    <a:pt x="24"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0" name="Freeform 109">
              <a:extLst>
                <a:ext uri="{FF2B5EF4-FFF2-40B4-BE49-F238E27FC236}">
                  <a16:creationId xmlns:a16="http://schemas.microsoft.com/office/drawing/2014/main" id="{695585C2-FAFE-4A6D-93D4-601B291EE895}"/>
                </a:ext>
              </a:extLst>
            </p:cNvPr>
            <p:cNvSpPr>
              <a:spLocks/>
            </p:cNvSpPr>
            <p:nvPr/>
          </p:nvSpPr>
          <p:spPr bwMode="auto">
            <a:xfrm>
              <a:off x="3617502" y="3253067"/>
              <a:ext cx="27135" cy="32562"/>
            </a:xfrm>
            <a:custGeom>
              <a:avLst/>
              <a:gdLst>
                <a:gd name="T0" fmla="*/ 0 w 66"/>
                <a:gd name="T1" fmla="*/ 44 h 77"/>
                <a:gd name="T2" fmla="*/ 26 w 66"/>
                <a:gd name="T3" fmla="*/ 42 h 77"/>
                <a:gd name="T4" fmla="*/ 65 w 66"/>
                <a:gd name="T5" fmla="*/ 0 h 77"/>
                <a:gd name="T6" fmla="*/ 66 w 66"/>
                <a:gd name="T7" fmla="*/ 23 h 77"/>
                <a:gd name="T8" fmla="*/ 0 w 66"/>
                <a:gd name="T9" fmla="*/ 44 h 77"/>
              </a:gdLst>
              <a:ahLst/>
              <a:cxnLst>
                <a:cxn ang="0">
                  <a:pos x="T0" y="T1"/>
                </a:cxn>
                <a:cxn ang="0">
                  <a:pos x="T2" y="T3"/>
                </a:cxn>
                <a:cxn ang="0">
                  <a:pos x="T4" y="T5"/>
                </a:cxn>
                <a:cxn ang="0">
                  <a:pos x="T6" y="T7"/>
                </a:cxn>
                <a:cxn ang="0">
                  <a:pos x="T8" y="T9"/>
                </a:cxn>
              </a:cxnLst>
              <a:rect l="0" t="0" r="r" b="b"/>
              <a:pathLst>
                <a:path w="66" h="77">
                  <a:moveTo>
                    <a:pt x="0" y="44"/>
                  </a:moveTo>
                  <a:cubicBezTo>
                    <a:pt x="9" y="43"/>
                    <a:pt x="17" y="42"/>
                    <a:pt x="26" y="42"/>
                  </a:cubicBezTo>
                  <a:cubicBezTo>
                    <a:pt x="39" y="28"/>
                    <a:pt x="52" y="14"/>
                    <a:pt x="65" y="0"/>
                  </a:cubicBezTo>
                  <a:cubicBezTo>
                    <a:pt x="65" y="8"/>
                    <a:pt x="65" y="15"/>
                    <a:pt x="66" y="23"/>
                  </a:cubicBezTo>
                  <a:cubicBezTo>
                    <a:pt x="56" y="69"/>
                    <a:pt x="35" y="77"/>
                    <a:pt x="0" y="4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1" name="Freeform 110">
              <a:extLst>
                <a:ext uri="{FF2B5EF4-FFF2-40B4-BE49-F238E27FC236}">
                  <a16:creationId xmlns:a16="http://schemas.microsoft.com/office/drawing/2014/main" id="{EF371464-6172-445F-9492-57D562DB01E0}"/>
                </a:ext>
              </a:extLst>
            </p:cNvPr>
            <p:cNvSpPr>
              <a:spLocks/>
            </p:cNvSpPr>
            <p:nvPr/>
          </p:nvSpPr>
          <p:spPr bwMode="auto">
            <a:xfrm>
              <a:off x="4822308" y="3356181"/>
              <a:ext cx="694663" cy="1166817"/>
            </a:xfrm>
            <a:custGeom>
              <a:avLst/>
              <a:gdLst>
                <a:gd name="T0" fmla="*/ 716 w 1655"/>
                <a:gd name="T1" fmla="*/ 601 h 2790"/>
                <a:gd name="T2" fmla="*/ 840 w 1655"/>
                <a:gd name="T3" fmla="*/ 429 h 2790"/>
                <a:gd name="T4" fmla="*/ 778 w 1655"/>
                <a:gd name="T5" fmla="*/ 351 h 2790"/>
                <a:gd name="T6" fmla="*/ 646 w 1655"/>
                <a:gd name="T7" fmla="*/ 319 h 2790"/>
                <a:gd name="T8" fmla="*/ 838 w 1655"/>
                <a:gd name="T9" fmla="*/ 197 h 2790"/>
                <a:gd name="T10" fmla="*/ 1068 w 1655"/>
                <a:gd name="T11" fmla="*/ 186 h 2790"/>
                <a:gd name="T12" fmla="*/ 1182 w 1655"/>
                <a:gd name="T13" fmla="*/ 13 h 2790"/>
                <a:gd name="T14" fmla="*/ 1394 w 1655"/>
                <a:gd name="T15" fmla="*/ 67 h 2790"/>
                <a:gd name="T16" fmla="*/ 1592 w 1655"/>
                <a:gd name="T17" fmla="*/ 317 h 2790"/>
                <a:gd name="T18" fmla="*/ 1655 w 1655"/>
                <a:gd name="T19" fmla="*/ 680 h 2790"/>
                <a:gd name="T20" fmla="*/ 1407 w 1655"/>
                <a:gd name="T21" fmla="*/ 957 h 2790"/>
                <a:gd name="T22" fmla="*/ 1339 w 1655"/>
                <a:gd name="T23" fmla="*/ 1143 h 2790"/>
                <a:gd name="T24" fmla="*/ 1213 w 1655"/>
                <a:gd name="T25" fmla="*/ 1333 h 2790"/>
                <a:gd name="T26" fmla="*/ 923 w 1655"/>
                <a:gd name="T27" fmla="*/ 1459 h 2790"/>
                <a:gd name="T28" fmla="*/ 931 w 1655"/>
                <a:gd name="T29" fmla="*/ 1651 h 2790"/>
                <a:gd name="T30" fmla="*/ 880 w 1655"/>
                <a:gd name="T31" fmla="*/ 1814 h 2790"/>
                <a:gd name="T32" fmla="*/ 688 w 1655"/>
                <a:gd name="T33" fmla="*/ 1819 h 2790"/>
                <a:gd name="T34" fmla="*/ 758 w 1655"/>
                <a:gd name="T35" fmla="*/ 1912 h 2790"/>
                <a:gd name="T36" fmla="*/ 757 w 1655"/>
                <a:gd name="T37" fmla="*/ 2025 h 2790"/>
                <a:gd name="T38" fmla="*/ 816 w 1655"/>
                <a:gd name="T39" fmla="*/ 2270 h 2790"/>
                <a:gd name="T40" fmla="*/ 506 w 1655"/>
                <a:gd name="T41" fmla="*/ 2604 h 2790"/>
                <a:gd name="T42" fmla="*/ 315 w 1655"/>
                <a:gd name="T43" fmla="*/ 2712 h 2790"/>
                <a:gd name="T44" fmla="*/ 163 w 1655"/>
                <a:gd name="T45" fmla="*/ 2466 h 2790"/>
                <a:gd name="T46" fmla="*/ 6 w 1655"/>
                <a:gd name="T47" fmla="*/ 2346 h 2790"/>
                <a:gd name="T48" fmla="*/ 59 w 1655"/>
                <a:gd name="T49" fmla="*/ 2137 h 2790"/>
                <a:gd name="T50" fmla="*/ 248 w 1655"/>
                <a:gd name="T51" fmla="*/ 2115 h 2790"/>
                <a:gd name="T52" fmla="*/ 146 w 1655"/>
                <a:gd name="T53" fmla="*/ 1903 h 2790"/>
                <a:gd name="T54" fmla="*/ 96 w 1655"/>
                <a:gd name="T55" fmla="*/ 1707 h 2790"/>
                <a:gd name="T56" fmla="*/ 151 w 1655"/>
                <a:gd name="T57" fmla="*/ 1530 h 2790"/>
                <a:gd name="T58" fmla="*/ 184 w 1655"/>
                <a:gd name="T59" fmla="*/ 1312 h 2790"/>
                <a:gd name="T60" fmla="*/ 238 w 1655"/>
                <a:gd name="T61" fmla="*/ 1201 h 2790"/>
                <a:gd name="T62" fmla="*/ 265 w 1655"/>
                <a:gd name="T63" fmla="*/ 1091 h 2790"/>
                <a:gd name="T64" fmla="*/ 368 w 1655"/>
                <a:gd name="T65" fmla="*/ 863 h 2790"/>
                <a:gd name="T66" fmla="*/ 491 w 1655"/>
                <a:gd name="T67" fmla="*/ 755 h 2790"/>
                <a:gd name="T68" fmla="*/ 677 w 1655"/>
                <a:gd name="T69" fmla="*/ 653 h 2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5" h="2790">
                  <a:moveTo>
                    <a:pt x="677" y="653"/>
                  </a:moveTo>
                  <a:cubicBezTo>
                    <a:pt x="690" y="635"/>
                    <a:pt x="703" y="618"/>
                    <a:pt x="716" y="601"/>
                  </a:cubicBezTo>
                  <a:cubicBezTo>
                    <a:pt x="724" y="534"/>
                    <a:pt x="780" y="519"/>
                    <a:pt x="829" y="495"/>
                  </a:cubicBezTo>
                  <a:cubicBezTo>
                    <a:pt x="841" y="475"/>
                    <a:pt x="840" y="452"/>
                    <a:pt x="840" y="429"/>
                  </a:cubicBezTo>
                  <a:cubicBezTo>
                    <a:pt x="840" y="423"/>
                    <a:pt x="840" y="417"/>
                    <a:pt x="839" y="411"/>
                  </a:cubicBezTo>
                  <a:cubicBezTo>
                    <a:pt x="813" y="397"/>
                    <a:pt x="794" y="375"/>
                    <a:pt x="778" y="351"/>
                  </a:cubicBezTo>
                  <a:cubicBezTo>
                    <a:pt x="773" y="351"/>
                    <a:pt x="768" y="351"/>
                    <a:pt x="763" y="352"/>
                  </a:cubicBezTo>
                  <a:cubicBezTo>
                    <a:pt x="727" y="333"/>
                    <a:pt x="687" y="325"/>
                    <a:pt x="646" y="319"/>
                  </a:cubicBezTo>
                  <a:cubicBezTo>
                    <a:pt x="597" y="262"/>
                    <a:pt x="661" y="236"/>
                    <a:pt x="680" y="198"/>
                  </a:cubicBezTo>
                  <a:cubicBezTo>
                    <a:pt x="733" y="195"/>
                    <a:pt x="786" y="199"/>
                    <a:pt x="838" y="197"/>
                  </a:cubicBezTo>
                  <a:cubicBezTo>
                    <a:pt x="907" y="202"/>
                    <a:pt x="977" y="234"/>
                    <a:pt x="1043" y="187"/>
                  </a:cubicBezTo>
                  <a:cubicBezTo>
                    <a:pt x="1052" y="187"/>
                    <a:pt x="1060" y="186"/>
                    <a:pt x="1068" y="186"/>
                  </a:cubicBezTo>
                  <a:cubicBezTo>
                    <a:pt x="1130" y="140"/>
                    <a:pt x="1064" y="64"/>
                    <a:pt x="1110" y="15"/>
                  </a:cubicBezTo>
                  <a:cubicBezTo>
                    <a:pt x="1134" y="0"/>
                    <a:pt x="1158" y="14"/>
                    <a:pt x="1182" y="13"/>
                  </a:cubicBezTo>
                  <a:cubicBezTo>
                    <a:pt x="1223" y="43"/>
                    <a:pt x="1274" y="42"/>
                    <a:pt x="1321" y="55"/>
                  </a:cubicBezTo>
                  <a:cubicBezTo>
                    <a:pt x="1346" y="58"/>
                    <a:pt x="1370" y="59"/>
                    <a:pt x="1394" y="67"/>
                  </a:cubicBezTo>
                  <a:cubicBezTo>
                    <a:pt x="1414" y="75"/>
                    <a:pt x="1425" y="89"/>
                    <a:pt x="1429" y="110"/>
                  </a:cubicBezTo>
                  <a:cubicBezTo>
                    <a:pt x="1465" y="194"/>
                    <a:pt x="1527" y="257"/>
                    <a:pt x="1592" y="317"/>
                  </a:cubicBezTo>
                  <a:cubicBezTo>
                    <a:pt x="1610" y="379"/>
                    <a:pt x="1617" y="444"/>
                    <a:pt x="1632" y="507"/>
                  </a:cubicBezTo>
                  <a:cubicBezTo>
                    <a:pt x="1629" y="566"/>
                    <a:pt x="1652" y="622"/>
                    <a:pt x="1655" y="680"/>
                  </a:cubicBezTo>
                  <a:cubicBezTo>
                    <a:pt x="1626" y="749"/>
                    <a:pt x="1605" y="819"/>
                    <a:pt x="1518" y="846"/>
                  </a:cubicBezTo>
                  <a:cubicBezTo>
                    <a:pt x="1469" y="862"/>
                    <a:pt x="1433" y="909"/>
                    <a:pt x="1407" y="957"/>
                  </a:cubicBezTo>
                  <a:cubicBezTo>
                    <a:pt x="1434" y="1003"/>
                    <a:pt x="1406" y="1036"/>
                    <a:pt x="1382" y="1071"/>
                  </a:cubicBezTo>
                  <a:cubicBezTo>
                    <a:pt x="1373" y="1098"/>
                    <a:pt x="1353" y="1119"/>
                    <a:pt x="1339" y="1143"/>
                  </a:cubicBezTo>
                  <a:cubicBezTo>
                    <a:pt x="1325" y="1174"/>
                    <a:pt x="1343" y="1213"/>
                    <a:pt x="1314" y="1239"/>
                  </a:cubicBezTo>
                  <a:cubicBezTo>
                    <a:pt x="1251" y="1240"/>
                    <a:pt x="1277" y="1335"/>
                    <a:pt x="1213" y="1333"/>
                  </a:cubicBezTo>
                  <a:cubicBezTo>
                    <a:pt x="1147" y="1334"/>
                    <a:pt x="1080" y="1288"/>
                    <a:pt x="1016" y="1338"/>
                  </a:cubicBezTo>
                  <a:cubicBezTo>
                    <a:pt x="988" y="1380"/>
                    <a:pt x="983" y="1433"/>
                    <a:pt x="923" y="1459"/>
                  </a:cubicBezTo>
                  <a:cubicBezTo>
                    <a:pt x="877" y="1478"/>
                    <a:pt x="909" y="1543"/>
                    <a:pt x="902" y="1588"/>
                  </a:cubicBezTo>
                  <a:cubicBezTo>
                    <a:pt x="901" y="1614"/>
                    <a:pt x="921" y="1630"/>
                    <a:pt x="931" y="1651"/>
                  </a:cubicBezTo>
                  <a:cubicBezTo>
                    <a:pt x="934" y="1691"/>
                    <a:pt x="909" y="1726"/>
                    <a:pt x="910" y="1765"/>
                  </a:cubicBezTo>
                  <a:cubicBezTo>
                    <a:pt x="903" y="1783"/>
                    <a:pt x="899" y="1803"/>
                    <a:pt x="880" y="1814"/>
                  </a:cubicBezTo>
                  <a:cubicBezTo>
                    <a:pt x="841" y="1809"/>
                    <a:pt x="800" y="1813"/>
                    <a:pt x="762" y="1799"/>
                  </a:cubicBezTo>
                  <a:cubicBezTo>
                    <a:pt x="732" y="1788"/>
                    <a:pt x="701" y="1777"/>
                    <a:pt x="688" y="1819"/>
                  </a:cubicBezTo>
                  <a:cubicBezTo>
                    <a:pt x="678" y="1853"/>
                    <a:pt x="690" y="1877"/>
                    <a:pt x="724" y="1891"/>
                  </a:cubicBezTo>
                  <a:cubicBezTo>
                    <a:pt x="737" y="1895"/>
                    <a:pt x="748" y="1904"/>
                    <a:pt x="758" y="1912"/>
                  </a:cubicBezTo>
                  <a:cubicBezTo>
                    <a:pt x="758" y="1911"/>
                    <a:pt x="758" y="1911"/>
                    <a:pt x="758" y="1911"/>
                  </a:cubicBezTo>
                  <a:cubicBezTo>
                    <a:pt x="791" y="1949"/>
                    <a:pt x="737" y="1987"/>
                    <a:pt x="757" y="2025"/>
                  </a:cubicBezTo>
                  <a:cubicBezTo>
                    <a:pt x="815" y="2064"/>
                    <a:pt x="790" y="2129"/>
                    <a:pt x="807" y="2180"/>
                  </a:cubicBezTo>
                  <a:cubicBezTo>
                    <a:pt x="807" y="2210"/>
                    <a:pt x="822" y="2239"/>
                    <a:pt x="816" y="2270"/>
                  </a:cubicBezTo>
                  <a:cubicBezTo>
                    <a:pt x="784" y="2363"/>
                    <a:pt x="694" y="2411"/>
                    <a:pt x="642" y="2488"/>
                  </a:cubicBezTo>
                  <a:cubicBezTo>
                    <a:pt x="621" y="2556"/>
                    <a:pt x="534" y="2545"/>
                    <a:pt x="506" y="2604"/>
                  </a:cubicBezTo>
                  <a:cubicBezTo>
                    <a:pt x="500" y="2639"/>
                    <a:pt x="489" y="2671"/>
                    <a:pt x="469" y="2701"/>
                  </a:cubicBezTo>
                  <a:cubicBezTo>
                    <a:pt x="403" y="2786"/>
                    <a:pt x="353" y="2790"/>
                    <a:pt x="315" y="2712"/>
                  </a:cubicBezTo>
                  <a:cubicBezTo>
                    <a:pt x="303" y="2656"/>
                    <a:pt x="274" y="2614"/>
                    <a:pt x="218" y="2595"/>
                  </a:cubicBezTo>
                  <a:cubicBezTo>
                    <a:pt x="194" y="2554"/>
                    <a:pt x="189" y="2505"/>
                    <a:pt x="163" y="2466"/>
                  </a:cubicBezTo>
                  <a:cubicBezTo>
                    <a:pt x="142" y="2435"/>
                    <a:pt x="124" y="2402"/>
                    <a:pt x="78" y="2410"/>
                  </a:cubicBezTo>
                  <a:cubicBezTo>
                    <a:pt x="28" y="2419"/>
                    <a:pt x="15" y="2385"/>
                    <a:pt x="6" y="2346"/>
                  </a:cubicBezTo>
                  <a:cubicBezTo>
                    <a:pt x="50" y="2283"/>
                    <a:pt x="0" y="2196"/>
                    <a:pt x="60" y="2137"/>
                  </a:cubicBezTo>
                  <a:cubicBezTo>
                    <a:pt x="59" y="2137"/>
                    <a:pt x="59" y="2137"/>
                    <a:pt x="59" y="2137"/>
                  </a:cubicBezTo>
                  <a:cubicBezTo>
                    <a:pt x="82" y="2125"/>
                    <a:pt x="99" y="2104"/>
                    <a:pt x="125" y="2096"/>
                  </a:cubicBezTo>
                  <a:cubicBezTo>
                    <a:pt x="166" y="2102"/>
                    <a:pt x="207" y="2109"/>
                    <a:pt x="248" y="2115"/>
                  </a:cubicBezTo>
                  <a:cubicBezTo>
                    <a:pt x="325" y="2031"/>
                    <a:pt x="222" y="2013"/>
                    <a:pt x="194" y="1967"/>
                  </a:cubicBezTo>
                  <a:cubicBezTo>
                    <a:pt x="179" y="1945"/>
                    <a:pt x="171" y="1918"/>
                    <a:pt x="146" y="1903"/>
                  </a:cubicBezTo>
                  <a:cubicBezTo>
                    <a:pt x="129" y="1898"/>
                    <a:pt x="104" y="1885"/>
                    <a:pt x="113" y="1872"/>
                  </a:cubicBezTo>
                  <a:cubicBezTo>
                    <a:pt x="156" y="1810"/>
                    <a:pt x="118" y="1760"/>
                    <a:pt x="96" y="1707"/>
                  </a:cubicBezTo>
                  <a:cubicBezTo>
                    <a:pt x="113" y="1679"/>
                    <a:pt x="153" y="1679"/>
                    <a:pt x="169" y="1649"/>
                  </a:cubicBezTo>
                  <a:cubicBezTo>
                    <a:pt x="187" y="1606"/>
                    <a:pt x="156" y="1570"/>
                    <a:pt x="151" y="1530"/>
                  </a:cubicBezTo>
                  <a:cubicBezTo>
                    <a:pt x="147" y="1498"/>
                    <a:pt x="171" y="1466"/>
                    <a:pt x="147" y="1436"/>
                  </a:cubicBezTo>
                  <a:cubicBezTo>
                    <a:pt x="76" y="1369"/>
                    <a:pt x="125" y="1339"/>
                    <a:pt x="184" y="1312"/>
                  </a:cubicBezTo>
                  <a:cubicBezTo>
                    <a:pt x="184" y="1308"/>
                    <a:pt x="183" y="1304"/>
                    <a:pt x="182" y="1299"/>
                  </a:cubicBezTo>
                  <a:cubicBezTo>
                    <a:pt x="204" y="1269"/>
                    <a:pt x="215" y="1232"/>
                    <a:pt x="238" y="1201"/>
                  </a:cubicBezTo>
                  <a:cubicBezTo>
                    <a:pt x="253" y="1166"/>
                    <a:pt x="232" y="1121"/>
                    <a:pt x="266" y="1090"/>
                  </a:cubicBezTo>
                  <a:cubicBezTo>
                    <a:pt x="265" y="1091"/>
                    <a:pt x="265" y="1091"/>
                    <a:pt x="265" y="1091"/>
                  </a:cubicBezTo>
                  <a:cubicBezTo>
                    <a:pt x="292" y="1054"/>
                    <a:pt x="289" y="1008"/>
                    <a:pt x="300" y="966"/>
                  </a:cubicBezTo>
                  <a:cubicBezTo>
                    <a:pt x="310" y="924"/>
                    <a:pt x="381" y="921"/>
                    <a:pt x="368" y="863"/>
                  </a:cubicBezTo>
                  <a:cubicBezTo>
                    <a:pt x="368" y="864"/>
                    <a:pt x="368" y="864"/>
                    <a:pt x="368" y="864"/>
                  </a:cubicBezTo>
                  <a:cubicBezTo>
                    <a:pt x="411" y="831"/>
                    <a:pt x="415" y="753"/>
                    <a:pt x="491" y="755"/>
                  </a:cubicBezTo>
                  <a:cubicBezTo>
                    <a:pt x="533" y="753"/>
                    <a:pt x="574" y="745"/>
                    <a:pt x="608" y="717"/>
                  </a:cubicBezTo>
                  <a:cubicBezTo>
                    <a:pt x="629" y="693"/>
                    <a:pt x="667" y="688"/>
                    <a:pt x="677" y="65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2" name="Freeform 111">
              <a:extLst>
                <a:ext uri="{FF2B5EF4-FFF2-40B4-BE49-F238E27FC236}">
                  <a16:creationId xmlns:a16="http://schemas.microsoft.com/office/drawing/2014/main" id="{EBD4CD77-F999-4585-AEA0-872DDE3CA61C}"/>
                </a:ext>
              </a:extLst>
            </p:cNvPr>
            <p:cNvSpPr>
              <a:spLocks/>
            </p:cNvSpPr>
            <p:nvPr/>
          </p:nvSpPr>
          <p:spPr bwMode="auto">
            <a:xfrm>
              <a:off x="3753178" y="3654669"/>
              <a:ext cx="377180" cy="208942"/>
            </a:xfrm>
            <a:custGeom>
              <a:avLst/>
              <a:gdLst>
                <a:gd name="T0" fmla="*/ 54 w 904"/>
                <a:gd name="T1" fmla="*/ 10 h 503"/>
                <a:gd name="T2" fmla="*/ 88 w 904"/>
                <a:gd name="T3" fmla="*/ 93 h 503"/>
                <a:gd name="T4" fmla="*/ 166 w 904"/>
                <a:gd name="T5" fmla="*/ 153 h 503"/>
                <a:gd name="T6" fmla="*/ 252 w 904"/>
                <a:gd name="T7" fmla="*/ 215 h 503"/>
                <a:gd name="T8" fmla="*/ 282 w 904"/>
                <a:gd name="T9" fmla="*/ 285 h 503"/>
                <a:gd name="T10" fmla="*/ 757 w 904"/>
                <a:gd name="T11" fmla="*/ 420 h 503"/>
                <a:gd name="T12" fmla="*/ 893 w 904"/>
                <a:gd name="T13" fmla="*/ 478 h 503"/>
                <a:gd name="T14" fmla="*/ 874 w 904"/>
                <a:gd name="T15" fmla="*/ 500 h 503"/>
                <a:gd name="T16" fmla="*/ 731 w 904"/>
                <a:gd name="T17" fmla="*/ 450 h 503"/>
                <a:gd name="T18" fmla="*/ 438 w 904"/>
                <a:gd name="T19" fmla="*/ 359 h 503"/>
                <a:gd name="T20" fmla="*/ 339 w 904"/>
                <a:gd name="T21" fmla="*/ 333 h 503"/>
                <a:gd name="T22" fmla="*/ 246 w 904"/>
                <a:gd name="T23" fmla="*/ 293 h 503"/>
                <a:gd name="T24" fmla="*/ 48 w 904"/>
                <a:gd name="T25" fmla="*/ 205 h 503"/>
                <a:gd name="T26" fmla="*/ 8 w 904"/>
                <a:gd name="T27" fmla="*/ 213 h 503"/>
                <a:gd name="T28" fmla="*/ 2 w 904"/>
                <a:gd name="T29" fmla="*/ 197 h 503"/>
                <a:gd name="T30" fmla="*/ 7 w 904"/>
                <a:gd name="T31" fmla="*/ 189 h 503"/>
                <a:gd name="T32" fmla="*/ 31 w 904"/>
                <a:gd name="T33" fmla="*/ 9 h 503"/>
                <a:gd name="T34" fmla="*/ 54 w 904"/>
                <a:gd name="T35" fmla="*/ 10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4" h="503">
                  <a:moveTo>
                    <a:pt x="54" y="10"/>
                  </a:moveTo>
                  <a:cubicBezTo>
                    <a:pt x="63" y="39"/>
                    <a:pt x="97" y="58"/>
                    <a:pt x="88" y="93"/>
                  </a:cubicBezTo>
                  <a:cubicBezTo>
                    <a:pt x="66" y="178"/>
                    <a:pt x="94" y="184"/>
                    <a:pt x="166" y="153"/>
                  </a:cubicBezTo>
                  <a:cubicBezTo>
                    <a:pt x="216" y="131"/>
                    <a:pt x="238" y="178"/>
                    <a:pt x="252" y="215"/>
                  </a:cubicBezTo>
                  <a:cubicBezTo>
                    <a:pt x="261" y="239"/>
                    <a:pt x="259" y="286"/>
                    <a:pt x="282" y="285"/>
                  </a:cubicBezTo>
                  <a:cubicBezTo>
                    <a:pt x="457" y="273"/>
                    <a:pt x="568" y="477"/>
                    <a:pt x="757" y="420"/>
                  </a:cubicBezTo>
                  <a:cubicBezTo>
                    <a:pt x="805" y="406"/>
                    <a:pt x="865" y="416"/>
                    <a:pt x="893" y="478"/>
                  </a:cubicBezTo>
                  <a:cubicBezTo>
                    <a:pt x="904" y="500"/>
                    <a:pt x="892" y="503"/>
                    <a:pt x="874" y="500"/>
                  </a:cubicBezTo>
                  <a:cubicBezTo>
                    <a:pt x="836" y="455"/>
                    <a:pt x="790" y="452"/>
                    <a:pt x="731" y="450"/>
                  </a:cubicBezTo>
                  <a:cubicBezTo>
                    <a:pt x="629" y="447"/>
                    <a:pt x="508" y="478"/>
                    <a:pt x="438" y="359"/>
                  </a:cubicBezTo>
                  <a:cubicBezTo>
                    <a:pt x="417" y="322"/>
                    <a:pt x="380" y="319"/>
                    <a:pt x="339" y="333"/>
                  </a:cubicBezTo>
                  <a:cubicBezTo>
                    <a:pt x="298" y="346"/>
                    <a:pt x="249" y="331"/>
                    <a:pt x="246" y="293"/>
                  </a:cubicBezTo>
                  <a:cubicBezTo>
                    <a:pt x="231" y="138"/>
                    <a:pt x="122" y="214"/>
                    <a:pt x="48" y="205"/>
                  </a:cubicBezTo>
                  <a:cubicBezTo>
                    <a:pt x="35" y="204"/>
                    <a:pt x="21" y="210"/>
                    <a:pt x="8" y="213"/>
                  </a:cubicBezTo>
                  <a:cubicBezTo>
                    <a:pt x="2" y="208"/>
                    <a:pt x="0" y="203"/>
                    <a:pt x="2" y="197"/>
                  </a:cubicBezTo>
                  <a:cubicBezTo>
                    <a:pt x="3" y="192"/>
                    <a:pt x="5" y="189"/>
                    <a:pt x="7" y="189"/>
                  </a:cubicBezTo>
                  <a:cubicBezTo>
                    <a:pt x="88" y="139"/>
                    <a:pt x="32" y="70"/>
                    <a:pt x="31" y="9"/>
                  </a:cubicBezTo>
                  <a:cubicBezTo>
                    <a:pt x="39" y="0"/>
                    <a:pt x="47" y="1"/>
                    <a:pt x="54" y="1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3" name="Freeform 112">
              <a:extLst>
                <a:ext uri="{FF2B5EF4-FFF2-40B4-BE49-F238E27FC236}">
                  <a16:creationId xmlns:a16="http://schemas.microsoft.com/office/drawing/2014/main" id="{2AEFD961-0B53-47C0-AF8D-DF5DA9588799}"/>
                </a:ext>
              </a:extLst>
            </p:cNvPr>
            <p:cNvSpPr>
              <a:spLocks/>
            </p:cNvSpPr>
            <p:nvPr/>
          </p:nvSpPr>
          <p:spPr bwMode="auto">
            <a:xfrm>
              <a:off x="4645929" y="3795772"/>
              <a:ext cx="268639" cy="94973"/>
            </a:xfrm>
            <a:custGeom>
              <a:avLst/>
              <a:gdLst>
                <a:gd name="T0" fmla="*/ 10 w 643"/>
                <a:gd name="T1" fmla="*/ 37 h 228"/>
                <a:gd name="T2" fmla="*/ 79 w 643"/>
                <a:gd name="T3" fmla="*/ 41 h 228"/>
                <a:gd name="T4" fmla="*/ 408 w 643"/>
                <a:gd name="T5" fmla="*/ 83 h 228"/>
                <a:gd name="T6" fmla="*/ 514 w 643"/>
                <a:gd name="T7" fmla="*/ 128 h 228"/>
                <a:gd name="T8" fmla="*/ 626 w 643"/>
                <a:gd name="T9" fmla="*/ 181 h 228"/>
                <a:gd name="T10" fmla="*/ 602 w 643"/>
                <a:gd name="T11" fmla="*/ 224 h 228"/>
                <a:gd name="T12" fmla="*/ 582 w 643"/>
                <a:gd name="T13" fmla="*/ 222 h 228"/>
                <a:gd name="T14" fmla="*/ 157 w 643"/>
                <a:gd name="T15" fmla="*/ 119 h 228"/>
                <a:gd name="T16" fmla="*/ 11 w 643"/>
                <a:gd name="T17" fmla="*/ 62 h 228"/>
                <a:gd name="T18" fmla="*/ 10 w 643"/>
                <a:gd name="T19" fmla="*/ 3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3" h="228">
                  <a:moveTo>
                    <a:pt x="10" y="37"/>
                  </a:moveTo>
                  <a:cubicBezTo>
                    <a:pt x="35" y="0"/>
                    <a:pt x="58" y="30"/>
                    <a:pt x="79" y="41"/>
                  </a:cubicBezTo>
                  <a:cubicBezTo>
                    <a:pt x="184" y="92"/>
                    <a:pt x="292" y="112"/>
                    <a:pt x="408" y="83"/>
                  </a:cubicBezTo>
                  <a:cubicBezTo>
                    <a:pt x="452" y="73"/>
                    <a:pt x="493" y="92"/>
                    <a:pt x="514" y="128"/>
                  </a:cubicBezTo>
                  <a:cubicBezTo>
                    <a:pt x="542" y="174"/>
                    <a:pt x="579" y="184"/>
                    <a:pt x="626" y="181"/>
                  </a:cubicBezTo>
                  <a:cubicBezTo>
                    <a:pt x="637" y="206"/>
                    <a:pt x="643" y="228"/>
                    <a:pt x="602" y="224"/>
                  </a:cubicBezTo>
                  <a:cubicBezTo>
                    <a:pt x="595" y="223"/>
                    <a:pt x="585" y="226"/>
                    <a:pt x="582" y="222"/>
                  </a:cubicBezTo>
                  <a:cubicBezTo>
                    <a:pt x="463" y="94"/>
                    <a:pt x="300" y="147"/>
                    <a:pt x="157" y="119"/>
                  </a:cubicBezTo>
                  <a:cubicBezTo>
                    <a:pt x="106" y="109"/>
                    <a:pt x="69" y="56"/>
                    <a:pt x="11" y="62"/>
                  </a:cubicBezTo>
                  <a:cubicBezTo>
                    <a:pt x="0" y="54"/>
                    <a:pt x="0" y="46"/>
                    <a:pt x="10" y="3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4" name="Freeform 113">
              <a:extLst>
                <a:ext uri="{FF2B5EF4-FFF2-40B4-BE49-F238E27FC236}">
                  <a16:creationId xmlns:a16="http://schemas.microsoft.com/office/drawing/2014/main" id="{1D20FC7F-18BF-4204-A490-91741A235C01}"/>
                </a:ext>
              </a:extLst>
            </p:cNvPr>
            <p:cNvSpPr>
              <a:spLocks/>
            </p:cNvSpPr>
            <p:nvPr/>
          </p:nvSpPr>
          <p:spPr bwMode="auto">
            <a:xfrm>
              <a:off x="4464122" y="3812054"/>
              <a:ext cx="187233" cy="48844"/>
            </a:xfrm>
            <a:custGeom>
              <a:avLst/>
              <a:gdLst>
                <a:gd name="T0" fmla="*/ 445 w 446"/>
                <a:gd name="T1" fmla="*/ 0 h 117"/>
                <a:gd name="T2" fmla="*/ 446 w 446"/>
                <a:gd name="T3" fmla="*/ 25 h 117"/>
                <a:gd name="T4" fmla="*/ 110 w 446"/>
                <a:gd name="T5" fmla="*/ 70 h 117"/>
                <a:gd name="T6" fmla="*/ 14 w 446"/>
                <a:gd name="T7" fmla="*/ 41 h 117"/>
                <a:gd name="T8" fmla="*/ 0 w 446"/>
                <a:gd name="T9" fmla="*/ 41 h 117"/>
                <a:gd name="T10" fmla="*/ 153 w 446"/>
                <a:gd name="T11" fmla="*/ 33 h 117"/>
                <a:gd name="T12" fmla="*/ 341 w 446"/>
                <a:gd name="T13" fmla="*/ 28 h 117"/>
                <a:gd name="T14" fmla="*/ 445 w 446"/>
                <a:gd name="T15" fmla="*/ 0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6" h="117">
                  <a:moveTo>
                    <a:pt x="445" y="0"/>
                  </a:moveTo>
                  <a:cubicBezTo>
                    <a:pt x="445" y="8"/>
                    <a:pt x="445" y="16"/>
                    <a:pt x="446" y="25"/>
                  </a:cubicBezTo>
                  <a:cubicBezTo>
                    <a:pt x="344" y="117"/>
                    <a:pt x="230" y="112"/>
                    <a:pt x="110" y="70"/>
                  </a:cubicBezTo>
                  <a:cubicBezTo>
                    <a:pt x="79" y="59"/>
                    <a:pt x="47" y="51"/>
                    <a:pt x="14" y="41"/>
                  </a:cubicBezTo>
                  <a:cubicBezTo>
                    <a:pt x="10" y="41"/>
                    <a:pt x="5" y="41"/>
                    <a:pt x="0" y="41"/>
                  </a:cubicBezTo>
                  <a:cubicBezTo>
                    <a:pt x="49" y="9"/>
                    <a:pt x="97" y="10"/>
                    <a:pt x="153" y="33"/>
                  </a:cubicBezTo>
                  <a:cubicBezTo>
                    <a:pt x="212" y="58"/>
                    <a:pt x="276" y="109"/>
                    <a:pt x="341" y="28"/>
                  </a:cubicBezTo>
                  <a:cubicBezTo>
                    <a:pt x="360" y="4"/>
                    <a:pt x="413" y="25"/>
                    <a:pt x="445"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5" name="Freeform 114">
              <a:extLst>
                <a:ext uri="{FF2B5EF4-FFF2-40B4-BE49-F238E27FC236}">
                  <a16:creationId xmlns:a16="http://schemas.microsoft.com/office/drawing/2014/main" id="{21318A03-F14D-4D65-8DA7-48E230CEBF79}"/>
                </a:ext>
              </a:extLst>
            </p:cNvPr>
            <p:cNvSpPr>
              <a:spLocks/>
            </p:cNvSpPr>
            <p:nvPr/>
          </p:nvSpPr>
          <p:spPr bwMode="auto">
            <a:xfrm>
              <a:off x="3660918" y="3836475"/>
              <a:ext cx="81406" cy="130249"/>
            </a:xfrm>
            <a:custGeom>
              <a:avLst/>
              <a:gdLst>
                <a:gd name="T0" fmla="*/ 24 w 191"/>
                <a:gd name="T1" fmla="*/ 248 h 312"/>
                <a:gd name="T2" fmla="*/ 128 w 191"/>
                <a:gd name="T3" fmla="*/ 205 h 312"/>
                <a:gd name="T4" fmla="*/ 107 w 191"/>
                <a:gd name="T5" fmla="*/ 120 h 312"/>
                <a:gd name="T6" fmla="*/ 24 w 191"/>
                <a:gd name="T7" fmla="*/ 66 h 312"/>
                <a:gd name="T8" fmla="*/ 127 w 191"/>
                <a:gd name="T9" fmla="*/ 4 h 312"/>
                <a:gd name="T10" fmla="*/ 148 w 191"/>
                <a:gd name="T11" fmla="*/ 27 h 312"/>
                <a:gd name="T12" fmla="*/ 150 w 191"/>
                <a:gd name="T13" fmla="*/ 125 h 312"/>
                <a:gd name="T14" fmla="*/ 134 w 191"/>
                <a:gd name="T15" fmla="*/ 268 h 312"/>
                <a:gd name="T16" fmla="*/ 3 w 191"/>
                <a:gd name="T17" fmla="*/ 266 h 312"/>
                <a:gd name="T18" fmla="*/ 24 w 191"/>
                <a:gd name="T19" fmla="*/ 248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312">
                  <a:moveTo>
                    <a:pt x="24" y="248"/>
                  </a:moveTo>
                  <a:cubicBezTo>
                    <a:pt x="86" y="301"/>
                    <a:pt x="101" y="235"/>
                    <a:pt x="128" y="205"/>
                  </a:cubicBezTo>
                  <a:cubicBezTo>
                    <a:pt x="163" y="168"/>
                    <a:pt x="132" y="142"/>
                    <a:pt x="107" y="120"/>
                  </a:cubicBezTo>
                  <a:cubicBezTo>
                    <a:pt x="83" y="99"/>
                    <a:pt x="53" y="85"/>
                    <a:pt x="24" y="66"/>
                  </a:cubicBezTo>
                  <a:cubicBezTo>
                    <a:pt x="55" y="31"/>
                    <a:pt x="112" y="53"/>
                    <a:pt x="127" y="4"/>
                  </a:cubicBezTo>
                  <a:cubicBezTo>
                    <a:pt x="147" y="0"/>
                    <a:pt x="154" y="7"/>
                    <a:pt x="148" y="27"/>
                  </a:cubicBezTo>
                  <a:cubicBezTo>
                    <a:pt x="112" y="61"/>
                    <a:pt x="117" y="87"/>
                    <a:pt x="150" y="125"/>
                  </a:cubicBezTo>
                  <a:cubicBezTo>
                    <a:pt x="191" y="172"/>
                    <a:pt x="182" y="225"/>
                    <a:pt x="134" y="268"/>
                  </a:cubicBezTo>
                  <a:cubicBezTo>
                    <a:pt x="90" y="307"/>
                    <a:pt x="46" y="312"/>
                    <a:pt x="3" y="266"/>
                  </a:cubicBezTo>
                  <a:cubicBezTo>
                    <a:pt x="0" y="249"/>
                    <a:pt x="2" y="237"/>
                    <a:pt x="24" y="24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6" name="Freeform 115">
              <a:extLst>
                <a:ext uri="{FF2B5EF4-FFF2-40B4-BE49-F238E27FC236}">
                  <a16:creationId xmlns:a16="http://schemas.microsoft.com/office/drawing/2014/main" id="{124CA510-E187-43B9-9812-9965CC9236F6}"/>
                </a:ext>
              </a:extLst>
            </p:cNvPr>
            <p:cNvSpPr>
              <a:spLocks/>
            </p:cNvSpPr>
            <p:nvPr/>
          </p:nvSpPr>
          <p:spPr bwMode="auto">
            <a:xfrm>
              <a:off x="4209051" y="3774064"/>
              <a:ext cx="165525" cy="75979"/>
            </a:xfrm>
            <a:custGeom>
              <a:avLst/>
              <a:gdLst>
                <a:gd name="T0" fmla="*/ 0 w 393"/>
                <a:gd name="T1" fmla="*/ 173 h 185"/>
                <a:gd name="T2" fmla="*/ 310 w 393"/>
                <a:gd name="T3" fmla="*/ 13 h 185"/>
                <a:gd name="T4" fmla="*/ 393 w 393"/>
                <a:gd name="T5" fmla="*/ 73 h 185"/>
                <a:gd name="T6" fmla="*/ 374 w 393"/>
                <a:gd name="T7" fmla="*/ 95 h 185"/>
                <a:gd name="T8" fmla="*/ 331 w 393"/>
                <a:gd name="T9" fmla="*/ 57 h 185"/>
                <a:gd name="T10" fmla="*/ 51 w 393"/>
                <a:gd name="T11" fmla="*/ 158 h 185"/>
                <a:gd name="T12" fmla="*/ 27 w 393"/>
                <a:gd name="T13" fmla="*/ 176 h 185"/>
                <a:gd name="T14" fmla="*/ 0 w 393"/>
                <a:gd name="T15" fmla="*/ 173 h 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 h="185">
                  <a:moveTo>
                    <a:pt x="0" y="173"/>
                  </a:moveTo>
                  <a:cubicBezTo>
                    <a:pt x="54" y="27"/>
                    <a:pt x="198" y="48"/>
                    <a:pt x="310" y="13"/>
                  </a:cubicBezTo>
                  <a:cubicBezTo>
                    <a:pt x="351" y="0"/>
                    <a:pt x="377" y="36"/>
                    <a:pt x="393" y="73"/>
                  </a:cubicBezTo>
                  <a:cubicBezTo>
                    <a:pt x="388" y="82"/>
                    <a:pt x="387" y="93"/>
                    <a:pt x="374" y="95"/>
                  </a:cubicBezTo>
                  <a:cubicBezTo>
                    <a:pt x="359" y="82"/>
                    <a:pt x="337" y="54"/>
                    <a:pt x="331" y="57"/>
                  </a:cubicBezTo>
                  <a:cubicBezTo>
                    <a:pt x="242" y="103"/>
                    <a:pt x="109" y="29"/>
                    <a:pt x="51" y="158"/>
                  </a:cubicBezTo>
                  <a:cubicBezTo>
                    <a:pt x="48" y="166"/>
                    <a:pt x="35" y="170"/>
                    <a:pt x="27" y="176"/>
                  </a:cubicBezTo>
                  <a:cubicBezTo>
                    <a:pt x="17" y="185"/>
                    <a:pt x="8" y="184"/>
                    <a:pt x="0" y="17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7" name="Freeform 116">
              <a:extLst>
                <a:ext uri="{FF2B5EF4-FFF2-40B4-BE49-F238E27FC236}">
                  <a16:creationId xmlns:a16="http://schemas.microsoft.com/office/drawing/2014/main" id="{6F11D21E-6F1E-49D0-BDAB-B19016E360A9}"/>
                </a:ext>
              </a:extLst>
            </p:cNvPr>
            <p:cNvSpPr>
              <a:spLocks/>
            </p:cNvSpPr>
            <p:nvPr/>
          </p:nvSpPr>
          <p:spPr bwMode="auto">
            <a:xfrm>
              <a:off x="4325732" y="3803913"/>
              <a:ext cx="143817" cy="67838"/>
            </a:xfrm>
            <a:custGeom>
              <a:avLst/>
              <a:gdLst>
                <a:gd name="T0" fmla="*/ 99 w 347"/>
                <a:gd name="T1" fmla="*/ 22 h 164"/>
                <a:gd name="T2" fmla="*/ 118 w 347"/>
                <a:gd name="T3" fmla="*/ 0 h 164"/>
                <a:gd name="T4" fmla="*/ 333 w 347"/>
                <a:gd name="T5" fmla="*/ 61 h 164"/>
                <a:gd name="T6" fmla="*/ 347 w 347"/>
                <a:gd name="T7" fmla="*/ 61 h 164"/>
                <a:gd name="T8" fmla="*/ 61 w 347"/>
                <a:gd name="T9" fmla="*/ 111 h 164"/>
                <a:gd name="T10" fmla="*/ 99 w 347"/>
                <a:gd name="T11" fmla="*/ 22 h 164"/>
              </a:gdLst>
              <a:ahLst/>
              <a:cxnLst>
                <a:cxn ang="0">
                  <a:pos x="T0" y="T1"/>
                </a:cxn>
                <a:cxn ang="0">
                  <a:pos x="T2" y="T3"/>
                </a:cxn>
                <a:cxn ang="0">
                  <a:pos x="T4" y="T5"/>
                </a:cxn>
                <a:cxn ang="0">
                  <a:pos x="T6" y="T7"/>
                </a:cxn>
                <a:cxn ang="0">
                  <a:pos x="T8" y="T9"/>
                </a:cxn>
                <a:cxn ang="0">
                  <a:pos x="T10" y="T11"/>
                </a:cxn>
              </a:cxnLst>
              <a:rect l="0" t="0" r="r" b="b"/>
              <a:pathLst>
                <a:path w="347" h="164">
                  <a:moveTo>
                    <a:pt x="99" y="22"/>
                  </a:moveTo>
                  <a:cubicBezTo>
                    <a:pt x="105" y="15"/>
                    <a:pt x="111" y="7"/>
                    <a:pt x="118" y="0"/>
                  </a:cubicBezTo>
                  <a:cubicBezTo>
                    <a:pt x="160" y="120"/>
                    <a:pt x="171" y="123"/>
                    <a:pt x="333" y="61"/>
                  </a:cubicBezTo>
                  <a:cubicBezTo>
                    <a:pt x="338" y="61"/>
                    <a:pt x="343" y="61"/>
                    <a:pt x="347" y="61"/>
                  </a:cubicBezTo>
                  <a:cubicBezTo>
                    <a:pt x="296" y="130"/>
                    <a:pt x="120" y="164"/>
                    <a:pt x="61" y="111"/>
                  </a:cubicBezTo>
                  <a:cubicBezTo>
                    <a:pt x="0" y="55"/>
                    <a:pt x="72" y="46"/>
                    <a:pt x="99" y="2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8" name="Freeform 117">
              <a:extLst>
                <a:ext uri="{FF2B5EF4-FFF2-40B4-BE49-F238E27FC236}">
                  <a16:creationId xmlns:a16="http://schemas.microsoft.com/office/drawing/2014/main" id="{55D59373-7D9F-4E3C-8723-6D0F4EF02EEA}"/>
                </a:ext>
              </a:extLst>
            </p:cNvPr>
            <p:cNvSpPr>
              <a:spLocks/>
            </p:cNvSpPr>
            <p:nvPr/>
          </p:nvSpPr>
          <p:spPr bwMode="auto">
            <a:xfrm>
              <a:off x="4588944" y="4162099"/>
              <a:ext cx="162812" cy="43416"/>
            </a:xfrm>
            <a:custGeom>
              <a:avLst/>
              <a:gdLst>
                <a:gd name="T0" fmla="*/ 390 w 390"/>
                <a:gd name="T1" fmla="*/ 64 h 99"/>
                <a:gd name="T2" fmla="*/ 93 w 390"/>
                <a:gd name="T3" fmla="*/ 85 h 99"/>
                <a:gd name="T4" fmla="*/ 0 w 390"/>
                <a:gd name="T5" fmla="*/ 66 h 99"/>
                <a:gd name="T6" fmla="*/ 38 w 390"/>
                <a:gd name="T7" fmla="*/ 25 h 99"/>
                <a:gd name="T8" fmla="*/ 91 w 390"/>
                <a:gd name="T9" fmla="*/ 44 h 99"/>
                <a:gd name="T10" fmla="*/ 390 w 390"/>
                <a:gd name="T11" fmla="*/ 64 h 99"/>
              </a:gdLst>
              <a:ahLst/>
              <a:cxnLst>
                <a:cxn ang="0">
                  <a:pos x="T0" y="T1"/>
                </a:cxn>
                <a:cxn ang="0">
                  <a:pos x="T2" y="T3"/>
                </a:cxn>
                <a:cxn ang="0">
                  <a:pos x="T4" y="T5"/>
                </a:cxn>
                <a:cxn ang="0">
                  <a:pos x="T6" y="T7"/>
                </a:cxn>
                <a:cxn ang="0">
                  <a:pos x="T8" y="T9"/>
                </a:cxn>
                <a:cxn ang="0">
                  <a:pos x="T10" y="T11"/>
                </a:cxn>
              </a:cxnLst>
              <a:rect l="0" t="0" r="r" b="b"/>
              <a:pathLst>
                <a:path w="390" h="99">
                  <a:moveTo>
                    <a:pt x="390" y="64"/>
                  </a:moveTo>
                  <a:cubicBezTo>
                    <a:pt x="293" y="96"/>
                    <a:pt x="192" y="63"/>
                    <a:pt x="93" y="85"/>
                  </a:cubicBezTo>
                  <a:cubicBezTo>
                    <a:pt x="65" y="91"/>
                    <a:pt x="25" y="99"/>
                    <a:pt x="0" y="66"/>
                  </a:cubicBezTo>
                  <a:cubicBezTo>
                    <a:pt x="10" y="50"/>
                    <a:pt x="5" y="20"/>
                    <a:pt x="38" y="25"/>
                  </a:cubicBezTo>
                  <a:cubicBezTo>
                    <a:pt x="51" y="45"/>
                    <a:pt x="74" y="51"/>
                    <a:pt x="91" y="44"/>
                  </a:cubicBezTo>
                  <a:cubicBezTo>
                    <a:pt x="195" y="0"/>
                    <a:pt x="291" y="48"/>
                    <a:pt x="390" y="6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9" name="Freeform 118">
              <a:extLst>
                <a:ext uri="{FF2B5EF4-FFF2-40B4-BE49-F238E27FC236}">
                  <a16:creationId xmlns:a16="http://schemas.microsoft.com/office/drawing/2014/main" id="{DFEBD1D6-2BFE-48D1-8F1A-4125AA1C14E8}"/>
                </a:ext>
              </a:extLst>
            </p:cNvPr>
            <p:cNvSpPr>
              <a:spLocks/>
            </p:cNvSpPr>
            <p:nvPr/>
          </p:nvSpPr>
          <p:spPr bwMode="auto">
            <a:xfrm>
              <a:off x="4078801" y="4471441"/>
              <a:ext cx="78692" cy="81406"/>
            </a:xfrm>
            <a:custGeom>
              <a:avLst/>
              <a:gdLst>
                <a:gd name="T0" fmla="*/ 74 w 189"/>
                <a:gd name="T1" fmla="*/ 190 h 198"/>
                <a:gd name="T2" fmla="*/ 50 w 189"/>
                <a:gd name="T3" fmla="*/ 149 h 198"/>
                <a:gd name="T4" fmla="*/ 25 w 189"/>
                <a:gd name="T5" fmla="*/ 51 h 198"/>
                <a:gd name="T6" fmla="*/ 128 w 189"/>
                <a:gd name="T7" fmla="*/ 23 h 198"/>
                <a:gd name="T8" fmla="*/ 178 w 189"/>
                <a:gd name="T9" fmla="*/ 29 h 198"/>
                <a:gd name="T10" fmla="*/ 139 w 189"/>
                <a:gd name="T11" fmla="*/ 96 h 198"/>
                <a:gd name="T12" fmla="*/ 99 w 189"/>
                <a:gd name="T13" fmla="*/ 194 h 198"/>
                <a:gd name="T14" fmla="*/ 74 w 189"/>
                <a:gd name="T15" fmla="*/ 190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98">
                  <a:moveTo>
                    <a:pt x="74" y="190"/>
                  </a:moveTo>
                  <a:cubicBezTo>
                    <a:pt x="66" y="176"/>
                    <a:pt x="60" y="161"/>
                    <a:pt x="50" y="149"/>
                  </a:cubicBezTo>
                  <a:cubicBezTo>
                    <a:pt x="26" y="119"/>
                    <a:pt x="0" y="90"/>
                    <a:pt x="25" y="51"/>
                  </a:cubicBezTo>
                  <a:cubicBezTo>
                    <a:pt x="50" y="11"/>
                    <a:pt x="84" y="0"/>
                    <a:pt x="128" y="23"/>
                  </a:cubicBezTo>
                  <a:cubicBezTo>
                    <a:pt x="142" y="30"/>
                    <a:pt x="161" y="27"/>
                    <a:pt x="178" y="29"/>
                  </a:cubicBezTo>
                  <a:cubicBezTo>
                    <a:pt x="189" y="65"/>
                    <a:pt x="151" y="74"/>
                    <a:pt x="139" y="96"/>
                  </a:cubicBezTo>
                  <a:cubicBezTo>
                    <a:pt x="99" y="118"/>
                    <a:pt x="109" y="160"/>
                    <a:pt x="99" y="194"/>
                  </a:cubicBezTo>
                  <a:cubicBezTo>
                    <a:pt x="90" y="198"/>
                    <a:pt x="82" y="197"/>
                    <a:pt x="74" y="19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0" name="Freeform 119">
              <a:extLst>
                <a:ext uri="{FF2B5EF4-FFF2-40B4-BE49-F238E27FC236}">
                  <a16:creationId xmlns:a16="http://schemas.microsoft.com/office/drawing/2014/main" id="{0280B010-040B-4D79-B0A3-DFFB09235A09}"/>
                </a:ext>
              </a:extLst>
            </p:cNvPr>
            <p:cNvSpPr>
              <a:spLocks/>
            </p:cNvSpPr>
            <p:nvPr/>
          </p:nvSpPr>
          <p:spPr bwMode="auto">
            <a:xfrm>
              <a:off x="4776178" y="4330337"/>
              <a:ext cx="143817" cy="119395"/>
            </a:xfrm>
            <a:custGeom>
              <a:avLst/>
              <a:gdLst>
                <a:gd name="T0" fmla="*/ 129 w 341"/>
                <a:gd name="T1" fmla="*/ 13 h 284"/>
                <a:gd name="T2" fmla="*/ 164 w 341"/>
                <a:gd name="T3" fmla="*/ 61 h 284"/>
                <a:gd name="T4" fmla="*/ 336 w 341"/>
                <a:gd name="T5" fmla="*/ 259 h 284"/>
                <a:gd name="T6" fmla="*/ 328 w 341"/>
                <a:gd name="T7" fmla="*/ 281 h 284"/>
                <a:gd name="T8" fmla="*/ 298 w 341"/>
                <a:gd name="T9" fmla="*/ 260 h 284"/>
                <a:gd name="T10" fmla="*/ 74 w 341"/>
                <a:gd name="T11" fmla="*/ 56 h 284"/>
                <a:gd name="T12" fmla="*/ 8 w 341"/>
                <a:gd name="T13" fmla="*/ 31 h 284"/>
                <a:gd name="T14" fmla="*/ 3 w 341"/>
                <a:gd name="T15" fmla="*/ 15 h 284"/>
                <a:gd name="T16" fmla="*/ 10 w 341"/>
                <a:gd name="T17" fmla="*/ 8 h 284"/>
                <a:gd name="T18" fmla="*/ 87 w 341"/>
                <a:gd name="T19" fmla="*/ 32 h 284"/>
                <a:gd name="T20" fmla="*/ 129 w 341"/>
                <a:gd name="T21" fmla="*/ 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1" h="284">
                  <a:moveTo>
                    <a:pt x="129" y="13"/>
                  </a:moveTo>
                  <a:cubicBezTo>
                    <a:pt x="141" y="30"/>
                    <a:pt x="152" y="61"/>
                    <a:pt x="164" y="61"/>
                  </a:cubicBezTo>
                  <a:cubicBezTo>
                    <a:pt x="301" y="59"/>
                    <a:pt x="308" y="167"/>
                    <a:pt x="336" y="259"/>
                  </a:cubicBezTo>
                  <a:cubicBezTo>
                    <a:pt x="341" y="269"/>
                    <a:pt x="339" y="279"/>
                    <a:pt x="328" y="281"/>
                  </a:cubicBezTo>
                  <a:cubicBezTo>
                    <a:pt x="313" y="284"/>
                    <a:pt x="305" y="272"/>
                    <a:pt x="298" y="260"/>
                  </a:cubicBezTo>
                  <a:cubicBezTo>
                    <a:pt x="296" y="111"/>
                    <a:pt x="176" y="94"/>
                    <a:pt x="74" y="56"/>
                  </a:cubicBezTo>
                  <a:cubicBezTo>
                    <a:pt x="52" y="48"/>
                    <a:pt x="30" y="39"/>
                    <a:pt x="8" y="31"/>
                  </a:cubicBezTo>
                  <a:cubicBezTo>
                    <a:pt x="2" y="25"/>
                    <a:pt x="0" y="20"/>
                    <a:pt x="3" y="15"/>
                  </a:cubicBezTo>
                  <a:cubicBezTo>
                    <a:pt x="5" y="10"/>
                    <a:pt x="7" y="8"/>
                    <a:pt x="10" y="8"/>
                  </a:cubicBezTo>
                  <a:cubicBezTo>
                    <a:pt x="35" y="16"/>
                    <a:pt x="61" y="24"/>
                    <a:pt x="87" y="32"/>
                  </a:cubicBezTo>
                  <a:cubicBezTo>
                    <a:pt x="100" y="24"/>
                    <a:pt x="106" y="0"/>
                    <a:pt x="129" y="1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1" name="Freeform 120">
              <a:extLst>
                <a:ext uri="{FF2B5EF4-FFF2-40B4-BE49-F238E27FC236}">
                  <a16:creationId xmlns:a16="http://schemas.microsoft.com/office/drawing/2014/main" id="{9BB5D325-42BC-4F3D-9A03-35D791C4958B}"/>
                </a:ext>
              </a:extLst>
            </p:cNvPr>
            <p:cNvSpPr>
              <a:spLocks/>
            </p:cNvSpPr>
            <p:nvPr/>
          </p:nvSpPr>
          <p:spPr bwMode="auto">
            <a:xfrm>
              <a:off x="3715189" y="3779491"/>
              <a:ext cx="100401" cy="67838"/>
            </a:xfrm>
            <a:custGeom>
              <a:avLst/>
              <a:gdLst>
                <a:gd name="T0" fmla="*/ 21 w 245"/>
                <a:gd name="T1" fmla="*/ 167 h 167"/>
                <a:gd name="T2" fmla="*/ 0 w 245"/>
                <a:gd name="T3" fmla="*/ 144 h 167"/>
                <a:gd name="T4" fmla="*/ 79 w 245"/>
                <a:gd name="T5" fmla="*/ 83 h 167"/>
                <a:gd name="T6" fmla="*/ 121 w 245"/>
                <a:gd name="T7" fmla="*/ 39 h 167"/>
                <a:gd name="T8" fmla="*/ 245 w 245"/>
                <a:gd name="T9" fmla="*/ 73 h 167"/>
                <a:gd name="T10" fmla="*/ 21 w 245"/>
                <a:gd name="T11" fmla="*/ 167 h 167"/>
              </a:gdLst>
              <a:ahLst/>
              <a:cxnLst>
                <a:cxn ang="0">
                  <a:pos x="T0" y="T1"/>
                </a:cxn>
                <a:cxn ang="0">
                  <a:pos x="T2" y="T3"/>
                </a:cxn>
                <a:cxn ang="0">
                  <a:pos x="T4" y="T5"/>
                </a:cxn>
                <a:cxn ang="0">
                  <a:pos x="T6" y="T7"/>
                </a:cxn>
                <a:cxn ang="0">
                  <a:pos x="T8" y="T9"/>
                </a:cxn>
                <a:cxn ang="0">
                  <a:pos x="T10" y="T11"/>
                </a:cxn>
              </a:cxnLst>
              <a:rect l="0" t="0" r="r" b="b"/>
              <a:pathLst>
                <a:path w="245" h="167">
                  <a:moveTo>
                    <a:pt x="21" y="167"/>
                  </a:moveTo>
                  <a:cubicBezTo>
                    <a:pt x="14" y="159"/>
                    <a:pt x="7" y="152"/>
                    <a:pt x="0" y="144"/>
                  </a:cubicBezTo>
                  <a:cubicBezTo>
                    <a:pt x="27" y="124"/>
                    <a:pt x="53" y="103"/>
                    <a:pt x="79" y="83"/>
                  </a:cubicBezTo>
                  <a:cubicBezTo>
                    <a:pt x="65" y="42"/>
                    <a:pt x="112" y="59"/>
                    <a:pt x="121" y="39"/>
                  </a:cubicBezTo>
                  <a:cubicBezTo>
                    <a:pt x="174" y="0"/>
                    <a:pt x="202" y="44"/>
                    <a:pt x="245" y="73"/>
                  </a:cubicBezTo>
                  <a:cubicBezTo>
                    <a:pt x="165" y="107"/>
                    <a:pt x="93" y="137"/>
                    <a:pt x="21" y="16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2" name="Freeform 121">
              <a:extLst>
                <a:ext uri="{FF2B5EF4-FFF2-40B4-BE49-F238E27FC236}">
                  <a16:creationId xmlns:a16="http://schemas.microsoft.com/office/drawing/2014/main" id="{4C1AE2BC-B526-4989-998F-0A52A06E4B34}"/>
                </a:ext>
              </a:extLst>
            </p:cNvPr>
            <p:cNvSpPr>
              <a:spLocks/>
            </p:cNvSpPr>
            <p:nvPr/>
          </p:nvSpPr>
          <p:spPr bwMode="auto">
            <a:xfrm>
              <a:off x="4190056" y="4387321"/>
              <a:ext cx="116682" cy="103114"/>
            </a:xfrm>
            <a:custGeom>
              <a:avLst/>
              <a:gdLst>
                <a:gd name="T0" fmla="*/ 275 w 275"/>
                <a:gd name="T1" fmla="*/ 0 h 245"/>
                <a:gd name="T2" fmla="*/ 258 w 275"/>
                <a:gd name="T3" fmla="*/ 45 h 245"/>
                <a:gd name="T4" fmla="*/ 10 w 275"/>
                <a:gd name="T5" fmla="*/ 245 h 245"/>
                <a:gd name="T6" fmla="*/ 2 w 275"/>
                <a:gd name="T7" fmla="*/ 233 h 245"/>
                <a:gd name="T8" fmla="*/ 9 w 275"/>
                <a:gd name="T9" fmla="*/ 226 h 245"/>
                <a:gd name="T10" fmla="*/ 45 w 275"/>
                <a:gd name="T11" fmla="*/ 167 h 245"/>
                <a:gd name="T12" fmla="*/ 97 w 275"/>
                <a:gd name="T13" fmla="*/ 128 h 245"/>
                <a:gd name="T14" fmla="*/ 174 w 275"/>
                <a:gd name="T15" fmla="*/ 61 h 245"/>
                <a:gd name="T16" fmla="*/ 263 w 275"/>
                <a:gd name="T17" fmla="*/ 0 h 245"/>
                <a:gd name="T18" fmla="*/ 275 w 275"/>
                <a:gd name="T19"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45">
                  <a:moveTo>
                    <a:pt x="275" y="0"/>
                  </a:moveTo>
                  <a:cubicBezTo>
                    <a:pt x="270" y="16"/>
                    <a:pt x="267" y="43"/>
                    <a:pt x="258" y="45"/>
                  </a:cubicBezTo>
                  <a:cubicBezTo>
                    <a:pt x="146" y="77"/>
                    <a:pt x="107" y="197"/>
                    <a:pt x="10" y="245"/>
                  </a:cubicBezTo>
                  <a:cubicBezTo>
                    <a:pt x="2" y="241"/>
                    <a:pt x="0" y="237"/>
                    <a:pt x="2" y="233"/>
                  </a:cubicBezTo>
                  <a:cubicBezTo>
                    <a:pt x="5" y="229"/>
                    <a:pt x="7" y="226"/>
                    <a:pt x="9" y="226"/>
                  </a:cubicBezTo>
                  <a:cubicBezTo>
                    <a:pt x="12" y="201"/>
                    <a:pt x="3" y="168"/>
                    <a:pt x="45" y="167"/>
                  </a:cubicBezTo>
                  <a:cubicBezTo>
                    <a:pt x="73" y="166"/>
                    <a:pt x="95" y="154"/>
                    <a:pt x="97" y="128"/>
                  </a:cubicBezTo>
                  <a:cubicBezTo>
                    <a:pt x="101" y="77"/>
                    <a:pt x="124" y="58"/>
                    <a:pt x="174" y="61"/>
                  </a:cubicBezTo>
                  <a:cubicBezTo>
                    <a:pt x="217" y="63"/>
                    <a:pt x="238" y="27"/>
                    <a:pt x="263" y="0"/>
                  </a:cubicBezTo>
                  <a:cubicBezTo>
                    <a:pt x="267" y="0"/>
                    <a:pt x="271" y="0"/>
                    <a:pt x="275"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3" name="Freeform 122">
              <a:extLst>
                <a:ext uri="{FF2B5EF4-FFF2-40B4-BE49-F238E27FC236}">
                  <a16:creationId xmlns:a16="http://schemas.microsoft.com/office/drawing/2014/main" id="{08996C2E-E21F-49AC-B9A9-41E08E7F378C}"/>
                </a:ext>
              </a:extLst>
            </p:cNvPr>
            <p:cNvSpPr>
              <a:spLocks/>
            </p:cNvSpPr>
            <p:nvPr/>
          </p:nvSpPr>
          <p:spPr bwMode="auto">
            <a:xfrm>
              <a:off x="3601220" y="3901600"/>
              <a:ext cx="70552" cy="130249"/>
            </a:xfrm>
            <a:custGeom>
              <a:avLst/>
              <a:gdLst>
                <a:gd name="T0" fmla="*/ 169 w 169"/>
                <a:gd name="T1" fmla="*/ 96 h 314"/>
                <a:gd name="T2" fmla="*/ 148 w 169"/>
                <a:gd name="T3" fmla="*/ 114 h 314"/>
                <a:gd name="T4" fmla="*/ 105 w 169"/>
                <a:gd name="T5" fmla="*/ 157 h 314"/>
                <a:gd name="T6" fmla="*/ 26 w 169"/>
                <a:gd name="T7" fmla="*/ 305 h 314"/>
                <a:gd name="T8" fmla="*/ 4 w 169"/>
                <a:gd name="T9" fmla="*/ 284 h 314"/>
                <a:gd name="T10" fmla="*/ 73 w 169"/>
                <a:gd name="T11" fmla="*/ 140 h 314"/>
                <a:gd name="T12" fmla="*/ 169 w 169"/>
                <a:gd name="T13" fmla="*/ 96 h 314"/>
              </a:gdLst>
              <a:ahLst/>
              <a:cxnLst>
                <a:cxn ang="0">
                  <a:pos x="T0" y="T1"/>
                </a:cxn>
                <a:cxn ang="0">
                  <a:pos x="T2" y="T3"/>
                </a:cxn>
                <a:cxn ang="0">
                  <a:pos x="T4" y="T5"/>
                </a:cxn>
                <a:cxn ang="0">
                  <a:pos x="T6" y="T7"/>
                </a:cxn>
                <a:cxn ang="0">
                  <a:pos x="T8" y="T9"/>
                </a:cxn>
                <a:cxn ang="0">
                  <a:pos x="T10" y="T11"/>
                </a:cxn>
                <a:cxn ang="0">
                  <a:pos x="T12" y="T13"/>
                </a:cxn>
              </a:cxnLst>
              <a:rect l="0" t="0" r="r" b="b"/>
              <a:pathLst>
                <a:path w="169" h="314">
                  <a:moveTo>
                    <a:pt x="169" y="96"/>
                  </a:moveTo>
                  <a:cubicBezTo>
                    <a:pt x="162" y="102"/>
                    <a:pt x="155" y="108"/>
                    <a:pt x="148" y="114"/>
                  </a:cubicBezTo>
                  <a:cubicBezTo>
                    <a:pt x="106" y="101"/>
                    <a:pt x="108" y="128"/>
                    <a:pt x="105" y="157"/>
                  </a:cubicBezTo>
                  <a:cubicBezTo>
                    <a:pt x="100" y="217"/>
                    <a:pt x="92" y="276"/>
                    <a:pt x="26" y="305"/>
                  </a:cubicBezTo>
                  <a:cubicBezTo>
                    <a:pt x="4" y="314"/>
                    <a:pt x="0" y="303"/>
                    <a:pt x="4" y="284"/>
                  </a:cubicBezTo>
                  <a:cubicBezTo>
                    <a:pt x="75" y="260"/>
                    <a:pt x="79" y="186"/>
                    <a:pt x="73" y="140"/>
                  </a:cubicBezTo>
                  <a:cubicBezTo>
                    <a:pt x="57" y="0"/>
                    <a:pt x="116" y="63"/>
                    <a:pt x="169" y="9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4" name="Freeform 123">
              <a:extLst>
                <a:ext uri="{FF2B5EF4-FFF2-40B4-BE49-F238E27FC236}">
                  <a16:creationId xmlns:a16="http://schemas.microsoft.com/office/drawing/2014/main" id="{EC7EDB9E-52A0-406E-A2E7-C29450527C25}"/>
                </a:ext>
              </a:extLst>
            </p:cNvPr>
            <p:cNvSpPr>
              <a:spLocks/>
            </p:cNvSpPr>
            <p:nvPr/>
          </p:nvSpPr>
          <p:spPr bwMode="auto">
            <a:xfrm>
              <a:off x="4743616" y="4208229"/>
              <a:ext cx="46130" cy="135676"/>
            </a:xfrm>
            <a:custGeom>
              <a:avLst/>
              <a:gdLst>
                <a:gd name="T0" fmla="*/ 84 w 109"/>
                <a:gd name="T1" fmla="*/ 304 h 327"/>
                <a:gd name="T2" fmla="*/ 82 w 109"/>
                <a:gd name="T3" fmla="*/ 327 h 327"/>
                <a:gd name="T4" fmla="*/ 53 w 109"/>
                <a:gd name="T5" fmla="*/ 77 h 327"/>
                <a:gd name="T6" fmla="*/ 41 w 109"/>
                <a:gd name="T7" fmla="*/ 1 h 327"/>
                <a:gd name="T8" fmla="*/ 92 w 109"/>
                <a:gd name="T9" fmla="*/ 54 h 327"/>
                <a:gd name="T10" fmla="*/ 84 w 109"/>
                <a:gd name="T11" fmla="*/ 304 h 327"/>
              </a:gdLst>
              <a:ahLst/>
              <a:cxnLst>
                <a:cxn ang="0">
                  <a:pos x="T0" y="T1"/>
                </a:cxn>
                <a:cxn ang="0">
                  <a:pos x="T2" y="T3"/>
                </a:cxn>
                <a:cxn ang="0">
                  <a:pos x="T4" y="T5"/>
                </a:cxn>
                <a:cxn ang="0">
                  <a:pos x="T6" y="T7"/>
                </a:cxn>
                <a:cxn ang="0">
                  <a:pos x="T8" y="T9"/>
                </a:cxn>
                <a:cxn ang="0">
                  <a:pos x="T10" y="T11"/>
                </a:cxn>
              </a:cxnLst>
              <a:rect l="0" t="0" r="r" b="b"/>
              <a:pathLst>
                <a:path w="109" h="327">
                  <a:moveTo>
                    <a:pt x="84" y="304"/>
                  </a:moveTo>
                  <a:cubicBezTo>
                    <a:pt x="83" y="312"/>
                    <a:pt x="82" y="319"/>
                    <a:pt x="82" y="327"/>
                  </a:cubicBezTo>
                  <a:cubicBezTo>
                    <a:pt x="48" y="246"/>
                    <a:pt x="0" y="168"/>
                    <a:pt x="53" y="77"/>
                  </a:cubicBezTo>
                  <a:cubicBezTo>
                    <a:pt x="69" y="49"/>
                    <a:pt x="51" y="25"/>
                    <a:pt x="41" y="1"/>
                  </a:cubicBezTo>
                  <a:cubicBezTo>
                    <a:pt x="77" y="0"/>
                    <a:pt x="109" y="17"/>
                    <a:pt x="92" y="54"/>
                  </a:cubicBezTo>
                  <a:cubicBezTo>
                    <a:pt x="54" y="138"/>
                    <a:pt x="77" y="221"/>
                    <a:pt x="84" y="30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5" name="Freeform 124">
              <a:extLst>
                <a:ext uri="{FF2B5EF4-FFF2-40B4-BE49-F238E27FC236}">
                  <a16:creationId xmlns:a16="http://schemas.microsoft.com/office/drawing/2014/main" id="{B73F1BF4-9D7C-44F8-B9B6-B7558F7BBC4D}"/>
                </a:ext>
              </a:extLst>
            </p:cNvPr>
            <p:cNvSpPr>
              <a:spLocks/>
            </p:cNvSpPr>
            <p:nvPr/>
          </p:nvSpPr>
          <p:spPr bwMode="auto">
            <a:xfrm>
              <a:off x="4301311" y="4346619"/>
              <a:ext cx="70552" cy="111255"/>
            </a:xfrm>
            <a:custGeom>
              <a:avLst/>
              <a:gdLst>
                <a:gd name="T0" fmla="*/ 12 w 167"/>
                <a:gd name="T1" fmla="*/ 100 h 268"/>
                <a:gd name="T2" fmla="*/ 6 w 167"/>
                <a:gd name="T3" fmla="*/ 100 h 268"/>
                <a:gd name="T4" fmla="*/ 0 w 167"/>
                <a:gd name="T5" fmla="*/ 100 h 268"/>
                <a:gd name="T6" fmla="*/ 93 w 167"/>
                <a:gd name="T7" fmla="*/ 0 h 268"/>
                <a:gd name="T8" fmla="*/ 134 w 167"/>
                <a:gd name="T9" fmla="*/ 263 h 268"/>
                <a:gd name="T10" fmla="*/ 116 w 167"/>
                <a:gd name="T11" fmla="*/ 244 h 268"/>
                <a:gd name="T12" fmla="*/ 69 w 167"/>
                <a:gd name="T13" fmla="*/ 172 h 268"/>
                <a:gd name="T14" fmla="*/ 12 w 167"/>
                <a:gd name="T15" fmla="*/ 100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268">
                  <a:moveTo>
                    <a:pt x="12" y="100"/>
                  </a:moveTo>
                  <a:cubicBezTo>
                    <a:pt x="6" y="100"/>
                    <a:pt x="6" y="100"/>
                    <a:pt x="6" y="100"/>
                  </a:cubicBezTo>
                  <a:cubicBezTo>
                    <a:pt x="6" y="100"/>
                    <a:pt x="0" y="100"/>
                    <a:pt x="0" y="100"/>
                  </a:cubicBezTo>
                  <a:cubicBezTo>
                    <a:pt x="76" y="108"/>
                    <a:pt x="73" y="44"/>
                    <a:pt x="93" y="0"/>
                  </a:cubicBezTo>
                  <a:cubicBezTo>
                    <a:pt x="68" y="93"/>
                    <a:pt x="167" y="168"/>
                    <a:pt x="134" y="263"/>
                  </a:cubicBezTo>
                  <a:cubicBezTo>
                    <a:pt x="116" y="268"/>
                    <a:pt x="106" y="265"/>
                    <a:pt x="116" y="244"/>
                  </a:cubicBezTo>
                  <a:cubicBezTo>
                    <a:pt x="104" y="218"/>
                    <a:pt x="144" y="163"/>
                    <a:pt x="69" y="172"/>
                  </a:cubicBezTo>
                  <a:cubicBezTo>
                    <a:pt x="24" y="177"/>
                    <a:pt x="45" y="114"/>
                    <a:pt x="12" y="10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6" name="Freeform 125">
              <a:extLst>
                <a:ext uri="{FF2B5EF4-FFF2-40B4-BE49-F238E27FC236}">
                  <a16:creationId xmlns:a16="http://schemas.microsoft.com/office/drawing/2014/main" id="{E5B49C78-3BCC-4E92-9221-D3C735C7AFDA}"/>
                </a:ext>
              </a:extLst>
            </p:cNvPr>
            <p:cNvSpPr>
              <a:spLocks/>
            </p:cNvSpPr>
            <p:nvPr/>
          </p:nvSpPr>
          <p:spPr bwMode="auto">
            <a:xfrm>
              <a:off x="3682626" y="4750934"/>
              <a:ext cx="54271" cy="67838"/>
            </a:xfrm>
            <a:custGeom>
              <a:avLst/>
              <a:gdLst>
                <a:gd name="T0" fmla="*/ 35 w 133"/>
                <a:gd name="T1" fmla="*/ 141 h 157"/>
                <a:gd name="T2" fmla="*/ 28 w 133"/>
                <a:gd name="T3" fmla="*/ 37 h 157"/>
                <a:gd name="T4" fmla="*/ 118 w 133"/>
                <a:gd name="T5" fmla="*/ 36 h 157"/>
                <a:gd name="T6" fmla="*/ 35 w 133"/>
                <a:gd name="T7" fmla="*/ 141 h 157"/>
              </a:gdLst>
              <a:ahLst/>
              <a:cxnLst>
                <a:cxn ang="0">
                  <a:pos x="T0" y="T1"/>
                </a:cxn>
                <a:cxn ang="0">
                  <a:pos x="T2" y="T3"/>
                </a:cxn>
                <a:cxn ang="0">
                  <a:pos x="T4" y="T5"/>
                </a:cxn>
                <a:cxn ang="0">
                  <a:pos x="T6" y="T7"/>
                </a:cxn>
              </a:cxnLst>
              <a:rect l="0" t="0" r="r" b="b"/>
              <a:pathLst>
                <a:path w="133" h="157">
                  <a:moveTo>
                    <a:pt x="35" y="141"/>
                  </a:moveTo>
                  <a:cubicBezTo>
                    <a:pt x="20" y="107"/>
                    <a:pt x="0" y="72"/>
                    <a:pt x="28" y="37"/>
                  </a:cubicBezTo>
                  <a:cubicBezTo>
                    <a:pt x="56" y="0"/>
                    <a:pt x="87" y="22"/>
                    <a:pt x="118" y="36"/>
                  </a:cubicBezTo>
                  <a:cubicBezTo>
                    <a:pt x="133" y="104"/>
                    <a:pt x="128" y="157"/>
                    <a:pt x="35" y="14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7" name="Freeform 126">
              <a:extLst>
                <a:ext uri="{FF2B5EF4-FFF2-40B4-BE49-F238E27FC236}">
                  <a16:creationId xmlns:a16="http://schemas.microsoft.com/office/drawing/2014/main" id="{DBD155F7-94F5-4D3C-AA5D-B0F5B832AF6A}"/>
                </a:ext>
              </a:extLst>
            </p:cNvPr>
            <p:cNvSpPr>
              <a:spLocks/>
            </p:cNvSpPr>
            <p:nvPr/>
          </p:nvSpPr>
          <p:spPr bwMode="auto">
            <a:xfrm>
              <a:off x="4825021" y="4029136"/>
              <a:ext cx="70552" cy="75979"/>
            </a:xfrm>
            <a:custGeom>
              <a:avLst/>
              <a:gdLst>
                <a:gd name="T0" fmla="*/ 76 w 164"/>
                <a:gd name="T1" fmla="*/ 179 h 179"/>
                <a:gd name="T2" fmla="*/ 51 w 164"/>
                <a:gd name="T3" fmla="*/ 139 h 179"/>
                <a:gd name="T4" fmla="*/ 41 w 164"/>
                <a:gd name="T5" fmla="*/ 31 h 179"/>
                <a:gd name="T6" fmla="*/ 151 w 164"/>
                <a:gd name="T7" fmla="*/ 36 h 179"/>
                <a:gd name="T8" fmla="*/ 160 w 164"/>
                <a:gd name="T9" fmla="*/ 59 h 179"/>
                <a:gd name="T10" fmla="*/ 85 w 164"/>
                <a:gd name="T11" fmla="*/ 111 h 179"/>
                <a:gd name="T12" fmla="*/ 76 w 164"/>
                <a:gd name="T13" fmla="*/ 179 h 179"/>
              </a:gdLst>
              <a:ahLst/>
              <a:cxnLst>
                <a:cxn ang="0">
                  <a:pos x="T0" y="T1"/>
                </a:cxn>
                <a:cxn ang="0">
                  <a:pos x="T2" y="T3"/>
                </a:cxn>
                <a:cxn ang="0">
                  <a:pos x="T4" y="T5"/>
                </a:cxn>
                <a:cxn ang="0">
                  <a:pos x="T6" y="T7"/>
                </a:cxn>
                <a:cxn ang="0">
                  <a:pos x="T8" y="T9"/>
                </a:cxn>
                <a:cxn ang="0">
                  <a:pos x="T10" y="T11"/>
                </a:cxn>
                <a:cxn ang="0">
                  <a:pos x="T12" y="T13"/>
                </a:cxn>
              </a:cxnLst>
              <a:rect l="0" t="0" r="r" b="b"/>
              <a:pathLst>
                <a:path w="164" h="179">
                  <a:moveTo>
                    <a:pt x="76" y="179"/>
                  </a:moveTo>
                  <a:cubicBezTo>
                    <a:pt x="67" y="166"/>
                    <a:pt x="56" y="153"/>
                    <a:pt x="51" y="139"/>
                  </a:cubicBezTo>
                  <a:cubicBezTo>
                    <a:pt x="39" y="104"/>
                    <a:pt x="0" y="66"/>
                    <a:pt x="41" y="31"/>
                  </a:cubicBezTo>
                  <a:cubicBezTo>
                    <a:pt x="75" y="0"/>
                    <a:pt x="115" y="15"/>
                    <a:pt x="151" y="36"/>
                  </a:cubicBezTo>
                  <a:cubicBezTo>
                    <a:pt x="161" y="41"/>
                    <a:pt x="164" y="49"/>
                    <a:pt x="160" y="59"/>
                  </a:cubicBezTo>
                  <a:cubicBezTo>
                    <a:pt x="148" y="95"/>
                    <a:pt x="94" y="71"/>
                    <a:pt x="85" y="111"/>
                  </a:cubicBezTo>
                  <a:cubicBezTo>
                    <a:pt x="93" y="135"/>
                    <a:pt x="89" y="158"/>
                    <a:pt x="76" y="17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8" name="Freeform 127">
              <a:extLst>
                <a:ext uri="{FF2B5EF4-FFF2-40B4-BE49-F238E27FC236}">
                  <a16:creationId xmlns:a16="http://schemas.microsoft.com/office/drawing/2014/main" id="{5F6834F5-6D32-439F-A7C3-B0D24EC0AD0B}"/>
                </a:ext>
              </a:extLst>
            </p:cNvPr>
            <p:cNvSpPr>
              <a:spLocks/>
            </p:cNvSpPr>
            <p:nvPr/>
          </p:nvSpPr>
          <p:spPr bwMode="auto">
            <a:xfrm>
              <a:off x="4846730" y="4067125"/>
              <a:ext cx="54271" cy="94973"/>
            </a:xfrm>
            <a:custGeom>
              <a:avLst/>
              <a:gdLst>
                <a:gd name="T0" fmla="*/ 24 w 127"/>
                <a:gd name="T1" fmla="*/ 89 h 230"/>
                <a:gd name="T2" fmla="*/ 24 w 127"/>
                <a:gd name="T3" fmla="*/ 8 h 230"/>
                <a:gd name="T4" fmla="*/ 46 w 127"/>
                <a:gd name="T5" fmla="*/ 9 h 230"/>
                <a:gd name="T6" fmla="*/ 70 w 127"/>
                <a:gd name="T7" fmla="*/ 166 h 230"/>
                <a:gd name="T8" fmla="*/ 103 w 127"/>
                <a:gd name="T9" fmla="*/ 194 h 230"/>
                <a:gd name="T10" fmla="*/ 82 w 127"/>
                <a:gd name="T11" fmla="*/ 214 h 230"/>
                <a:gd name="T12" fmla="*/ 39 w 127"/>
                <a:gd name="T13" fmla="*/ 142 h 230"/>
                <a:gd name="T14" fmla="*/ 24 w 127"/>
                <a:gd name="T15" fmla="*/ 89 h 2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230">
                  <a:moveTo>
                    <a:pt x="24" y="89"/>
                  </a:moveTo>
                  <a:cubicBezTo>
                    <a:pt x="24" y="62"/>
                    <a:pt x="24" y="35"/>
                    <a:pt x="24" y="8"/>
                  </a:cubicBezTo>
                  <a:cubicBezTo>
                    <a:pt x="32" y="0"/>
                    <a:pt x="39" y="0"/>
                    <a:pt x="46" y="9"/>
                  </a:cubicBezTo>
                  <a:cubicBezTo>
                    <a:pt x="73" y="58"/>
                    <a:pt x="127" y="101"/>
                    <a:pt x="70" y="166"/>
                  </a:cubicBezTo>
                  <a:cubicBezTo>
                    <a:pt x="59" y="179"/>
                    <a:pt x="89" y="188"/>
                    <a:pt x="103" y="194"/>
                  </a:cubicBezTo>
                  <a:cubicBezTo>
                    <a:pt x="109" y="214"/>
                    <a:pt x="101" y="221"/>
                    <a:pt x="82" y="214"/>
                  </a:cubicBezTo>
                  <a:cubicBezTo>
                    <a:pt x="0" y="230"/>
                    <a:pt x="13" y="190"/>
                    <a:pt x="39" y="142"/>
                  </a:cubicBezTo>
                  <a:cubicBezTo>
                    <a:pt x="59" y="105"/>
                    <a:pt x="58" y="104"/>
                    <a:pt x="24" y="8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9" name="Freeform 128">
              <a:extLst>
                <a:ext uri="{FF2B5EF4-FFF2-40B4-BE49-F238E27FC236}">
                  <a16:creationId xmlns:a16="http://schemas.microsoft.com/office/drawing/2014/main" id="{DC3C164D-8FD4-4EF6-978B-574A27644292}"/>
                </a:ext>
              </a:extLst>
            </p:cNvPr>
            <p:cNvSpPr>
              <a:spLocks/>
            </p:cNvSpPr>
            <p:nvPr/>
          </p:nvSpPr>
          <p:spPr bwMode="auto">
            <a:xfrm>
              <a:off x="3650064" y="4767215"/>
              <a:ext cx="103114" cy="75979"/>
            </a:xfrm>
            <a:custGeom>
              <a:avLst/>
              <a:gdLst>
                <a:gd name="T0" fmla="*/ 112 w 250"/>
                <a:gd name="T1" fmla="*/ 106 h 185"/>
                <a:gd name="T2" fmla="*/ 195 w 250"/>
                <a:gd name="T3" fmla="*/ 1 h 185"/>
                <a:gd name="T4" fmla="*/ 214 w 250"/>
                <a:gd name="T5" fmla="*/ 0 h 185"/>
                <a:gd name="T6" fmla="*/ 152 w 250"/>
                <a:gd name="T7" fmla="*/ 133 h 185"/>
                <a:gd name="T8" fmla="*/ 91 w 250"/>
                <a:gd name="T9" fmla="*/ 185 h 185"/>
                <a:gd name="T10" fmla="*/ 9 w 250"/>
                <a:gd name="T11" fmla="*/ 163 h 185"/>
                <a:gd name="T12" fmla="*/ 2 w 250"/>
                <a:gd name="T13" fmla="*/ 152 h 185"/>
                <a:gd name="T14" fmla="*/ 9 w 250"/>
                <a:gd name="T15" fmla="*/ 146 h 185"/>
                <a:gd name="T16" fmla="*/ 112 w 250"/>
                <a:gd name="T17" fmla="*/ 10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185">
                  <a:moveTo>
                    <a:pt x="112" y="106"/>
                  </a:moveTo>
                  <a:cubicBezTo>
                    <a:pt x="180" y="102"/>
                    <a:pt x="194" y="56"/>
                    <a:pt x="195" y="1"/>
                  </a:cubicBezTo>
                  <a:cubicBezTo>
                    <a:pt x="201" y="1"/>
                    <a:pt x="208" y="1"/>
                    <a:pt x="214" y="0"/>
                  </a:cubicBezTo>
                  <a:cubicBezTo>
                    <a:pt x="250" y="71"/>
                    <a:pt x="198" y="101"/>
                    <a:pt x="152" y="133"/>
                  </a:cubicBezTo>
                  <a:cubicBezTo>
                    <a:pt x="130" y="148"/>
                    <a:pt x="87" y="139"/>
                    <a:pt x="91" y="185"/>
                  </a:cubicBezTo>
                  <a:cubicBezTo>
                    <a:pt x="62" y="185"/>
                    <a:pt x="34" y="179"/>
                    <a:pt x="9" y="163"/>
                  </a:cubicBezTo>
                  <a:cubicBezTo>
                    <a:pt x="2" y="159"/>
                    <a:pt x="0" y="156"/>
                    <a:pt x="2" y="152"/>
                  </a:cubicBezTo>
                  <a:cubicBezTo>
                    <a:pt x="4" y="148"/>
                    <a:pt x="6" y="146"/>
                    <a:pt x="9" y="146"/>
                  </a:cubicBezTo>
                  <a:cubicBezTo>
                    <a:pt x="49" y="148"/>
                    <a:pt x="83" y="131"/>
                    <a:pt x="112" y="10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0" name="Freeform 129">
              <a:extLst>
                <a:ext uri="{FF2B5EF4-FFF2-40B4-BE49-F238E27FC236}">
                  <a16:creationId xmlns:a16="http://schemas.microsoft.com/office/drawing/2014/main" id="{9A62B3C5-CD81-4972-8D8C-C099A3C3A1AE}"/>
                </a:ext>
              </a:extLst>
            </p:cNvPr>
            <p:cNvSpPr>
              <a:spLocks/>
            </p:cNvSpPr>
            <p:nvPr/>
          </p:nvSpPr>
          <p:spPr bwMode="auto">
            <a:xfrm>
              <a:off x="3967547" y="4512144"/>
              <a:ext cx="81406" cy="86833"/>
            </a:xfrm>
            <a:custGeom>
              <a:avLst/>
              <a:gdLst>
                <a:gd name="T0" fmla="*/ 172 w 197"/>
                <a:gd name="T1" fmla="*/ 94 h 205"/>
                <a:gd name="T2" fmla="*/ 49 w 197"/>
                <a:gd name="T3" fmla="*/ 41 h 205"/>
                <a:gd name="T4" fmla="*/ 49 w 197"/>
                <a:gd name="T5" fmla="*/ 196 h 205"/>
                <a:gd name="T6" fmla="*/ 31 w 197"/>
                <a:gd name="T7" fmla="*/ 196 h 205"/>
                <a:gd name="T8" fmla="*/ 30 w 197"/>
                <a:gd name="T9" fmla="*/ 155 h 205"/>
                <a:gd name="T10" fmla="*/ 53 w 197"/>
                <a:gd name="T11" fmla="*/ 19 h 205"/>
                <a:gd name="T12" fmla="*/ 194 w 197"/>
                <a:gd name="T13" fmla="*/ 74 h 205"/>
                <a:gd name="T14" fmla="*/ 172 w 197"/>
                <a:gd name="T15" fmla="*/ 9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05">
                  <a:moveTo>
                    <a:pt x="172" y="94"/>
                  </a:moveTo>
                  <a:cubicBezTo>
                    <a:pt x="136" y="78"/>
                    <a:pt x="99" y="63"/>
                    <a:pt x="49" y="41"/>
                  </a:cubicBezTo>
                  <a:cubicBezTo>
                    <a:pt x="49" y="98"/>
                    <a:pt x="49" y="147"/>
                    <a:pt x="49" y="196"/>
                  </a:cubicBezTo>
                  <a:cubicBezTo>
                    <a:pt x="43" y="205"/>
                    <a:pt x="37" y="204"/>
                    <a:pt x="31" y="196"/>
                  </a:cubicBezTo>
                  <a:cubicBezTo>
                    <a:pt x="30" y="182"/>
                    <a:pt x="27" y="168"/>
                    <a:pt x="30" y="155"/>
                  </a:cubicBezTo>
                  <a:cubicBezTo>
                    <a:pt x="39" y="109"/>
                    <a:pt x="0" y="40"/>
                    <a:pt x="53" y="19"/>
                  </a:cubicBezTo>
                  <a:cubicBezTo>
                    <a:pt x="98" y="0"/>
                    <a:pt x="153" y="37"/>
                    <a:pt x="194" y="74"/>
                  </a:cubicBezTo>
                  <a:cubicBezTo>
                    <a:pt x="197" y="92"/>
                    <a:pt x="194" y="104"/>
                    <a:pt x="172" y="9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1" name="Freeform 130">
              <a:extLst>
                <a:ext uri="{FF2B5EF4-FFF2-40B4-BE49-F238E27FC236}">
                  <a16:creationId xmlns:a16="http://schemas.microsoft.com/office/drawing/2014/main" id="{9D4C81A6-D29D-4CB2-9DC6-562F250BA31A}"/>
                </a:ext>
              </a:extLst>
            </p:cNvPr>
            <p:cNvSpPr>
              <a:spLocks/>
            </p:cNvSpPr>
            <p:nvPr/>
          </p:nvSpPr>
          <p:spPr bwMode="auto">
            <a:xfrm>
              <a:off x="3707048" y="4650534"/>
              <a:ext cx="56984" cy="89546"/>
            </a:xfrm>
            <a:custGeom>
              <a:avLst/>
              <a:gdLst>
                <a:gd name="T0" fmla="*/ 120 w 141"/>
                <a:gd name="T1" fmla="*/ 50 h 214"/>
                <a:gd name="T2" fmla="*/ 75 w 141"/>
                <a:gd name="T3" fmla="*/ 214 h 214"/>
                <a:gd name="T4" fmla="*/ 14 w 141"/>
                <a:gd name="T5" fmla="*/ 87 h 214"/>
                <a:gd name="T6" fmla="*/ 141 w 141"/>
                <a:gd name="T7" fmla="*/ 30 h 214"/>
                <a:gd name="T8" fmla="*/ 120 w 141"/>
                <a:gd name="T9" fmla="*/ 50 h 214"/>
              </a:gdLst>
              <a:ahLst/>
              <a:cxnLst>
                <a:cxn ang="0">
                  <a:pos x="T0" y="T1"/>
                </a:cxn>
                <a:cxn ang="0">
                  <a:pos x="T2" y="T3"/>
                </a:cxn>
                <a:cxn ang="0">
                  <a:pos x="T4" y="T5"/>
                </a:cxn>
                <a:cxn ang="0">
                  <a:pos x="T6" y="T7"/>
                </a:cxn>
                <a:cxn ang="0">
                  <a:pos x="T8" y="T9"/>
                </a:cxn>
              </a:cxnLst>
              <a:rect l="0" t="0" r="r" b="b"/>
              <a:pathLst>
                <a:path w="141" h="214">
                  <a:moveTo>
                    <a:pt x="120" y="50"/>
                  </a:moveTo>
                  <a:cubicBezTo>
                    <a:pt x="16" y="80"/>
                    <a:pt x="48" y="148"/>
                    <a:pt x="75" y="214"/>
                  </a:cubicBezTo>
                  <a:cubicBezTo>
                    <a:pt x="0" y="199"/>
                    <a:pt x="0" y="124"/>
                    <a:pt x="14" y="87"/>
                  </a:cubicBezTo>
                  <a:cubicBezTo>
                    <a:pt x="27" y="55"/>
                    <a:pt x="77" y="0"/>
                    <a:pt x="141" y="30"/>
                  </a:cubicBezTo>
                  <a:cubicBezTo>
                    <a:pt x="140" y="42"/>
                    <a:pt x="128" y="44"/>
                    <a:pt x="120" y="5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2" name="Freeform 131">
              <a:extLst>
                <a:ext uri="{FF2B5EF4-FFF2-40B4-BE49-F238E27FC236}">
                  <a16:creationId xmlns:a16="http://schemas.microsoft.com/office/drawing/2014/main" id="{C59EBA12-FF38-4937-ABAD-3DCB847871F6}"/>
                </a:ext>
              </a:extLst>
            </p:cNvPr>
            <p:cNvSpPr>
              <a:spLocks/>
            </p:cNvSpPr>
            <p:nvPr/>
          </p:nvSpPr>
          <p:spPr bwMode="auto">
            <a:xfrm>
              <a:off x="4038098" y="4539279"/>
              <a:ext cx="97687" cy="29849"/>
            </a:xfrm>
            <a:custGeom>
              <a:avLst/>
              <a:gdLst>
                <a:gd name="T0" fmla="*/ 0 w 230"/>
                <a:gd name="T1" fmla="*/ 32 h 71"/>
                <a:gd name="T2" fmla="*/ 22 w 230"/>
                <a:gd name="T3" fmla="*/ 12 h 71"/>
                <a:gd name="T4" fmla="*/ 166 w 230"/>
                <a:gd name="T5" fmla="*/ 28 h 71"/>
                <a:gd name="T6" fmla="*/ 188 w 230"/>
                <a:gd name="T7" fmla="*/ 31 h 71"/>
                <a:gd name="T8" fmla="*/ 207 w 230"/>
                <a:gd name="T9" fmla="*/ 31 h 71"/>
                <a:gd name="T10" fmla="*/ 185 w 230"/>
                <a:gd name="T11" fmla="*/ 67 h 71"/>
                <a:gd name="T12" fmla="*/ 0 w 230"/>
                <a:gd name="T13" fmla="*/ 32 h 71"/>
              </a:gdLst>
              <a:ahLst/>
              <a:cxnLst>
                <a:cxn ang="0">
                  <a:pos x="T0" y="T1"/>
                </a:cxn>
                <a:cxn ang="0">
                  <a:pos x="T2" y="T3"/>
                </a:cxn>
                <a:cxn ang="0">
                  <a:pos x="T4" y="T5"/>
                </a:cxn>
                <a:cxn ang="0">
                  <a:pos x="T6" y="T7"/>
                </a:cxn>
                <a:cxn ang="0">
                  <a:pos x="T8" y="T9"/>
                </a:cxn>
                <a:cxn ang="0">
                  <a:pos x="T10" y="T11"/>
                </a:cxn>
                <a:cxn ang="0">
                  <a:pos x="T12" y="T13"/>
                </a:cxn>
              </a:cxnLst>
              <a:rect l="0" t="0" r="r" b="b"/>
              <a:pathLst>
                <a:path w="230" h="71">
                  <a:moveTo>
                    <a:pt x="0" y="32"/>
                  </a:moveTo>
                  <a:cubicBezTo>
                    <a:pt x="7" y="25"/>
                    <a:pt x="15" y="19"/>
                    <a:pt x="22" y="12"/>
                  </a:cubicBezTo>
                  <a:cubicBezTo>
                    <a:pt x="72" y="0"/>
                    <a:pt x="118" y="23"/>
                    <a:pt x="166" y="28"/>
                  </a:cubicBezTo>
                  <a:cubicBezTo>
                    <a:pt x="174" y="29"/>
                    <a:pt x="181" y="30"/>
                    <a:pt x="188" y="31"/>
                  </a:cubicBezTo>
                  <a:cubicBezTo>
                    <a:pt x="194" y="21"/>
                    <a:pt x="201" y="20"/>
                    <a:pt x="207" y="31"/>
                  </a:cubicBezTo>
                  <a:cubicBezTo>
                    <a:pt x="230" y="61"/>
                    <a:pt x="197" y="71"/>
                    <a:pt x="185" y="67"/>
                  </a:cubicBezTo>
                  <a:cubicBezTo>
                    <a:pt x="125" y="46"/>
                    <a:pt x="57" y="68"/>
                    <a:pt x="0" y="3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3" name="Freeform 132">
              <a:extLst>
                <a:ext uri="{FF2B5EF4-FFF2-40B4-BE49-F238E27FC236}">
                  <a16:creationId xmlns:a16="http://schemas.microsoft.com/office/drawing/2014/main" id="{70ED84CA-A575-48FC-860C-90CCD21F0FA2}"/>
                </a:ext>
              </a:extLst>
            </p:cNvPr>
            <p:cNvSpPr>
              <a:spLocks/>
            </p:cNvSpPr>
            <p:nvPr/>
          </p:nvSpPr>
          <p:spPr bwMode="auto">
            <a:xfrm>
              <a:off x="4811454" y="4251645"/>
              <a:ext cx="48843" cy="92260"/>
            </a:xfrm>
            <a:custGeom>
              <a:avLst/>
              <a:gdLst>
                <a:gd name="T0" fmla="*/ 46 w 118"/>
                <a:gd name="T1" fmla="*/ 206 h 225"/>
                <a:gd name="T2" fmla="*/ 4 w 118"/>
                <a:gd name="T3" fmla="*/ 225 h 225"/>
                <a:gd name="T4" fmla="*/ 89 w 118"/>
                <a:gd name="T5" fmla="*/ 0 h 225"/>
                <a:gd name="T6" fmla="*/ 46 w 118"/>
                <a:gd name="T7" fmla="*/ 206 h 225"/>
              </a:gdLst>
              <a:ahLst/>
              <a:cxnLst>
                <a:cxn ang="0">
                  <a:pos x="T0" y="T1"/>
                </a:cxn>
                <a:cxn ang="0">
                  <a:pos x="T2" y="T3"/>
                </a:cxn>
                <a:cxn ang="0">
                  <a:pos x="T4" y="T5"/>
                </a:cxn>
                <a:cxn ang="0">
                  <a:pos x="T6" y="T7"/>
                </a:cxn>
              </a:cxnLst>
              <a:rect l="0" t="0" r="r" b="b"/>
              <a:pathLst>
                <a:path w="118" h="225">
                  <a:moveTo>
                    <a:pt x="46" y="206"/>
                  </a:moveTo>
                  <a:cubicBezTo>
                    <a:pt x="32" y="212"/>
                    <a:pt x="18" y="219"/>
                    <a:pt x="4" y="225"/>
                  </a:cubicBezTo>
                  <a:cubicBezTo>
                    <a:pt x="61" y="161"/>
                    <a:pt x="0" y="52"/>
                    <a:pt x="89" y="0"/>
                  </a:cubicBezTo>
                  <a:cubicBezTo>
                    <a:pt x="42" y="62"/>
                    <a:pt x="118" y="149"/>
                    <a:pt x="46" y="20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4" name="Freeform 133">
              <a:extLst>
                <a:ext uri="{FF2B5EF4-FFF2-40B4-BE49-F238E27FC236}">
                  <a16:creationId xmlns:a16="http://schemas.microsoft.com/office/drawing/2014/main" id="{E71CF42B-41F9-4370-949D-06DD67170AFE}"/>
                </a:ext>
              </a:extLst>
            </p:cNvPr>
            <p:cNvSpPr>
              <a:spLocks/>
            </p:cNvSpPr>
            <p:nvPr/>
          </p:nvSpPr>
          <p:spPr bwMode="auto">
            <a:xfrm>
              <a:off x="3896995" y="4593550"/>
              <a:ext cx="94973" cy="40703"/>
            </a:xfrm>
            <a:custGeom>
              <a:avLst/>
              <a:gdLst>
                <a:gd name="T0" fmla="*/ 198 w 226"/>
                <a:gd name="T1" fmla="*/ 1 h 98"/>
                <a:gd name="T2" fmla="*/ 216 w 226"/>
                <a:gd name="T3" fmla="*/ 1 h 98"/>
                <a:gd name="T4" fmla="*/ 118 w 226"/>
                <a:gd name="T5" fmla="*/ 70 h 98"/>
                <a:gd name="T6" fmla="*/ 12 w 226"/>
                <a:gd name="T7" fmla="*/ 98 h 98"/>
                <a:gd name="T8" fmla="*/ 11 w 226"/>
                <a:gd name="T9" fmla="*/ 59 h 98"/>
                <a:gd name="T10" fmla="*/ 198 w 226"/>
                <a:gd name="T11" fmla="*/ 1 h 98"/>
              </a:gdLst>
              <a:ahLst/>
              <a:cxnLst>
                <a:cxn ang="0">
                  <a:pos x="T0" y="T1"/>
                </a:cxn>
                <a:cxn ang="0">
                  <a:pos x="T2" y="T3"/>
                </a:cxn>
                <a:cxn ang="0">
                  <a:pos x="T4" y="T5"/>
                </a:cxn>
                <a:cxn ang="0">
                  <a:pos x="T6" y="T7"/>
                </a:cxn>
                <a:cxn ang="0">
                  <a:pos x="T8" y="T9"/>
                </a:cxn>
                <a:cxn ang="0">
                  <a:pos x="T10" y="T11"/>
                </a:cxn>
              </a:cxnLst>
              <a:rect l="0" t="0" r="r" b="b"/>
              <a:pathLst>
                <a:path w="226" h="98">
                  <a:moveTo>
                    <a:pt x="198" y="1"/>
                  </a:moveTo>
                  <a:cubicBezTo>
                    <a:pt x="204" y="0"/>
                    <a:pt x="210" y="0"/>
                    <a:pt x="216" y="1"/>
                  </a:cubicBezTo>
                  <a:cubicBezTo>
                    <a:pt x="226" y="83"/>
                    <a:pt x="162" y="76"/>
                    <a:pt x="118" y="70"/>
                  </a:cubicBezTo>
                  <a:cubicBezTo>
                    <a:pt x="75" y="64"/>
                    <a:pt x="41" y="64"/>
                    <a:pt x="12" y="98"/>
                  </a:cubicBezTo>
                  <a:cubicBezTo>
                    <a:pt x="0" y="85"/>
                    <a:pt x="0" y="72"/>
                    <a:pt x="11" y="59"/>
                  </a:cubicBezTo>
                  <a:cubicBezTo>
                    <a:pt x="65" y="13"/>
                    <a:pt x="151" y="68"/>
                    <a:pt x="198" y="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5" name="Freeform 134">
              <a:extLst>
                <a:ext uri="{FF2B5EF4-FFF2-40B4-BE49-F238E27FC236}">
                  <a16:creationId xmlns:a16="http://schemas.microsoft.com/office/drawing/2014/main" id="{9BE8548D-64EB-4733-8F75-4B7C2D812570}"/>
                </a:ext>
              </a:extLst>
            </p:cNvPr>
            <p:cNvSpPr>
              <a:spLocks/>
            </p:cNvSpPr>
            <p:nvPr/>
          </p:nvSpPr>
          <p:spPr bwMode="auto">
            <a:xfrm>
              <a:off x="4404425" y="4191947"/>
              <a:ext cx="67838" cy="54271"/>
            </a:xfrm>
            <a:custGeom>
              <a:avLst/>
              <a:gdLst>
                <a:gd name="T0" fmla="*/ 161 w 161"/>
                <a:gd name="T1" fmla="*/ 16 h 131"/>
                <a:gd name="T2" fmla="*/ 118 w 161"/>
                <a:gd name="T3" fmla="*/ 77 h 131"/>
                <a:gd name="T4" fmla="*/ 32 w 161"/>
                <a:gd name="T5" fmla="*/ 77 h 131"/>
                <a:gd name="T6" fmla="*/ 12 w 161"/>
                <a:gd name="T7" fmla="*/ 40 h 131"/>
                <a:gd name="T8" fmla="*/ 161 w 161"/>
                <a:gd name="T9" fmla="*/ 16 h 131"/>
              </a:gdLst>
              <a:ahLst/>
              <a:cxnLst>
                <a:cxn ang="0">
                  <a:pos x="T0" y="T1"/>
                </a:cxn>
                <a:cxn ang="0">
                  <a:pos x="T2" y="T3"/>
                </a:cxn>
                <a:cxn ang="0">
                  <a:pos x="T4" y="T5"/>
                </a:cxn>
                <a:cxn ang="0">
                  <a:pos x="T6" y="T7"/>
                </a:cxn>
                <a:cxn ang="0">
                  <a:pos x="T8" y="T9"/>
                </a:cxn>
              </a:cxnLst>
              <a:rect l="0" t="0" r="r" b="b"/>
              <a:pathLst>
                <a:path w="161" h="131">
                  <a:moveTo>
                    <a:pt x="161" y="16"/>
                  </a:moveTo>
                  <a:cubicBezTo>
                    <a:pt x="150" y="38"/>
                    <a:pt x="126" y="46"/>
                    <a:pt x="118" y="77"/>
                  </a:cubicBezTo>
                  <a:cubicBezTo>
                    <a:pt x="107" y="116"/>
                    <a:pt x="61" y="131"/>
                    <a:pt x="32" y="77"/>
                  </a:cubicBezTo>
                  <a:cubicBezTo>
                    <a:pt x="17" y="69"/>
                    <a:pt x="0" y="62"/>
                    <a:pt x="12" y="40"/>
                  </a:cubicBezTo>
                  <a:cubicBezTo>
                    <a:pt x="66" y="56"/>
                    <a:pt x="107" y="0"/>
                    <a:pt x="161" y="1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6" name="Freeform 135">
              <a:extLst>
                <a:ext uri="{FF2B5EF4-FFF2-40B4-BE49-F238E27FC236}">
                  <a16:creationId xmlns:a16="http://schemas.microsoft.com/office/drawing/2014/main" id="{70E0B10A-2AEB-40E9-8680-580D3BB6598C}"/>
                </a:ext>
              </a:extLst>
            </p:cNvPr>
            <p:cNvSpPr>
              <a:spLocks/>
            </p:cNvSpPr>
            <p:nvPr/>
          </p:nvSpPr>
          <p:spPr bwMode="auto">
            <a:xfrm>
              <a:off x="4895573" y="4172953"/>
              <a:ext cx="56984" cy="67838"/>
            </a:xfrm>
            <a:custGeom>
              <a:avLst/>
              <a:gdLst>
                <a:gd name="T0" fmla="*/ 30 w 139"/>
                <a:gd name="T1" fmla="*/ 2 h 164"/>
                <a:gd name="T2" fmla="*/ 116 w 139"/>
                <a:gd name="T3" fmla="*/ 126 h 164"/>
                <a:gd name="T4" fmla="*/ 77 w 139"/>
                <a:gd name="T5" fmla="*/ 164 h 164"/>
                <a:gd name="T6" fmla="*/ 11 w 139"/>
                <a:gd name="T7" fmla="*/ 24 h 164"/>
                <a:gd name="T8" fmla="*/ 30 w 139"/>
                <a:gd name="T9" fmla="*/ 2 h 164"/>
              </a:gdLst>
              <a:ahLst/>
              <a:cxnLst>
                <a:cxn ang="0">
                  <a:pos x="T0" y="T1"/>
                </a:cxn>
                <a:cxn ang="0">
                  <a:pos x="T2" y="T3"/>
                </a:cxn>
                <a:cxn ang="0">
                  <a:pos x="T4" y="T5"/>
                </a:cxn>
                <a:cxn ang="0">
                  <a:pos x="T6" y="T7"/>
                </a:cxn>
                <a:cxn ang="0">
                  <a:pos x="T8" y="T9"/>
                </a:cxn>
              </a:cxnLst>
              <a:rect l="0" t="0" r="r" b="b"/>
              <a:pathLst>
                <a:path w="139" h="164">
                  <a:moveTo>
                    <a:pt x="30" y="2"/>
                  </a:moveTo>
                  <a:cubicBezTo>
                    <a:pt x="55" y="45"/>
                    <a:pt x="139" y="48"/>
                    <a:pt x="116" y="126"/>
                  </a:cubicBezTo>
                  <a:cubicBezTo>
                    <a:pt x="109" y="149"/>
                    <a:pt x="99" y="161"/>
                    <a:pt x="77" y="164"/>
                  </a:cubicBezTo>
                  <a:cubicBezTo>
                    <a:pt x="117" y="88"/>
                    <a:pt x="31" y="72"/>
                    <a:pt x="11" y="24"/>
                  </a:cubicBezTo>
                  <a:cubicBezTo>
                    <a:pt x="0" y="2"/>
                    <a:pt x="12" y="0"/>
                    <a:pt x="30" y="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7" name="Freeform 136">
              <a:extLst>
                <a:ext uri="{FF2B5EF4-FFF2-40B4-BE49-F238E27FC236}">
                  <a16:creationId xmlns:a16="http://schemas.microsoft.com/office/drawing/2014/main" id="{BD87C58E-4B64-4367-BCDD-4B98B2E59C71}"/>
                </a:ext>
              </a:extLst>
            </p:cNvPr>
            <p:cNvSpPr>
              <a:spLocks/>
            </p:cNvSpPr>
            <p:nvPr/>
          </p:nvSpPr>
          <p:spPr bwMode="auto">
            <a:xfrm>
              <a:off x="4860297" y="3896173"/>
              <a:ext cx="40703" cy="70552"/>
            </a:xfrm>
            <a:custGeom>
              <a:avLst/>
              <a:gdLst>
                <a:gd name="T0" fmla="*/ 94 w 94"/>
                <a:gd name="T1" fmla="*/ 19 h 169"/>
                <a:gd name="T2" fmla="*/ 73 w 94"/>
                <a:gd name="T3" fmla="*/ 145 h 169"/>
                <a:gd name="T4" fmla="*/ 55 w 94"/>
                <a:gd name="T5" fmla="*/ 166 h 169"/>
                <a:gd name="T6" fmla="*/ 8 w 94"/>
                <a:gd name="T7" fmla="*/ 43 h 169"/>
                <a:gd name="T8" fmla="*/ 94 w 94"/>
                <a:gd name="T9" fmla="*/ 19 h 169"/>
              </a:gdLst>
              <a:ahLst/>
              <a:cxnLst>
                <a:cxn ang="0">
                  <a:pos x="T0" y="T1"/>
                </a:cxn>
                <a:cxn ang="0">
                  <a:pos x="T2" y="T3"/>
                </a:cxn>
                <a:cxn ang="0">
                  <a:pos x="T4" y="T5"/>
                </a:cxn>
                <a:cxn ang="0">
                  <a:pos x="T6" y="T7"/>
                </a:cxn>
                <a:cxn ang="0">
                  <a:pos x="T8" y="T9"/>
                </a:cxn>
              </a:cxnLst>
              <a:rect l="0" t="0" r="r" b="b"/>
              <a:pathLst>
                <a:path w="94" h="169">
                  <a:moveTo>
                    <a:pt x="94" y="19"/>
                  </a:moveTo>
                  <a:cubicBezTo>
                    <a:pt x="49" y="55"/>
                    <a:pt x="10" y="91"/>
                    <a:pt x="73" y="145"/>
                  </a:cubicBezTo>
                  <a:cubicBezTo>
                    <a:pt x="84" y="166"/>
                    <a:pt x="72" y="169"/>
                    <a:pt x="55" y="166"/>
                  </a:cubicBezTo>
                  <a:cubicBezTo>
                    <a:pt x="0" y="140"/>
                    <a:pt x="1" y="86"/>
                    <a:pt x="8" y="43"/>
                  </a:cubicBezTo>
                  <a:cubicBezTo>
                    <a:pt x="15" y="0"/>
                    <a:pt x="66" y="33"/>
                    <a:pt x="94" y="1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8" name="Freeform 137">
              <a:extLst>
                <a:ext uri="{FF2B5EF4-FFF2-40B4-BE49-F238E27FC236}">
                  <a16:creationId xmlns:a16="http://schemas.microsoft.com/office/drawing/2014/main" id="{51520566-C4C4-467E-B08F-9159B9C7B17F}"/>
                </a:ext>
              </a:extLst>
            </p:cNvPr>
            <p:cNvSpPr>
              <a:spLocks/>
            </p:cNvSpPr>
            <p:nvPr/>
          </p:nvSpPr>
          <p:spPr bwMode="auto">
            <a:xfrm>
              <a:off x="4119504" y="3852757"/>
              <a:ext cx="59698" cy="54271"/>
            </a:xfrm>
            <a:custGeom>
              <a:avLst/>
              <a:gdLst>
                <a:gd name="T0" fmla="*/ 0 w 147"/>
                <a:gd name="T1" fmla="*/ 22 h 125"/>
                <a:gd name="T2" fmla="*/ 19 w 147"/>
                <a:gd name="T3" fmla="*/ 0 h 125"/>
                <a:gd name="T4" fmla="*/ 121 w 147"/>
                <a:gd name="T5" fmla="*/ 65 h 125"/>
                <a:gd name="T6" fmla="*/ 142 w 147"/>
                <a:gd name="T7" fmla="*/ 87 h 125"/>
                <a:gd name="T8" fmla="*/ 0 w 147"/>
                <a:gd name="T9" fmla="*/ 22 h 125"/>
              </a:gdLst>
              <a:ahLst/>
              <a:cxnLst>
                <a:cxn ang="0">
                  <a:pos x="T0" y="T1"/>
                </a:cxn>
                <a:cxn ang="0">
                  <a:pos x="T2" y="T3"/>
                </a:cxn>
                <a:cxn ang="0">
                  <a:pos x="T4" y="T5"/>
                </a:cxn>
                <a:cxn ang="0">
                  <a:pos x="T6" y="T7"/>
                </a:cxn>
                <a:cxn ang="0">
                  <a:pos x="T8" y="T9"/>
                </a:cxn>
              </a:cxnLst>
              <a:rect l="0" t="0" r="r" b="b"/>
              <a:pathLst>
                <a:path w="147" h="125">
                  <a:moveTo>
                    <a:pt x="0" y="22"/>
                  </a:moveTo>
                  <a:cubicBezTo>
                    <a:pt x="6" y="15"/>
                    <a:pt x="13" y="7"/>
                    <a:pt x="19" y="0"/>
                  </a:cubicBezTo>
                  <a:cubicBezTo>
                    <a:pt x="47" y="31"/>
                    <a:pt x="35" y="125"/>
                    <a:pt x="121" y="65"/>
                  </a:cubicBezTo>
                  <a:cubicBezTo>
                    <a:pt x="142" y="59"/>
                    <a:pt x="147" y="68"/>
                    <a:pt x="142" y="87"/>
                  </a:cubicBezTo>
                  <a:cubicBezTo>
                    <a:pt x="34" y="125"/>
                    <a:pt x="14" y="116"/>
                    <a:pt x="0" y="2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9" name="Freeform 138">
              <a:extLst>
                <a:ext uri="{FF2B5EF4-FFF2-40B4-BE49-F238E27FC236}">
                  <a16:creationId xmlns:a16="http://schemas.microsoft.com/office/drawing/2014/main" id="{32BBB053-FAE3-4F76-B61B-73FA39666FEF}"/>
                </a:ext>
              </a:extLst>
            </p:cNvPr>
            <p:cNvSpPr>
              <a:spLocks/>
            </p:cNvSpPr>
            <p:nvPr/>
          </p:nvSpPr>
          <p:spPr bwMode="auto">
            <a:xfrm>
              <a:off x="4168348" y="3844616"/>
              <a:ext cx="51557" cy="46130"/>
            </a:xfrm>
            <a:custGeom>
              <a:avLst/>
              <a:gdLst>
                <a:gd name="T0" fmla="*/ 21 w 123"/>
                <a:gd name="T1" fmla="*/ 107 h 107"/>
                <a:gd name="T2" fmla="*/ 0 w 123"/>
                <a:gd name="T3" fmla="*/ 85 h 107"/>
                <a:gd name="T4" fmla="*/ 96 w 123"/>
                <a:gd name="T5" fmla="*/ 0 h 107"/>
                <a:gd name="T6" fmla="*/ 123 w 123"/>
                <a:gd name="T7" fmla="*/ 3 h 107"/>
                <a:gd name="T8" fmla="*/ 21 w 123"/>
                <a:gd name="T9" fmla="*/ 107 h 107"/>
              </a:gdLst>
              <a:ahLst/>
              <a:cxnLst>
                <a:cxn ang="0">
                  <a:pos x="T0" y="T1"/>
                </a:cxn>
                <a:cxn ang="0">
                  <a:pos x="T2" y="T3"/>
                </a:cxn>
                <a:cxn ang="0">
                  <a:pos x="T4" y="T5"/>
                </a:cxn>
                <a:cxn ang="0">
                  <a:pos x="T6" y="T7"/>
                </a:cxn>
                <a:cxn ang="0">
                  <a:pos x="T8" y="T9"/>
                </a:cxn>
              </a:cxnLst>
              <a:rect l="0" t="0" r="r" b="b"/>
              <a:pathLst>
                <a:path w="123" h="107">
                  <a:moveTo>
                    <a:pt x="21" y="107"/>
                  </a:moveTo>
                  <a:cubicBezTo>
                    <a:pt x="14" y="100"/>
                    <a:pt x="7" y="92"/>
                    <a:pt x="0" y="85"/>
                  </a:cubicBezTo>
                  <a:cubicBezTo>
                    <a:pt x="32" y="57"/>
                    <a:pt x="64" y="29"/>
                    <a:pt x="96" y="0"/>
                  </a:cubicBezTo>
                  <a:cubicBezTo>
                    <a:pt x="105" y="1"/>
                    <a:pt x="114" y="2"/>
                    <a:pt x="123" y="3"/>
                  </a:cubicBezTo>
                  <a:cubicBezTo>
                    <a:pt x="102" y="50"/>
                    <a:pt x="88" y="105"/>
                    <a:pt x="21" y="10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0" name="Freeform 139">
              <a:extLst>
                <a:ext uri="{FF2B5EF4-FFF2-40B4-BE49-F238E27FC236}">
                  <a16:creationId xmlns:a16="http://schemas.microsoft.com/office/drawing/2014/main" id="{486AED5B-DEF7-470B-902A-B11BED447CB0}"/>
                </a:ext>
              </a:extLst>
            </p:cNvPr>
            <p:cNvSpPr>
              <a:spLocks/>
            </p:cNvSpPr>
            <p:nvPr/>
          </p:nvSpPr>
          <p:spPr bwMode="auto">
            <a:xfrm>
              <a:off x="4474976" y="4105115"/>
              <a:ext cx="73265" cy="46130"/>
            </a:xfrm>
            <a:custGeom>
              <a:avLst/>
              <a:gdLst>
                <a:gd name="T0" fmla="*/ 146 w 173"/>
                <a:gd name="T1" fmla="*/ 81 h 112"/>
                <a:gd name="T2" fmla="*/ 46 w 173"/>
                <a:gd name="T3" fmla="*/ 59 h 112"/>
                <a:gd name="T4" fmla="*/ 7 w 173"/>
                <a:gd name="T5" fmla="*/ 78 h 112"/>
                <a:gd name="T6" fmla="*/ 65 w 173"/>
                <a:gd name="T7" fmla="*/ 31 h 112"/>
                <a:gd name="T8" fmla="*/ 169 w 173"/>
                <a:gd name="T9" fmla="*/ 60 h 112"/>
                <a:gd name="T10" fmla="*/ 146 w 173"/>
                <a:gd name="T11" fmla="*/ 81 h 112"/>
              </a:gdLst>
              <a:ahLst/>
              <a:cxnLst>
                <a:cxn ang="0">
                  <a:pos x="T0" y="T1"/>
                </a:cxn>
                <a:cxn ang="0">
                  <a:pos x="T2" y="T3"/>
                </a:cxn>
                <a:cxn ang="0">
                  <a:pos x="T4" y="T5"/>
                </a:cxn>
                <a:cxn ang="0">
                  <a:pos x="T6" y="T7"/>
                </a:cxn>
                <a:cxn ang="0">
                  <a:pos x="T8" y="T9"/>
                </a:cxn>
                <a:cxn ang="0">
                  <a:pos x="T10" y="T11"/>
                </a:cxn>
              </a:cxnLst>
              <a:rect l="0" t="0" r="r" b="b"/>
              <a:pathLst>
                <a:path w="173" h="112">
                  <a:moveTo>
                    <a:pt x="146" y="81"/>
                  </a:moveTo>
                  <a:cubicBezTo>
                    <a:pt x="104" y="112"/>
                    <a:pt x="77" y="77"/>
                    <a:pt x="46" y="59"/>
                  </a:cubicBezTo>
                  <a:cubicBezTo>
                    <a:pt x="31" y="61"/>
                    <a:pt x="30" y="90"/>
                    <a:pt x="7" y="78"/>
                  </a:cubicBezTo>
                  <a:cubicBezTo>
                    <a:pt x="0" y="29"/>
                    <a:pt x="14" y="0"/>
                    <a:pt x="65" y="31"/>
                  </a:cubicBezTo>
                  <a:cubicBezTo>
                    <a:pt x="99" y="52"/>
                    <a:pt x="132" y="59"/>
                    <a:pt x="169" y="60"/>
                  </a:cubicBezTo>
                  <a:cubicBezTo>
                    <a:pt x="173" y="79"/>
                    <a:pt x="168" y="90"/>
                    <a:pt x="146" y="8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1" name="Freeform 140">
              <a:extLst>
                <a:ext uri="{FF2B5EF4-FFF2-40B4-BE49-F238E27FC236}">
                  <a16:creationId xmlns:a16="http://schemas.microsoft.com/office/drawing/2014/main" id="{0C4FAFBF-D184-4E0B-9F8C-8667457B8131}"/>
                </a:ext>
              </a:extLst>
            </p:cNvPr>
            <p:cNvSpPr>
              <a:spLocks/>
            </p:cNvSpPr>
            <p:nvPr/>
          </p:nvSpPr>
          <p:spPr bwMode="auto">
            <a:xfrm>
              <a:off x="4133072" y="4482295"/>
              <a:ext cx="62411" cy="29849"/>
            </a:xfrm>
            <a:custGeom>
              <a:avLst/>
              <a:gdLst>
                <a:gd name="T0" fmla="*/ 146 w 147"/>
                <a:gd name="T1" fmla="*/ 0 h 72"/>
                <a:gd name="T2" fmla="*/ 147 w 147"/>
                <a:gd name="T3" fmla="*/ 19 h 72"/>
                <a:gd name="T4" fmla="*/ 24 w 147"/>
                <a:gd name="T5" fmla="*/ 62 h 72"/>
                <a:gd name="T6" fmla="*/ 0 w 147"/>
                <a:gd name="T7" fmla="*/ 61 h 72"/>
                <a:gd name="T8" fmla="*/ 45 w 147"/>
                <a:gd name="T9" fmla="*/ 1 h 72"/>
                <a:gd name="T10" fmla="*/ 146 w 147"/>
                <a:gd name="T11" fmla="*/ 0 h 72"/>
              </a:gdLst>
              <a:ahLst/>
              <a:cxnLst>
                <a:cxn ang="0">
                  <a:pos x="T0" y="T1"/>
                </a:cxn>
                <a:cxn ang="0">
                  <a:pos x="T2" y="T3"/>
                </a:cxn>
                <a:cxn ang="0">
                  <a:pos x="T4" y="T5"/>
                </a:cxn>
                <a:cxn ang="0">
                  <a:pos x="T6" y="T7"/>
                </a:cxn>
                <a:cxn ang="0">
                  <a:pos x="T8" y="T9"/>
                </a:cxn>
                <a:cxn ang="0">
                  <a:pos x="T10" y="T11"/>
                </a:cxn>
              </a:cxnLst>
              <a:rect l="0" t="0" r="r" b="b"/>
              <a:pathLst>
                <a:path w="147" h="72">
                  <a:moveTo>
                    <a:pt x="146" y="0"/>
                  </a:moveTo>
                  <a:cubicBezTo>
                    <a:pt x="146" y="7"/>
                    <a:pt x="147" y="13"/>
                    <a:pt x="147" y="19"/>
                  </a:cubicBezTo>
                  <a:cubicBezTo>
                    <a:pt x="106" y="34"/>
                    <a:pt x="65" y="48"/>
                    <a:pt x="24" y="62"/>
                  </a:cubicBezTo>
                  <a:cubicBezTo>
                    <a:pt x="15" y="72"/>
                    <a:pt x="8" y="72"/>
                    <a:pt x="0" y="61"/>
                  </a:cubicBezTo>
                  <a:cubicBezTo>
                    <a:pt x="15" y="41"/>
                    <a:pt x="30" y="21"/>
                    <a:pt x="45" y="1"/>
                  </a:cubicBezTo>
                  <a:cubicBezTo>
                    <a:pt x="78" y="1"/>
                    <a:pt x="112" y="1"/>
                    <a:pt x="146"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2" name="Freeform 141">
              <a:extLst>
                <a:ext uri="{FF2B5EF4-FFF2-40B4-BE49-F238E27FC236}">
                  <a16:creationId xmlns:a16="http://schemas.microsoft.com/office/drawing/2014/main" id="{7ABFE50A-3837-4650-AD56-513FA6625C0E}"/>
                </a:ext>
              </a:extLst>
            </p:cNvPr>
            <p:cNvSpPr>
              <a:spLocks/>
            </p:cNvSpPr>
            <p:nvPr/>
          </p:nvSpPr>
          <p:spPr bwMode="auto">
            <a:xfrm>
              <a:off x="4857584" y="3988433"/>
              <a:ext cx="46130" cy="67838"/>
            </a:xfrm>
            <a:custGeom>
              <a:avLst/>
              <a:gdLst>
                <a:gd name="T0" fmla="*/ 79 w 111"/>
                <a:gd name="T1" fmla="*/ 153 h 162"/>
                <a:gd name="T2" fmla="*/ 76 w 111"/>
                <a:gd name="T3" fmla="*/ 133 h 162"/>
                <a:gd name="T4" fmla="*/ 60 w 111"/>
                <a:gd name="T5" fmla="*/ 10 h 162"/>
                <a:gd name="T6" fmla="*/ 78 w 111"/>
                <a:gd name="T7" fmla="*/ 10 h 162"/>
                <a:gd name="T8" fmla="*/ 97 w 111"/>
                <a:gd name="T9" fmla="*/ 154 h 162"/>
                <a:gd name="T10" fmla="*/ 79 w 111"/>
                <a:gd name="T11" fmla="*/ 153 h 162"/>
              </a:gdLst>
              <a:ahLst/>
              <a:cxnLst>
                <a:cxn ang="0">
                  <a:pos x="T0" y="T1"/>
                </a:cxn>
                <a:cxn ang="0">
                  <a:pos x="T2" y="T3"/>
                </a:cxn>
                <a:cxn ang="0">
                  <a:pos x="T4" y="T5"/>
                </a:cxn>
                <a:cxn ang="0">
                  <a:pos x="T6" y="T7"/>
                </a:cxn>
                <a:cxn ang="0">
                  <a:pos x="T8" y="T9"/>
                </a:cxn>
                <a:cxn ang="0">
                  <a:pos x="T10" y="T11"/>
                </a:cxn>
              </a:cxnLst>
              <a:rect l="0" t="0" r="r" b="b"/>
              <a:pathLst>
                <a:path w="111" h="162">
                  <a:moveTo>
                    <a:pt x="79" y="153"/>
                  </a:moveTo>
                  <a:cubicBezTo>
                    <a:pt x="78" y="147"/>
                    <a:pt x="78" y="140"/>
                    <a:pt x="76" y="133"/>
                  </a:cubicBezTo>
                  <a:cubicBezTo>
                    <a:pt x="107" y="88"/>
                    <a:pt x="0" y="60"/>
                    <a:pt x="60" y="10"/>
                  </a:cubicBezTo>
                  <a:cubicBezTo>
                    <a:pt x="66" y="0"/>
                    <a:pt x="72" y="0"/>
                    <a:pt x="78" y="10"/>
                  </a:cubicBezTo>
                  <a:cubicBezTo>
                    <a:pt x="111" y="54"/>
                    <a:pt x="105" y="104"/>
                    <a:pt x="97" y="154"/>
                  </a:cubicBezTo>
                  <a:cubicBezTo>
                    <a:pt x="91" y="162"/>
                    <a:pt x="85" y="162"/>
                    <a:pt x="79" y="15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3" name="Freeform 142">
              <a:extLst>
                <a:ext uri="{FF2B5EF4-FFF2-40B4-BE49-F238E27FC236}">
                  <a16:creationId xmlns:a16="http://schemas.microsoft.com/office/drawing/2014/main" id="{D312ABA4-A505-4468-A3DE-5827E59B3C88}"/>
                </a:ext>
              </a:extLst>
            </p:cNvPr>
            <p:cNvSpPr>
              <a:spLocks/>
            </p:cNvSpPr>
            <p:nvPr/>
          </p:nvSpPr>
          <p:spPr bwMode="auto">
            <a:xfrm>
              <a:off x="3837297" y="4596263"/>
              <a:ext cx="65125" cy="51557"/>
            </a:xfrm>
            <a:custGeom>
              <a:avLst/>
              <a:gdLst>
                <a:gd name="T0" fmla="*/ 152 w 153"/>
                <a:gd name="T1" fmla="*/ 52 h 119"/>
                <a:gd name="T2" fmla="*/ 153 w 153"/>
                <a:gd name="T3" fmla="*/ 91 h 119"/>
                <a:gd name="T4" fmla="*/ 11 w 153"/>
                <a:gd name="T5" fmla="*/ 80 h 119"/>
                <a:gd name="T6" fmla="*/ 8 w 153"/>
                <a:gd name="T7" fmla="*/ 53 h 119"/>
                <a:gd name="T8" fmla="*/ 152 w 153"/>
                <a:gd name="T9" fmla="*/ 52 h 119"/>
              </a:gdLst>
              <a:ahLst/>
              <a:cxnLst>
                <a:cxn ang="0">
                  <a:pos x="T0" y="T1"/>
                </a:cxn>
                <a:cxn ang="0">
                  <a:pos x="T2" y="T3"/>
                </a:cxn>
                <a:cxn ang="0">
                  <a:pos x="T4" y="T5"/>
                </a:cxn>
                <a:cxn ang="0">
                  <a:pos x="T6" y="T7"/>
                </a:cxn>
                <a:cxn ang="0">
                  <a:pos x="T8" y="T9"/>
                </a:cxn>
              </a:cxnLst>
              <a:rect l="0" t="0" r="r" b="b"/>
              <a:pathLst>
                <a:path w="153" h="119">
                  <a:moveTo>
                    <a:pt x="152" y="52"/>
                  </a:moveTo>
                  <a:cubicBezTo>
                    <a:pt x="153" y="65"/>
                    <a:pt x="153" y="78"/>
                    <a:pt x="153" y="91"/>
                  </a:cubicBezTo>
                  <a:cubicBezTo>
                    <a:pt x="103" y="119"/>
                    <a:pt x="63" y="25"/>
                    <a:pt x="11" y="80"/>
                  </a:cubicBezTo>
                  <a:cubicBezTo>
                    <a:pt x="1" y="72"/>
                    <a:pt x="0" y="63"/>
                    <a:pt x="8" y="53"/>
                  </a:cubicBezTo>
                  <a:cubicBezTo>
                    <a:pt x="56" y="0"/>
                    <a:pt x="104" y="72"/>
                    <a:pt x="152" y="5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4" name="Freeform 143">
              <a:extLst>
                <a:ext uri="{FF2B5EF4-FFF2-40B4-BE49-F238E27FC236}">
                  <a16:creationId xmlns:a16="http://schemas.microsoft.com/office/drawing/2014/main" id="{5A6D1398-34EA-456C-AEE1-A580747F3A0C}"/>
                </a:ext>
              </a:extLst>
            </p:cNvPr>
            <p:cNvSpPr>
              <a:spLocks/>
            </p:cNvSpPr>
            <p:nvPr/>
          </p:nvSpPr>
          <p:spPr bwMode="auto">
            <a:xfrm>
              <a:off x="3712475" y="3733361"/>
              <a:ext cx="43416" cy="54271"/>
            </a:xfrm>
            <a:custGeom>
              <a:avLst/>
              <a:gdLst>
                <a:gd name="T0" fmla="*/ 100 w 101"/>
                <a:gd name="T1" fmla="*/ 0 h 132"/>
                <a:gd name="T2" fmla="*/ 101 w 101"/>
                <a:gd name="T3" fmla="*/ 24 h 132"/>
                <a:gd name="T4" fmla="*/ 56 w 101"/>
                <a:gd name="T5" fmla="*/ 107 h 132"/>
                <a:gd name="T6" fmla="*/ 38 w 101"/>
                <a:gd name="T7" fmla="*/ 132 h 132"/>
                <a:gd name="T8" fmla="*/ 100 w 101"/>
                <a:gd name="T9" fmla="*/ 0 h 132"/>
              </a:gdLst>
              <a:ahLst/>
              <a:cxnLst>
                <a:cxn ang="0">
                  <a:pos x="T0" y="T1"/>
                </a:cxn>
                <a:cxn ang="0">
                  <a:pos x="T2" y="T3"/>
                </a:cxn>
                <a:cxn ang="0">
                  <a:pos x="T4" y="T5"/>
                </a:cxn>
                <a:cxn ang="0">
                  <a:pos x="T6" y="T7"/>
                </a:cxn>
                <a:cxn ang="0">
                  <a:pos x="T8" y="T9"/>
                </a:cxn>
              </a:cxnLst>
              <a:rect l="0" t="0" r="r" b="b"/>
              <a:pathLst>
                <a:path w="101" h="132">
                  <a:moveTo>
                    <a:pt x="100" y="0"/>
                  </a:moveTo>
                  <a:cubicBezTo>
                    <a:pt x="100" y="8"/>
                    <a:pt x="101" y="16"/>
                    <a:pt x="101" y="24"/>
                  </a:cubicBezTo>
                  <a:cubicBezTo>
                    <a:pt x="75" y="46"/>
                    <a:pt x="57" y="72"/>
                    <a:pt x="56" y="107"/>
                  </a:cubicBezTo>
                  <a:cubicBezTo>
                    <a:pt x="51" y="116"/>
                    <a:pt x="50" y="128"/>
                    <a:pt x="38" y="132"/>
                  </a:cubicBezTo>
                  <a:cubicBezTo>
                    <a:pt x="0" y="61"/>
                    <a:pt x="21" y="17"/>
                    <a:pt x="100"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5" name="Freeform 144">
              <a:extLst>
                <a:ext uri="{FF2B5EF4-FFF2-40B4-BE49-F238E27FC236}">
                  <a16:creationId xmlns:a16="http://schemas.microsoft.com/office/drawing/2014/main" id="{43CDB9C4-CFAF-437D-A754-D6D508EAB7B3}"/>
                </a:ext>
              </a:extLst>
            </p:cNvPr>
            <p:cNvSpPr>
              <a:spLocks/>
            </p:cNvSpPr>
            <p:nvPr/>
          </p:nvSpPr>
          <p:spPr bwMode="auto">
            <a:xfrm>
              <a:off x="4466836" y="4121396"/>
              <a:ext cx="29849" cy="70552"/>
            </a:xfrm>
            <a:custGeom>
              <a:avLst/>
              <a:gdLst>
                <a:gd name="T0" fmla="*/ 26 w 65"/>
                <a:gd name="T1" fmla="*/ 42 h 172"/>
                <a:gd name="T2" fmla="*/ 65 w 65"/>
                <a:gd name="T3" fmla="*/ 23 h 172"/>
                <a:gd name="T4" fmla="*/ 24 w 65"/>
                <a:gd name="T5" fmla="*/ 172 h 172"/>
                <a:gd name="T6" fmla="*/ 26 w 65"/>
                <a:gd name="T7" fmla="*/ 42 h 172"/>
              </a:gdLst>
              <a:ahLst/>
              <a:cxnLst>
                <a:cxn ang="0">
                  <a:pos x="T0" y="T1"/>
                </a:cxn>
                <a:cxn ang="0">
                  <a:pos x="T2" y="T3"/>
                </a:cxn>
                <a:cxn ang="0">
                  <a:pos x="T4" y="T5"/>
                </a:cxn>
                <a:cxn ang="0">
                  <a:pos x="T6" y="T7"/>
                </a:cxn>
              </a:cxnLst>
              <a:rect l="0" t="0" r="r" b="b"/>
              <a:pathLst>
                <a:path w="65" h="172">
                  <a:moveTo>
                    <a:pt x="26" y="42"/>
                  </a:moveTo>
                  <a:cubicBezTo>
                    <a:pt x="44" y="45"/>
                    <a:pt x="37" y="0"/>
                    <a:pt x="65" y="23"/>
                  </a:cubicBezTo>
                  <a:cubicBezTo>
                    <a:pt x="42" y="70"/>
                    <a:pt x="59" y="128"/>
                    <a:pt x="24" y="172"/>
                  </a:cubicBezTo>
                  <a:cubicBezTo>
                    <a:pt x="16" y="128"/>
                    <a:pt x="0" y="85"/>
                    <a:pt x="26" y="4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6" name="Freeform 145">
              <a:extLst>
                <a:ext uri="{FF2B5EF4-FFF2-40B4-BE49-F238E27FC236}">
                  <a16:creationId xmlns:a16="http://schemas.microsoft.com/office/drawing/2014/main" id="{43A108D0-2FDF-4F1B-B38B-D56B6C23C1E6}"/>
                </a:ext>
              </a:extLst>
            </p:cNvPr>
            <p:cNvSpPr>
              <a:spLocks/>
            </p:cNvSpPr>
            <p:nvPr/>
          </p:nvSpPr>
          <p:spPr bwMode="auto">
            <a:xfrm>
              <a:off x="4366435" y="4276067"/>
              <a:ext cx="65125" cy="56984"/>
            </a:xfrm>
            <a:custGeom>
              <a:avLst/>
              <a:gdLst>
                <a:gd name="T0" fmla="*/ 58 w 151"/>
                <a:gd name="T1" fmla="*/ 0 h 135"/>
                <a:gd name="T2" fmla="*/ 21 w 151"/>
                <a:gd name="T3" fmla="*/ 124 h 135"/>
                <a:gd name="T4" fmla="*/ 0 w 151"/>
                <a:gd name="T5" fmla="*/ 123 h 135"/>
                <a:gd name="T6" fmla="*/ 58 w 151"/>
                <a:gd name="T7" fmla="*/ 24 h 135"/>
                <a:gd name="T8" fmla="*/ 53 w 151"/>
                <a:gd name="T9" fmla="*/ 8 h 135"/>
                <a:gd name="T10" fmla="*/ 58 w 151"/>
                <a:gd name="T11" fmla="*/ 0 h 135"/>
              </a:gdLst>
              <a:ahLst/>
              <a:cxnLst>
                <a:cxn ang="0">
                  <a:pos x="T0" y="T1"/>
                </a:cxn>
                <a:cxn ang="0">
                  <a:pos x="T2" y="T3"/>
                </a:cxn>
                <a:cxn ang="0">
                  <a:pos x="T4" y="T5"/>
                </a:cxn>
                <a:cxn ang="0">
                  <a:pos x="T6" y="T7"/>
                </a:cxn>
                <a:cxn ang="0">
                  <a:pos x="T8" y="T9"/>
                </a:cxn>
                <a:cxn ang="0">
                  <a:pos x="T10" y="T11"/>
                </a:cxn>
              </a:cxnLst>
              <a:rect l="0" t="0" r="r" b="b"/>
              <a:pathLst>
                <a:path w="151" h="135">
                  <a:moveTo>
                    <a:pt x="58" y="0"/>
                  </a:moveTo>
                  <a:cubicBezTo>
                    <a:pt x="151" y="73"/>
                    <a:pt x="42" y="85"/>
                    <a:pt x="21" y="124"/>
                  </a:cubicBezTo>
                  <a:cubicBezTo>
                    <a:pt x="13" y="135"/>
                    <a:pt x="6" y="135"/>
                    <a:pt x="0" y="123"/>
                  </a:cubicBezTo>
                  <a:cubicBezTo>
                    <a:pt x="9" y="84"/>
                    <a:pt x="61" y="70"/>
                    <a:pt x="58" y="24"/>
                  </a:cubicBezTo>
                  <a:cubicBezTo>
                    <a:pt x="52" y="18"/>
                    <a:pt x="51" y="13"/>
                    <a:pt x="53" y="8"/>
                  </a:cubicBezTo>
                  <a:cubicBezTo>
                    <a:pt x="55" y="3"/>
                    <a:pt x="57" y="0"/>
                    <a:pt x="58"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7" name="Freeform 146">
              <a:extLst>
                <a:ext uri="{FF2B5EF4-FFF2-40B4-BE49-F238E27FC236}">
                  <a16:creationId xmlns:a16="http://schemas.microsoft.com/office/drawing/2014/main" id="{4A751051-D838-41B9-85E6-1BB9772E7D16}"/>
                </a:ext>
              </a:extLst>
            </p:cNvPr>
            <p:cNvSpPr>
              <a:spLocks/>
            </p:cNvSpPr>
            <p:nvPr/>
          </p:nvSpPr>
          <p:spPr bwMode="auto">
            <a:xfrm>
              <a:off x="4564523" y="4153958"/>
              <a:ext cx="43416" cy="37989"/>
            </a:xfrm>
            <a:custGeom>
              <a:avLst/>
              <a:gdLst>
                <a:gd name="T0" fmla="*/ 98 w 103"/>
                <a:gd name="T1" fmla="*/ 45 h 86"/>
                <a:gd name="T2" fmla="*/ 60 w 103"/>
                <a:gd name="T3" fmla="*/ 86 h 86"/>
                <a:gd name="T4" fmla="*/ 40 w 103"/>
                <a:gd name="T5" fmla="*/ 0 h 86"/>
                <a:gd name="T6" fmla="*/ 98 w 103"/>
                <a:gd name="T7" fmla="*/ 45 h 86"/>
              </a:gdLst>
              <a:ahLst/>
              <a:cxnLst>
                <a:cxn ang="0">
                  <a:pos x="T0" y="T1"/>
                </a:cxn>
                <a:cxn ang="0">
                  <a:pos x="T2" y="T3"/>
                </a:cxn>
                <a:cxn ang="0">
                  <a:pos x="T4" y="T5"/>
                </a:cxn>
                <a:cxn ang="0">
                  <a:pos x="T6" y="T7"/>
                </a:cxn>
              </a:cxnLst>
              <a:rect l="0" t="0" r="r" b="b"/>
              <a:pathLst>
                <a:path w="103" h="86">
                  <a:moveTo>
                    <a:pt x="98" y="45"/>
                  </a:moveTo>
                  <a:cubicBezTo>
                    <a:pt x="85" y="59"/>
                    <a:pt x="73" y="72"/>
                    <a:pt x="60" y="86"/>
                  </a:cubicBezTo>
                  <a:cubicBezTo>
                    <a:pt x="68" y="54"/>
                    <a:pt x="0" y="39"/>
                    <a:pt x="40" y="0"/>
                  </a:cubicBezTo>
                  <a:cubicBezTo>
                    <a:pt x="65" y="8"/>
                    <a:pt x="103" y="0"/>
                    <a:pt x="98" y="4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8" name="Freeform 147">
              <a:extLst>
                <a:ext uri="{FF2B5EF4-FFF2-40B4-BE49-F238E27FC236}">
                  <a16:creationId xmlns:a16="http://schemas.microsoft.com/office/drawing/2014/main" id="{6D893977-E2F3-4307-B11B-B91D40863B5E}"/>
                </a:ext>
              </a:extLst>
            </p:cNvPr>
            <p:cNvSpPr>
              <a:spLocks/>
            </p:cNvSpPr>
            <p:nvPr/>
          </p:nvSpPr>
          <p:spPr bwMode="auto">
            <a:xfrm>
              <a:off x="3783027" y="4620685"/>
              <a:ext cx="59698" cy="46130"/>
            </a:xfrm>
            <a:custGeom>
              <a:avLst/>
              <a:gdLst>
                <a:gd name="T0" fmla="*/ 138 w 141"/>
                <a:gd name="T1" fmla="*/ 0 h 115"/>
                <a:gd name="T2" fmla="*/ 141 w 141"/>
                <a:gd name="T3" fmla="*/ 27 h 115"/>
                <a:gd name="T4" fmla="*/ 21 w 141"/>
                <a:gd name="T5" fmla="*/ 106 h 115"/>
                <a:gd name="T6" fmla="*/ 0 w 141"/>
                <a:gd name="T7" fmla="*/ 106 h 115"/>
                <a:gd name="T8" fmla="*/ 138 w 141"/>
                <a:gd name="T9" fmla="*/ 0 h 115"/>
              </a:gdLst>
              <a:ahLst/>
              <a:cxnLst>
                <a:cxn ang="0">
                  <a:pos x="T0" y="T1"/>
                </a:cxn>
                <a:cxn ang="0">
                  <a:pos x="T2" y="T3"/>
                </a:cxn>
                <a:cxn ang="0">
                  <a:pos x="T4" y="T5"/>
                </a:cxn>
                <a:cxn ang="0">
                  <a:pos x="T6" y="T7"/>
                </a:cxn>
                <a:cxn ang="0">
                  <a:pos x="T8" y="T9"/>
                </a:cxn>
              </a:cxnLst>
              <a:rect l="0" t="0" r="r" b="b"/>
              <a:pathLst>
                <a:path w="141" h="115">
                  <a:moveTo>
                    <a:pt x="138" y="0"/>
                  </a:moveTo>
                  <a:cubicBezTo>
                    <a:pt x="139" y="9"/>
                    <a:pt x="140" y="18"/>
                    <a:pt x="141" y="27"/>
                  </a:cubicBezTo>
                  <a:cubicBezTo>
                    <a:pt x="129" y="96"/>
                    <a:pt x="65" y="86"/>
                    <a:pt x="21" y="106"/>
                  </a:cubicBezTo>
                  <a:cubicBezTo>
                    <a:pt x="14" y="115"/>
                    <a:pt x="7" y="115"/>
                    <a:pt x="0" y="106"/>
                  </a:cubicBezTo>
                  <a:cubicBezTo>
                    <a:pt x="34" y="55"/>
                    <a:pt x="114" y="64"/>
                    <a:pt x="138"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9" name="Freeform 148">
              <a:extLst>
                <a:ext uri="{FF2B5EF4-FFF2-40B4-BE49-F238E27FC236}">
                  <a16:creationId xmlns:a16="http://schemas.microsoft.com/office/drawing/2014/main" id="{F6EE86BB-5BA5-4B72-99B6-8D442D97D3C4}"/>
                </a:ext>
              </a:extLst>
            </p:cNvPr>
            <p:cNvSpPr>
              <a:spLocks/>
            </p:cNvSpPr>
            <p:nvPr/>
          </p:nvSpPr>
          <p:spPr bwMode="auto">
            <a:xfrm>
              <a:off x="3557804" y="4010141"/>
              <a:ext cx="54271" cy="32562"/>
            </a:xfrm>
            <a:custGeom>
              <a:avLst/>
              <a:gdLst>
                <a:gd name="T0" fmla="*/ 105 w 127"/>
                <a:gd name="T1" fmla="*/ 19 h 75"/>
                <a:gd name="T2" fmla="*/ 127 w 127"/>
                <a:gd name="T3" fmla="*/ 40 h 75"/>
                <a:gd name="T4" fmla="*/ 0 w 127"/>
                <a:gd name="T5" fmla="*/ 18 h 75"/>
                <a:gd name="T6" fmla="*/ 19 w 127"/>
                <a:gd name="T7" fmla="*/ 0 h 75"/>
                <a:gd name="T8" fmla="*/ 105 w 127"/>
                <a:gd name="T9" fmla="*/ 19 h 75"/>
              </a:gdLst>
              <a:ahLst/>
              <a:cxnLst>
                <a:cxn ang="0">
                  <a:pos x="T0" y="T1"/>
                </a:cxn>
                <a:cxn ang="0">
                  <a:pos x="T2" y="T3"/>
                </a:cxn>
                <a:cxn ang="0">
                  <a:pos x="T4" y="T5"/>
                </a:cxn>
                <a:cxn ang="0">
                  <a:pos x="T6" y="T7"/>
                </a:cxn>
                <a:cxn ang="0">
                  <a:pos x="T8" y="T9"/>
                </a:cxn>
              </a:cxnLst>
              <a:rect l="0" t="0" r="r" b="b"/>
              <a:pathLst>
                <a:path w="127" h="75">
                  <a:moveTo>
                    <a:pt x="105" y="19"/>
                  </a:moveTo>
                  <a:cubicBezTo>
                    <a:pt x="112" y="26"/>
                    <a:pt x="120" y="33"/>
                    <a:pt x="127" y="40"/>
                  </a:cubicBezTo>
                  <a:cubicBezTo>
                    <a:pt x="77" y="75"/>
                    <a:pt x="40" y="40"/>
                    <a:pt x="0" y="18"/>
                  </a:cubicBezTo>
                  <a:cubicBezTo>
                    <a:pt x="7" y="12"/>
                    <a:pt x="13" y="6"/>
                    <a:pt x="19" y="0"/>
                  </a:cubicBezTo>
                  <a:cubicBezTo>
                    <a:pt x="48" y="6"/>
                    <a:pt x="76" y="13"/>
                    <a:pt x="105" y="1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0" name="Freeform 149">
              <a:extLst>
                <a:ext uri="{FF2B5EF4-FFF2-40B4-BE49-F238E27FC236}">
                  <a16:creationId xmlns:a16="http://schemas.microsoft.com/office/drawing/2014/main" id="{289C1500-09FD-4AD1-AC61-F173587E18A5}"/>
                </a:ext>
              </a:extLst>
            </p:cNvPr>
            <p:cNvSpPr>
              <a:spLocks/>
            </p:cNvSpPr>
            <p:nvPr/>
          </p:nvSpPr>
          <p:spPr bwMode="auto">
            <a:xfrm>
              <a:off x="4537387" y="4124109"/>
              <a:ext cx="43416" cy="27135"/>
            </a:xfrm>
            <a:custGeom>
              <a:avLst/>
              <a:gdLst>
                <a:gd name="T0" fmla="*/ 0 w 106"/>
                <a:gd name="T1" fmla="*/ 38 h 68"/>
                <a:gd name="T2" fmla="*/ 23 w 106"/>
                <a:gd name="T3" fmla="*/ 17 h 68"/>
                <a:gd name="T4" fmla="*/ 106 w 106"/>
                <a:gd name="T5" fmla="*/ 61 h 68"/>
                <a:gd name="T6" fmla="*/ 0 w 106"/>
                <a:gd name="T7" fmla="*/ 38 h 68"/>
              </a:gdLst>
              <a:ahLst/>
              <a:cxnLst>
                <a:cxn ang="0">
                  <a:pos x="T0" y="T1"/>
                </a:cxn>
                <a:cxn ang="0">
                  <a:pos x="T2" y="T3"/>
                </a:cxn>
                <a:cxn ang="0">
                  <a:pos x="T4" y="T5"/>
                </a:cxn>
                <a:cxn ang="0">
                  <a:pos x="T6" y="T7"/>
                </a:cxn>
              </a:cxnLst>
              <a:rect l="0" t="0" r="r" b="b"/>
              <a:pathLst>
                <a:path w="106" h="68">
                  <a:moveTo>
                    <a:pt x="0" y="38"/>
                  </a:moveTo>
                  <a:cubicBezTo>
                    <a:pt x="7" y="31"/>
                    <a:pt x="15" y="24"/>
                    <a:pt x="23" y="17"/>
                  </a:cubicBezTo>
                  <a:cubicBezTo>
                    <a:pt x="56" y="21"/>
                    <a:pt x="103" y="0"/>
                    <a:pt x="106" y="61"/>
                  </a:cubicBezTo>
                  <a:cubicBezTo>
                    <a:pt x="71" y="52"/>
                    <a:pt x="31" y="68"/>
                    <a:pt x="0" y="3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1" name="Freeform 150">
              <a:extLst>
                <a:ext uri="{FF2B5EF4-FFF2-40B4-BE49-F238E27FC236}">
                  <a16:creationId xmlns:a16="http://schemas.microsoft.com/office/drawing/2014/main" id="{7DAE3BB8-10EB-45F2-BC1D-138AC6A54539}"/>
                </a:ext>
              </a:extLst>
            </p:cNvPr>
            <p:cNvSpPr>
              <a:spLocks/>
            </p:cNvSpPr>
            <p:nvPr/>
          </p:nvSpPr>
          <p:spPr bwMode="auto">
            <a:xfrm>
              <a:off x="3617502" y="4797064"/>
              <a:ext cx="35276" cy="37989"/>
            </a:xfrm>
            <a:custGeom>
              <a:avLst/>
              <a:gdLst>
                <a:gd name="T0" fmla="*/ 82 w 82"/>
                <a:gd name="T1" fmla="*/ 70 h 87"/>
                <a:gd name="T2" fmla="*/ 82 w 82"/>
                <a:gd name="T3" fmla="*/ 87 h 87"/>
                <a:gd name="T4" fmla="*/ 0 w 82"/>
                <a:gd name="T5" fmla="*/ 6 h 87"/>
                <a:gd name="T6" fmla="*/ 82 w 82"/>
                <a:gd name="T7" fmla="*/ 70 h 87"/>
              </a:gdLst>
              <a:ahLst/>
              <a:cxnLst>
                <a:cxn ang="0">
                  <a:pos x="T0" y="T1"/>
                </a:cxn>
                <a:cxn ang="0">
                  <a:pos x="T2" y="T3"/>
                </a:cxn>
                <a:cxn ang="0">
                  <a:pos x="T4" y="T5"/>
                </a:cxn>
                <a:cxn ang="0">
                  <a:pos x="T6" y="T7"/>
                </a:cxn>
              </a:cxnLst>
              <a:rect l="0" t="0" r="r" b="b"/>
              <a:pathLst>
                <a:path w="82" h="87">
                  <a:moveTo>
                    <a:pt x="82" y="70"/>
                  </a:moveTo>
                  <a:cubicBezTo>
                    <a:pt x="82" y="76"/>
                    <a:pt x="82" y="82"/>
                    <a:pt x="82" y="87"/>
                  </a:cubicBezTo>
                  <a:cubicBezTo>
                    <a:pt x="30" y="85"/>
                    <a:pt x="25" y="35"/>
                    <a:pt x="0" y="6"/>
                  </a:cubicBezTo>
                  <a:cubicBezTo>
                    <a:pt x="49" y="0"/>
                    <a:pt x="55" y="48"/>
                    <a:pt x="82" y="7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2" name="Freeform 151">
              <a:extLst>
                <a:ext uri="{FF2B5EF4-FFF2-40B4-BE49-F238E27FC236}">
                  <a16:creationId xmlns:a16="http://schemas.microsoft.com/office/drawing/2014/main" id="{C2AC4F4F-25ED-48F3-9726-FAE240D343AA}"/>
                </a:ext>
              </a:extLst>
            </p:cNvPr>
            <p:cNvSpPr>
              <a:spLocks/>
            </p:cNvSpPr>
            <p:nvPr/>
          </p:nvSpPr>
          <p:spPr bwMode="auto">
            <a:xfrm>
              <a:off x="4390857" y="4208229"/>
              <a:ext cx="27135" cy="43416"/>
            </a:xfrm>
            <a:custGeom>
              <a:avLst/>
              <a:gdLst>
                <a:gd name="T0" fmla="*/ 47 w 67"/>
                <a:gd name="T1" fmla="*/ 0 h 101"/>
                <a:gd name="T2" fmla="*/ 67 w 67"/>
                <a:gd name="T3" fmla="*/ 37 h 101"/>
                <a:gd name="T4" fmla="*/ 4 w 67"/>
                <a:gd name="T5" fmla="*/ 101 h 101"/>
                <a:gd name="T6" fmla="*/ 47 w 67"/>
                <a:gd name="T7" fmla="*/ 0 h 101"/>
              </a:gdLst>
              <a:ahLst/>
              <a:cxnLst>
                <a:cxn ang="0">
                  <a:pos x="T0" y="T1"/>
                </a:cxn>
                <a:cxn ang="0">
                  <a:pos x="T2" y="T3"/>
                </a:cxn>
                <a:cxn ang="0">
                  <a:pos x="T4" y="T5"/>
                </a:cxn>
                <a:cxn ang="0">
                  <a:pos x="T6" y="T7"/>
                </a:cxn>
              </a:cxnLst>
              <a:rect l="0" t="0" r="r" b="b"/>
              <a:pathLst>
                <a:path w="67" h="101">
                  <a:moveTo>
                    <a:pt x="47" y="0"/>
                  </a:moveTo>
                  <a:cubicBezTo>
                    <a:pt x="54" y="13"/>
                    <a:pt x="60" y="25"/>
                    <a:pt x="67" y="37"/>
                  </a:cubicBezTo>
                  <a:cubicBezTo>
                    <a:pt x="31" y="44"/>
                    <a:pt x="34" y="88"/>
                    <a:pt x="4" y="101"/>
                  </a:cubicBezTo>
                  <a:cubicBezTo>
                    <a:pt x="0" y="59"/>
                    <a:pt x="11" y="24"/>
                    <a:pt x="47"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3" name="Freeform 152">
              <a:extLst>
                <a:ext uri="{FF2B5EF4-FFF2-40B4-BE49-F238E27FC236}">
                  <a16:creationId xmlns:a16="http://schemas.microsoft.com/office/drawing/2014/main" id="{174D6424-4BC4-443D-AA83-AEABE5B407F2}"/>
                </a:ext>
              </a:extLst>
            </p:cNvPr>
            <p:cNvSpPr>
              <a:spLocks/>
            </p:cNvSpPr>
            <p:nvPr/>
          </p:nvSpPr>
          <p:spPr bwMode="auto">
            <a:xfrm>
              <a:off x="4898287" y="3852757"/>
              <a:ext cx="32562" cy="46130"/>
            </a:xfrm>
            <a:custGeom>
              <a:avLst/>
              <a:gdLst>
                <a:gd name="T0" fmla="*/ 0 w 75"/>
                <a:gd name="T1" fmla="*/ 87 h 109"/>
                <a:gd name="T2" fmla="*/ 24 w 75"/>
                <a:gd name="T3" fmla="*/ 44 h 109"/>
                <a:gd name="T4" fmla="*/ 47 w 75"/>
                <a:gd name="T5" fmla="*/ 5 h 109"/>
                <a:gd name="T6" fmla="*/ 65 w 75"/>
                <a:gd name="T7" fmla="*/ 24 h 109"/>
                <a:gd name="T8" fmla="*/ 2 w 75"/>
                <a:gd name="T9" fmla="*/ 109 h 109"/>
                <a:gd name="T10" fmla="*/ 0 w 75"/>
                <a:gd name="T11" fmla="*/ 87 h 109"/>
              </a:gdLst>
              <a:ahLst/>
              <a:cxnLst>
                <a:cxn ang="0">
                  <a:pos x="T0" y="T1"/>
                </a:cxn>
                <a:cxn ang="0">
                  <a:pos x="T2" y="T3"/>
                </a:cxn>
                <a:cxn ang="0">
                  <a:pos x="T4" y="T5"/>
                </a:cxn>
                <a:cxn ang="0">
                  <a:pos x="T6" y="T7"/>
                </a:cxn>
                <a:cxn ang="0">
                  <a:pos x="T8" y="T9"/>
                </a:cxn>
                <a:cxn ang="0">
                  <a:pos x="T10" y="T11"/>
                </a:cxn>
              </a:cxnLst>
              <a:rect l="0" t="0" r="r" b="b"/>
              <a:pathLst>
                <a:path w="75" h="109">
                  <a:moveTo>
                    <a:pt x="0" y="87"/>
                  </a:moveTo>
                  <a:cubicBezTo>
                    <a:pt x="18" y="78"/>
                    <a:pt x="23" y="62"/>
                    <a:pt x="24" y="44"/>
                  </a:cubicBezTo>
                  <a:cubicBezTo>
                    <a:pt x="31" y="31"/>
                    <a:pt x="39" y="18"/>
                    <a:pt x="47" y="5"/>
                  </a:cubicBezTo>
                  <a:cubicBezTo>
                    <a:pt x="65" y="0"/>
                    <a:pt x="75" y="3"/>
                    <a:pt x="65" y="24"/>
                  </a:cubicBezTo>
                  <a:cubicBezTo>
                    <a:pt x="40" y="49"/>
                    <a:pt x="55" y="104"/>
                    <a:pt x="2" y="109"/>
                  </a:cubicBezTo>
                  <a:cubicBezTo>
                    <a:pt x="1" y="102"/>
                    <a:pt x="1" y="94"/>
                    <a:pt x="0" y="8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4" name="Freeform 153">
              <a:extLst>
                <a:ext uri="{FF2B5EF4-FFF2-40B4-BE49-F238E27FC236}">
                  <a16:creationId xmlns:a16="http://schemas.microsoft.com/office/drawing/2014/main" id="{8CEFB79C-8A24-470C-900D-8E16FCCA8080}"/>
                </a:ext>
              </a:extLst>
            </p:cNvPr>
            <p:cNvSpPr>
              <a:spLocks/>
            </p:cNvSpPr>
            <p:nvPr/>
          </p:nvSpPr>
          <p:spPr bwMode="auto">
            <a:xfrm>
              <a:off x="4347440" y="4327624"/>
              <a:ext cx="29849" cy="35276"/>
            </a:xfrm>
            <a:custGeom>
              <a:avLst/>
              <a:gdLst>
                <a:gd name="T0" fmla="*/ 47 w 68"/>
                <a:gd name="T1" fmla="*/ 0 h 82"/>
                <a:gd name="T2" fmla="*/ 68 w 68"/>
                <a:gd name="T3" fmla="*/ 1 h 82"/>
                <a:gd name="T4" fmla="*/ 0 w 68"/>
                <a:gd name="T5" fmla="*/ 41 h 82"/>
                <a:gd name="T6" fmla="*/ 47 w 68"/>
                <a:gd name="T7" fmla="*/ 0 h 82"/>
              </a:gdLst>
              <a:ahLst/>
              <a:cxnLst>
                <a:cxn ang="0">
                  <a:pos x="T0" y="T1"/>
                </a:cxn>
                <a:cxn ang="0">
                  <a:pos x="T2" y="T3"/>
                </a:cxn>
                <a:cxn ang="0">
                  <a:pos x="T4" y="T5"/>
                </a:cxn>
                <a:cxn ang="0">
                  <a:pos x="T6" y="T7"/>
                </a:cxn>
              </a:cxnLst>
              <a:rect l="0" t="0" r="r" b="b"/>
              <a:pathLst>
                <a:path w="68" h="82">
                  <a:moveTo>
                    <a:pt x="47" y="0"/>
                  </a:moveTo>
                  <a:cubicBezTo>
                    <a:pt x="54" y="1"/>
                    <a:pt x="61" y="1"/>
                    <a:pt x="68" y="1"/>
                  </a:cubicBezTo>
                  <a:cubicBezTo>
                    <a:pt x="63" y="44"/>
                    <a:pt x="55" y="82"/>
                    <a:pt x="0" y="41"/>
                  </a:cubicBezTo>
                  <a:cubicBezTo>
                    <a:pt x="16" y="27"/>
                    <a:pt x="31" y="14"/>
                    <a:pt x="47"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Freeform 154">
              <a:extLst>
                <a:ext uri="{FF2B5EF4-FFF2-40B4-BE49-F238E27FC236}">
                  <a16:creationId xmlns:a16="http://schemas.microsoft.com/office/drawing/2014/main" id="{51EDEE44-3A59-4D0F-96D7-FAFB1F19604A}"/>
                </a:ext>
              </a:extLst>
            </p:cNvPr>
            <p:cNvSpPr>
              <a:spLocks/>
            </p:cNvSpPr>
            <p:nvPr/>
          </p:nvSpPr>
          <p:spPr bwMode="auto">
            <a:xfrm>
              <a:off x="3728756" y="3776778"/>
              <a:ext cx="35276" cy="35276"/>
            </a:xfrm>
            <a:custGeom>
              <a:avLst/>
              <a:gdLst>
                <a:gd name="T0" fmla="*/ 0 w 84"/>
                <a:gd name="T1" fmla="*/ 25 h 84"/>
                <a:gd name="T2" fmla="*/ 18 w 84"/>
                <a:gd name="T3" fmla="*/ 0 h 84"/>
                <a:gd name="T4" fmla="*/ 84 w 84"/>
                <a:gd name="T5" fmla="*/ 40 h 84"/>
                <a:gd name="T6" fmla="*/ 42 w 84"/>
                <a:gd name="T7" fmla="*/ 84 h 84"/>
                <a:gd name="T8" fmla="*/ 0 w 84"/>
                <a:gd name="T9" fmla="*/ 25 h 84"/>
              </a:gdLst>
              <a:ahLst/>
              <a:cxnLst>
                <a:cxn ang="0">
                  <a:pos x="T0" y="T1"/>
                </a:cxn>
                <a:cxn ang="0">
                  <a:pos x="T2" y="T3"/>
                </a:cxn>
                <a:cxn ang="0">
                  <a:pos x="T4" y="T5"/>
                </a:cxn>
                <a:cxn ang="0">
                  <a:pos x="T6" y="T7"/>
                </a:cxn>
                <a:cxn ang="0">
                  <a:pos x="T8" y="T9"/>
                </a:cxn>
              </a:cxnLst>
              <a:rect l="0" t="0" r="r" b="b"/>
              <a:pathLst>
                <a:path w="84" h="84">
                  <a:moveTo>
                    <a:pt x="0" y="25"/>
                  </a:moveTo>
                  <a:cubicBezTo>
                    <a:pt x="6" y="17"/>
                    <a:pt x="12" y="8"/>
                    <a:pt x="18" y="0"/>
                  </a:cubicBezTo>
                  <a:cubicBezTo>
                    <a:pt x="24" y="40"/>
                    <a:pt x="53" y="42"/>
                    <a:pt x="84" y="40"/>
                  </a:cubicBezTo>
                  <a:cubicBezTo>
                    <a:pt x="70" y="54"/>
                    <a:pt x="56" y="69"/>
                    <a:pt x="42" y="84"/>
                  </a:cubicBezTo>
                  <a:cubicBezTo>
                    <a:pt x="18" y="71"/>
                    <a:pt x="0" y="55"/>
                    <a:pt x="0" y="2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6" name="Freeform 155">
              <a:extLst>
                <a:ext uri="{FF2B5EF4-FFF2-40B4-BE49-F238E27FC236}">
                  <a16:creationId xmlns:a16="http://schemas.microsoft.com/office/drawing/2014/main" id="{74A55B37-2C9A-401E-80AC-C9B3D01C0C86}"/>
                </a:ext>
              </a:extLst>
            </p:cNvPr>
            <p:cNvSpPr>
              <a:spLocks/>
            </p:cNvSpPr>
            <p:nvPr/>
          </p:nvSpPr>
          <p:spPr bwMode="auto">
            <a:xfrm>
              <a:off x="3755891" y="4664101"/>
              <a:ext cx="37989" cy="27135"/>
            </a:xfrm>
            <a:custGeom>
              <a:avLst/>
              <a:gdLst>
                <a:gd name="T0" fmla="*/ 65 w 86"/>
                <a:gd name="T1" fmla="*/ 2 h 66"/>
                <a:gd name="T2" fmla="*/ 86 w 86"/>
                <a:gd name="T3" fmla="*/ 2 h 66"/>
                <a:gd name="T4" fmla="*/ 0 w 86"/>
                <a:gd name="T5" fmla="*/ 20 h 66"/>
                <a:gd name="T6" fmla="*/ 21 w 86"/>
                <a:gd name="T7" fmla="*/ 0 h 66"/>
                <a:gd name="T8" fmla="*/ 65 w 86"/>
                <a:gd name="T9" fmla="*/ 2 h 66"/>
              </a:gdLst>
              <a:ahLst/>
              <a:cxnLst>
                <a:cxn ang="0">
                  <a:pos x="T0" y="T1"/>
                </a:cxn>
                <a:cxn ang="0">
                  <a:pos x="T2" y="T3"/>
                </a:cxn>
                <a:cxn ang="0">
                  <a:pos x="T4" y="T5"/>
                </a:cxn>
                <a:cxn ang="0">
                  <a:pos x="T6" y="T7"/>
                </a:cxn>
                <a:cxn ang="0">
                  <a:pos x="T8" y="T9"/>
                </a:cxn>
              </a:cxnLst>
              <a:rect l="0" t="0" r="r" b="b"/>
              <a:pathLst>
                <a:path w="86" h="66">
                  <a:moveTo>
                    <a:pt x="65" y="2"/>
                  </a:moveTo>
                  <a:cubicBezTo>
                    <a:pt x="72" y="2"/>
                    <a:pt x="79" y="2"/>
                    <a:pt x="86" y="2"/>
                  </a:cubicBezTo>
                  <a:cubicBezTo>
                    <a:pt x="70" y="66"/>
                    <a:pt x="35" y="42"/>
                    <a:pt x="0" y="20"/>
                  </a:cubicBezTo>
                  <a:cubicBezTo>
                    <a:pt x="7" y="13"/>
                    <a:pt x="14" y="7"/>
                    <a:pt x="21" y="0"/>
                  </a:cubicBezTo>
                  <a:cubicBezTo>
                    <a:pt x="35" y="3"/>
                    <a:pt x="49" y="25"/>
                    <a:pt x="65" y="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7" name="Freeform 156">
              <a:extLst>
                <a:ext uri="{FF2B5EF4-FFF2-40B4-BE49-F238E27FC236}">
                  <a16:creationId xmlns:a16="http://schemas.microsoft.com/office/drawing/2014/main" id="{3D8E8715-257B-47D8-8373-792CDD18D3CD}"/>
                </a:ext>
              </a:extLst>
            </p:cNvPr>
            <p:cNvSpPr>
              <a:spLocks/>
            </p:cNvSpPr>
            <p:nvPr/>
          </p:nvSpPr>
          <p:spPr bwMode="auto">
            <a:xfrm>
              <a:off x="4361008" y="4251645"/>
              <a:ext cx="32562" cy="35276"/>
            </a:xfrm>
            <a:custGeom>
              <a:avLst/>
              <a:gdLst>
                <a:gd name="T0" fmla="*/ 73 w 74"/>
                <a:gd name="T1" fmla="*/ 62 h 86"/>
                <a:gd name="T2" fmla="*/ 73 w 74"/>
                <a:gd name="T3" fmla="*/ 86 h 86"/>
                <a:gd name="T4" fmla="*/ 74 w 74"/>
                <a:gd name="T5" fmla="*/ 0 h 86"/>
                <a:gd name="T6" fmla="*/ 73 w 74"/>
                <a:gd name="T7" fmla="*/ 62 h 86"/>
              </a:gdLst>
              <a:ahLst/>
              <a:cxnLst>
                <a:cxn ang="0">
                  <a:pos x="T0" y="T1"/>
                </a:cxn>
                <a:cxn ang="0">
                  <a:pos x="T2" y="T3"/>
                </a:cxn>
                <a:cxn ang="0">
                  <a:pos x="T4" y="T5"/>
                </a:cxn>
                <a:cxn ang="0">
                  <a:pos x="T6" y="T7"/>
                </a:cxn>
              </a:cxnLst>
              <a:rect l="0" t="0" r="r" b="b"/>
              <a:pathLst>
                <a:path w="74" h="86">
                  <a:moveTo>
                    <a:pt x="73" y="62"/>
                  </a:moveTo>
                  <a:cubicBezTo>
                    <a:pt x="73" y="70"/>
                    <a:pt x="73" y="78"/>
                    <a:pt x="73" y="86"/>
                  </a:cubicBezTo>
                  <a:cubicBezTo>
                    <a:pt x="38" y="56"/>
                    <a:pt x="0" y="27"/>
                    <a:pt x="74" y="0"/>
                  </a:cubicBezTo>
                  <a:cubicBezTo>
                    <a:pt x="65" y="21"/>
                    <a:pt x="58" y="41"/>
                    <a:pt x="73" y="6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8" name="Freeform 157">
              <a:extLst>
                <a:ext uri="{FF2B5EF4-FFF2-40B4-BE49-F238E27FC236}">
                  <a16:creationId xmlns:a16="http://schemas.microsoft.com/office/drawing/2014/main" id="{E28F8B8B-4C21-44A7-BDC5-7DEC51EBBA00}"/>
                </a:ext>
              </a:extLst>
            </p:cNvPr>
            <p:cNvSpPr>
              <a:spLocks/>
            </p:cNvSpPr>
            <p:nvPr/>
          </p:nvSpPr>
          <p:spPr bwMode="auto">
            <a:xfrm>
              <a:off x="4882005" y="4148531"/>
              <a:ext cx="24422" cy="35276"/>
            </a:xfrm>
            <a:custGeom>
              <a:avLst/>
              <a:gdLst>
                <a:gd name="T0" fmla="*/ 60 w 60"/>
                <a:gd name="T1" fmla="*/ 61 h 83"/>
                <a:gd name="T2" fmla="*/ 41 w 60"/>
                <a:gd name="T3" fmla="*/ 83 h 83"/>
                <a:gd name="T4" fmla="*/ 0 w 60"/>
                <a:gd name="T5" fmla="*/ 20 h 83"/>
                <a:gd name="T6" fmla="*/ 21 w 60"/>
                <a:gd name="T7" fmla="*/ 0 h 83"/>
                <a:gd name="T8" fmla="*/ 60 w 60"/>
                <a:gd name="T9" fmla="*/ 61 h 83"/>
              </a:gdLst>
              <a:ahLst/>
              <a:cxnLst>
                <a:cxn ang="0">
                  <a:pos x="T0" y="T1"/>
                </a:cxn>
                <a:cxn ang="0">
                  <a:pos x="T2" y="T3"/>
                </a:cxn>
                <a:cxn ang="0">
                  <a:pos x="T4" y="T5"/>
                </a:cxn>
                <a:cxn ang="0">
                  <a:pos x="T6" y="T7"/>
                </a:cxn>
                <a:cxn ang="0">
                  <a:pos x="T8" y="T9"/>
                </a:cxn>
              </a:cxnLst>
              <a:rect l="0" t="0" r="r" b="b"/>
              <a:pathLst>
                <a:path w="60" h="83">
                  <a:moveTo>
                    <a:pt x="60" y="61"/>
                  </a:moveTo>
                  <a:cubicBezTo>
                    <a:pt x="53" y="69"/>
                    <a:pt x="47" y="76"/>
                    <a:pt x="41" y="83"/>
                  </a:cubicBezTo>
                  <a:cubicBezTo>
                    <a:pt x="27" y="62"/>
                    <a:pt x="13" y="41"/>
                    <a:pt x="0" y="20"/>
                  </a:cubicBezTo>
                  <a:cubicBezTo>
                    <a:pt x="7" y="13"/>
                    <a:pt x="14" y="7"/>
                    <a:pt x="21" y="0"/>
                  </a:cubicBezTo>
                  <a:cubicBezTo>
                    <a:pt x="46" y="13"/>
                    <a:pt x="50" y="39"/>
                    <a:pt x="60" y="6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9" name="Freeform 158">
              <a:extLst>
                <a:ext uri="{FF2B5EF4-FFF2-40B4-BE49-F238E27FC236}">
                  <a16:creationId xmlns:a16="http://schemas.microsoft.com/office/drawing/2014/main" id="{38894D0A-73CA-4312-809D-F2AAEECE4841}"/>
                </a:ext>
              </a:extLst>
            </p:cNvPr>
            <p:cNvSpPr>
              <a:spLocks/>
            </p:cNvSpPr>
            <p:nvPr/>
          </p:nvSpPr>
          <p:spPr bwMode="auto">
            <a:xfrm>
              <a:off x="4882005" y="3958584"/>
              <a:ext cx="24422" cy="35276"/>
            </a:xfrm>
            <a:custGeom>
              <a:avLst/>
              <a:gdLst>
                <a:gd name="T0" fmla="*/ 18 w 55"/>
                <a:gd name="T1" fmla="*/ 83 h 83"/>
                <a:gd name="T2" fmla="*/ 0 w 55"/>
                <a:gd name="T3" fmla="*/ 83 h 83"/>
                <a:gd name="T4" fmla="*/ 3 w 55"/>
                <a:gd name="T5" fmla="*/ 21 h 83"/>
                <a:gd name="T6" fmla="*/ 21 w 55"/>
                <a:gd name="T7" fmla="*/ 0 h 83"/>
                <a:gd name="T8" fmla="*/ 18 w 55"/>
                <a:gd name="T9" fmla="*/ 83 h 83"/>
              </a:gdLst>
              <a:ahLst/>
              <a:cxnLst>
                <a:cxn ang="0">
                  <a:pos x="T0" y="T1"/>
                </a:cxn>
                <a:cxn ang="0">
                  <a:pos x="T2" y="T3"/>
                </a:cxn>
                <a:cxn ang="0">
                  <a:pos x="T4" y="T5"/>
                </a:cxn>
                <a:cxn ang="0">
                  <a:pos x="T6" y="T7"/>
                </a:cxn>
                <a:cxn ang="0">
                  <a:pos x="T8" y="T9"/>
                </a:cxn>
              </a:cxnLst>
              <a:rect l="0" t="0" r="r" b="b"/>
              <a:pathLst>
                <a:path w="55" h="83">
                  <a:moveTo>
                    <a:pt x="18" y="83"/>
                  </a:moveTo>
                  <a:cubicBezTo>
                    <a:pt x="12" y="83"/>
                    <a:pt x="6" y="83"/>
                    <a:pt x="0" y="83"/>
                  </a:cubicBezTo>
                  <a:cubicBezTo>
                    <a:pt x="1" y="62"/>
                    <a:pt x="2" y="42"/>
                    <a:pt x="3" y="21"/>
                  </a:cubicBezTo>
                  <a:cubicBezTo>
                    <a:pt x="9" y="14"/>
                    <a:pt x="15" y="7"/>
                    <a:pt x="21" y="0"/>
                  </a:cubicBezTo>
                  <a:cubicBezTo>
                    <a:pt x="55" y="29"/>
                    <a:pt x="18" y="55"/>
                    <a:pt x="18" y="8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0" name="Freeform 159">
              <a:extLst>
                <a:ext uri="{FF2B5EF4-FFF2-40B4-BE49-F238E27FC236}">
                  <a16:creationId xmlns:a16="http://schemas.microsoft.com/office/drawing/2014/main" id="{61734D9C-EFA8-4FE2-A0C0-B4E75E6385C8}"/>
                </a:ext>
              </a:extLst>
            </p:cNvPr>
            <p:cNvSpPr>
              <a:spLocks/>
            </p:cNvSpPr>
            <p:nvPr/>
          </p:nvSpPr>
          <p:spPr bwMode="auto">
            <a:xfrm>
              <a:off x="4846730" y="4227223"/>
              <a:ext cx="27135" cy="24422"/>
            </a:xfrm>
            <a:custGeom>
              <a:avLst/>
              <a:gdLst>
                <a:gd name="T0" fmla="*/ 66 w 66"/>
                <a:gd name="T1" fmla="*/ 18 h 62"/>
                <a:gd name="T2" fmla="*/ 0 w 66"/>
                <a:gd name="T3" fmla="*/ 59 h 62"/>
                <a:gd name="T4" fmla="*/ 66 w 66"/>
                <a:gd name="T5" fmla="*/ 18 h 62"/>
              </a:gdLst>
              <a:ahLst/>
              <a:cxnLst>
                <a:cxn ang="0">
                  <a:pos x="T0" y="T1"/>
                </a:cxn>
                <a:cxn ang="0">
                  <a:pos x="T2" y="T3"/>
                </a:cxn>
                <a:cxn ang="0">
                  <a:pos x="T4" y="T5"/>
                </a:cxn>
              </a:cxnLst>
              <a:rect l="0" t="0" r="r" b="b"/>
              <a:pathLst>
                <a:path w="66" h="62">
                  <a:moveTo>
                    <a:pt x="66" y="18"/>
                  </a:moveTo>
                  <a:cubicBezTo>
                    <a:pt x="52" y="45"/>
                    <a:pt x="33" y="62"/>
                    <a:pt x="0" y="59"/>
                  </a:cubicBezTo>
                  <a:cubicBezTo>
                    <a:pt x="17" y="38"/>
                    <a:pt x="23" y="0"/>
                    <a:pt x="66" y="1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1" name="Freeform 160">
              <a:extLst>
                <a:ext uri="{FF2B5EF4-FFF2-40B4-BE49-F238E27FC236}">
                  <a16:creationId xmlns:a16="http://schemas.microsoft.com/office/drawing/2014/main" id="{A493962E-158B-486E-A1CF-76CDB8AE7D1A}"/>
                </a:ext>
              </a:extLst>
            </p:cNvPr>
            <p:cNvSpPr>
              <a:spLocks/>
            </p:cNvSpPr>
            <p:nvPr/>
          </p:nvSpPr>
          <p:spPr bwMode="auto">
            <a:xfrm>
              <a:off x="4173775" y="5114547"/>
              <a:ext cx="119395" cy="103114"/>
            </a:xfrm>
            <a:custGeom>
              <a:avLst/>
              <a:gdLst>
                <a:gd name="T0" fmla="*/ 237 w 285"/>
                <a:gd name="T1" fmla="*/ 154 h 243"/>
                <a:gd name="T2" fmla="*/ 33 w 285"/>
                <a:gd name="T3" fmla="*/ 227 h 243"/>
                <a:gd name="T4" fmla="*/ 31 w 285"/>
                <a:gd name="T5" fmla="*/ 159 h 243"/>
                <a:gd name="T6" fmla="*/ 77 w 285"/>
                <a:gd name="T7" fmla="*/ 112 h 243"/>
                <a:gd name="T8" fmla="*/ 100 w 285"/>
                <a:gd name="T9" fmla="*/ 97 h 243"/>
                <a:gd name="T10" fmla="*/ 152 w 285"/>
                <a:gd name="T11" fmla="*/ 5 h 243"/>
                <a:gd name="T12" fmla="*/ 177 w 285"/>
                <a:gd name="T13" fmla="*/ 9 h 243"/>
                <a:gd name="T14" fmla="*/ 219 w 285"/>
                <a:gd name="T15" fmla="*/ 80 h 243"/>
                <a:gd name="T16" fmla="*/ 237 w 285"/>
                <a:gd name="T17" fmla="*/ 15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243">
                  <a:moveTo>
                    <a:pt x="237" y="154"/>
                  </a:moveTo>
                  <a:cubicBezTo>
                    <a:pt x="194" y="243"/>
                    <a:pt x="102" y="207"/>
                    <a:pt x="33" y="227"/>
                  </a:cubicBezTo>
                  <a:cubicBezTo>
                    <a:pt x="7" y="234"/>
                    <a:pt x="0" y="185"/>
                    <a:pt x="31" y="159"/>
                  </a:cubicBezTo>
                  <a:cubicBezTo>
                    <a:pt x="54" y="151"/>
                    <a:pt x="60" y="126"/>
                    <a:pt x="77" y="112"/>
                  </a:cubicBezTo>
                  <a:cubicBezTo>
                    <a:pt x="84" y="105"/>
                    <a:pt x="92" y="101"/>
                    <a:pt x="100" y="97"/>
                  </a:cubicBezTo>
                  <a:cubicBezTo>
                    <a:pt x="159" y="90"/>
                    <a:pt x="142" y="39"/>
                    <a:pt x="152" y="5"/>
                  </a:cubicBezTo>
                  <a:cubicBezTo>
                    <a:pt x="161" y="0"/>
                    <a:pt x="170" y="2"/>
                    <a:pt x="177" y="9"/>
                  </a:cubicBezTo>
                  <a:cubicBezTo>
                    <a:pt x="219" y="16"/>
                    <a:pt x="285" y="11"/>
                    <a:pt x="219" y="80"/>
                  </a:cubicBezTo>
                  <a:cubicBezTo>
                    <a:pt x="183" y="118"/>
                    <a:pt x="233" y="129"/>
                    <a:pt x="237" y="15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2" name="Freeform 161">
              <a:extLst>
                <a:ext uri="{FF2B5EF4-FFF2-40B4-BE49-F238E27FC236}">
                  <a16:creationId xmlns:a16="http://schemas.microsoft.com/office/drawing/2014/main" id="{9C1B1FCA-C96E-47E7-99EC-A977E0C53398}"/>
                </a:ext>
              </a:extLst>
            </p:cNvPr>
            <p:cNvSpPr>
              <a:spLocks/>
            </p:cNvSpPr>
            <p:nvPr/>
          </p:nvSpPr>
          <p:spPr bwMode="auto">
            <a:xfrm>
              <a:off x="4569950" y="5288213"/>
              <a:ext cx="113968" cy="70552"/>
            </a:xfrm>
            <a:custGeom>
              <a:avLst/>
              <a:gdLst>
                <a:gd name="T0" fmla="*/ 271 w 271"/>
                <a:gd name="T1" fmla="*/ 107 h 170"/>
                <a:gd name="T2" fmla="*/ 117 w 271"/>
                <a:gd name="T3" fmla="*/ 126 h 170"/>
                <a:gd name="T4" fmla="*/ 7 w 271"/>
                <a:gd name="T5" fmla="*/ 170 h 170"/>
                <a:gd name="T6" fmla="*/ 1 w 271"/>
                <a:gd name="T7" fmla="*/ 159 h 170"/>
                <a:gd name="T8" fmla="*/ 7 w 271"/>
                <a:gd name="T9" fmla="*/ 154 h 170"/>
                <a:gd name="T10" fmla="*/ 122 w 271"/>
                <a:gd name="T11" fmla="*/ 44 h 170"/>
                <a:gd name="T12" fmla="*/ 271 w 271"/>
                <a:gd name="T13" fmla="*/ 107 h 170"/>
              </a:gdLst>
              <a:ahLst/>
              <a:cxnLst>
                <a:cxn ang="0">
                  <a:pos x="T0" y="T1"/>
                </a:cxn>
                <a:cxn ang="0">
                  <a:pos x="T2" y="T3"/>
                </a:cxn>
                <a:cxn ang="0">
                  <a:pos x="T4" y="T5"/>
                </a:cxn>
                <a:cxn ang="0">
                  <a:pos x="T6" y="T7"/>
                </a:cxn>
                <a:cxn ang="0">
                  <a:pos x="T8" y="T9"/>
                </a:cxn>
                <a:cxn ang="0">
                  <a:pos x="T10" y="T11"/>
                </a:cxn>
                <a:cxn ang="0">
                  <a:pos x="T12" y="T13"/>
                </a:cxn>
              </a:cxnLst>
              <a:rect l="0" t="0" r="r" b="b"/>
              <a:pathLst>
                <a:path w="271" h="170">
                  <a:moveTo>
                    <a:pt x="271" y="107"/>
                  </a:moveTo>
                  <a:cubicBezTo>
                    <a:pt x="215" y="78"/>
                    <a:pt x="165" y="54"/>
                    <a:pt x="117" y="126"/>
                  </a:cubicBezTo>
                  <a:cubicBezTo>
                    <a:pt x="95" y="159"/>
                    <a:pt x="48" y="165"/>
                    <a:pt x="7" y="170"/>
                  </a:cubicBezTo>
                  <a:cubicBezTo>
                    <a:pt x="1" y="166"/>
                    <a:pt x="0" y="162"/>
                    <a:pt x="1" y="159"/>
                  </a:cubicBezTo>
                  <a:cubicBezTo>
                    <a:pt x="3" y="155"/>
                    <a:pt x="5" y="154"/>
                    <a:pt x="7" y="154"/>
                  </a:cubicBezTo>
                  <a:cubicBezTo>
                    <a:pt x="50" y="123"/>
                    <a:pt x="108" y="117"/>
                    <a:pt x="122" y="44"/>
                  </a:cubicBezTo>
                  <a:cubicBezTo>
                    <a:pt x="131" y="0"/>
                    <a:pt x="236" y="40"/>
                    <a:pt x="271" y="10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Freeform 162">
              <a:extLst>
                <a:ext uri="{FF2B5EF4-FFF2-40B4-BE49-F238E27FC236}">
                  <a16:creationId xmlns:a16="http://schemas.microsoft.com/office/drawing/2014/main" id="{E4D6DC53-35A6-4402-9DF2-2D5A031D13BE}"/>
                </a:ext>
              </a:extLst>
            </p:cNvPr>
            <p:cNvSpPr>
              <a:spLocks/>
            </p:cNvSpPr>
            <p:nvPr/>
          </p:nvSpPr>
          <p:spPr bwMode="auto">
            <a:xfrm>
              <a:off x="5286321" y="4343905"/>
              <a:ext cx="81406" cy="97687"/>
            </a:xfrm>
            <a:custGeom>
              <a:avLst/>
              <a:gdLst>
                <a:gd name="T0" fmla="*/ 0 w 195"/>
                <a:gd name="T1" fmla="*/ 196 h 238"/>
                <a:gd name="T2" fmla="*/ 1 w 195"/>
                <a:gd name="T3" fmla="*/ 173 h 238"/>
                <a:gd name="T4" fmla="*/ 51 w 195"/>
                <a:gd name="T5" fmla="*/ 137 h 238"/>
                <a:gd name="T6" fmla="*/ 183 w 195"/>
                <a:gd name="T7" fmla="*/ 0 h 238"/>
                <a:gd name="T8" fmla="*/ 186 w 195"/>
                <a:gd name="T9" fmla="*/ 25 h 238"/>
                <a:gd name="T10" fmla="*/ 88 w 195"/>
                <a:gd name="T11" fmla="*/ 153 h 238"/>
                <a:gd name="T12" fmla="*/ 0 w 195"/>
                <a:gd name="T13" fmla="*/ 196 h 238"/>
              </a:gdLst>
              <a:ahLst/>
              <a:cxnLst>
                <a:cxn ang="0">
                  <a:pos x="T0" y="T1"/>
                </a:cxn>
                <a:cxn ang="0">
                  <a:pos x="T2" y="T3"/>
                </a:cxn>
                <a:cxn ang="0">
                  <a:pos x="T4" y="T5"/>
                </a:cxn>
                <a:cxn ang="0">
                  <a:pos x="T6" y="T7"/>
                </a:cxn>
                <a:cxn ang="0">
                  <a:pos x="T8" y="T9"/>
                </a:cxn>
                <a:cxn ang="0">
                  <a:pos x="T10" y="T11"/>
                </a:cxn>
                <a:cxn ang="0">
                  <a:pos x="T12" y="T13"/>
                </a:cxn>
              </a:cxnLst>
              <a:rect l="0" t="0" r="r" b="b"/>
              <a:pathLst>
                <a:path w="195" h="238">
                  <a:moveTo>
                    <a:pt x="0" y="196"/>
                  </a:moveTo>
                  <a:cubicBezTo>
                    <a:pt x="0" y="188"/>
                    <a:pt x="1" y="180"/>
                    <a:pt x="1" y="173"/>
                  </a:cubicBezTo>
                  <a:cubicBezTo>
                    <a:pt x="38" y="189"/>
                    <a:pt x="57" y="167"/>
                    <a:pt x="51" y="137"/>
                  </a:cubicBezTo>
                  <a:cubicBezTo>
                    <a:pt x="28" y="24"/>
                    <a:pt x="95" y="3"/>
                    <a:pt x="183" y="0"/>
                  </a:cubicBezTo>
                  <a:cubicBezTo>
                    <a:pt x="194" y="7"/>
                    <a:pt x="195" y="16"/>
                    <a:pt x="186" y="25"/>
                  </a:cubicBezTo>
                  <a:cubicBezTo>
                    <a:pt x="133" y="51"/>
                    <a:pt x="53" y="49"/>
                    <a:pt x="88" y="153"/>
                  </a:cubicBezTo>
                  <a:cubicBezTo>
                    <a:pt x="98" y="182"/>
                    <a:pt x="58" y="238"/>
                    <a:pt x="0" y="19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4" name="Freeform 163">
              <a:extLst>
                <a:ext uri="{FF2B5EF4-FFF2-40B4-BE49-F238E27FC236}">
                  <a16:creationId xmlns:a16="http://schemas.microsoft.com/office/drawing/2014/main" id="{CB306D53-8D9C-4C9C-A1BE-360A3CACF4DD}"/>
                </a:ext>
              </a:extLst>
            </p:cNvPr>
            <p:cNvSpPr>
              <a:spLocks/>
            </p:cNvSpPr>
            <p:nvPr/>
          </p:nvSpPr>
          <p:spPr bwMode="auto">
            <a:xfrm>
              <a:off x="4944417" y="4479581"/>
              <a:ext cx="119395" cy="48844"/>
            </a:xfrm>
            <a:custGeom>
              <a:avLst/>
              <a:gdLst>
                <a:gd name="T0" fmla="*/ 29 w 283"/>
                <a:gd name="T1" fmla="*/ 6 h 112"/>
                <a:gd name="T2" fmla="*/ 176 w 283"/>
                <a:gd name="T3" fmla="*/ 0 h 112"/>
                <a:gd name="T4" fmla="*/ 178 w 283"/>
                <a:gd name="T5" fmla="*/ 25 h 112"/>
                <a:gd name="T6" fmla="*/ 258 w 283"/>
                <a:gd name="T7" fmla="*/ 65 h 112"/>
                <a:gd name="T8" fmla="*/ 279 w 283"/>
                <a:gd name="T9" fmla="*/ 84 h 112"/>
                <a:gd name="T10" fmla="*/ 81 w 283"/>
                <a:gd name="T11" fmla="*/ 93 h 112"/>
                <a:gd name="T12" fmla="*/ 11 w 283"/>
                <a:gd name="T13" fmla="*/ 29 h 112"/>
                <a:gd name="T14" fmla="*/ 29 w 283"/>
                <a:gd name="T15" fmla="*/ 6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3" h="112">
                  <a:moveTo>
                    <a:pt x="29" y="6"/>
                  </a:moveTo>
                  <a:cubicBezTo>
                    <a:pt x="64" y="88"/>
                    <a:pt x="96" y="87"/>
                    <a:pt x="176" y="0"/>
                  </a:cubicBezTo>
                  <a:cubicBezTo>
                    <a:pt x="187" y="8"/>
                    <a:pt x="187" y="16"/>
                    <a:pt x="178" y="25"/>
                  </a:cubicBezTo>
                  <a:cubicBezTo>
                    <a:pt x="173" y="102"/>
                    <a:pt x="233" y="49"/>
                    <a:pt x="258" y="65"/>
                  </a:cubicBezTo>
                  <a:cubicBezTo>
                    <a:pt x="280" y="55"/>
                    <a:pt x="283" y="66"/>
                    <a:pt x="279" y="84"/>
                  </a:cubicBezTo>
                  <a:cubicBezTo>
                    <a:pt x="213" y="86"/>
                    <a:pt x="143" y="76"/>
                    <a:pt x="81" y="93"/>
                  </a:cubicBezTo>
                  <a:cubicBezTo>
                    <a:pt x="8" y="112"/>
                    <a:pt x="9" y="77"/>
                    <a:pt x="11" y="29"/>
                  </a:cubicBezTo>
                  <a:cubicBezTo>
                    <a:pt x="0" y="7"/>
                    <a:pt x="12" y="4"/>
                    <a:pt x="29" y="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5" name="Freeform 164">
              <a:extLst>
                <a:ext uri="{FF2B5EF4-FFF2-40B4-BE49-F238E27FC236}">
                  <a16:creationId xmlns:a16="http://schemas.microsoft.com/office/drawing/2014/main" id="{750A7BA5-EC71-4E29-B964-C6A43254F937}"/>
                </a:ext>
              </a:extLst>
            </p:cNvPr>
            <p:cNvSpPr>
              <a:spLocks/>
            </p:cNvSpPr>
            <p:nvPr/>
          </p:nvSpPr>
          <p:spPr bwMode="auto">
            <a:xfrm>
              <a:off x="5112655" y="4455160"/>
              <a:ext cx="84119" cy="43416"/>
            </a:xfrm>
            <a:custGeom>
              <a:avLst/>
              <a:gdLst>
                <a:gd name="T0" fmla="*/ 3 w 201"/>
                <a:gd name="T1" fmla="*/ 67 h 103"/>
                <a:gd name="T2" fmla="*/ 98 w 201"/>
                <a:gd name="T3" fmla="*/ 39 h 103"/>
                <a:gd name="T4" fmla="*/ 187 w 201"/>
                <a:gd name="T5" fmla="*/ 0 h 103"/>
                <a:gd name="T6" fmla="*/ 109 w 201"/>
                <a:gd name="T7" fmla="*/ 78 h 103"/>
                <a:gd name="T8" fmla="*/ 24 w 201"/>
                <a:gd name="T9" fmla="*/ 86 h 103"/>
                <a:gd name="T10" fmla="*/ 3 w 201"/>
                <a:gd name="T11" fmla="*/ 67 h 103"/>
              </a:gdLst>
              <a:ahLst/>
              <a:cxnLst>
                <a:cxn ang="0">
                  <a:pos x="T0" y="T1"/>
                </a:cxn>
                <a:cxn ang="0">
                  <a:pos x="T2" y="T3"/>
                </a:cxn>
                <a:cxn ang="0">
                  <a:pos x="T4" y="T5"/>
                </a:cxn>
                <a:cxn ang="0">
                  <a:pos x="T6" y="T7"/>
                </a:cxn>
                <a:cxn ang="0">
                  <a:pos x="T8" y="T9"/>
                </a:cxn>
                <a:cxn ang="0">
                  <a:pos x="T10" y="T11"/>
                </a:cxn>
              </a:cxnLst>
              <a:rect l="0" t="0" r="r" b="b"/>
              <a:pathLst>
                <a:path w="201" h="103">
                  <a:moveTo>
                    <a:pt x="3" y="67"/>
                  </a:moveTo>
                  <a:cubicBezTo>
                    <a:pt x="33" y="50"/>
                    <a:pt x="57" y="9"/>
                    <a:pt x="98" y="39"/>
                  </a:cubicBezTo>
                  <a:cubicBezTo>
                    <a:pt x="153" y="80"/>
                    <a:pt x="160" y="19"/>
                    <a:pt x="187" y="0"/>
                  </a:cubicBezTo>
                  <a:cubicBezTo>
                    <a:pt x="201" y="66"/>
                    <a:pt x="174" y="103"/>
                    <a:pt x="109" y="78"/>
                  </a:cubicBezTo>
                  <a:cubicBezTo>
                    <a:pt x="73" y="65"/>
                    <a:pt x="51" y="72"/>
                    <a:pt x="24" y="86"/>
                  </a:cubicBezTo>
                  <a:cubicBezTo>
                    <a:pt x="2" y="96"/>
                    <a:pt x="0" y="85"/>
                    <a:pt x="3" y="6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6" name="Freeform 165">
              <a:extLst>
                <a:ext uri="{FF2B5EF4-FFF2-40B4-BE49-F238E27FC236}">
                  <a16:creationId xmlns:a16="http://schemas.microsoft.com/office/drawing/2014/main" id="{2EA0C098-5301-4654-81A6-DE0DB71705D7}"/>
                </a:ext>
              </a:extLst>
            </p:cNvPr>
            <p:cNvSpPr>
              <a:spLocks/>
            </p:cNvSpPr>
            <p:nvPr/>
          </p:nvSpPr>
          <p:spPr bwMode="auto">
            <a:xfrm>
              <a:off x="4282316" y="4612544"/>
              <a:ext cx="37989" cy="103114"/>
            </a:xfrm>
            <a:custGeom>
              <a:avLst/>
              <a:gdLst>
                <a:gd name="T0" fmla="*/ 24 w 89"/>
                <a:gd name="T1" fmla="*/ 246 h 246"/>
                <a:gd name="T2" fmla="*/ 60 w 89"/>
                <a:gd name="T3" fmla="*/ 0 h 246"/>
                <a:gd name="T4" fmla="*/ 34 w 89"/>
                <a:gd name="T5" fmla="*/ 244 h 246"/>
                <a:gd name="T6" fmla="*/ 24 w 89"/>
                <a:gd name="T7" fmla="*/ 246 h 246"/>
              </a:gdLst>
              <a:ahLst/>
              <a:cxnLst>
                <a:cxn ang="0">
                  <a:pos x="T0" y="T1"/>
                </a:cxn>
                <a:cxn ang="0">
                  <a:pos x="T2" y="T3"/>
                </a:cxn>
                <a:cxn ang="0">
                  <a:pos x="T4" y="T5"/>
                </a:cxn>
                <a:cxn ang="0">
                  <a:pos x="T6" y="T7"/>
                </a:cxn>
              </a:cxnLst>
              <a:rect l="0" t="0" r="r" b="b"/>
              <a:pathLst>
                <a:path w="89" h="246">
                  <a:moveTo>
                    <a:pt x="24" y="246"/>
                  </a:moveTo>
                  <a:cubicBezTo>
                    <a:pt x="0" y="158"/>
                    <a:pt x="54" y="82"/>
                    <a:pt x="60" y="0"/>
                  </a:cubicBezTo>
                  <a:cubicBezTo>
                    <a:pt x="89" y="85"/>
                    <a:pt x="44" y="163"/>
                    <a:pt x="34" y="244"/>
                  </a:cubicBezTo>
                  <a:cubicBezTo>
                    <a:pt x="30" y="244"/>
                    <a:pt x="27" y="245"/>
                    <a:pt x="24" y="24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7" name="Freeform 166">
              <a:extLst>
                <a:ext uri="{FF2B5EF4-FFF2-40B4-BE49-F238E27FC236}">
                  <a16:creationId xmlns:a16="http://schemas.microsoft.com/office/drawing/2014/main" id="{677A63EA-09BE-473D-AC13-83E50B36B0BD}"/>
                </a:ext>
              </a:extLst>
            </p:cNvPr>
            <p:cNvSpPr>
              <a:spLocks/>
            </p:cNvSpPr>
            <p:nvPr/>
          </p:nvSpPr>
          <p:spPr bwMode="auto">
            <a:xfrm>
              <a:off x="4901000" y="4438879"/>
              <a:ext cx="56984" cy="54271"/>
            </a:xfrm>
            <a:custGeom>
              <a:avLst/>
              <a:gdLst>
                <a:gd name="T0" fmla="*/ 136 w 136"/>
                <a:gd name="T1" fmla="*/ 107 h 130"/>
                <a:gd name="T2" fmla="*/ 118 w 136"/>
                <a:gd name="T3" fmla="*/ 130 h 130"/>
                <a:gd name="T4" fmla="*/ 0 w 136"/>
                <a:gd name="T5" fmla="*/ 4 h 130"/>
                <a:gd name="T6" fmla="*/ 38 w 136"/>
                <a:gd name="T7" fmla="*/ 3 h 130"/>
                <a:gd name="T8" fmla="*/ 136 w 136"/>
                <a:gd name="T9" fmla="*/ 107 h 130"/>
              </a:gdLst>
              <a:ahLst/>
              <a:cxnLst>
                <a:cxn ang="0">
                  <a:pos x="T0" y="T1"/>
                </a:cxn>
                <a:cxn ang="0">
                  <a:pos x="T2" y="T3"/>
                </a:cxn>
                <a:cxn ang="0">
                  <a:pos x="T4" y="T5"/>
                </a:cxn>
                <a:cxn ang="0">
                  <a:pos x="T6" y="T7"/>
                </a:cxn>
                <a:cxn ang="0">
                  <a:pos x="T8" y="T9"/>
                </a:cxn>
              </a:cxnLst>
              <a:rect l="0" t="0" r="r" b="b"/>
              <a:pathLst>
                <a:path w="136" h="130">
                  <a:moveTo>
                    <a:pt x="136" y="107"/>
                  </a:moveTo>
                  <a:cubicBezTo>
                    <a:pt x="130" y="115"/>
                    <a:pt x="124" y="122"/>
                    <a:pt x="118" y="130"/>
                  </a:cubicBezTo>
                  <a:cubicBezTo>
                    <a:pt x="119" y="50"/>
                    <a:pt x="18" y="66"/>
                    <a:pt x="0" y="4"/>
                  </a:cubicBezTo>
                  <a:cubicBezTo>
                    <a:pt x="13" y="7"/>
                    <a:pt x="26" y="25"/>
                    <a:pt x="38" y="3"/>
                  </a:cubicBezTo>
                  <a:cubicBezTo>
                    <a:pt x="111" y="0"/>
                    <a:pt x="123" y="54"/>
                    <a:pt x="136" y="10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8" name="Freeform 167">
              <a:extLst>
                <a:ext uri="{FF2B5EF4-FFF2-40B4-BE49-F238E27FC236}">
                  <a16:creationId xmlns:a16="http://schemas.microsoft.com/office/drawing/2014/main" id="{DF2970CC-A246-4CFD-B857-DCC3DC2D6558}"/>
                </a:ext>
              </a:extLst>
            </p:cNvPr>
            <p:cNvSpPr>
              <a:spLocks/>
            </p:cNvSpPr>
            <p:nvPr/>
          </p:nvSpPr>
          <p:spPr bwMode="auto">
            <a:xfrm>
              <a:off x="4306738" y="4447019"/>
              <a:ext cx="59698" cy="84119"/>
            </a:xfrm>
            <a:custGeom>
              <a:avLst/>
              <a:gdLst>
                <a:gd name="T0" fmla="*/ 104 w 142"/>
                <a:gd name="T1" fmla="*/ 0 h 195"/>
                <a:gd name="T2" fmla="*/ 122 w 142"/>
                <a:gd name="T3" fmla="*/ 19 h 195"/>
                <a:gd name="T4" fmla="*/ 26 w 142"/>
                <a:gd name="T5" fmla="*/ 186 h 195"/>
                <a:gd name="T6" fmla="*/ 0 w 142"/>
                <a:gd name="T7" fmla="*/ 184 h 195"/>
                <a:gd name="T8" fmla="*/ 104 w 142"/>
                <a:gd name="T9" fmla="*/ 0 h 195"/>
              </a:gdLst>
              <a:ahLst/>
              <a:cxnLst>
                <a:cxn ang="0">
                  <a:pos x="T0" y="T1"/>
                </a:cxn>
                <a:cxn ang="0">
                  <a:pos x="T2" y="T3"/>
                </a:cxn>
                <a:cxn ang="0">
                  <a:pos x="T4" y="T5"/>
                </a:cxn>
                <a:cxn ang="0">
                  <a:pos x="T6" y="T7"/>
                </a:cxn>
                <a:cxn ang="0">
                  <a:pos x="T8" y="T9"/>
                </a:cxn>
              </a:cxnLst>
              <a:rect l="0" t="0" r="r" b="b"/>
              <a:pathLst>
                <a:path w="142" h="195">
                  <a:moveTo>
                    <a:pt x="104" y="0"/>
                  </a:moveTo>
                  <a:cubicBezTo>
                    <a:pt x="110" y="6"/>
                    <a:pt x="116" y="13"/>
                    <a:pt x="122" y="19"/>
                  </a:cubicBezTo>
                  <a:cubicBezTo>
                    <a:pt x="142" y="104"/>
                    <a:pt x="77" y="142"/>
                    <a:pt x="26" y="186"/>
                  </a:cubicBezTo>
                  <a:cubicBezTo>
                    <a:pt x="17" y="195"/>
                    <a:pt x="8" y="194"/>
                    <a:pt x="0" y="184"/>
                  </a:cubicBezTo>
                  <a:cubicBezTo>
                    <a:pt x="37" y="125"/>
                    <a:pt x="114" y="87"/>
                    <a:pt x="104"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9" name="Freeform 168">
              <a:extLst>
                <a:ext uri="{FF2B5EF4-FFF2-40B4-BE49-F238E27FC236}">
                  <a16:creationId xmlns:a16="http://schemas.microsoft.com/office/drawing/2014/main" id="{69B88A9B-1560-418A-9644-F6DBCA017BF0}"/>
                </a:ext>
              </a:extLst>
            </p:cNvPr>
            <p:cNvSpPr>
              <a:spLocks/>
            </p:cNvSpPr>
            <p:nvPr/>
          </p:nvSpPr>
          <p:spPr bwMode="auto">
            <a:xfrm>
              <a:off x="4268748" y="5179672"/>
              <a:ext cx="70552" cy="48844"/>
            </a:xfrm>
            <a:custGeom>
              <a:avLst/>
              <a:gdLst>
                <a:gd name="T0" fmla="*/ 170 w 170"/>
                <a:gd name="T1" fmla="*/ 38 h 114"/>
                <a:gd name="T2" fmla="*/ 0 w 170"/>
                <a:gd name="T3" fmla="*/ 82 h 114"/>
                <a:gd name="T4" fmla="*/ 136 w 170"/>
                <a:gd name="T5" fmla="*/ 0 h 114"/>
                <a:gd name="T6" fmla="*/ 153 w 170"/>
                <a:gd name="T7" fmla="*/ 3 h 114"/>
                <a:gd name="T8" fmla="*/ 170 w 170"/>
                <a:gd name="T9" fmla="*/ 38 h 114"/>
              </a:gdLst>
              <a:ahLst/>
              <a:cxnLst>
                <a:cxn ang="0">
                  <a:pos x="T0" y="T1"/>
                </a:cxn>
                <a:cxn ang="0">
                  <a:pos x="T2" y="T3"/>
                </a:cxn>
                <a:cxn ang="0">
                  <a:pos x="T4" y="T5"/>
                </a:cxn>
                <a:cxn ang="0">
                  <a:pos x="T6" y="T7"/>
                </a:cxn>
                <a:cxn ang="0">
                  <a:pos x="T8" y="T9"/>
                </a:cxn>
              </a:cxnLst>
              <a:rect l="0" t="0" r="r" b="b"/>
              <a:pathLst>
                <a:path w="170" h="114">
                  <a:moveTo>
                    <a:pt x="170" y="38"/>
                  </a:moveTo>
                  <a:cubicBezTo>
                    <a:pt x="128" y="82"/>
                    <a:pt x="82" y="114"/>
                    <a:pt x="0" y="82"/>
                  </a:cubicBezTo>
                  <a:cubicBezTo>
                    <a:pt x="55" y="50"/>
                    <a:pt x="130" y="76"/>
                    <a:pt x="136" y="0"/>
                  </a:cubicBezTo>
                  <a:cubicBezTo>
                    <a:pt x="142" y="1"/>
                    <a:pt x="148" y="2"/>
                    <a:pt x="153" y="3"/>
                  </a:cubicBezTo>
                  <a:cubicBezTo>
                    <a:pt x="164" y="12"/>
                    <a:pt x="165" y="26"/>
                    <a:pt x="170" y="3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0" name="Freeform 169">
              <a:extLst>
                <a:ext uri="{FF2B5EF4-FFF2-40B4-BE49-F238E27FC236}">
                  <a16:creationId xmlns:a16="http://schemas.microsoft.com/office/drawing/2014/main" id="{51C63BCD-81D7-4119-88E0-86A9B8B5453B}"/>
                </a:ext>
              </a:extLst>
            </p:cNvPr>
            <p:cNvSpPr>
              <a:spLocks/>
            </p:cNvSpPr>
            <p:nvPr/>
          </p:nvSpPr>
          <p:spPr bwMode="auto">
            <a:xfrm>
              <a:off x="4477690" y="5331629"/>
              <a:ext cx="94973" cy="29849"/>
            </a:xfrm>
            <a:custGeom>
              <a:avLst/>
              <a:gdLst>
                <a:gd name="T0" fmla="*/ 224 w 224"/>
                <a:gd name="T1" fmla="*/ 50 h 69"/>
                <a:gd name="T2" fmla="*/ 224 w 224"/>
                <a:gd name="T3" fmla="*/ 66 h 69"/>
                <a:gd name="T4" fmla="*/ 20 w 224"/>
                <a:gd name="T5" fmla="*/ 67 h 69"/>
                <a:gd name="T6" fmla="*/ 0 w 224"/>
                <a:gd name="T7" fmla="*/ 47 h 69"/>
                <a:gd name="T8" fmla="*/ 224 w 224"/>
                <a:gd name="T9" fmla="*/ 50 h 69"/>
              </a:gdLst>
              <a:ahLst/>
              <a:cxnLst>
                <a:cxn ang="0">
                  <a:pos x="T0" y="T1"/>
                </a:cxn>
                <a:cxn ang="0">
                  <a:pos x="T2" y="T3"/>
                </a:cxn>
                <a:cxn ang="0">
                  <a:pos x="T4" y="T5"/>
                </a:cxn>
                <a:cxn ang="0">
                  <a:pos x="T6" y="T7"/>
                </a:cxn>
                <a:cxn ang="0">
                  <a:pos x="T8" y="T9"/>
                </a:cxn>
              </a:cxnLst>
              <a:rect l="0" t="0" r="r" b="b"/>
              <a:pathLst>
                <a:path w="224" h="69">
                  <a:moveTo>
                    <a:pt x="224" y="50"/>
                  </a:moveTo>
                  <a:cubicBezTo>
                    <a:pt x="224" y="55"/>
                    <a:pt x="224" y="60"/>
                    <a:pt x="224" y="66"/>
                  </a:cubicBezTo>
                  <a:cubicBezTo>
                    <a:pt x="156" y="69"/>
                    <a:pt x="87" y="16"/>
                    <a:pt x="20" y="67"/>
                  </a:cubicBezTo>
                  <a:cubicBezTo>
                    <a:pt x="10" y="63"/>
                    <a:pt x="4" y="56"/>
                    <a:pt x="0" y="47"/>
                  </a:cubicBezTo>
                  <a:cubicBezTo>
                    <a:pt x="75" y="0"/>
                    <a:pt x="150" y="26"/>
                    <a:pt x="224" y="5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1" name="Freeform 170">
              <a:extLst>
                <a:ext uri="{FF2B5EF4-FFF2-40B4-BE49-F238E27FC236}">
                  <a16:creationId xmlns:a16="http://schemas.microsoft.com/office/drawing/2014/main" id="{72C255B0-BD82-464D-AB41-7EA53705B326}"/>
                </a:ext>
              </a:extLst>
            </p:cNvPr>
            <p:cNvSpPr>
              <a:spLocks/>
            </p:cNvSpPr>
            <p:nvPr/>
          </p:nvSpPr>
          <p:spPr bwMode="auto">
            <a:xfrm>
              <a:off x="5052958" y="4485008"/>
              <a:ext cx="70552" cy="35276"/>
            </a:xfrm>
            <a:custGeom>
              <a:avLst/>
              <a:gdLst>
                <a:gd name="T0" fmla="*/ 146 w 167"/>
                <a:gd name="T1" fmla="*/ 0 h 85"/>
                <a:gd name="T2" fmla="*/ 167 w 167"/>
                <a:gd name="T3" fmla="*/ 19 h 85"/>
                <a:gd name="T4" fmla="*/ 21 w 167"/>
                <a:gd name="T5" fmla="*/ 77 h 85"/>
                <a:gd name="T6" fmla="*/ 0 w 167"/>
                <a:gd name="T7" fmla="*/ 58 h 85"/>
                <a:gd name="T8" fmla="*/ 146 w 167"/>
                <a:gd name="T9" fmla="*/ 0 h 85"/>
              </a:gdLst>
              <a:ahLst/>
              <a:cxnLst>
                <a:cxn ang="0">
                  <a:pos x="T0" y="T1"/>
                </a:cxn>
                <a:cxn ang="0">
                  <a:pos x="T2" y="T3"/>
                </a:cxn>
                <a:cxn ang="0">
                  <a:pos x="T4" y="T5"/>
                </a:cxn>
                <a:cxn ang="0">
                  <a:pos x="T6" y="T7"/>
                </a:cxn>
                <a:cxn ang="0">
                  <a:pos x="T8" y="T9"/>
                </a:cxn>
              </a:cxnLst>
              <a:rect l="0" t="0" r="r" b="b"/>
              <a:pathLst>
                <a:path w="167" h="85">
                  <a:moveTo>
                    <a:pt x="146" y="0"/>
                  </a:moveTo>
                  <a:cubicBezTo>
                    <a:pt x="153" y="6"/>
                    <a:pt x="160" y="13"/>
                    <a:pt x="167" y="19"/>
                  </a:cubicBezTo>
                  <a:cubicBezTo>
                    <a:pt x="119" y="39"/>
                    <a:pt x="81" y="85"/>
                    <a:pt x="21" y="77"/>
                  </a:cubicBezTo>
                  <a:cubicBezTo>
                    <a:pt x="14" y="71"/>
                    <a:pt x="7" y="64"/>
                    <a:pt x="0" y="58"/>
                  </a:cubicBezTo>
                  <a:cubicBezTo>
                    <a:pt x="49" y="38"/>
                    <a:pt x="98" y="19"/>
                    <a:pt x="146"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2" name="Freeform 171">
              <a:extLst>
                <a:ext uri="{FF2B5EF4-FFF2-40B4-BE49-F238E27FC236}">
                  <a16:creationId xmlns:a16="http://schemas.microsoft.com/office/drawing/2014/main" id="{31063FFB-8873-4590-ACA2-FB23DADEF0DD}"/>
                </a:ext>
              </a:extLst>
            </p:cNvPr>
            <p:cNvSpPr>
              <a:spLocks/>
            </p:cNvSpPr>
            <p:nvPr/>
          </p:nvSpPr>
          <p:spPr bwMode="auto">
            <a:xfrm>
              <a:off x="4168348" y="5092839"/>
              <a:ext cx="78692" cy="48844"/>
            </a:xfrm>
            <a:custGeom>
              <a:avLst/>
              <a:gdLst>
                <a:gd name="T0" fmla="*/ 189 w 189"/>
                <a:gd name="T1" fmla="*/ 62 h 115"/>
                <a:gd name="T2" fmla="*/ 164 w 189"/>
                <a:gd name="T3" fmla="*/ 63 h 115"/>
                <a:gd name="T4" fmla="*/ 58 w 189"/>
                <a:gd name="T5" fmla="*/ 114 h 115"/>
                <a:gd name="T6" fmla="*/ 0 w 189"/>
                <a:gd name="T7" fmla="*/ 83 h 115"/>
                <a:gd name="T8" fmla="*/ 4 w 189"/>
                <a:gd name="T9" fmla="*/ 42 h 115"/>
                <a:gd name="T10" fmla="*/ 21 w 189"/>
                <a:gd name="T11" fmla="*/ 42 h 115"/>
                <a:gd name="T12" fmla="*/ 111 w 189"/>
                <a:gd name="T13" fmla="*/ 49 h 115"/>
                <a:gd name="T14" fmla="*/ 189 w 189"/>
                <a:gd name="T15" fmla="*/ 62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15">
                  <a:moveTo>
                    <a:pt x="189" y="62"/>
                  </a:moveTo>
                  <a:cubicBezTo>
                    <a:pt x="181" y="62"/>
                    <a:pt x="172" y="63"/>
                    <a:pt x="164" y="63"/>
                  </a:cubicBezTo>
                  <a:cubicBezTo>
                    <a:pt x="138" y="100"/>
                    <a:pt x="102" y="115"/>
                    <a:pt x="58" y="114"/>
                  </a:cubicBezTo>
                  <a:cubicBezTo>
                    <a:pt x="34" y="112"/>
                    <a:pt x="13" y="105"/>
                    <a:pt x="0" y="83"/>
                  </a:cubicBezTo>
                  <a:cubicBezTo>
                    <a:pt x="2" y="70"/>
                    <a:pt x="3" y="56"/>
                    <a:pt x="4" y="42"/>
                  </a:cubicBezTo>
                  <a:cubicBezTo>
                    <a:pt x="10" y="33"/>
                    <a:pt x="15" y="33"/>
                    <a:pt x="21" y="42"/>
                  </a:cubicBezTo>
                  <a:cubicBezTo>
                    <a:pt x="49" y="74"/>
                    <a:pt x="78" y="57"/>
                    <a:pt x="111" y="49"/>
                  </a:cubicBezTo>
                  <a:cubicBezTo>
                    <a:pt x="134" y="44"/>
                    <a:pt x="174" y="0"/>
                    <a:pt x="189" y="6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3" name="Freeform 172">
              <a:extLst>
                <a:ext uri="{FF2B5EF4-FFF2-40B4-BE49-F238E27FC236}">
                  <a16:creationId xmlns:a16="http://schemas.microsoft.com/office/drawing/2014/main" id="{0B5C0818-A040-4BA4-80AD-DDE25D618803}"/>
                </a:ext>
              </a:extLst>
            </p:cNvPr>
            <p:cNvSpPr>
              <a:spLocks/>
            </p:cNvSpPr>
            <p:nvPr/>
          </p:nvSpPr>
          <p:spPr bwMode="auto">
            <a:xfrm>
              <a:off x="4276889" y="4740080"/>
              <a:ext cx="48843" cy="54271"/>
            </a:xfrm>
            <a:custGeom>
              <a:avLst/>
              <a:gdLst>
                <a:gd name="T0" fmla="*/ 50 w 121"/>
                <a:gd name="T1" fmla="*/ 100 h 124"/>
                <a:gd name="T2" fmla="*/ 9 w 121"/>
                <a:gd name="T3" fmla="*/ 21 h 124"/>
                <a:gd name="T4" fmla="*/ 2 w 121"/>
                <a:gd name="T5" fmla="*/ 7 h 124"/>
                <a:gd name="T6" fmla="*/ 9 w 121"/>
                <a:gd name="T7" fmla="*/ 0 h 124"/>
                <a:gd name="T8" fmla="*/ 69 w 121"/>
                <a:gd name="T9" fmla="*/ 121 h 124"/>
                <a:gd name="T10" fmla="*/ 50 w 121"/>
                <a:gd name="T11" fmla="*/ 100 h 124"/>
              </a:gdLst>
              <a:ahLst/>
              <a:cxnLst>
                <a:cxn ang="0">
                  <a:pos x="T0" y="T1"/>
                </a:cxn>
                <a:cxn ang="0">
                  <a:pos x="T2" y="T3"/>
                </a:cxn>
                <a:cxn ang="0">
                  <a:pos x="T4" y="T5"/>
                </a:cxn>
                <a:cxn ang="0">
                  <a:pos x="T6" y="T7"/>
                </a:cxn>
                <a:cxn ang="0">
                  <a:pos x="T8" y="T9"/>
                </a:cxn>
                <a:cxn ang="0">
                  <a:pos x="T10" y="T11"/>
                </a:cxn>
              </a:cxnLst>
              <a:rect l="0" t="0" r="r" b="b"/>
              <a:pathLst>
                <a:path w="121" h="124">
                  <a:moveTo>
                    <a:pt x="50" y="100"/>
                  </a:moveTo>
                  <a:cubicBezTo>
                    <a:pt x="76" y="53"/>
                    <a:pt x="41" y="38"/>
                    <a:pt x="9" y="21"/>
                  </a:cubicBezTo>
                  <a:cubicBezTo>
                    <a:pt x="2" y="16"/>
                    <a:pt x="0" y="12"/>
                    <a:pt x="2" y="7"/>
                  </a:cubicBezTo>
                  <a:cubicBezTo>
                    <a:pt x="5" y="2"/>
                    <a:pt x="7" y="0"/>
                    <a:pt x="9" y="0"/>
                  </a:cubicBezTo>
                  <a:cubicBezTo>
                    <a:pt x="108" y="1"/>
                    <a:pt x="121" y="45"/>
                    <a:pt x="69" y="121"/>
                  </a:cubicBezTo>
                  <a:cubicBezTo>
                    <a:pt x="51" y="124"/>
                    <a:pt x="40" y="122"/>
                    <a:pt x="50" y="10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4" name="Freeform 173">
              <a:extLst>
                <a:ext uri="{FF2B5EF4-FFF2-40B4-BE49-F238E27FC236}">
                  <a16:creationId xmlns:a16="http://schemas.microsoft.com/office/drawing/2014/main" id="{8509FC5E-3C41-40A2-971C-C5EA3C78836F}"/>
                </a:ext>
              </a:extLst>
            </p:cNvPr>
            <p:cNvSpPr>
              <a:spLocks/>
            </p:cNvSpPr>
            <p:nvPr/>
          </p:nvSpPr>
          <p:spPr bwMode="auto">
            <a:xfrm>
              <a:off x="4390857" y="5239369"/>
              <a:ext cx="54271" cy="62411"/>
            </a:xfrm>
            <a:custGeom>
              <a:avLst/>
              <a:gdLst>
                <a:gd name="T0" fmla="*/ 104 w 125"/>
                <a:gd name="T1" fmla="*/ 148 h 148"/>
                <a:gd name="T2" fmla="*/ 0 w 125"/>
                <a:gd name="T3" fmla="*/ 0 h 148"/>
                <a:gd name="T4" fmla="*/ 105 w 125"/>
                <a:gd name="T5" fmla="*/ 122 h 148"/>
                <a:gd name="T6" fmla="*/ 104 w 125"/>
                <a:gd name="T7" fmla="*/ 148 h 148"/>
              </a:gdLst>
              <a:ahLst/>
              <a:cxnLst>
                <a:cxn ang="0">
                  <a:pos x="T0" y="T1"/>
                </a:cxn>
                <a:cxn ang="0">
                  <a:pos x="T2" y="T3"/>
                </a:cxn>
                <a:cxn ang="0">
                  <a:pos x="T4" y="T5"/>
                </a:cxn>
                <a:cxn ang="0">
                  <a:pos x="T6" y="T7"/>
                </a:cxn>
              </a:cxnLst>
              <a:rect l="0" t="0" r="r" b="b"/>
              <a:pathLst>
                <a:path w="125" h="148">
                  <a:moveTo>
                    <a:pt x="104" y="148"/>
                  </a:moveTo>
                  <a:cubicBezTo>
                    <a:pt x="100" y="77"/>
                    <a:pt x="38" y="47"/>
                    <a:pt x="0" y="0"/>
                  </a:cubicBezTo>
                  <a:cubicBezTo>
                    <a:pt x="62" y="18"/>
                    <a:pt x="125" y="34"/>
                    <a:pt x="105" y="122"/>
                  </a:cubicBezTo>
                  <a:cubicBezTo>
                    <a:pt x="111" y="131"/>
                    <a:pt x="111" y="139"/>
                    <a:pt x="104" y="14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5" name="Freeform 174">
              <a:extLst>
                <a:ext uri="{FF2B5EF4-FFF2-40B4-BE49-F238E27FC236}">
                  <a16:creationId xmlns:a16="http://schemas.microsoft.com/office/drawing/2014/main" id="{01F589F4-B0F9-48BD-AA8E-C7529E0A33A0}"/>
                </a:ext>
              </a:extLst>
            </p:cNvPr>
            <p:cNvSpPr>
              <a:spLocks/>
            </p:cNvSpPr>
            <p:nvPr/>
          </p:nvSpPr>
          <p:spPr bwMode="auto">
            <a:xfrm>
              <a:off x="4692058" y="5271932"/>
              <a:ext cx="43416" cy="54271"/>
            </a:xfrm>
            <a:custGeom>
              <a:avLst/>
              <a:gdLst>
                <a:gd name="T0" fmla="*/ 103 w 106"/>
                <a:gd name="T1" fmla="*/ 0 h 125"/>
                <a:gd name="T2" fmla="*/ 106 w 106"/>
                <a:gd name="T3" fmla="*/ 27 h 125"/>
                <a:gd name="T4" fmla="*/ 3 w 106"/>
                <a:gd name="T5" fmla="*/ 125 h 125"/>
                <a:gd name="T6" fmla="*/ 43 w 106"/>
                <a:gd name="T7" fmla="*/ 64 h 125"/>
                <a:gd name="T8" fmla="*/ 103 w 106"/>
                <a:gd name="T9" fmla="*/ 0 h 125"/>
              </a:gdLst>
              <a:ahLst/>
              <a:cxnLst>
                <a:cxn ang="0">
                  <a:pos x="T0" y="T1"/>
                </a:cxn>
                <a:cxn ang="0">
                  <a:pos x="T2" y="T3"/>
                </a:cxn>
                <a:cxn ang="0">
                  <a:pos x="T4" y="T5"/>
                </a:cxn>
                <a:cxn ang="0">
                  <a:pos x="T6" y="T7"/>
                </a:cxn>
                <a:cxn ang="0">
                  <a:pos x="T8" y="T9"/>
                </a:cxn>
              </a:cxnLst>
              <a:rect l="0" t="0" r="r" b="b"/>
              <a:pathLst>
                <a:path w="106" h="125">
                  <a:moveTo>
                    <a:pt x="103" y="0"/>
                  </a:moveTo>
                  <a:cubicBezTo>
                    <a:pt x="104" y="9"/>
                    <a:pt x="105" y="18"/>
                    <a:pt x="106" y="27"/>
                  </a:cubicBezTo>
                  <a:cubicBezTo>
                    <a:pt x="92" y="81"/>
                    <a:pt x="57" y="114"/>
                    <a:pt x="3" y="125"/>
                  </a:cubicBezTo>
                  <a:cubicBezTo>
                    <a:pt x="0" y="94"/>
                    <a:pt x="34" y="87"/>
                    <a:pt x="43" y="64"/>
                  </a:cubicBezTo>
                  <a:cubicBezTo>
                    <a:pt x="63" y="42"/>
                    <a:pt x="83" y="21"/>
                    <a:pt x="103"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6" name="Freeform 175">
              <a:extLst>
                <a:ext uri="{FF2B5EF4-FFF2-40B4-BE49-F238E27FC236}">
                  <a16:creationId xmlns:a16="http://schemas.microsoft.com/office/drawing/2014/main" id="{7EB75D85-5789-435B-A188-A3D7B4109392}"/>
                </a:ext>
              </a:extLst>
            </p:cNvPr>
            <p:cNvSpPr>
              <a:spLocks/>
            </p:cNvSpPr>
            <p:nvPr/>
          </p:nvSpPr>
          <p:spPr bwMode="auto">
            <a:xfrm>
              <a:off x="4407138" y="5356051"/>
              <a:ext cx="43416" cy="35276"/>
            </a:xfrm>
            <a:custGeom>
              <a:avLst/>
              <a:gdLst>
                <a:gd name="T0" fmla="*/ 0 w 99"/>
                <a:gd name="T1" fmla="*/ 71 h 82"/>
                <a:gd name="T2" fmla="*/ 65 w 99"/>
                <a:gd name="T3" fmla="*/ 12 h 82"/>
                <a:gd name="T4" fmla="*/ 87 w 99"/>
                <a:gd name="T5" fmla="*/ 54 h 82"/>
                <a:gd name="T6" fmla="*/ 24 w 99"/>
                <a:gd name="T7" fmla="*/ 72 h 82"/>
                <a:gd name="T8" fmla="*/ 0 w 99"/>
                <a:gd name="T9" fmla="*/ 71 h 82"/>
              </a:gdLst>
              <a:ahLst/>
              <a:cxnLst>
                <a:cxn ang="0">
                  <a:pos x="T0" y="T1"/>
                </a:cxn>
                <a:cxn ang="0">
                  <a:pos x="T2" y="T3"/>
                </a:cxn>
                <a:cxn ang="0">
                  <a:pos x="T4" y="T5"/>
                </a:cxn>
                <a:cxn ang="0">
                  <a:pos x="T6" y="T7"/>
                </a:cxn>
                <a:cxn ang="0">
                  <a:pos x="T8" y="T9"/>
                </a:cxn>
              </a:cxnLst>
              <a:rect l="0" t="0" r="r" b="b"/>
              <a:pathLst>
                <a:path w="99" h="82">
                  <a:moveTo>
                    <a:pt x="0" y="71"/>
                  </a:moveTo>
                  <a:cubicBezTo>
                    <a:pt x="1" y="28"/>
                    <a:pt x="14" y="0"/>
                    <a:pt x="65" y="12"/>
                  </a:cubicBezTo>
                  <a:cubicBezTo>
                    <a:pt x="81" y="22"/>
                    <a:pt x="99" y="30"/>
                    <a:pt x="87" y="54"/>
                  </a:cubicBezTo>
                  <a:cubicBezTo>
                    <a:pt x="71" y="76"/>
                    <a:pt x="46" y="68"/>
                    <a:pt x="24" y="72"/>
                  </a:cubicBezTo>
                  <a:cubicBezTo>
                    <a:pt x="15" y="82"/>
                    <a:pt x="7" y="81"/>
                    <a:pt x="0" y="7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7" name="Freeform 176">
              <a:extLst>
                <a:ext uri="{FF2B5EF4-FFF2-40B4-BE49-F238E27FC236}">
                  <a16:creationId xmlns:a16="http://schemas.microsoft.com/office/drawing/2014/main" id="{4C41DFE6-E5B7-4E49-A6FF-A1A1AC3231D5}"/>
                </a:ext>
              </a:extLst>
            </p:cNvPr>
            <p:cNvSpPr>
              <a:spLocks/>
            </p:cNvSpPr>
            <p:nvPr/>
          </p:nvSpPr>
          <p:spPr bwMode="auto">
            <a:xfrm>
              <a:off x="4464122" y="5353337"/>
              <a:ext cx="27135" cy="43416"/>
            </a:xfrm>
            <a:custGeom>
              <a:avLst/>
              <a:gdLst>
                <a:gd name="T0" fmla="*/ 34 w 63"/>
                <a:gd name="T1" fmla="*/ 0 h 109"/>
                <a:gd name="T2" fmla="*/ 54 w 63"/>
                <a:gd name="T3" fmla="*/ 20 h 109"/>
                <a:gd name="T4" fmla="*/ 30 w 63"/>
                <a:gd name="T5" fmla="*/ 100 h 109"/>
                <a:gd name="T6" fmla="*/ 8 w 63"/>
                <a:gd name="T7" fmla="*/ 100 h 109"/>
                <a:gd name="T8" fmla="*/ 34 w 63"/>
                <a:gd name="T9" fmla="*/ 0 h 109"/>
              </a:gdLst>
              <a:ahLst/>
              <a:cxnLst>
                <a:cxn ang="0">
                  <a:pos x="T0" y="T1"/>
                </a:cxn>
                <a:cxn ang="0">
                  <a:pos x="T2" y="T3"/>
                </a:cxn>
                <a:cxn ang="0">
                  <a:pos x="T4" y="T5"/>
                </a:cxn>
                <a:cxn ang="0">
                  <a:pos x="T6" y="T7"/>
                </a:cxn>
                <a:cxn ang="0">
                  <a:pos x="T8" y="T9"/>
                </a:cxn>
              </a:cxnLst>
              <a:rect l="0" t="0" r="r" b="b"/>
              <a:pathLst>
                <a:path w="63" h="109">
                  <a:moveTo>
                    <a:pt x="34" y="0"/>
                  </a:moveTo>
                  <a:cubicBezTo>
                    <a:pt x="41" y="7"/>
                    <a:pt x="47" y="13"/>
                    <a:pt x="54" y="20"/>
                  </a:cubicBezTo>
                  <a:cubicBezTo>
                    <a:pt x="49" y="48"/>
                    <a:pt x="63" y="81"/>
                    <a:pt x="30" y="100"/>
                  </a:cubicBezTo>
                  <a:cubicBezTo>
                    <a:pt x="23" y="109"/>
                    <a:pt x="15" y="109"/>
                    <a:pt x="8" y="100"/>
                  </a:cubicBezTo>
                  <a:cubicBezTo>
                    <a:pt x="20" y="68"/>
                    <a:pt x="0" y="26"/>
                    <a:pt x="34"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8" name="Freeform 177">
              <a:extLst>
                <a:ext uri="{FF2B5EF4-FFF2-40B4-BE49-F238E27FC236}">
                  <a16:creationId xmlns:a16="http://schemas.microsoft.com/office/drawing/2014/main" id="{8A62FCB4-DDED-42F0-8DA2-FC87B07A05AA}"/>
                </a:ext>
              </a:extLst>
            </p:cNvPr>
            <p:cNvSpPr>
              <a:spLocks/>
            </p:cNvSpPr>
            <p:nvPr/>
          </p:nvSpPr>
          <p:spPr bwMode="auto">
            <a:xfrm>
              <a:off x="4415279" y="5394040"/>
              <a:ext cx="62411" cy="40703"/>
            </a:xfrm>
            <a:custGeom>
              <a:avLst/>
              <a:gdLst>
                <a:gd name="T0" fmla="*/ 128 w 150"/>
                <a:gd name="T1" fmla="*/ 0 h 97"/>
                <a:gd name="T2" fmla="*/ 150 w 150"/>
                <a:gd name="T3" fmla="*/ 0 h 97"/>
                <a:gd name="T4" fmla="*/ 9 w 150"/>
                <a:gd name="T5" fmla="*/ 81 h 97"/>
                <a:gd name="T6" fmla="*/ 2 w 150"/>
                <a:gd name="T7" fmla="*/ 68 h 97"/>
                <a:gd name="T8" fmla="*/ 8 w 150"/>
                <a:gd name="T9" fmla="*/ 61 h 97"/>
                <a:gd name="T10" fmla="*/ 128 w 150"/>
                <a:gd name="T11" fmla="*/ 0 h 97"/>
              </a:gdLst>
              <a:ahLst/>
              <a:cxnLst>
                <a:cxn ang="0">
                  <a:pos x="T0" y="T1"/>
                </a:cxn>
                <a:cxn ang="0">
                  <a:pos x="T2" y="T3"/>
                </a:cxn>
                <a:cxn ang="0">
                  <a:pos x="T4" y="T5"/>
                </a:cxn>
                <a:cxn ang="0">
                  <a:pos x="T6" y="T7"/>
                </a:cxn>
                <a:cxn ang="0">
                  <a:pos x="T8" y="T9"/>
                </a:cxn>
                <a:cxn ang="0">
                  <a:pos x="T10" y="T11"/>
                </a:cxn>
              </a:cxnLst>
              <a:rect l="0" t="0" r="r" b="b"/>
              <a:pathLst>
                <a:path w="150" h="97">
                  <a:moveTo>
                    <a:pt x="128" y="0"/>
                  </a:moveTo>
                  <a:cubicBezTo>
                    <a:pt x="135" y="0"/>
                    <a:pt x="143" y="0"/>
                    <a:pt x="150" y="0"/>
                  </a:cubicBezTo>
                  <a:cubicBezTo>
                    <a:pt x="119" y="56"/>
                    <a:pt x="81" y="97"/>
                    <a:pt x="9" y="81"/>
                  </a:cubicBezTo>
                  <a:cubicBezTo>
                    <a:pt x="3" y="77"/>
                    <a:pt x="0" y="73"/>
                    <a:pt x="2" y="68"/>
                  </a:cubicBezTo>
                  <a:cubicBezTo>
                    <a:pt x="4" y="64"/>
                    <a:pt x="6" y="61"/>
                    <a:pt x="8" y="61"/>
                  </a:cubicBezTo>
                  <a:cubicBezTo>
                    <a:pt x="66" y="76"/>
                    <a:pt x="89" y="22"/>
                    <a:pt x="128"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9" name="Freeform 178">
              <a:extLst>
                <a:ext uri="{FF2B5EF4-FFF2-40B4-BE49-F238E27FC236}">
                  <a16:creationId xmlns:a16="http://schemas.microsoft.com/office/drawing/2014/main" id="{92595363-2FD0-41D3-A932-0D5C888148D1}"/>
                </a:ext>
              </a:extLst>
            </p:cNvPr>
            <p:cNvSpPr>
              <a:spLocks/>
            </p:cNvSpPr>
            <p:nvPr/>
          </p:nvSpPr>
          <p:spPr bwMode="auto">
            <a:xfrm>
              <a:off x="4331159" y="5174245"/>
              <a:ext cx="51557" cy="40703"/>
            </a:xfrm>
            <a:custGeom>
              <a:avLst/>
              <a:gdLst>
                <a:gd name="T0" fmla="*/ 17 w 124"/>
                <a:gd name="T1" fmla="*/ 54 h 98"/>
                <a:gd name="T2" fmla="*/ 0 w 124"/>
                <a:gd name="T3" fmla="*/ 19 h 98"/>
                <a:gd name="T4" fmla="*/ 124 w 124"/>
                <a:gd name="T5" fmla="*/ 77 h 98"/>
                <a:gd name="T6" fmla="*/ 17 w 124"/>
                <a:gd name="T7" fmla="*/ 54 h 98"/>
              </a:gdLst>
              <a:ahLst/>
              <a:cxnLst>
                <a:cxn ang="0">
                  <a:pos x="T0" y="T1"/>
                </a:cxn>
                <a:cxn ang="0">
                  <a:pos x="T2" y="T3"/>
                </a:cxn>
                <a:cxn ang="0">
                  <a:pos x="T4" y="T5"/>
                </a:cxn>
                <a:cxn ang="0">
                  <a:pos x="T6" y="T7"/>
                </a:cxn>
              </a:cxnLst>
              <a:rect l="0" t="0" r="r" b="b"/>
              <a:pathLst>
                <a:path w="124" h="98">
                  <a:moveTo>
                    <a:pt x="17" y="54"/>
                  </a:moveTo>
                  <a:cubicBezTo>
                    <a:pt x="12" y="43"/>
                    <a:pt x="6" y="31"/>
                    <a:pt x="0" y="19"/>
                  </a:cubicBezTo>
                  <a:cubicBezTo>
                    <a:pt x="59" y="0"/>
                    <a:pt x="92" y="38"/>
                    <a:pt x="124" y="77"/>
                  </a:cubicBezTo>
                  <a:cubicBezTo>
                    <a:pt x="82" y="98"/>
                    <a:pt x="57" y="39"/>
                    <a:pt x="17" y="5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0" name="Freeform 179">
              <a:extLst>
                <a:ext uri="{FF2B5EF4-FFF2-40B4-BE49-F238E27FC236}">
                  <a16:creationId xmlns:a16="http://schemas.microsoft.com/office/drawing/2014/main" id="{1BC855F3-08B5-4F96-BB41-140D53039F7F}"/>
                </a:ext>
              </a:extLst>
            </p:cNvPr>
            <p:cNvSpPr>
              <a:spLocks/>
            </p:cNvSpPr>
            <p:nvPr/>
          </p:nvSpPr>
          <p:spPr bwMode="auto">
            <a:xfrm>
              <a:off x="4203624" y="4835054"/>
              <a:ext cx="24422" cy="70552"/>
            </a:xfrm>
            <a:custGeom>
              <a:avLst/>
              <a:gdLst>
                <a:gd name="T0" fmla="*/ 0 w 59"/>
                <a:gd name="T1" fmla="*/ 171 h 171"/>
                <a:gd name="T2" fmla="*/ 42 w 59"/>
                <a:gd name="T3" fmla="*/ 0 h 171"/>
                <a:gd name="T4" fmla="*/ 0 w 59"/>
                <a:gd name="T5" fmla="*/ 171 h 171"/>
              </a:gdLst>
              <a:ahLst/>
              <a:cxnLst>
                <a:cxn ang="0">
                  <a:pos x="T0" y="T1"/>
                </a:cxn>
                <a:cxn ang="0">
                  <a:pos x="T2" y="T3"/>
                </a:cxn>
                <a:cxn ang="0">
                  <a:pos x="T4" y="T5"/>
                </a:cxn>
              </a:cxnLst>
              <a:rect l="0" t="0" r="r" b="b"/>
              <a:pathLst>
                <a:path w="59" h="171">
                  <a:moveTo>
                    <a:pt x="0" y="171"/>
                  </a:moveTo>
                  <a:cubicBezTo>
                    <a:pt x="7" y="112"/>
                    <a:pt x="12" y="53"/>
                    <a:pt x="42" y="0"/>
                  </a:cubicBezTo>
                  <a:cubicBezTo>
                    <a:pt x="49" y="62"/>
                    <a:pt x="59" y="125"/>
                    <a:pt x="0" y="17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1" name="Freeform 180">
              <a:extLst>
                <a:ext uri="{FF2B5EF4-FFF2-40B4-BE49-F238E27FC236}">
                  <a16:creationId xmlns:a16="http://schemas.microsoft.com/office/drawing/2014/main" id="{D28C4F1D-9A96-4DEC-B7C6-FD3170AB2227}"/>
                </a:ext>
              </a:extLst>
            </p:cNvPr>
            <p:cNvSpPr>
              <a:spLocks/>
            </p:cNvSpPr>
            <p:nvPr/>
          </p:nvSpPr>
          <p:spPr bwMode="auto">
            <a:xfrm>
              <a:off x="4255181" y="4715658"/>
              <a:ext cx="40703" cy="35276"/>
            </a:xfrm>
            <a:custGeom>
              <a:avLst/>
              <a:gdLst>
                <a:gd name="T0" fmla="*/ 57 w 95"/>
                <a:gd name="T1" fmla="*/ 64 h 87"/>
                <a:gd name="T2" fmla="*/ 57 w 95"/>
                <a:gd name="T3" fmla="*/ 85 h 87"/>
                <a:gd name="T4" fmla="*/ 0 w 95"/>
                <a:gd name="T5" fmla="*/ 56 h 87"/>
                <a:gd name="T6" fmla="*/ 84 w 95"/>
                <a:gd name="T7" fmla="*/ 2 h 87"/>
                <a:gd name="T8" fmla="*/ 95 w 95"/>
                <a:gd name="T9" fmla="*/ 0 h 87"/>
                <a:gd name="T10" fmla="*/ 50 w 95"/>
                <a:gd name="T11" fmla="*/ 44 h 87"/>
                <a:gd name="T12" fmla="*/ 57 w 95"/>
                <a:gd name="T13" fmla="*/ 64 h 87"/>
              </a:gdLst>
              <a:ahLst/>
              <a:cxnLst>
                <a:cxn ang="0">
                  <a:pos x="T0" y="T1"/>
                </a:cxn>
                <a:cxn ang="0">
                  <a:pos x="T2" y="T3"/>
                </a:cxn>
                <a:cxn ang="0">
                  <a:pos x="T4" y="T5"/>
                </a:cxn>
                <a:cxn ang="0">
                  <a:pos x="T6" y="T7"/>
                </a:cxn>
                <a:cxn ang="0">
                  <a:pos x="T8" y="T9"/>
                </a:cxn>
                <a:cxn ang="0">
                  <a:pos x="T10" y="T11"/>
                </a:cxn>
                <a:cxn ang="0">
                  <a:pos x="T12" y="T13"/>
                </a:cxn>
              </a:cxnLst>
              <a:rect l="0" t="0" r="r" b="b"/>
              <a:pathLst>
                <a:path w="95" h="87">
                  <a:moveTo>
                    <a:pt x="57" y="64"/>
                  </a:moveTo>
                  <a:cubicBezTo>
                    <a:pt x="57" y="71"/>
                    <a:pt x="57" y="78"/>
                    <a:pt x="57" y="85"/>
                  </a:cubicBezTo>
                  <a:cubicBezTo>
                    <a:pt x="34" y="82"/>
                    <a:pt x="0" y="87"/>
                    <a:pt x="0" y="56"/>
                  </a:cubicBezTo>
                  <a:cubicBezTo>
                    <a:pt x="1" y="3"/>
                    <a:pt x="59" y="24"/>
                    <a:pt x="84" y="2"/>
                  </a:cubicBezTo>
                  <a:cubicBezTo>
                    <a:pt x="88" y="1"/>
                    <a:pt x="91" y="0"/>
                    <a:pt x="95" y="0"/>
                  </a:cubicBezTo>
                  <a:cubicBezTo>
                    <a:pt x="88" y="23"/>
                    <a:pt x="73" y="34"/>
                    <a:pt x="50" y="44"/>
                  </a:cubicBezTo>
                  <a:cubicBezTo>
                    <a:pt x="14" y="60"/>
                    <a:pt x="52" y="58"/>
                    <a:pt x="57" y="6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2" name="Freeform 181">
              <a:extLst>
                <a:ext uri="{FF2B5EF4-FFF2-40B4-BE49-F238E27FC236}">
                  <a16:creationId xmlns:a16="http://schemas.microsoft.com/office/drawing/2014/main" id="{DB7D8AF0-A1D6-4FEC-A7D1-24ED2B21E303}"/>
                </a:ext>
              </a:extLst>
            </p:cNvPr>
            <p:cNvSpPr>
              <a:spLocks/>
            </p:cNvSpPr>
            <p:nvPr/>
          </p:nvSpPr>
          <p:spPr bwMode="auto">
            <a:xfrm>
              <a:off x="4285029" y="4783497"/>
              <a:ext cx="18995" cy="48844"/>
            </a:xfrm>
            <a:custGeom>
              <a:avLst/>
              <a:gdLst>
                <a:gd name="T0" fmla="*/ 31 w 50"/>
                <a:gd name="T1" fmla="*/ 0 h 116"/>
                <a:gd name="T2" fmla="*/ 50 w 50"/>
                <a:gd name="T3" fmla="*/ 21 h 116"/>
                <a:gd name="T4" fmla="*/ 50 w 50"/>
                <a:gd name="T5" fmla="*/ 105 h 116"/>
                <a:gd name="T6" fmla="*/ 10 w 50"/>
                <a:gd name="T7" fmla="*/ 103 h 116"/>
                <a:gd name="T8" fmla="*/ 31 w 50"/>
                <a:gd name="T9" fmla="*/ 0 h 116"/>
              </a:gdLst>
              <a:ahLst/>
              <a:cxnLst>
                <a:cxn ang="0">
                  <a:pos x="T0" y="T1"/>
                </a:cxn>
                <a:cxn ang="0">
                  <a:pos x="T2" y="T3"/>
                </a:cxn>
                <a:cxn ang="0">
                  <a:pos x="T4" y="T5"/>
                </a:cxn>
                <a:cxn ang="0">
                  <a:pos x="T6" y="T7"/>
                </a:cxn>
                <a:cxn ang="0">
                  <a:pos x="T8" y="T9"/>
                </a:cxn>
              </a:cxnLst>
              <a:rect l="0" t="0" r="r" b="b"/>
              <a:pathLst>
                <a:path w="50" h="116">
                  <a:moveTo>
                    <a:pt x="31" y="0"/>
                  </a:moveTo>
                  <a:cubicBezTo>
                    <a:pt x="37" y="7"/>
                    <a:pt x="44" y="14"/>
                    <a:pt x="50" y="21"/>
                  </a:cubicBezTo>
                  <a:cubicBezTo>
                    <a:pt x="50" y="49"/>
                    <a:pt x="50" y="77"/>
                    <a:pt x="50" y="105"/>
                  </a:cubicBezTo>
                  <a:cubicBezTo>
                    <a:pt x="36" y="115"/>
                    <a:pt x="23" y="116"/>
                    <a:pt x="10" y="103"/>
                  </a:cubicBezTo>
                  <a:cubicBezTo>
                    <a:pt x="18" y="69"/>
                    <a:pt x="0" y="29"/>
                    <a:pt x="31"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3" name="Freeform 182">
              <a:extLst>
                <a:ext uri="{FF2B5EF4-FFF2-40B4-BE49-F238E27FC236}">
                  <a16:creationId xmlns:a16="http://schemas.microsoft.com/office/drawing/2014/main" id="{03EA5A85-29DA-4C22-BC3B-3FDB4A824F11}"/>
                </a:ext>
              </a:extLst>
            </p:cNvPr>
            <p:cNvSpPr>
              <a:spLocks/>
            </p:cNvSpPr>
            <p:nvPr/>
          </p:nvSpPr>
          <p:spPr bwMode="auto">
            <a:xfrm>
              <a:off x="4388143" y="5385900"/>
              <a:ext cx="29849" cy="40703"/>
            </a:xfrm>
            <a:custGeom>
              <a:avLst/>
              <a:gdLst>
                <a:gd name="T0" fmla="*/ 72 w 73"/>
                <a:gd name="T1" fmla="*/ 81 h 101"/>
                <a:gd name="T2" fmla="*/ 73 w 73"/>
                <a:gd name="T3" fmla="*/ 101 h 101"/>
                <a:gd name="T4" fmla="*/ 9 w 73"/>
                <a:gd name="T5" fmla="*/ 26 h 101"/>
                <a:gd name="T6" fmla="*/ 3 w 73"/>
                <a:gd name="T7" fmla="*/ 11 h 101"/>
                <a:gd name="T8" fmla="*/ 10 w 73"/>
                <a:gd name="T9" fmla="*/ 3 h 101"/>
                <a:gd name="T10" fmla="*/ 49 w 73"/>
                <a:gd name="T11" fmla="*/ 0 h 101"/>
                <a:gd name="T12" fmla="*/ 73 w 73"/>
                <a:gd name="T13" fmla="*/ 1 h 101"/>
                <a:gd name="T14" fmla="*/ 72 w 73"/>
                <a:gd name="T15" fmla="*/ 8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01">
                  <a:moveTo>
                    <a:pt x="72" y="81"/>
                  </a:moveTo>
                  <a:cubicBezTo>
                    <a:pt x="72" y="88"/>
                    <a:pt x="73" y="95"/>
                    <a:pt x="73" y="101"/>
                  </a:cubicBezTo>
                  <a:cubicBezTo>
                    <a:pt x="34" y="91"/>
                    <a:pt x="28" y="53"/>
                    <a:pt x="9" y="26"/>
                  </a:cubicBezTo>
                  <a:cubicBezTo>
                    <a:pt x="3" y="21"/>
                    <a:pt x="0" y="16"/>
                    <a:pt x="3" y="11"/>
                  </a:cubicBezTo>
                  <a:cubicBezTo>
                    <a:pt x="5" y="6"/>
                    <a:pt x="8" y="3"/>
                    <a:pt x="10" y="3"/>
                  </a:cubicBezTo>
                  <a:cubicBezTo>
                    <a:pt x="23" y="2"/>
                    <a:pt x="36" y="1"/>
                    <a:pt x="49" y="0"/>
                  </a:cubicBezTo>
                  <a:cubicBezTo>
                    <a:pt x="57" y="0"/>
                    <a:pt x="65" y="1"/>
                    <a:pt x="73" y="1"/>
                  </a:cubicBezTo>
                  <a:cubicBezTo>
                    <a:pt x="50" y="28"/>
                    <a:pt x="54" y="54"/>
                    <a:pt x="72" y="8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4" name="Freeform 183">
              <a:extLst>
                <a:ext uri="{FF2B5EF4-FFF2-40B4-BE49-F238E27FC236}">
                  <a16:creationId xmlns:a16="http://schemas.microsoft.com/office/drawing/2014/main" id="{0180068C-C1AB-45A0-9D6C-80293DBB05E4}"/>
                </a:ext>
              </a:extLst>
            </p:cNvPr>
            <p:cNvSpPr>
              <a:spLocks/>
            </p:cNvSpPr>
            <p:nvPr/>
          </p:nvSpPr>
          <p:spPr bwMode="auto">
            <a:xfrm>
              <a:off x="4219905" y="4810632"/>
              <a:ext cx="46130" cy="24422"/>
            </a:xfrm>
            <a:custGeom>
              <a:avLst/>
              <a:gdLst>
                <a:gd name="T0" fmla="*/ 0 w 113"/>
                <a:gd name="T1" fmla="*/ 58 h 58"/>
                <a:gd name="T2" fmla="*/ 104 w 113"/>
                <a:gd name="T3" fmla="*/ 35 h 58"/>
                <a:gd name="T4" fmla="*/ 111 w 113"/>
                <a:gd name="T5" fmla="*/ 48 h 58"/>
                <a:gd name="T6" fmla="*/ 104 w 113"/>
                <a:gd name="T7" fmla="*/ 55 h 58"/>
                <a:gd name="T8" fmla="*/ 0 w 113"/>
                <a:gd name="T9" fmla="*/ 58 h 58"/>
              </a:gdLst>
              <a:ahLst/>
              <a:cxnLst>
                <a:cxn ang="0">
                  <a:pos x="T0" y="T1"/>
                </a:cxn>
                <a:cxn ang="0">
                  <a:pos x="T2" y="T3"/>
                </a:cxn>
                <a:cxn ang="0">
                  <a:pos x="T4" y="T5"/>
                </a:cxn>
                <a:cxn ang="0">
                  <a:pos x="T6" y="T7"/>
                </a:cxn>
                <a:cxn ang="0">
                  <a:pos x="T8" y="T9"/>
                </a:cxn>
              </a:cxnLst>
              <a:rect l="0" t="0" r="r" b="b"/>
              <a:pathLst>
                <a:path w="113" h="58">
                  <a:moveTo>
                    <a:pt x="0" y="58"/>
                  </a:moveTo>
                  <a:cubicBezTo>
                    <a:pt x="30" y="28"/>
                    <a:pt x="60" y="0"/>
                    <a:pt x="104" y="35"/>
                  </a:cubicBezTo>
                  <a:cubicBezTo>
                    <a:pt x="111" y="40"/>
                    <a:pt x="113" y="44"/>
                    <a:pt x="111" y="48"/>
                  </a:cubicBezTo>
                  <a:cubicBezTo>
                    <a:pt x="109" y="52"/>
                    <a:pt x="106" y="55"/>
                    <a:pt x="104" y="55"/>
                  </a:cubicBezTo>
                  <a:cubicBezTo>
                    <a:pt x="69" y="56"/>
                    <a:pt x="35" y="57"/>
                    <a:pt x="0" y="5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Freeform 184">
              <a:extLst>
                <a:ext uri="{FF2B5EF4-FFF2-40B4-BE49-F238E27FC236}">
                  <a16:creationId xmlns:a16="http://schemas.microsoft.com/office/drawing/2014/main" id="{4D1E46E6-B0A8-4199-95CC-44AE7A1B91E0}"/>
                </a:ext>
              </a:extLst>
            </p:cNvPr>
            <p:cNvSpPr>
              <a:spLocks/>
            </p:cNvSpPr>
            <p:nvPr/>
          </p:nvSpPr>
          <p:spPr bwMode="auto">
            <a:xfrm>
              <a:off x="4434273" y="5331629"/>
              <a:ext cx="35276" cy="46130"/>
            </a:xfrm>
            <a:custGeom>
              <a:avLst/>
              <a:gdLst>
                <a:gd name="T0" fmla="*/ 22 w 80"/>
                <a:gd name="T1" fmla="*/ 113 h 113"/>
                <a:gd name="T2" fmla="*/ 0 w 80"/>
                <a:gd name="T3" fmla="*/ 71 h 113"/>
                <a:gd name="T4" fmla="*/ 80 w 80"/>
                <a:gd name="T5" fmla="*/ 10 h 113"/>
                <a:gd name="T6" fmla="*/ 22 w 80"/>
                <a:gd name="T7" fmla="*/ 113 h 113"/>
              </a:gdLst>
              <a:ahLst/>
              <a:cxnLst>
                <a:cxn ang="0">
                  <a:pos x="T0" y="T1"/>
                </a:cxn>
                <a:cxn ang="0">
                  <a:pos x="T2" y="T3"/>
                </a:cxn>
                <a:cxn ang="0">
                  <a:pos x="T4" y="T5"/>
                </a:cxn>
                <a:cxn ang="0">
                  <a:pos x="T6" y="T7"/>
                </a:cxn>
              </a:cxnLst>
              <a:rect l="0" t="0" r="r" b="b"/>
              <a:pathLst>
                <a:path w="80" h="113">
                  <a:moveTo>
                    <a:pt x="22" y="113"/>
                  </a:moveTo>
                  <a:cubicBezTo>
                    <a:pt x="15" y="99"/>
                    <a:pt x="7" y="85"/>
                    <a:pt x="0" y="71"/>
                  </a:cubicBezTo>
                  <a:cubicBezTo>
                    <a:pt x="25" y="48"/>
                    <a:pt x="30" y="0"/>
                    <a:pt x="80" y="10"/>
                  </a:cubicBezTo>
                  <a:cubicBezTo>
                    <a:pt x="61" y="44"/>
                    <a:pt x="42" y="79"/>
                    <a:pt x="22" y="11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6" name="Freeform 185">
              <a:extLst>
                <a:ext uri="{FF2B5EF4-FFF2-40B4-BE49-F238E27FC236}">
                  <a16:creationId xmlns:a16="http://schemas.microsoft.com/office/drawing/2014/main" id="{175A0F88-0D5B-49E2-9FD7-4DA212411373}"/>
                </a:ext>
              </a:extLst>
            </p:cNvPr>
            <p:cNvSpPr>
              <a:spLocks/>
            </p:cNvSpPr>
            <p:nvPr/>
          </p:nvSpPr>
          <p:spPr bwMode="auto">
            <a:xfrm>
              <a:off x="4312165" y="4541993"/>
              <a:ext cx="40703" cy="18995"/>
            </a:xfrm>
            <a:custGeom>
              <a:avLst/>
              <a:gdLst>
                <a:gd name="T0" fmla="*/ 48 w 97"/>
                <a:gd name="T1" fmla="*/ 23 h 45"/>
                <a:gd name="T2" fmla="*/ 9 w 97"/>
                <a:gd name="T3" fmla="*/ 19 h 45"/>
                <a:gd name="T4" fmla="*/ 2 w 97"/>
                <a:gd name="T5" fmla="*/ 7 h 45"/>
                <a:gd name="T6" fmla="*/ 8 w 97"/>
                <a:gd name="T7" fmla="*/ 0 h 45"/>
                <a:gd name="T8" fmla="*/ 90 w 97"/>
                <a:gd name="T9" fmla="*/ 45 h 45"/>
                <a:gd name="T10" fmla="*/ 48 w 97"/>
                <a:gd name="T11" fmla="*/ 23 h 45"/>
              </a:gdLst>
              <a:ahLst/>
              <a:cxnLst>
                <a:cxn ang="0">
                  <a:pos x="T0" y="T1"/>
                </a:cxn>
                <a:cxn ang="0">
                  <a:pos x="T2" y="T3"/>
                </a:cxn>
                <a:cxn ang="0">
                  <a:pos x="T4" y="T5"/>
                </a:cxn>
                <a:cxn ang="0">
                  <a:pos x="T6" y="T7"/>
                </a:cxn>
                <a:cxn ang="0">
                  <a:pos x="T8" y="T9"/>
                </a:cxn>
                <a:cxn ang="0">
                  <a:pos x="T10" y="T11"/>
                </a:cxn>
              </a:cxnLst>
              <a:rect l="0" t="0" r="r" b="b"/>
              <a:pathLst>
                <a:path w="97" h="45">
                  <a:moveTo>
                    <a:pt x="48" y="23"/>
                  </a:moveTo>
                  <a:cubicBezTo>
                    <a:pt x="35" y="22"/>
                    <a:pt x="22" y="20"/>
                    <a:pt x="9" y="19"/>
                  </a:cubicBezTo>
                  <a:cubicBezTo>
                    <a:pt x="3" y="15"/>
                    <a:pt x="0" y="11"/>
                    <a:pt x="2" y="7"/>
                  </a:cubicBezTo>
                  <a:cubicBezTo>
                    <a:pt x="4" y="2"/>
                    <a:pt x="6" y="0"/>
                    <a:pt x="8" y="0"/>
                  </a:cubicBezTo>
                  <a:cubicBezTo>
                    <a:pt x="97" y="3"/>
                    <a:pt x="97" y="3"/>
                    <a:pt x="90" y="45"/>
                  </a:cubicBezTo>
                  <a:cubicBezTo>
                    <a:pt x="73" y="43"/>
                    <a:pt x="59" y="37"/>
                    <a:pt x="48" y="2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Freeform 186">
              <a:extLst>
                <a:ext uri="{FF2B5EF4-FFF2-40B4-BE49-F238E27FC236}">
                  <a16:creationId xmlns:a16="http://schemas.microsoft.com/office/drawing/2014/main" id="{5D1991C3-539B-46A6-B954-FC24585F6B99}"/>
                </a:ext>
              </a:extLst>
            </p:cNvPr>
            <p:cNvSpPr>
              <a:spLocks/>
            </p:cNvSpPr>
            <p:nvPr/>
          </p:nvSpPr>
          <p:spPr bwMode="auto">
            <a:xfrm>
              <a:off x="4323019" y="4552847"/>
              <a:ext cx="27135" cy="24422"/>
            </a:xfrm>
            <a:custGeom>
              <a:avLst/>
              <a:gdLst>
                <a:gd name="T0" fmla="*/ 20 w 62"/>
                <a:gd name="T1" fmla="*/ 0 h 62"/>
                <a:gd name="T2" fmla="*/ 62 w 62"/>
                <a:gd name="T3" fmla="*/ 22 h 62"/>
                <a:gd name="T4" fmla="*/ 0 w 62"/>
                <a:gd name="T5" fmla="*/ 62 h 62"/>
                <a:gd name="T6" fmla="*/ 20 w 62"/>
                <a:gd name="T7" fmla="*/ 0 h 62"/>
              </a:gdLst>
              <a:ahLst/>
              <a:cxnLst>
                <a:cxn ang="0">
                  <a:pos x="T0" y="T1"/>
                </a:cxn>
                <a:cxn ang="0">
                  <a:pos x="T2" y="T3"/>
                </a:cxn>
                <a:cxn ang="0">
                  <a:pos x="T4" y="T5"/>
                </a:cxn>
                <a:cxn ang="0">
                  <a:pos x="T6" y="T7"/>
                </a:cxn>
              </a:cxnLst>
              <a:rect l="0" t="0" r="r" b="b"/>
              <a:pathLst>
                <a:path w="62" h="62">
                  <a:moveTo>
                    <a:pt x="20" y="0"/>
                  </a:moveTo>
                  <a:cubicBezTo>
                    <a:pt x="38" y="0"/>
                    <a:pt x="53" y="4"/>
                    <a:pt x="62" y="22"/>
                  </a:cubicBezTo>
                  <a:cubicBezTo>
                    <a:pt x="41" y="35"/>
                    <a:pt x="21" y="48"/>
                    <a:pt x="0" y="62"/>
                  </a:cubicBezTo>
                  <a:cubicBezTo>
                    <a:pt x="6" y="41"/>
                    <a:pt x="13" y="21"/>
                    <a:pt x="20"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8" name="Freeform 187">
              <a:extLst>
                <a:ext uri="{FF2B5EF4-FFF2-40B4-BE49-F238E27FC236}">
                  <a16:creationId xmlns:a16="http://schemas.microsoft.com/office/drawing/2014/main" id="{F1EE8CE9-12A1-4E44-B0CD-3F3921027B12}"/>
                </a:ext>
              </a:extLst>
            </p:cNvPr>
            <p:cNvSpPr>
              <a:spLocks/>
            </p:cNvSpPr>
            <p:nvPr/>
          </p:nvSpPr>
          <p:spPr bwMode="auto">
            <a:xfrm>
              <a:off x="4290456" y="4585409"/>
              <a:ext cx="24422" cy="29849"/>
            </a:xfrm>
            <a:custGeom>
              <a:avLst/>
              <a:gdLst>
                <a:gd name="T0" fmla="*/ 25 w 61"/>
                <a:gd name="T1" fmla="*/ 63 h 73"/>
                <a:gd name="T2" fmla="*/ 0 w 61"/>
                <a:gd name="T3" fmla="*/ 51 h 73"/>
                <a:gd name="T4" fmla="*/ 61 w 61"/>
                <a:gd name="T5" fmla="*/ 0 h 73"/>
                <a:gd name="T6" fmla="*/ 25 w 61"/>
                <a:gd name="T7" fmla="*/ 63 h 73"/>
              </a:gdLst>
              <a:ahLst/>
              <a:cxnLst>
                <a:cxn ang="0">
                  <a:pos x="T0" y="T1"/>
                </a:cxn>
                <a:cxn ang="0">
                  <a:pos x="T2" y="T3"/>
                </a:cxn>
                <a:cxn ang="0">
                  <a:pos x="T4" y="T5"/>
                </a:cxn>
                <a:cxn ang="0">
                  <a:pos x="T6" y="T7"/>
                </a:cxn>
              </a:cxnLst>
              <a:rect l="0" t="0" r="r" b="b"/>
              <a:pathLst>
                <a:path w="61" h="73">
                  <a:moveTo>
                    <a:pt x="25" y="63"/>
                  </a:moveTo>
                  <a:cubicBezTo>
                    <a:pt x="10" y="73"/>
                    <a:pt x="0" y="68"/>
                    <a:pt x="0" y="51"/>
                  </a:cubicBezTo>
                  <a:cubicBezTo>
                    <a:pt x="2" y="13"/>
                    <a:pt x="30" y="4"/>
                    <a:pt x="61" y="0"/>
                  </a:cubicBezTo>
                  <a:cubicBezTo>
                    <a:pt x="49" y="21"/>
                    <a:pt x="37" y="42"/>
                    <a:pt x="25" y="6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9" name="Freeform 188">
              <a:extLst>
                <a:ext uri="{FF2B5EF4-FFF2-40B4-BE49-F238E27FC236}">
                  <a16:creationId xmlns:a16="http://schemas.microsoft.com/office/drawing/2014/main" id="{B3FD44F2-4597-4AB8-8DDA-7A8F66B1AF52}"/>
                </a:ext>
              </a:extLst>
            </p:cNvPr>
            <p:cNvSpPr>
              <a:spLocks/>
            </p:cNvSpPr>
            <p:nvPr/>
          </p:nvSpPr>
          <p:spPr bwMode="auto">
            <a:xfrm>
              <a:off x="4434273" y="5290926"/>
              <a:ext cx="27135" cy="18995"/>
            </a:xfrm>
            <a:custGeom>
              <a:avLst/>
              <a:gdLst>
                <a:gd name="T0" fmla="*/ 0 w 61"/>
                <a:gd name="T1" fmla="*/ 26 h 48"/>
                <a:gd name="T2" fmla="*/ 1 w 61"/>
                <a:gd name="T3" fmla="*/ 0 h 48"/>
                <a:gd name="T4" fmla="*/ 61 w 61"/>
                <a:gd name="T5" fmla="*/ 43 h 48"/>
                <a:gd name="T6" fmla="*/ 0 w 61"/>
                <a:gd name="T7" fmla="*/ 26 h 48"/>
              </a:gdLst>
              <a:ahLst/>
              <a:cxnLst>
                <a:cxn ang="0">
                  <a:pos x="T0" y="T1"/>
                </a:cxn>
                <a:cxn ang="0">
                  <a:pos x="T2" y="T3"/>
                </a:cxn>
                <a:cxn ang="0">
                  <a:pos x="T4" y="T5"/>
                </a:cxn>
                <a:cxn ang="0">
                  <a:pos x="T6" y="T7"/>
                </a:cxn>
              </a:cxnLst>
              <a:rect l="0" t="0" r="r" b="b"/>
              <a:pathLst>
                <a:path w="61" h="48">
                  <a:moveTo>
                    <a:pt x="0" y="26"/>
                  </a:moveTo>
                  <a:cubicBezTo>
                    <a:pt x="0" y="17"/>
                    <a:pt x="0" y="8"/>
                    <a:pt x="1" y="0"/>
                  </a:cubicBezTo>
                  <a:cubicBezTo>
                    <a:pt x="29" y="3"/>
                    <a:pt x="61" y="0"/>
                    <a:pt x="61" y="43"/>
                  </a:cubicBezTo>
                  <a:cubicBezTo>
                    <a:pt x="39" y="42"/>
                    <a:pt x="15" y="48"/>
                    <a:pt x="0" y="2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0" name="Freeform 189">
              <a:extLst>
                <a:ext uri="{FF2B5EF4-FFF2-40B4-BE49-F238E27FC236}">
                  <a16:creationId xmlns:a16="http://schemas.microsoft.com/office/drawing/2014/main" id="{C89E3FF6-4619-4FB9-9B9D-160867261ABB}"/>
                </a:ext>
              </a:extLst>
            </p:cNvPr>
            <p:cNvSpPr>
              <a:spLocks/>
            </p:cNvSpPr>
            <p:nvPr/>
          </p:nvSpPr>
          <p:spPr bwMode="auto">
            <a:xfrm>
              <a:off x="4263321" y="4826913"/>
              <a:ext cx="40703" cy="16281"/>
            </a:xfrm>
            <a:custGeom>
              <a:avLst/>
              <a:gdLst>
                <a:gd name="T0" fmla="*/ 0 w 100"/>
                <a:gd name="T1" fmla="*/ 20 h 41"/>
                <a:gd name="T2" fmla="*/ 0 w 100"/>
                <a:gd name="T3" fmla="*/ 0 h 41"/>
                <a:gd name="T4" fmla="*/ 60 w 100"/>
                <a:gd name="T5" fmla="*/ 1 h 41"/>
                <a:gd name="T6" fmla="*/ 100 w 100"/>
                <a:gd name="T7" fmla="*/ 3 h 41"/>
                <a:gd name="T8" fmla="*/ 0 w 100"/>
                <a:gd name="T9" fmla="*/ 20 h 41"/>
              </a:gdLst>
              <a:ahLst/>
              <a:cxnLst>
                <a:cxn ang="0">
                  <a:pos x="T0" y="T1"/>
                </a:cxn>
                <a:cxn ang="0">
                  <a:pos x="T2" y="T3"/>
                </a:cxn>
                <a:cxn ang="0">
                  <a:pos x="T4" y="T5"/>
                </a:cxn>
                <a:cxn ang="0">
                  <a:pos x="T6" y="T7"/>
                </a:cxn>
                <a:cxn ang="0">
                  <a:pos x="T8" y="T9"/>
                </a:cxn>
              </a:cxnLst>
              <a:rect l="0" t="0" r="r" b="b"/>
              <a:pathLst>
                <a:path w="100" h="41">
                  <a:moveTo>
                    <a:pt x="0" y="20"/>
                  </a:moveTo>
                  <a:cubicBezTo>
                    <a:pt x="0" y="13"/>
                    <a:pt x="0" y="7"/>
                    <a:pt x="0" y="0"/>
                  </a:cubicBezTo>
                  <a:cubicBezTo>
                    <a:pt x="20" y="1"/>
                    <a:pt x="40" y="1"/>
                    <a:pt x="60" y="1"/>
                  </a:cubicBezTo>
                  <a:cubicBezTo>
                    <a:pt x="73" y="2"/>
                    <a:pt x="87" y="2"/>
                    <a:pt x="100" y="3"/>
                  </a:cubicBezTo>
                  <a:cubicBezTo>
                    <a:pt x="72" y="41"/>
                    <a:pt x="34" y="18"/>
                    <a:pt x="0" y="2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1" name="Freeform 190">
              <a:extLst>
                <a:ext uri="{FF2B5EF4-FFF2-40B4-BE49-F238E27FC236}">
                  <a16:creationId xmlns:a16="http://schemas.microsoft.com/office/drawing/2014/main" id="{8BEC5121-FA84-4FDE-AC54-E6847FFC8D11}"/>
                </a:ext>
              </a:extLst>
            </p:cNvPr>
            <p:cNvSpPr>
              <a:spLocks/>
            </p:cNvSpPr>
            <p:nvPr/>
          </p:nvSpPr>
          <p:spPr bwMode="auto">
            <a:xfrm>
              <a:off x="4290456" y="4525711"/>
              <a:ext cx="27135" cy="24422"/>
            </a:xfrm>
            <a:custGeom>
              <a:avLst/>
              <a:gdLst>
                <a:gd name="T0" fmla="*/ 60 w 64"/>
                <a:gd name="T1" fmla="*/ 40 h 59"/>
                <a:gd name="T2" fmla="*/ 61 w 64"/>
                <a:gd name="T3" fmla="*/ 59 h 59"/>
                <a:gd name="T4" fmla="*/ 38 w 64"/>
                <a:gd name="T5" fmla="*/ 0 h 59"/>
                <a:gd name="T6" fmla="*/ 64 w 64"/>
                <a:gd name="T7" fmla="*/ 2 h 59"/>
                <a:gd name="T8" fmla="*/ 60 w 64"/>
                <a:gd name="T9" fmla="*/ 40 h 59"/>
              </a:gdLst>
              <a:ahLst/>
              <a:cxnLst>
                <a:cxn ang="0">
                  <a:pos x="T0" y="T1"/>
                </a:cxn>
                <a:cxn ang="0">
                  <a:pos x="T2" y="T3"/>
                </a:cxn>
                <a:cxn ang="0">
                  <a:pos x="T4" y="T5"/>
                </a:cxn>
                <a:cxn ang="0">
                  <a:pos x="T6" y="T7"/>
                </a:cxn>
                <a:cxn ang="0">
                  <a:pos x="T8" y="T9"/>
                </a:cxn>
              </a:cxnLst>
              <a:rect l="0" t="0" r="r" b="b"/>
              <a:pathLst>
                <a:path w="64" h="59">
                  <a:moveTo>
                    <a:pt x="60" y="40"/>
                  </a:moveTo>
                  <a:cubicBezTo>
                    <a:pt x="60" y="47"/>
                    <a:pt x="60" y="53"/>
                    <a:pt x="61" y="59"/>
                  </a:cubicBezTo>
                  <a:cubicBezTo>
                    <a:pt x="37" y="46"/>
                    <a:pt x="0" y="38"/>
                    <a:pt x="38" y="0"/>
                  </a:cubicBezTo>
                  <a:cubicBezTo>
                    <a:pt x="46" y="1"/>
                    <a:pt x="55" y="2"/>
                    <a:pt x="64" y="2"/>
                  </a:cubicBezTo>
                  <a:cubicBezTo>
                    <a:pt x="63" y="15"/>
                    <a:pt x="62" y="28"/>
                    <a:pt x="60" y="4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2" name="Freeform 191">
              <a:extLst>
                <a:ext uri="{FF2B5EF4-FFF2-40B4-BE49-F238E27FC236}">
                  <a16:creationId xmlns:a16="http://schemas.microsoft.com/office/drawing/2014/main" id="{FF98DB56-6581-4E85-BC8F-B60E5F87706A}"/>
                </a:ext>
              </a:extLst>
            </p:cNvPr>
            <p:cNvSpPr>
              <a:spLocks/>
            </p:cNvSpPr>
            <p:nvPr/>
          </p:nvSpPr>
          <p:spPr bwMode="auto">
            <a:xfrm>
              <a:off x="4361008" y="5204093"/>
              <a:ext cx="35276" cy="35276"/>
            </a:xfrm>
            <a:custGeom>
              <a:avLst/>
              <a:gdLst>
                <a:gd name="T0" fmla="*/ 73 w 85"/>
                <a:gd name="T1" fmla="*/ 83 h 83"/>
                <a:gd name="T2" fmla="*/ 52 w 85"/>
                <a:gd name="T3" fmla="*/ 0 h 83"/>
                <a:gd name="T4" fmla="*/ 73 w 85"/>
                <a:gd name="T5" fmla="*/ 83 h 83"/>
              </a:gdLst>
              <a:ahLst/>
              <a:cxnLst>
                <a:cxn ang="0">
                  <a:pos x="T0" y="T1"/>
                </a:cxn>
                <a:cxn ang="0">
                  <a:pos x="T2" y="T3"/>
                </a:cxn>
                <a:cxn ang="0">
                  <a:pos x="T4" y="T5"/>
                </a:cxn>
              </a:cxnLst>
              <a:rect l="0" t="0" r="r" b="b"/>
              <a:pathLst>
                <a:path w="85" h="83">
                  <a:moveTo>
                    <a:pt x="73" y="83"/>
                  </a:moveTo>
                  <a:cubicBezTo>
                    <a:pt x="0" y="72"/>
                    <a:pt x="73" y="24"/>
                    <a:pt x="52" y="0"/>
                  </a:cubicBezTo>
                  <a:cubicBezTo>
                    <a:pt x="85" y="21"/>
                    <a:pt x="69" y="54"/>
                    <a:pt x="73" y="8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3" name="Freeform 192">
              <a:extLst>
                <a:ext uri="{FF2B5EF4-FFF2-40B4-BE49-F238E27FC236}">
                  <a16:creationId xmlns:a16="http://schemas.microsoft.com/office/drawing/2014/main" id="{7E34B548-92B8-4256-98F1-262B7031006E}"/>
                </a:ext>
              </a:extLst>
            </p:cNvPr>
            <p:cNvSpPr>
              <a:spLocks/>
            </p:cNvSpPr>
            <p:nvPr/>
          </p:nvSpPr>
          <p:spPr bwMode="auto">
            <a:xfrm>
              <a:off x="4512966" y="3141812"/>
              <a:ext cx="135676" cy="206228"/>
            </a:xfrm>
            <a:custGeom>
              <a:avLst/>
              <a:gdLst>
                <a:gd name="T0" fmla="*/ 145 w 326"/>
                <a:gd name="T1" fmla="*/ 412 h 494"/>
                <a:gd name="T2" fmla="*/ 124 w 326"/>
                <a:gd name="T3" fmla="*/ 428 h 494"/>
                <a:gd name="T4" fmla="*/ 61 w 326"/>
                <a:gd name="T5" fmla="*/ 390 h 494"/>
                <a:gd name="T6" fmla="*/ 62 w 326"/>
                <a:gd name="T7" fmla="*/ 391 h 494"/>
                <a:gd name="T8" fmla="*/ 0 w 326"/>
                <a:gd name="T9" fmla="*/ 226 h 494"/>
                <a:gd name="T10" fmla="*/ 0 w 326"/>
                <a:gd name="T11" fmla="*/ 227 h 494"/>
                <a:gd name="T12" fmla="*/ 73 w 326"/>
                <a:gd name="T13" fmla="*/ 106 h 494"/>
                <a:gd name="T14" fmla="*/ 102 w 326"/>
                <a:gd name="T15" fmla="*/ 43 h 494"/>
                <a:gd name="T16" fmla="*/ 123 w 326"/>
                <a:gd name="T17" fmla="*/ 0 h 494"/>
                <a:gd name="T18" fmla="*/ 176 w 326"/>
                <a:gd name="T19" fmla="*/ 100 h 494"/>
                <a:gd name="T20" fmla="*/ 240 w 326"/>
                <a:gd name="T21" fmla="*/ 256 h 494"/>
                <a:gd name="T22" fmla="*/ 259 w 326"/>
                <a:gd name="T23" fmla="*/ 316 h 494"/>
                <a:gd name="T24" fmla="*/ 311 w 326"/>
                <a:gd name="T25" fmla="*/ 443 h 494"/>
                <a:gd name="T26" fmla="*/ 252 w 326"/>
                <a:gd name="T27" fmla="*/ 485 h 494"/>
                <a:gd name="T28" fmla="*/ 145 w 326"/>
                <a:gd name="T29" fmla="*/ 41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6" h="494">
                  <a:moveTo>
                    <a:pt x="145" y="412"/>
                  </a:moveTo>
                  <a:cubicBezTo>
                    <a:pt x="138" y="417"/>
                    <a:pt x="131" y="423"/>
                    <a:pt x="124" y="428"/>
                  </a:cubicBezTo>
                  <a:cubicBezTo>
                    <a:pt x="72" y="468"/>
                    <a:pt x="80" y="407"/>
                    <a:pt x="61" y="390"/>
                  </a:cubicBezTo>
                  <a:cubicBezTo>
                    <a:pt x="62" y="391"/>
                    <a:pt x="62" y="391"/>
                    <a:pt x="62" y="391"/>
                  </a:cubicBezTo>
                  <a:cubicBezTo>
                    <a:pt x="0" y="351"/>
                    <a:pt x="45" y="272"/>
                    <a:pt x="0" y="226"/>
                  </a:cubicBezTo>
                  <a:cubicBezTo>
                    <a:pt x="0" y="227"/>
                    <a:pt x="0" y="227"/>
                    <a:pt x="0" y="227"/>
                  </a:cubicBezTo>
                  <a:cubicBezTo>
                    <a:pt x="17" y="182"/>
                    <a:pt x="65" y="156"/>
                    <a:pt x="73" y="106"/>
                  </a:cubicBezTo>
                  <a:cubicBezTo>
                    <a:pt x="121" y="103"/>
                    <a:pt x="78" y="57"/>
                    <a:pt x="102" y="43"/>
                  </a:cubicBezTo>
                  <a:cubicBezTo>
                    <a:pt x="103" y="26"/>
                    <a:pt x="106" y="10"/>
                    <a:pt x="123" y="0"/>
                  </a:cubicBezTo>
                  <a:cubicBezTo>
                    <a:pt x="158" y="24"/>
                    <a:pt x="182" y="54"/>
                    <a:pt x="176" y="100"/>
                  </a:cubicBezTo>
                  <a:cubicBezTo>
                    <a:pt x="204" y="149"/>
                    <a:pt x="227" y="200"/>
                    <a:pt x="240" y="256"/>
                  </a:cubicBezTo>
                  <a:cubicBezTo>
                    <a:pt x="236" y="279"/>
                    <a:pt x="229" y="306"/>
                    <a:pt x="259" y="316"/>
                  </a:cubicBezTo>
                  <a:cubicBezTo>
                    <a:pt x="326" y="338"/>
                    <a:pt x="305" y="398"/>
                    <a:pt x="311" y="443"/>
                  </a:cubicBezTo>
                  <a:cubicBezTo>
                    <a:pt x="315" y="470"/>
                    <a:pt x="281" y="481"/>
                    <a:pt x="252" y="485"/>
                  </a:cubicBezTo>
                  <a:cubicBezTo>
                    <a:pt x="192" y="494"/>
                    <a:pt x="169" y="454"/>
                    <a:pt x="145" y="41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4" name="Freeform 193">
              <a:extLst>
                <a:ext uri="{FF2B5EF4-FFF2-40B4-BE49-F238E27FC236}">
                  <a16:creationId xmlns:a16="http://schemas.microsoft.com/office/drawing/2014/main" id="{FAE10942-41A3-4A7B-958C-64672634DEF0}"/>
                </a:ext>
              </a:extLst>
            </p:cNvPr>
            <p:cNvSpPr>
              <a:spLocks/>
            </p:cNvSpPr>
            <p:nvPr/>
          </p:nvSpPr>
          <p:spPr bwMode="auto">
            <a:xfrm>
              <a:off x="4380003" y="2175796"/>
              <a:ext cx="141103" cy="116682"/>
            </a:xfrm>
            <a:custGeom>
              <a:avLst/>
              <a:gdLst>
                <a:gd name="T0" fmla="*/ 113 w 339"/>
                <a:gd name="T1" fmla="*/ 276 h 284"/>
                <a:gd name="T2" fmla="*/ 64 w 339"/>
                <a:gd name="T3" fmla="*/ 123 h 284"/>
                <a:gd name="T4" fmla="*/ 5 w 339"/>
                <a:gd name="T5" fmla="*/ 11 h 284"/>
                <a:gd name="T6" fmla="*/ 29 w 339"/>
                <a:gd name="T7" fmla="*/ 9 h 284"/>
                <a:gd name="T8" fmla="*/ 194 w 339"/>
                <a:gd name="T9" fmla="*/ 131 h 284"/>
                <a:gd name="T10" fmla="*/ 215 w 339"/>
                <a:gd name="T11" fmla="*/ 149 h 284"/>
                <a:gd name="T12" fmla="*/ 275 w 339"/>
                <a:gd name="T13" fmla="*/ 215 h 284"/>
                <a:gd name="T14" fmla="*/ 298 w 339"/>
                <a:gd name="T15" fmla="*/ 276 h 284"/>
                <a:gd name="T16" fmla="*/ 275 w 339"/>
                <a:gd name="T17" fmla="*/ 276 h 284"/>
                <a:gd name="T18" fmla="*/ 113 w 339"/>
                <a:gd name="T19" fmla="*/ 27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9" h="284">
                  <a:moveTo>
                    <a:pt x="113" y="276"/>
                  </a:moveTo>
                  <a:cubicBezTo>
                    <a:pt x="160" y="205"/>
                    <a:pt x="149" y="148"/>
                    <a:pt x="64" y="123"/>
                  </a:cubicBezTo>
                  <a:cubicBezTo>
                    <a:pt x="0" y="104"/>
                    <a:pt x="15" y="53"/>
                    <a:pt x="5" y="11"/>
                  </a:cubicBezTo>
                  <a:cubicBezTo>
                    <a:pt x="12" y="0"/>
                    <a:pt x="21" y="0"/>
                    <a:pt x="29" y="9"/>
                  </a:cubicBezTo>
                  <a:cubicBezTo>
                    <a:pt x="41" y="108"/>
                    <a:pt x="117" y="120"/>
                    <a:pt x="194" y="131"/>
                  </a:cubicBezTo>
                  <a:cubicBezTo>
                    <a:pt x="216" y="120"/>
                    <a:pt x="217" y="132"/>
                    <a:pt x="215" y="149"/>
                  </a:cubicBezTo>
                  <a:cubicBezTo>
                    <a:pt x="202" y="200"/>
                    <a:pt x="246" y="201"/>
                    <a:pt x="275" y="215"/>
                  </a:cubicBezTo>
                  <a:cubicBezTo>
                    <a:pt x="300" y="228"/>
                    <a:pt x="339" y="237"/>
                    <a:pt x="298" y="276"/>
                  </a:cubicBezTo>
                  <a:cubicBezTo>
                    <a:pt x="291" y="284"/>
                    <a:pt x="283" y="284"/>
                    <a:pt x="275" y="276"/>
                  </a:cubicBezTo>
                  <a:cubicBezTo>
                    <a:pt x="221" y="176"/>
                    <a:pt x="167" y="237"/>
                    <a:pt x="113" y="27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5" name="Freeform 194">
              <a:extLst>
                <a:ext uri="{FF2B5EF4-FFF2-40B4-BE49-F238E27FC236}">
                  <a16:creationId xmlns:a16="http://schemas.microsoft.com/office/drawing/2014/main" id="{D718C85C-C264-49AE-B646-898741062130}"/>
                </a:ext>
              </a:extLst>
            </p:cNvPr>
            <p:cNvSpPr>
              <a:spLocks/>
            </p:cNvSpPr>
            <p:nvPr/>
          </p:nvSpPr>
          <p:spPr bwMode="auto">
            <a:xfrm>
              <a:off x="4342013" y="2289764"/>
              <a:ext cx="84119" cy="168239"/>
            </a:xfrm>
            <a:custGeom>
              <a:avLst/>
              <a:gdLst>
                <a:gd name="T0" fmla="*/ 38 w 205"/>
                <a:gd name="T1" fmla="*/ 392 h 401"/>
                <a:gd name="T2" fmla="*/ 205 w 205"/>
                <a:gd name="T3" fmla="*/ 0 h 401"/>
                <a:gd name="T4" fmla="*/ 94 w 205"/>
                <a:gd name="T5" fmla="*/ 176 h 401"/>
                <a:gd name="T6" fmla="*/ 59 w 205"/>
                <a:gd name="T7" fmla="*/ 391 h 401"/>
                <a:gd name="T8" fmla="*/ 38 w 205"/>
                <a:gd name="T9" fmla="*/ 392 h 401"/>
              </a:gdLst>
              <a:ahLst/>
              <a:cxnLst>
                <a:cxn ang="0">
                  <a:pos x="T0" y="T1"/>
                </a:cxn>
                <a:cxn ang="0">
                  <a:pos x="T2" y="T3"/>
                </a:cxn>
                <a:cxn ang="0">
                  <a:pos x="T4" y="T5"/>
                </a:cxn>
                <a:cxn ang="0">
                  <a:pos x="T6" y="T7"/>
                </a:cxn>
                <a:cxn ang="0">
                  <a:pos x="T8" y="T9"/>
                </a:cxn>
              </a:cxnLst>
              <a:rect l="0" t="0" r="r" b="b"/>
              <a:pathLst>
                <a:path w="205" h="401">
                  <a:moveTo>
                    <a:pt x="38" y="392"/>
                  </a:moveTo>
                  <a:cubicBezTo>
                    <a:pt x="0" y="267"/>
                    <a:pt x="67" y="109"/>
                    <a:pt x="205" y="0"/>
                  </a:cubicBezTo>
                  <a:cubicBezTo>
                    <a:pt x="194" y="75"/>
                    <a:pt x="119" y="107"/>
                    <a:pt x="94" y="176"/>
                  </a:cubicBezTo>
                  <a:cubicBezTo>
                    <a:pt x="68" y="248"/>
                    <a:pt x="48" y="316"/>
                    <a:pt x="59" y="391"/>
                  </a:cubicBezTo>
                  <a:cubicBezTo>
                    <a:pt x="52" y="401"/>
                    <a:pt x="45" y="401"/>
                    <a:pt x="38" y="39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6" name="Freeform 195">
              <a:extLst>
                <a:ext uri="{FF2B5EF4-FFF2-40B4-BE49-F238E27FC236}">
                  <a16:creationId xmlns:a16="http://schemas.microsoft.com/office/drawing/2014/main" id="{EA6956FA-73BF-477E-868A-D86B91A4A5F7}"/>
                </a:ext>
              </a:extLst>
            </p:cNvPr>
            <p:cNvSpPr>
              <a:spLocks/>
            </p:cNvSpPr>
            <p:nvPr/>
          </p:nvSpPr>
          <p:spPr bwMode="auto">
            <a:xfrm>
              <a:off x="4681204" y="3147239"/>
              <a:ext cx="81406" cy="62411"/>
            </a:xfrm>
            <a:custGeom>
              <a:avLst/>
              <a:gdLst>
                <a:gd name="T0" fmla="*/ 169 w 195"/>
                <a:gd name="T1" fmla="*/ 108 h 148"/>
                <a:gd name="T2" fmla="*/ 7 w 195"/>
                <a:gd name="T3" fmla="*/ 87 h 148"/>
                <a:gd name="T4" fmla="*/ 0 w 195"/>
                <a:gd name="T5" fmla="*/ 72 h 148"/>
                <a:gd name="T6" fmla="*/ 3 w 195"/>
                <a:gd name="T7" fmla="*/ 64 h 148"/>
                <a:gd name="T8" fmla="*/ 34 w 195"/>
                <a:gd name="T9" fmla="*/ 52 h 148"/>
                <a:gd name="T10" fmla="*/ 53 w 195"/>
                <a:gd name="T11" fmla="*/ 19 h 148"/>
                <a:gd name="T12" fmla="*/ 65 w 195"/>
                <a:gd name="T13" fmla="*/ 0 h 148"/>
                <a:gd name="T14" fmla="*/ 191 w 195"/>
                <a:gd name="T15" fmla="*/ 87 h 148"/>
                <a:gd name="T16" fmla="*/ 169 w 195"/>
                <a:gd name="T17" fmla="*/ 10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48">
                  <a:moveTo>
                    <a:pt x="169" y="108"/>
                  </a:moveTo>
                  <a:cubicBezTo>
                    <a:pt x="109" y="148"/>
                    <a:pt x="56" y="135"/>
                    <a:pt x="7" y="87"/>
                  </a:cubicBezTo>
                  <a:cubicBezTo>
                    <a:pt x="2" y="82"/>
                    <a:pt x="0" y="77"/>
                    <a:pt x="0" y="72"/>
                  </a:cubicBezTo>
                  <a:cubicBezTo>
                    <a:pt x="1" y="67"/>
                    <a:pt x="1" y="64"/>
                    <a:pt x="3" y="64"/>
                  </a:cubicBezTo>
                  <a:cubicBezTo>
                    <a:pt x="12" y="56"/>
                    <a:pt x="23" y="52"/>
                    <a:pt x="34" y="52"/>
                  </a:cubicBezTo>
                  <a:cubicBezTo>
                    <a:pt x="53" y="49"/>
                    <a:pt x="50" y="32"/>
                    <a:pt x="53" y="19"/>
                  </a:cubicBezTo>
                  <a:cubicBezTo>
                    <a:pt x="56" y="12"/>
                    <a:pt x="60" y="5"/>
                    <a:pt x="65" y="0"/>
                  </a:cubicBezTo>
                  <a:cubicBezTo>
                    <a:pt x="118" y="13"/>
                    <a:pt x="132" y="83"/>
                    <a:pt x="191" y="87"/>
                  </a:cubicBezTo>
                  <a:cubicBezTo>
                    <a:pt x="195" y="106"/>
                    <a:pt x="191" y="116"/>
                    <a:pt x="169" y="10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7" name="Freeform 196">
              <a:extLst>
                <a:ext uri="{FF2B5EF4-FFF2-40B4-BE49-F238E27FC236}">
                  <a16:creationId xmlns:a16="http://schemas.microsoft.com/office/drawing/2014/main" id="{E26435CE-4CB6-4C95-A887-7BD52A2D7C96}"/>
                </a:ext>
              </a:extLst>
            </p:cNvPr>
            <p:cNvSpPr>
              <a:spLocks/>
            </p:cNvSpPr>
            <p:nvPr/>
          </p:nvSpPr>
          <p:spPr bwMode="auto">
            <a:xfrm>
              <a:off x="5370440" y="3152666"/>
              <a:ext cx="97687" cy="116682"/>
            </a:xfrm>
            <a:custGeom>
              <a:avLst/>
              <a:gdLst>
                <a:gd name="T0" fmla="*/ 228 w 228"/>
                <a:gd name="T1" fmla="*/ 12 h 275"/>
                <a:gd name="T2" fmla="*/ 160 w 228"/>
                <a:gd name="T3" fmla="*/ 55 h 275"/>
                <a:gd name="T4" fmla="*/ 61 w 228"/>
                <a:gd name="T5" fmla="*/ 275 h 275"/>
                <a:gd name="T6" fmla="*/ 60 w 228"/>
                <a:gd name="T7" fmla="*/ 71 h 275"/>
                <a:gd name="T8" fmla="*/ 228 w 228"/>
                <a:gd name="T9" fmla="*/ 12 h 275"/>
              </a:gdLst>
              <a:ahLst/>
              <a:cxnLst>
                <a:cxn ang="0">
                  <a:pos x="T0" y="T1"/>
                </a:cxn>
                <a:cxn ang="0">
                  <a:pos x="T2" y="T3"/>
                </a:cxn>
                <a:cxn ang="0">
                  <a:pos x="T4" y="T5"/>
                </a:cxn>
                <a:cxn ang="0">
                  <a:pos x="T6" y="T7"/>
                </a:cxn>
                <a:cxn ang="0">
                  <a:pos x="T8" y="T9"/>
                </a:cxn>
              </a:cxnLst>
              <a:rect l="0" t="0" r="r" b="b"/>
              <a:pathLst>
                <a:path w="228" h="275">
                  <a:moveTo>
                    <a:pt x="228" y="12"/>
                  </a:moveTo>
                  <a:cubicBezTo>
                    <a:pt x="205" y="26"/>
                    <a:pt x="184" y="43"/>
                    <a:pt x="160" y="55"/>
                  </a:cubicBezTo>
                  <a:cubicBezTo>
                    <a:pt x="26" y="124"/>
                    <a:pt x="24" y="126"/>
                    <a:pt x="61" y="275"/>
                  </a:cubicBezTo>
                  <a:cubicBezTo>
                    <a:pt x="5" y="221"/>
                    <a:pt x="0" y="106"/>
                    <a:pt x="60" y="71"/>
                  </a:cubicBezTo>
                  <a:cubicBezTo>
                    <a:pt x="111" y="41"/>
                    <a:pt x="161" y="0"/>
                    <a:pt x="228" y="1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8" name="Freeform 197">
              <a:extLst>
                <a:ext uri="{FF2B5EF4-FFF2-40B4-BE49-F238E27FC236}">
                  <a16:creationId xmlns:a16="http://schemas.microsoft.com/office/drawing/2014/main" id="{34891D7C-65EC-47C0-879C-4E21E06C215C}"/>
                </a:ext>
              </a:extLst>
            </p:cNvPr>
            <p:cNvSpPr>
              <a:spLocks/>
            </p:cNvSpPr>
            <p:nvPr/>
          </p:nvSpPr>
          <p:spPr bwMode="auto">
            <a:xfrm>
              <a:off x="4580804" y="2360316"/>
              <a:ext cx="100401" cy="94973"/>
            </a:xfrm>
            <a:custGeom>
              <a:avLst/>
              <a:gdLst>
                <a:gd name="T0" fmla="*/ 166 w 236"/>
                <a:gd name="T1" fmla="*/ 226 h 226"/>
                <a:gd name="T2" fmla="*/ 165 w 236"/>
                <a:gd name="T3" fmla="*/ 204 h 226"/>
                <a:gd name="T4" fmla="*/ 0 w 236"/>
                <a:gd name="T5" fmla="*/ 19 h 226"/>
                <a:gd name="T6" fmla="*/ 20 w 236"/>
                <a:gd name="T7" fmla="*/ 0 h 226"/>
                <a:gd name="T8" fmla="*/ 168 w 236"/>
                <a:gd name="T9" fmla="*/ 131 h 226"/>
                <a:gd name="T10" fmla="*/ 166 w 236"/>
                <a:gd name="T11" fmla="*/ 226 h 226"/>
              </a:gdLst>
              <a:ahLst/>
              <a:cxnLst>
                <a:cxn ang="0">
                  <a:pos x="T0" y="T1"/>
                </a:cxn>
                <a:cxn ang="0">
                  <a:pos x="T2" y="T3"/>
                </a:cxn>
                <a:cxn ang="0">
                  <a:pos x="T4" y="T5"/>
                </a:cxn>
                <a:cxn ang="0">
                  <a:pos x="T6" y="T7"/>
                </a:cxn>
                <a:cxn ang="0">
                  <a:pos x="T8" y="T9"/>
                </a:cxn>
                <a:cxn ang="0">
                  <a:pos x="T10" y="T11"/>
                </a:cxn>
              </a:cxnLst>
              <a:rect l="0" t="0" r="r" b="b"/>
              <a:pathLst>
                <a:path w="236" h="226">
                  <a:moveTo>
                    <a:pt x="166" y="226"/>
                  </a:moveTo>
                  <a:cubicBezTo>
                    <a:pt x="166" y="219"/>
                    <a:pt x="165" y="211"/>
                    <a:pt x="165" y="204"/>
                  </a:cubicBezTo>
                  <a:cubicBezTo>
                    <a:pt x="125" y="128"/>
                    <a:pt x="40" y="94"/>
                    <a:pt x="0" y="19"/>
                  </a:cubicBezTo>
                  <a:cubicBezTo>
                    <a:pt x="4" y="10"/>
                    <a:pt x="11" y="4"/>
                    <a:pt x="20" y="0"/>
                  </a:cubicBezTo>
                  <a:cubicBezTo>
                    <a:pt x="64" y="49"/>
                    <a:pt x="108" y="100"/>
                    <a:pt x="168" y="131"/>
                  </a:cubicBezTo>
                  <a:cubicBezTo>
                    <a:pt x="236" y="165"/>
                    <a:pt x="220" y="196"/>
                    <a:pt x="166" y="22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9" name="Freeform 198">
              <a:extLst>
                <a:ext uri="{FF2B5EF4-FFF2-40B4-BE49-F238E27FC236}">
                  <a16:creationId xmlns:a16="http://schemas.microsoft.com/office/drawing/2014/main" id="{A98E459A-EDFF-4520-A5C4-16ED47E59936}"/>
                </a:ext>
              </a:extLst>
            </p:cNvPr>
            <p:cNvSpPr>
              <a:spLocks/>
            </p:cNvSpPr>
            <p:nvPr/>
          </p:nvSpPr>
          <p:spPr bwMode="auto">
            <a:xfrm>
              <a:off x="4469549" y="2349462"/>
              <a:ext cx="119395" cy="48844"/>
            </a:xfrm>
            <a:custGeom>
              <a:avLst/>
              <a:gdLst>
                <a:gd name="T0" fmla="*/ 288 w 288"/>
                <a:gd name="T1" fmla="*/ 25 h 119"/>
                <a:gd name="T2" fmla="*/ 268 w 288"/>
                <a:gd name="T3" fmla="*/ 44 h 119"/>
                <a:gd name="T4" fmla="*/ 201 w 288"/>
                <a:gd name="T5" fmla="*/ 61 h 119"/>
                <a:gd name="T6" fmla="*/ 0 w 288"/>
                <a:gd name="T7" fmla="*/ 23 h 119"/>
                <a:gd name="T8" fmla="*/ 21 w 288"/>
                <a:gd name="T9" fmla="*/ 23 h 119"/>
                <a:gd name="T10" fmla="*/ 115 w 288"/>
                <a:gd name="T11" fmla="*/ 69 h 119"/>
                <a:gd name="T12" fmla="*/ 162 w 288"/>
                <a:gd name="T13" fmla="*/ 56 h 119"/>
                <a:gd name="T14" fmla="*/ 288 w 288"/>
                <a:gd name="T15" fmla="*/ 25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19">
                  <a:moveTo>
                    <a:pt x="288" y="25"/>
                  </a:moveTo>
                  <a:cubicBezTo>
                    <a:pt x="281" y="31"/>
                    <a:pt x="274" y="38"/>
                    <a:pt x="268" y="44"/>
                  </a:cubicBezTo>
                  <a:cubicBezTo>
                    <a:pt x="244" y="45"/>
                    <a:pt x="222" y="46"/>
                    <a:pt x="201" y="61"/>
                  </a:cubicBezTo>
                  <a:cubicBezTo>
                    <a:pt x="121" y="119"/>
                    <a:pt x="70" y="109"/>
                    <a:pt x="0" y="23"/>
                  </a:cubicBezTo>
                  <a:cubicBezTo>
                    <a:pt x="7" y="16"/>
                    <a:pt x="14" y="16"/>
                    <a:pt x="21" y="23"/>
                  </a:cubicBezTo>
                  <a:cubicBezTo>
                    <a:pt x="43" y="56"/>
                    <a:pt x="103" y="3"/>
                    <a:pt x="115" y="69"/>
                  </a:cubicBezTo>
                  <a:cubicBezTo>
                    <a:pt x="120" y="94"/>
                    <a:pt x="148" y="68"/>
                    <a:pt x="162" y="56"/>
                  </a:cubicBezTo>
                  <a:cubicBezTo>
                    <a:pt x="199" y="22"/>
                    <a:pt x="237" y="0"/>
                    <a:pt x="288" y="2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0" name="Freeform 199">
              <a:extLst>
                <a:ext uri="{FF2B5EF4-FFF2-40B4-BE49-F238E27FC236}">
                  <a16:creationId xmlns:a16="http://schemas.microsoft.com/office/drawing/2014/main" id="{B135D349-6CC3-412D-BAEE-934F2710E700}"/>
                </a:ext>
              </a:extLst>
            </p:cNvPr>
            <p:cNvSpPr>
              <a:spLocks/>
            </p:cNvSpPr>
            <p:nvPr/>
          </p:nvSpPr>
          <p:spPr bwMode="auto">
            <a:xfrm>
              <a:off x="4914568" y="3190656"/>
              <a:ext cx="116682" cy="59698"/>
            </a:xfrm>
            <a:custGeom>
              <a:avLst/>
              <a:gdLst>
                <a:gd name="T0" fmla="*/ 275 w 275"/>
                <a:gd name="T1" fmla="*/ 66 h 143"/>
                <a:gd name="T2" fmla="*/ 102 w 275"/>
                <a:gd name="T3" fmla="*/ 67 h 143"/>
                <a:gd name="T4" fmla="*/ 23 w 275"/>
                <a:gd name="T5" fmla="*/ 41 h 143"/>
                <a:gd name="T6" fmla="*/ 5 w 275"/>
                <a:gd name="T7" fmla="*/ 7 h 143"/>
                <a:gd name="T8" fmla="*/ 94 w 275"/>
                <a:gd name="T9" fmla="*/ 3 h 143"/>
                <a:gd name="T10" fmla="*/ 136 w 275"/>
                <a:gd name="T11" fmla="*/ 19 h 143"/>
                <a:gd name="T12" fmla="*/ 253 w 275"/>
                <a:gd name="T13" fmla="*/ 66 h 143"/>
                <a:gd name="T14" fmla="*/ 275 w 275"/>
                <a:gd name="T15" fmla="*/ 66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 h="143">
                  <a:moveTo>
                    <a:pt x="275" y="66"/>
                  </a:moveTo>
                  <a:cubicBezTo>
                    <a:pt x="220" y="125"/>
                    <a:pt x="132" y="127"/>
                    <a:pt x="102" y="67"/>
                  </a:cubicBezTo>
                  <a:cubicBezTo>
                    <a:pt x="82" y="29"/>
                    <a:pt x="47" y="55"/>
                    <a:pt x="23" y="41"/>
                  </a:cubicBezTo>
                  <a:cubicBezTo>
                    <a:pt x="6" y="35"/>
                    <a:pt x="0" y="24"/>
                    <a:pt x="5" y="7"/>
                  </a:cubicBezTo>
                  <a:cubicBezTo>
                    <a:pt x="34" y="5"/>
                    <a:pt x="64" y="4"/>
                    <a:pt x="94" y="3"/>
                  </a:cubicBezTo>
                  <a:cubicBezTo>
                    <a:pt x="110" y="2"/>
                    <a:pt x="136" y="0"/>
                    <a:pt x="136" y="19"/>
                  </a:cubicBezTo>
                  <a:cubicBezTo>
                    <a:pt x="134" y="143"/>
                    <a:pt x="205" y="74"/>
                    <a:pt x="253" y="66"/>
                  </a:cubicBezTo>
                  <a:cubicBezTo>
                    <a:pt x="261" y="58"/>
                    <a:pt x="268" y="58"/>
                    <a:pt x="275" y="6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1" name="Freeform 200">
              <a:extLst>
                <a:ext uri="{FF2B5EF4-FFF2-40B4-BE49-F238E27FC236}">
                  <a16:creationId xmlns:a16="http://schemas.microsoft.com/office/drawing/2014/main" id="{934F07D6-CC94-4252-8EB9-252A2CF00C26}"/>
                </a:ext>
              </a:extLst>
            </p:cNvPr>
            <p:cNvSpPr>
              <a:spLocks/>
            </p:cNvSpPr>
            <p:nvPr/>
          </p:nvSpPr>
          <p:spPr bwMode="auto">
            <a:xfrm>
              <a:off x="4323019" y="2528555"/>
              <a:ext cx="75979" cy="75979"/>
            </a:xfrm>
            <a:custGeom>
              <a:avLst/>
              <a:gdLst>
                <a:gd name="T0" fmla="*/ 169 w 186"/>
                <a:gd name="T1" fmla="*/ 167 h 178"/>
                <a:gd name="T2" fmla="*/ 0 w 186"/>
                <a:gd name="T3" fmla="*/ 86 h 178"/>
                <a:gd name="T4" fmla="*/ 50 w 186"/>
                <a:gd name="T5" fmla="*/ 66 h 178"/>
                <a:gd name="T6" fmla="*/ 112 w 186"/>
                <a:gd name="T7" fmla="*/ 21 h 178"/>
                <a:gd name="T8" fmla="*/ 144 w 186"/>
                <a:gd name="T9" fmla="*/ 5 h 178"/>
                <a:gd name="T10" fmla="*/ 183 w 186"/>
                <a:gd name="T11" fmla="*/ 167 h 178"/>
                <a:gd name="T12" fmla="*/ 169 w 186"/>
                <a:gd name="T13" fmla="*/ 167 h 178"/>
              </a:gdLst>
              <a:ahLst/>
              <a:cxnLst>
                <a:cxn ang="0">
                  <a:pos x="T0" y="T1"/>
                </a:cxn>
                <a:cxn ang="0">
                  <a:pos x="T2" y="T3"/>
                </a:cxn>
                <a:cxn ang="0">
                  <a:pos x="T4" y="T5"/>
                </a:cxn>
                <a:cxn ang="0">
                  <a:pos x="T6" y="T7"/>
                </a:cxn>
                <a:cxn ang="0">
                  <a:pos x="T8" y="T9"/>
                </a:cxn>
                <a:cxn ang="0">
                  <a:pos x="T10" y="T11"/>
                </a:cxn>
                <a:cxn ang="0">
                  <a:pos x="T12" y="T13"/>
                </a:cxn>
              </a:cxnLst>
              <a:rect l="0" t="0" r="r" b="b"/>
              <a:pathLst>
                <a:path w="186" h="178">
                  <a:moveTo>
                    <a:pt x="169" y="167"/>
                  </a:moveTo>
                  <a:cubicBezTo>
                    <a:pt x="117" y="131"/>
                    <a:pt x="48" y="130"/>
                    <a:pt x="0" y="86"/>
                  </a:cubicBezTo>
                  <a:cubicBezTo>
                    <a:pt x="12" y="70"/>
                    <a:pt x="31" y="67"/>
                    <a:pt x="50" y="66"/>
                  </a:cubicBezTo>
                  <a:cubicBezTo>
                    <a:pt x="85" y="71"/>
                    <a:pt x="102" y="52"/>
                    <a:pt x="112" y="21"/>
                  </a:cubicBezTo>
                  <a:cubicBezTo>
                    <a:pt x="120" y="9"/>
                    <a:pt x="128" y="0"/>
                    <a:pt x="144" y="5"/>
                  </a:cubicBezTo>
                  <a:cubicBezTo>
                    <a:pt x="186" y="52"/>
                    <a:pt x="157" y="116"/>
                    <a:pt x="183" y="167"/>
                  </a:cubicBezTo>
                  <a:cubicBezTo>
                    <a:pt x="179" y="178"/>
                    <a:pt x="174" y="178"/>
                    <a:pt x="169" y="16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2" name="Freeform 201">
              <a:extLst>
                <a:ext uri="{FF2B5EF4-FFF2-40B4-BE49-F238E27FC236}">
                  <a16:creationId xmlns:a16="http://schemas.microsoft.com/office/drawing/2014/main" id="{74695DBB-4B14-4384-A1D6-ECD87B0778DE}"/>
                </a:ext>
              </a:extLst>
            </p:cNvPr>
            <p:cNvSpPr>
              <a:spLocks/>
            </p:cNvSpPr>
            <p:nvPr/>
          </p:nvSpPr>
          <p:spPr bwMode="auto">
            <a:xfrm>
              <a:off x="5354159" y="3312764"/>
              <a:ext cx="48843" cy="70552"/>
            </a:xfrm>
            <a:custGeom>
              <a:avLst/>
              <a:gdLst>
                <a:gd name="T0" fmla="*/ 0 w 117"/>
                <a:gd name="T1" fmla="*/ 125 h 165"/>
                <a:gd name="T2" fmla="*/ 86 w 117"/>
                <a:gd name="T3" fmla="*/ 0 h 165"/>
                <a:gd name="T4" fmla="*/ 104 w 117"/>
                <a:gd name="T5" fmla="*/ 122 h 165"/>
                <a:gd name="T6" fmla="*/ 88 w 117"/>
                <a:gd name="T7" fmla="*/ 150 h 165"/>
                <a:gd name="T8" fmla="*/ 59 w 117"/>
                <a:gd name="T9" fmla="*/ 161 h 165"/>
                <a:gd name="T10" fmla="*/ 0 w 117"/>
                <a:gd name="T11" fmla="*/ 125 h 165"/>
              </a:gdLst>
              <a:ahLst/>
              <a:cxnLst>
                <a:cxn ang="0">
                  <a:pos x="T0" y="T1"/>
                </a:cxn>
                <a:cxn ang="0">
                  <a:pos x="T2" y="T3"/>
                </a:cxn>
                <a:cxn ang="0">
                  <a:pos x="T4" y="T5"/>
                </a:cxn>
                <a:cxn ang="0">
                  <a:pos x="T6" y="T7"/>
                </a:cxn>
                <a:cxn ang="0">
                  <a:pos x="T8" y="T9"/>
                </a:cxn>
                <a:cxn ang="0">
                  <a:pos x="T10" y="T11"/>
                </a:cxn>
              </a:cxnLst>
              <a:rect l="0" t="0" r="r" b="b"/>
              <a:pathLst>
                <a:path w="117" h="165">
                  <a:moveTo>
                    <a:pt x="0" y="125"/>
                  </a:moveTo>
                  <a:cubicBezTo>
                    <a:pt x="29" y="84"/>
                    <a:pt x="2" y="4"/>
                    <a:pt x="86" y="0"/>
                  </a:cubicBezTo>
                  <a:cubicBezTo>
                    <a:pt x="117" y="37"/>
                    <a:pt x="112" y="79"/>
                    <a:pt x="104" y="122"/>
                  </a:cubicBezTo>
                  <a:cubicBezTo>
                    <a:pt x="101" y="133"/>
                    <a:pt x="96" y="142"/>
                    <a:pt x="88" y="150"/>
                  </a:cubicBezTo>
                  <a:cubicBezTo>
                    <a:pt x="79" y="156"/>
                    <a:pt x="69" y="160"/>
                    <a:pt x="59" y="161"/>
                  </a:cubicBezTo>
                  <a:cubicBezTo>
                    <a:pt x="35" y="156"/>
                    <a:pt x="2" y="165"/>
                    <a:pt x="0" y="12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3" name="Freeform 202">
              <a:extLst>
                <a:ext uri="{FF2B5EF4-FFF2-40B4-BE49-F238E27FC236}">
                  <a16:creationId xmlns:a16="http://schemas.microsoft.com/office/drawing/2014/main" id="{C307E25F-1094-4316-8553-3070C43AB691}"/>
                </a:ext>
              </a:extLst>
            </p:cNvPr>
            <p:cNvSpPr>
              <a:spLocks/>
            </p:cNvSpPr>
            <p:nvPr/>
          </p:nvSpPr>
          <p:spPr bwMode="auto">
            <a:xfrm>
              <a:off x="4624220" y="3122818"/>
              <a:ext cx="59698" cy="62411"/>
            </a:xfrm>
            <a:custGeom>
              <a:avLst/>
              <a:gdLst>
                <a:gd name="T0" fmla="*/ 145 w 146"/>
                <a:gd name="T1" fmla="*/ 134 h 152"/>
                <a:gd name="T2" fmla="*/ 146 w 146"/>
                <a:gd name="T3" fmla="*/ 151 h 152"/>
                <a:gd name="T4" fmla="*/ 0 w 146"/>
                <a:gd name="T5" fmla="*/ 51 h 152"/>
                <a:gd name="T6" fmla="*/ 62 w 146"/>
                <a:gd name="T7" fmla="*/ 28 h 152"/>
                <a:gd name="T8" fmla="*/ 81 w 146"/>
                <a:gd name="T9" fmla="*/ 91 h 152"/>
                <a:gd name="T10" fmla="*/ 145 w 146"/>
                <a:gd name="T11" fmla="*/ 134 h 152"/>
              </a:gdLst>
              <a:ahLst/>
              <a:cxnLst>
                <a:cxn ang="0">
                  <a:pos x="T0" y="T1"/>
                </a:cxn>
                <a:cxn ang="0">
                  <a:pos x="T2" y="T3"/>
                </a:cxn>
                <a:cxn ang="0">
                  <a:pos x="T4" y="T5"/>
                </a:cxn>
                <a:cxn ang="0">
                  <a:pos x="T6" y="T7"/>
                </a:cxn>
                <a:cxn ang="0">
                  <a:pos x="T8" y="T9"/>
                </a:cxn>
                <a:cxn ang="0">
                  <a:pos x="T10" y="T11"/>
                </a:cxn>
              </a:cxnLst>
              <a:rect l="0" t="0" r="r" b="b"/>
              <a:pathLst>
                <a:path w="146" h="152">
                  <a:moveTo>
                    <a:pt x="145" y="134"/>
                  </a:moveTo>
                  <a:cubicBezTo>
                    <a:pt x="145" y="139"/>
                    <a:pt x="145" y="145"/>
                    <a:pt x="146" y="151"/>
                  </a:cubicBezTo>
                  <a:cubicBezTo>
                    <a:pt x="75" y="149"/>
                    <a:pt x="2" y="152"/>
                    <a:pt x="0" y="51"/>
                  </a:cubicBezTo>
                  <a:cubicBezTo>
                    <a:pt x="4" y="0"/>
                    <a:pt x="32" y="12"/>
                    <a:pt x="62" y="28"/>
                  </a:cubicBezTo>
                  <a:cubicBezTo>
                    <a:pt x="68" y="49"/>
                    <a:pt x="58" y="75"/>
                    <a:pt x="81" y="91"/>
                  </a:cubicBezTo>
                  <a:cubicBezTo>
                    <a:pt x="106" y="100"/>
                    <a:pt x="136" y="102"/>
                    <a:pt x="145" y="13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4" name="Freeform 203">
              <a:extLst>
                <a:ext uri="{FF2B5EF4-FFF2-40B4-BE49-F238E27FC236}">
                  <a16:creationId xmlns:a16="http://schemas.microsoft.com/office/drawing/2014/main" id="{F56BFA98-99BD-45E5-BFD1-6D40ADF45B56}"/>
                </a:ext>
              </a:extLst>
            </p:cNvPr>
            <p:cNvSpPr>
              <a:spLocks/>
            </p:cNvSpPr>
            <p:nvPr/>
          </p:nvSpPr>
          <p:spPr bwMode="auto">
            <a:xfrm>
              <a:off x="4540101" y="3054979"/>
              <a:ext cx="94973" cy="78692"/>
            </a:xfrm>
            <a:custGeom>
              <a:avLst/>
              <a:gdLst>
                <a:gd name="T0" fmla="*/ 0 w 227"/>
                <a:gd name="T1" fmla="*/ 166 h 187"/>
                <a:gd name="T2" fmla="*/ 114 w 227"/>
                <a:gd name="T3" fmla="*/ 100 h 187"/>
                <a:gd name="T4" fmla="*/ 223 w 227"/>
                <a:gd name="T5" fmla="*/ 0 h 187"/>
                <a:gd name="T6" fmla="*/ 104 w 227"/>
                <a:gd name="T7" fmla="*/ 125 h 187"/>
                <a:gd name="T8" fmla="*/ 18 w 227"/>
                <a:gd name="T9" fmla="*/ 187 h 187"/>
                <a:gd name="T10" fmla="*/ 0 w 227"/>
                <a:gd name="T11" fmla="*/ 166 h 187"/>
              </a:gdLst>
              <a:ahLst/>
              <a:cxnLst>
                <a:cxn ang="0">
                  <a:pos x="T0" y="T1"/>
                </a:cxn>
                <a:cxn ang="0">
                  <a:pos x="T2" y="T3"/>
                </a:cxn>
                <a:cxn ang="0">
                  <a:pos x="T4" y="T5"/>
                </a:cxn>
                <a:cxn ang="0">
                  <a:pos x="T6" y="T7"/>
                </a:cxn>
                <a:cxn ang="0">
                  <a:pos x="T8" y="T9"/>
                </a:cxn>
                <a:cxn ang="0">
                  <a:pos x="T10" y="T11"/>
                </a:cxn>
              </a:cxnLst>
              <a:rect l="0" t="0" r="r" b="b"/>
              <a:pathLst>
                <a:path w="227" h="187">
                  <a:moveTo>
                    <a:pt x="0" y="166"/>
                  </a:moveTo>
                  <a:cubicBezTo>
                    <a:pt x="29" y="128"/>
                    <a:pt x="59" y="95"/>
                    <a:pt x="114" y="100"/>
                  </a:cubicBezTo>
                  <a:cubicBezTo>
                    <a:pt x="185" y="107"/>
                    <a:pt x="168" y="14"/>
                    <a:pt x="223" y="0"/>
                  </a:cubicBezTo>
                  <a:cubicBezTo>
                    <a:pt x="227" y="83"/>
                    <a:pt x="189" y="129"/>
                    <a:pt x="104" y="125"/>
                  </a:cubicBezTo>
                  <a:cubicBezTo>
                    <a:pt x="56" y="123"/>
                    <a:pt x="54" y="177"/>
                    <a:pt x="18" y="187"/>
                  </a:cubicBezTo>
                  <a:cubicBezTo>
                    <a:pt x="10" y="182"/>
                    <a:pt x="3" y="175"/>
                    <a:pt x="0" y="16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5" name="Freeform 204">
              <a:extLst>
                <a:ext uri="{FF2B5EF4-FFF2-40B4-BE49-F238E27FC236}">
                  <a16:creationId xmlns:a16="http://schemas.microsoft.com/office/drawing/2014/main" id="{2305F4A0-329C-420E-BA09-BFD5F8B4020E}"/>
                </a:ext>
              </a:extLst>
            </p:cNvPr>
            <p:cNvSpPr>
              <a:spLocks/>
            </p:cNvSpPr>
            <p:nvPr/>
          </p:nvSpPr>
          <p:spPr bwMode="auto">
            <a:xfrm>
              <a:off x="5199488" y="3277489"/>
              <a:ext cx="94973" cy="29849"/>
            </a:xfrm>
            <a:custGeom>
              <a:avLst/>
              <a:gdLst>
                <a:gd name="T0" fmla="*/ 201 w 225"/>
                <a:gd name="T1" fmla="*/ 43 h 69"/>
                <a:gd name="T2" fmla="*/ 84 w 225"/>
                <a:gd name="T3" fmla="*/ 53 h 69"/>
                <a:gd name="T4" fmla="*/ 0 w 225"/>
                <a:gd name="T5" fmla="*/ 22 h 69"/>
                <a:gd name="T6" fmla="*/ 20 w 225"/>
                <a:gd name="T7" fmla="*/ 3 h 69"/>
                <a:gd name="T8" fmla="*/ 136 w 225"/>
                <a:gd name="T9" fmla="*/ 1 h 69"/>
                <a:gd name="T10" fmla="*/ 225 w 225"/>
                <a:gd name="T11" fmla="*/ 43 h 69"/>
                <a:gd name="T12" fmla="*/ 201 w 225"/>
                <a:gd name="T13" fmla="*/ 43 h 69"/>
              </a:gdLst>
              <a:ahLst/>
              <a:cxnLst>
                <a:cxn ang="0">
                  <a:pos x="T0" y="T1"/>
                </a:cxn>
                <a:cxn ang="0">
                  <a:pos x="T2" y="T3"/>
                </a:cxn>
                <a:cxn ang="0">
                  <a:pos x="T4" y="T5"/>
                </a:cxn>
                <a:cxn ang="0">
                  <a:pos x="T6" y="T7"/>
                </a:cxn>
                <a:cxn ang="0">
                  <a:pos x="T8" y="T9"/>
                </a:cxn>
                <a:cxn ang="0">
                  <a:pos x="T10" y="T11"/>
                </a:cxn>
                <a:cxn ang="0">
                  <a:pos x="T12" y="T13"/>
                </a:cxn>
              </a:cxnLst>
              <a:rect l="0" t="0" r="r" b="b"/>
              <a:pathLst>
                <a:path w="225" h="69">
                  <a:moveTo>
                    <a:pt x="201" y="43"/>
                  </a:moveTo>
                  <a:cubicBezTo>
                    <a:pt x="160" y="21"/>
                    <a:pt x="120" y="40"/>
                    <a:pt x="84" y="53"/>
                  </a:cubicBezTo>
                  <a:cubicBezTo>
                    <a:pt x="42" y="69"/>
                    <a:pt x="19" y="57"/>
                    <a:pt x="0" y="22"/>
                  </a:cubicBezTo>
                  <a:cubicBezTo>
                    <a:pt x="4" y="13"/>
                    <a:pt x="10" y="7"/>
                    <a:pt x="20" y="3"/>
                  </a:cubicBezTo>
                  <a:cubicBezTo>
                    <a:pt x="59" y="20"/>
                    <a:pt x="97" y="0"/>
                    <a:pt x="136" y="1"/>
                  </a:cubicBezTo>
                  <a:cubicBezTo>
                    <a:pt x="174" y="1"/>
                    <a:pt x="209" y="0"/>
                    <a:pt x="225" y="43"/>
                  </a:cubicBezTo>
                  <a:cubicBezTo>
                    <a:pt x="217" y="50"/>
                    <a:pt x="209" y="50"/>
                    <a:pt x="201" y="43"/>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6" name="Freeform 205">
              <a:extLst>
                <a:ext uri="{FF2B5EF4-FFF2-40B4-BE49-F238E27FC236}">
                  <a16:creationId xmlns:a16="http://schemas.microsoft.com/office/drawing/2014/main" id="{DBEC0D76-8EB2-4ED6-A185-763A1413887B}"/>
                </a:ext>
              </a:extLst>
            </p:cNvPr>
            <p:cNvSpPr>
              <a:spLocks/>
            </p:cNvSpPr>
            <p:nvPr/>
          </p:nvSpPr>
          <p:spPr bwMode="auto">
            <a:xfrm>
              <a:off x="5533252" y="3082115"/>
              <a:ext cx="67838" cy="35276"/>
            </a:xfrm>
            <a:custGeom>
              <a:avLst/>
              <a:gdLst>
                <a:gd name="T0" fmla="*/ 107 w 160"/>
                <a:gd name="T1" fmla="*/ 0 h 88"/>
                <a:gd name="T2" fmla="*/ 155 w 160"/>
                <a:gd name="T3" fmla="*/ 51 h 88"/>
                <a:gd name="T4" fmla="*/ 90 w 160"/>
                <a:gd name="T5" fmla="*/ 80 h 88"/>
                <a:gd name="T6" fmla="*/ 0 w 160"/>
                <a:gd name="T7" fmla="*/ 83 h 88"/>
                <a:gd name="T8" fmla="*/ 80 w 160"/>
                <a:gd name="T9" fmla="*/ 41 h 88"/>
                <a:gd name="T10" fmla="*/ 107 w 160"/>
                <a:gd name="T11" fmla="*/ 0 h 88"/>
              </a:gdLst>
              <a:ahLst/>
              <a:cxnLst>
                <a:cxn ang="0">
                  <a:pos x="T0" y="T1"/>
                </a:cxn>
                <a:cxn ang="0">
                  <a:pos x="T2" y="T3"/>
                </a:cxn>
                <a:cxn ang="0">
                  <a:pos x="T4" y="T5"/>
                </a:cxn>
                <a:cxn ang="0">
                  <a:pos x="T6" y="T7"/>
                </a:cxn>
                <a:cxn ang="0">
                  <a:pos x="T8" y="T9"/>
                </a:cxn>
                <a:cxn ang="0">
                  <a:pos x="T10" y="T11"/>
                </a:cxn>
              </a:cxnLst>
              <a:rect l="0" t="0" r="r" b="b"/>
              <a:pathLst>
                <a:path w="160" h="88">
                  <a:moveTo>
                    <a:pt x="107" y="0"/>
                  </a:moveTo>
                  <a:cubicBezTo>
                    <a:pt x="142" y="0"/>
                    <a:pt x="160" y="22"/>
                    <a:pt x="155" y="51"/>
                  </a:cubicBezTo>
                  <a:cubicBezTo>
                    <a:pt x="149" y="86"/>
                    <a:pt x="116" y="88"/>
                    <a:pt x="90" y="80"/>
                  </a:cubicBezTo>
                  <a:cubicBezTo>
                    <a:pt x="58" y="71"/>
                    <a:pt x="30" y="78"/>
                    <a:pt x="0" y="83"/>
                  </a:cubicBezTo>
                  <a:cubicBezTo>
                    <a:pt x="10" y="38"/>
                    <a:pt x="44" y="37"/>
                    <a:pt x="80" y="41"/>
                  </a:cubicBezTo>
                  <a:cubicBezTo>
                    <a:pt x="118" y="46"/>
                    <a:pt x="118" y="27"/>
                    <a:pt x="107"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7" name="Freeform 206">
              <a:extLst>
                <a:ext uri="{FF2B5EF4-FFF2-40B4-BE49-F238E27FC236}">
                  <a16:creationId xmlns:a16="http://schemas.microsoft.com/office/drawing/2014/main" id="{9893C203-69F5-4096-AC77-50CF5FD5AD48}"/>
                </a:ext>
              </a:extLst>
            </p:cNvPr>
            <p:cNvSpPr>
              <a:spLocks/>
            </p:cNvSpPr>
            <p:nvPr/>
          </p:nvSpPr>
          <p:spPr bwMode="auto">
            <a:xfrm>
              <a:off x="5389435" y="3280202"/>
              <a:ext cx="40703" cy="92260"/>
            </a:xfrm>
            <a:custGeom>
              <a:avLst/>
              <a:gdLst>
                <a:gd name="T0" fmla="*/ 0 w 99"/>
                <a:gd name="T1" fmla="*/ 226 h 226"/>
                <a:gd name="T2" fmla="*/ 1 w 99"/>
                <a:gd name="T3" fmla="*/ 82 h 226"/>
                <a:gd name="T4" fmla="*/ 41 w 99"/>
                <a:gd name="T5" fmla="*/ 0 h 226"/>
                <a:gd name="T6" fmla="*/ 61 w 99"/>
                <a:gd name="T7" fmla="*/ 2 h 226"/>
                <a:gd name="T8" fmla="*/ 82 w 99"/>
                <a:gd name="T9" fmla="*/ 103 h 226"/>
                <a:gd name="T10" fmla="*/ 70 w 99"/>
                <a:gd name="T11" fmla="*/ 128 h 226"/>
                <a:gd name="T12" fmla="*/ 0 w 99"/>
                <a:gd name="T13" fmla="*/ 226 h 226"/>
              </a:gdLst>
              <a:ahLst/>
              <a:cxnLst>
                <a:cxn ang="0">
                  <a:pos x="T0" y="T1"/>
                </a:cxn>
                <a:cxn ang="0">
                  <a:pos x="T2" y="T3"/>
                </a:cxn>
                <a:cxn ang="0">
                  <a:pos x="T4" y="T5"/>
                </a:cxn>
                <a:cxn ang="0">
                  <a:pos x="T6" y="T7"/>
                </a:cxn>
                <a:cxn ang="0">
                  <a:pos x="T8" y="T9"/>
                </a:cxn>
                <a:cxn ang="0">
                  <a:pos x="T10" y="T11"/>
                </a:cxn>
                <a:cxn ang="0">
                  <a:pos x="T12" y="T13"/>
                </a:cxn>
              </a:cxnLst>
              <a:rect l="0" t="0" r="r" b="b"/>
              <a:pathLst>
                <a:path w="99" h="226">
                  <a:moveTo>
                    <a:pt x="0" y="226"/>
                  </a:moveTo>
                  <a:cubicBezTo>
                    <a:pt x="0" y="178"/>
                    <a:pt x="1" y="130"/>
                    <a:pt x="1" y="82"/>
                  </a:cubicBezTo>
                  <a:cubicBezTo>
                    <a:pt x="56" y="75"/>
                    <a:pt x="39" y="33"/>
                    <a:pt x="41" y="0"/>
                  </a:cubicBezTo>
                  <a:cubicBezTo>
                    <a:pt x="48" y="1"/>
                    <a:pt x="54" y="1"/>
                    <a:pt x="61" y="2"/>
                  </a:cubicBezTo>
                  <a:cubicBezTo>
                    <a:pt x="99" y="29"/>
                    <a:pt x="93" y="65"/>
                    <a:pt x="82" y="103"/>
                  </a:cubicBezTo>
                  <a:cubicBezTo>
                    <a:pt x="79" y="111"/>
                    <a:pt x="75" y="120"/>
                    <a:pt x="70" y="128"/>
                  </a:cubicBezTo>
                  <a:cubicBezTo>
                    <a:pt x="36" y="153"/>
                    <a:pt x="64" y="223"/>
                    <a:pt x="0" y="22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38" name="Group 237">
              <a:extLst>
                <a:ext uri="{FF2B5EF4-FFF2-40B4-BE49-F238E27FC236}">
                  <a16:creationId xmlns:a16="http://schemas.microsoft.com/office/drawing/2014/main" id="{8DAC9F03-3279-476B-A567-C4709831721F}"/>
                </a:ext>
              </a:extLst>
            </p:cNvPr>
            <p:cNvGrpSpPr>
              <a:grpSpLocks/>
            </p:cNvGrpSpPr>
            <p:nvPr/>
          </p:nvGrpSpPr>
          <p:grpSpPr bwMode="auto">
            <a:xfrm>
              <a:off x="3685340" y="1709069"/>
              <a:ext cx="3828787" cy="4425764"/>
              <a:chOff x="1068" y="1915"/>
              <a:chExt cx="1411" cy="1631"/>
            </a:xfrm>
            <a:grpFill/>
          </p:grpSpPr>
          <p:sp>
            <p:nvSpPr>
              <p:cNvPr id="252" name="Freeform 208">
                <a:extLst>
                  <a:ext uri="{FF2B5EF4-FFF2-40B4-BE49-F238E27FC236}">
                    <a16:creationId xmlns:a16="http://schemas.microsoft.com/office/drawing/2014/main" id="{E3CFA137-3AE2-47C2-BCD7-1DD0678FE69C}"/>
                  </a:ext>
                </a:extLst>
              </p:cNvPr>
              <p:cNvSpPr>
                <a:spLocks/>
              </p:cNvSpPr>
              <p:nvPr/>
            </p:nvSpPr>
            <p:spPr bwMode="auto">
              <a:xfrm>
                <a:off x="1426" y="2439"/>
                <a:ext cx="20" cy="17"/>
              </a:xfrm>
              <a:custGeom>
                <a:avLst/>
                <a:gdLst>
                  <a:gd name="T0" fmla="*/ 64 w 127"/>
                  <a:gd name="T1" fmla="*/ 114 h 114"/>
                  <a:gd name="T2" fmla="*/ 0 w 127"/>
                  <a:gd name="T3" fmla="*/ 70 h 114"/>
                  <a:gd name="T4" fmla="*/ 123 w 127"/>
                  <a:gd name="T5" fmla="*/ 44 h 114"/>
                  <a:gd name="T6" fmla="*/ 127 w 127"/>
                  <a:gd name="T7" fmla="*/ 50 h 114"/>
                  <a:gd name="T8" fmla="*/ 105 w 127"/>
                  <a:gd name="T9" fmla="*/ 109 h 114"/>
                  <a:gd name="T10" fmla="*/ 64 w 127"/>
                  <a:gd name="T11" fmla="*/ 114 h 114"/>
                </a:gdLst>
                <a:ahLst/>
                <a:cxnLst>
                  <a:cxn ang="0">
                    <a:pos x="T0" y="T1"/>
                  </a:cxn>
                  <a:cxn ang="0">
                    <a:pos x="T2" y="T3"/>
                  </a:cxn>
                  <a:cxn ang="0">
                    <a:pos x="T4" y="T5"/>
                  </a:cxn>
                  <a:cxn ang="0">
                    <a:pos x="T6" y="T7"/>
                  </a:cxn>
                  <a:cxn ang="0">
                    <a:pos x="T8" y="T9"/>
                  </a:cxn>
                  <a:cxn ang="0">
                    <a:pos x="T10" y="T11"/>
                  </a:cxn>
                </a:cxnLst>
                <a:rect l="0" t="0" r="r" b="b"/>
                <a:pathLst>
                  <a:path w="127" h="114">
                    <a:moveTo>
                      <a:pt x="64" y="114"/>
                    </a:moveTo>
                    <a:cubicBezTo>
                      <a:pt x="35" y="111"/>
                      <a:pt x="15" y="94"/>
                      <a:pt x="0" y="70"/>
                    </a:cubicBezTo>
                    <a:cubicBezTo>
                      <a:pt x="39" y="53"/>
                      <a:pt x="71" y="0"/>
                      <a:pt x="123" y="44"/>
                    </a:cubicBezTo>
                    <a:cubicBezTo>
                      <a:pt x="123" y="44"/>
                      <a:pt x="127" y="50"/>
                      <a:pt x="127" y="50"/>
                    </a:cubicBezTo>
                    <a:cubicBezTo>
                      <a:pt x="101" y="63"/>
                      <a:pt x="126" y="94"/>
                      <a:pt x="105" y="109"/>
                    </a:cubicBezTo>
                    <a:cubicBezTo>
                      <a:pt x="92" y="111"/>
                      <a:pt x="78" y="112"/>
                      <a:pt x="64"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3" name="Freeform 209">
                <a:extLst>
                  <a:ext uri="{FF2B5EF4-FFF2-40B4-BE49-F238E27FC236}">
                    <a16:creationId xmlns:a16="http://schemas.microsoft.com/office/drawing/2014/main" id="{D08F3CEA-43EF-475E-8DE2-2B8F4F1B87FD}"/>
                  </a:ext>
                </a:extLst>
              </p:cNvPr>
              <p:cNvSpPr>
                <a:spLocks/>
              </p:cNvSpPr>
              <p:nvPr/>
            </p:nvSpPr>
            <p:spPr bwMode="auto">
              <a:xfrm>
                <a:off x="1382" y="2344"/>
                <a:ext cx="29" cy="10"/>
              </a:xfrm>
              <a:custGeom>
                <a:avLst/>
                <a:gdLst>
                  <a:gd name="T0" fmla="*/ 0 w 186"/>
                  <a:gd name="T1" fmla="*/ 42 h 63"/>
                  <a:gd name="T2" fmla="*/ 4 w 186"/>
                  <a:gd name="T3" fmla="*/ 0 h 63"/>
                  <a:gd name="T4" fmla="*/ 186 w 186"/>
                  <a:gd name="T5" fmla="*/ 23 h 63"/>
                  <a:gd name="T6" fmla="*/ 129 w 186"/>
                  <a:gd name="T7" fmla="*/ 58 h 63"/>
                  <a:gd name="T8" fmla="*/ 0 w 186"/>
                  <a:gd name="T9" fmla="*/ 42 h 63"/>
                </a:gdLst>
                <a:ahLst/>
                <a:cxnLst>
                  <a:cxn ang="0">
                    <a:pos x="T0" y="T1"/>
                  </a:cxn>
                  <a:cxn ang="0">
                    <a:pos x="T2" y="T3"/>
                  </a:cxn>
                  <a:cxn ang="0">
                    <a:pos x="T4" y="T5"/>
                  </a:cxn>
                  <a:cxn ang="0">
                    <a:pos x="T6" y="T7"/>
                  </a:cxn>
                  <a:cxn ang="0">
                    <a:pos x="T8" y="T9"/>
                  </a:cxn>
                </a:cxnLst>
                <a:rect l="0" t="0" r="r" b="b"/>
                <a:pathLst>
                  <a:path w="186" h="63">
                    <a:moveTo>
                      <a:pt x="0" y="42"/>
                    </a:moveTo>
                    <a:cubicBezTo>
                      <a:pt x="1" y="28"/>
                      <a:pt x="2" y="14"/>
                      <a:pt x="4" y="0"/>
                    </a:cubicBezTo>
                    <a:cubicBezTo>
                      <a:pt x="65" y="3"/>
                      <a:pt x="123" y="31"/>
                      <a:pt x="186" y="23"/>
                    </a:cubicBezTo>
                    <a:cubicBezTo>
                      <a:pt x="182" y="61"/>
                      <a:pt x="161" y="63"/>
                      <a:pt x="129" y="58"/>
                    </a:cubicBezTo>
                    <a:cubicBezTo>
                      <a:pt x="86" y="50"/>
                      <a:pt x="43" y="47"/>
                      <a:pt x="0" y="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4" name="Freeform 210">
                <a:extLst>
                  <a:ext uri="{FF2B5EF4-FFF2-40B4-BE49-F238E27FC236}">
                    <a16:creationId xmlns:a16="http://schemas.microsoft.com/office/drawing/2014/main" id="{1CCA35C9-2F54-4442-859F-F738D39F4563}"/>
                  </a:ext>
                </a:extLst>
              </p:cNvPr>
              <p:cNvSpPr>
                <a:spLocks/>
              </p:cNvSpPr>
              <p:nvPr/>
            </p:nvSpPr>
            <p:spPr bwMode="auto">
              <a:xfrm>
                <a:off x="1504" y="2461"/>
                <a:ext cx="21" cy="14"/>
              </a:xfrm>
              <a:custGeom>
                <a:avLst/>
                <a:gdLst>
                  <a:gd name="T0" fmla="*/ 118 w 136"/>
                  <a:gd name="T1" fmla="*/ 7 h 89"/>
                  <a:gd name="T2" fmla="*/ 136 w 136"/>
                  <a:gd name="T3" fmla="*/ 41 h 89"/>
                  <a:gd name="T4" fmla="*/ 69 w 136"/>
                  <a:gd name="T5" fmla="*/ 73 h 89"/>
                  <a:gd name="T6" fmla="*/ 7 w 136"/>
                  <a:gd name="T7" fmla="*/ 53 h 89"/>
                  <a:gd name="T8" fmla="*/ 55 w 136"/>
                  <a:gd name="T9" fmla="*/ 0 h 89"/>
                  <a:gd name="T10" fmla="*/ 118 w 136"/>
                  <a:gd name="T11" fmla="*/ 7 h 89"/>
                </a:gdLst>
                <a:ahLst/>
                <a:cxnLst>
                  <a:cxn ang="0">
                    <a:pos x="T0" y="T1"/>
                  </a:cxn>
                  <a:cxn ang="0">
                    <a:pos x="T2" y="T3"/>
                  </a:cxn>
                  <a:cxn ang="0">
                    <a:pos x="T4" y="T5"/>
                  </a:cxn>
                  <a:cxn ang="0">
                    <a:pos x="T6" y="T7"/>
                  </a:cxn>
                  <a:cxn ang="0">
                    <a:pos x="T8" y="T9"/>
                  </a:cxn>
                  <a:cxn ang="0">
                    <a:pos x="T10" y="T11"/>
                  </a:cxn>
                </a:cxnLst>
                <a:rect l="0" t="0" r="r" b="b"/>
                <a:pathLst>
                  <a:path w="136" h="89">
                    <a:moveTo>
                      <a:pt x="118" y="7"/>
                    </a:moveTo>
                    <a:cubicBezTo>
                      <a:pt x="124" y="18"/>
                      <a:pt x="130" y="29"/>
                      <a:pt x="136" y="41"/>
                    </a:cubicBezTo>
                    <a:cubicBezTo>
                      <a:pt x="113" y="50"/>
                      <a:pt x="102" y="89"/>
                      <a:pt x="69" y="73"/>
                    </a:cubicBezTo>
                    <a:cubicBezTo>
                      <a:pt x="48" y="63"/>
                      <a:pt x="13" y="79"/>
                      <a:pt x="7" y="53"/>
                    </a:cubicBezTo>
                    <a:cubicBezTo>
                      <a:pt x="0" y="25"/>
                      <a:pt x="24" y="4"/>
                      <a:pt x="55" y="0"/>
                    </a:cubicBezTo>
                    <a:cubicBezTo>
                      <a:pt x="72" y="41"/>
                      <a:pt x="97" y="7"/>
                      <a:pt x="11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5" name="Freeform 211">
                <a:extLst>
                  <a:ext uri="{FF2B5EF4-FFF2-40B4-BE49-F238E27FC236}">
                    <a16:creationId xmlns:a16="http://schemas.microsoft.com/office/drawing/2014/main" id="{CFFAD3CC-3741-46F6-9596-9DE0B3E113EB}"/>
                  </a:ext>
                </a:extLst>
              </p:cNvPr>
              <p:cNvSpPr>
                <a:spLocks/>
              </p:cNvSpPr>
              <p:nvPr/>
            </p:nvSpPr>
            <p:spPr bwMode="auto">
              <a:xfrm>
                <a:off x="1729" y="2363"/>
                <a:ext cx="30" cy="19"/>
              </a:xfrm>
              <a:custGeom>
                <a:avLst/>
                <a:gdLst>
                  <a:gd name="T0" fmla="*/ 152 w 193"/>
                  <a:gd name="T1" fmla="*/ 0 h 126"/>
                  <a:gd name="T2" fmla="*/ 192 w 193"/>
                  <a:gd name="T3" fmla="*/ 39 h 126"/>
                  <a:gd name="T4" fmla="*/ 147 w 193"/>
                  <a:gd name="T5" fmla="*/ 67 h 126"/>
                  <a:gd name="T6" fmla="*/ 29 w 193"/>
                  <a:gd name="T7" fmla="*/ 111 h 126"/>
                  <a:gd name="T8" fmla="*/ 36 w 193"/>
                  <a:gd name="T9" fmla="*/ 121 h 126"/>
                  <a:gd name="T10" fmla="*/ 30 w 193"/>
                  <a:gd name="T11" fmla="*/ 126 h 126"/>
                  <a:gd name="T12" fmla="*/ 85 w 193"/>
                  <a:gd name="T13" fmla="*/ 45 h 126"/>
                  <a:gd name="T14" fmla="*/ 152 w 193"/>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 h="126">
                    <a:moveTo>
                      <a:pt x="152" y="0"/>
                    </a:moveTo>
                    <a:cubicBezTo>
                      <a:pt x="171" y="7"/>
                      <a:pt x="193" y="12"/>
                      <a:pt x="192" y="39"/>
                    </a:cubicBezTo>
                    <a:cubicBezTo>
                      <a:pt x="190" y="67"/>
                      <a:pt x="167" y="67"/>
                      <a:pt x="147" y="67"/>
                    </a:cubicBezTo>
                    <a:cubicBezTo>
                      <a:pt x="102" y="67"/>
                      <a:pt x="58" y="69"/>
                      <a:pt x="29" y="111"/>
                    </a:cubicBezTo>
                    <a:cubicBezTo>
                      <a:pt x="35" y="114"/>
                      <a:pt x="37" y="117"/>
                      <a:pt x="36" y="121"/>
                    </a:cubicBezTo>
                    <a:cubicBezTo>
                      <a:pt x="34" y="125"/>
                      <a:pt x="32" y="126"/>
                      <a:pt x="30" y="126"/>
                    </a:cubicBezTo>
                    <a:cubicBezTo>
                      <a:pt x="0" y="81"/>
                      <a:pt x="15" y="62"/>
                      <a:pt x="85" y="45"/>
                    </a:cubicBezTo>
                    <a:cubicBezTo>
                      <a:pt x="111" y="39"/>
                      <a:pt x="170" y="73"/>
                      <a:pt x="15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6" name="Freeform 212">
                <a:extLst>
                  <a:ext uri="{FF2B5EF4-FFF2-40B4-BE49-F238E27FC236}">
                    <a16:creationId xmlns:a16="http://schemas.microsoft.com/office/drawing/2014/main" id="{57157067-B171-4A73-94A7-AD2819C2D7C5}"/>
                  </a:ext>
                </a:extLst>
              </p:cNvPr>
              <p:cNvSpPr>
                <a:spLocks/>
              </p:cNvSpPr>
              <p:nvPr/>
            </p:nvSpPr>
            <p:spPr bwMode="auto">
              <a:xfrm>
                <a:off x="1732" y="2380"/>
                <a:ext cx="20" cy="22"/>
              </a:xfrm>
              <a:custGeom>
                <a:avLst/>
                <a:gdLst>
                  <a:gd name="T0" fmla="*/ 14 w 130"/>
                  <a:gd name="T1" fmla="*/ 15 h 143"/>
                  <a:gd name="T2" fmla="*/ 13 w 130"/>
                  <a:gd name="T3" fmla="*/ 0 h 143"/>
                  <a:gd name="T4" fmla="*/ 61 w 130"/>
                  <a:gd name="T5" fmla="*/ 143 h 143"/>
                  <a:gd name="T6" fmla="*/ 28 w 130"/>
                  <a:gd name="T7" fmla="*/ 92 h 143"/>
                  <a:gd name="T8" fmla="*/ 14 w 130"/>
                  <a:gd name="T9" fmla="*/ 15 h 143"/>
                </a:gdLst>
                <a:ahLst/>
                <a:cxnLst>
                  <a:cxn ang="0">
                    <a:pos x="T0" y="T1"/>
                  </a:cxn>
                  <a:cxn ang="0">
                    <a:pos x="T2" y="T3"/>
                  </a:cxn>
                  <a:cxn ang="0">
                    <a:pos x="T4" y="T5"/>
                  </a:cxn>
                  <a:cxn ang="0">
                    <a:pos x="T6" y="T7"/>
                  </a:cxn>
                  <a:cxn ang="0">
                    <a:pos x="T8" y="T9"/>
                  </a:cxn>
                </a:cxnLst>
                <a:rect l="0" t="0" r="r" b="b"/>
                <a:pathLst>
                  <a:path w="130" h="143">
                    <a:moveTo>
                      <a:pt x="14" y="15"/>
                    </a:moveTo>
                    <a:cubicBezTo>
                      <a:pt x="14" y="10"/>
                      <a:pt x="13" y="5"/>
                      <a:pt x="13" y="0"/>
                    </a:cubicBezTo>
                    <a:cubicBezTo>
                      <a:pt x="123" y="16"/>
                      <a:pt x="101" y="77"/>
                      <a:pt x="61" y="143"/>
                    </a:cubicBezTo>
                    <a:cubicBezTo>
                      <a:pt x="36" y="133"/>
                      <a:pt x="0" y="106"/>
                      <a:pt x="28" y="92"/>
                    </a:cubicBezTo>
                    <a:cubicBezTo>
                      <a:pt x="130" y="41"/>
                      <a:pt x="9" y="41"/>
                      <a:pt x="14"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7" name="Freeform 213">
                <a:extLst>
                  <a:ext uri="{FF2B5EF4-FFF2-40B4-BE49-F238E27FC236}">
                    <a16:creationId xmlns:a16="http://schemas.microsoft.com/office/drawing/2014/main" id="{38CF4DD1-68B0-413A-8163-64D1E6D2EF82}"/>
                  </a:ext>
                </a:extLst>
              </p:cNvPr>
              <p:cNvSpPr>
                <a:spLocks/>
              </p:cNvSpPr>
              <p:nvPr/>
            </p:nvSpPr>
            <p:spPr bwMode="auto">
              <a:xfrm>
                <a:off x="1397" y="2433"/>
                <a:ext cx="26" cy="15"/>
              </a:xfrm>
              <a:custGeom>
                <a:avLst/>
                <a:gdLst>
                  <a:gd name="T0" fmla="*/ 171 w 171"/>
                  <a:gd name="T1" fmla="*/ 43 h 94"/>
                  <a:gd name="T2" fmla="*/ 109 w 171"/>
                  <a:gd name="T3" fmla="*/ 66 h 94"/>
                  <a:gd name="T4" fmla="*/ 9 w 171"/>
                  <a:gd name="T5" fmla="*/ 64 h 94"/>
                  <a:gd name="T6" fmla="*/ 2 w 171"/>
                  <a:gd name="T7" fmla="*/ 48 h 94"/>
                  <a:gd name="T8" fmla="*/ 8 w 171"/>
                  <a:gd name="T9" fmla="*/ 40 h 94"/>
                  <a:gd name="T10" fmla="*/ 113 w 171"/>
                  <a:gd name="T11" fmla="*/ 4 h 94"/>
                  <a:gd name="T12" fmla="*/ 170 w 171"/>
                  <a:gd name="T13" fmla="*/ 21 h 94"/>
                  <a:gd name="T14" fmla="*/ 171 w 171"/>
                  <a:gd name="T15" fmla="*/ 43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94">
                    <a:moveTo>
                      <a:pt x="171" y="43"/>
                    </a:moveTo>
                    <a:cubicBezTo>
                      <a:pt x="147" y="42"/>
                      <a:pt x="123" y="40"/>
                      <a:pt x="109" y="66"/>
                    </a:cubicBezTo>
                    <a:cubicBezTo>
                      <a:pt x="75" y="94"/>
                      <a:pt x="42" y="64"/>
                      <a:pt x="9" y="64"/>
                    </a:cubicBezTo>
                    <a:cubicBezTo>
                      <a:pt x="2" y="59"/>
                      <a:pt x="0" y="54"/>
                      <a:pt x="2" y="48"/>
                    </a:cubicBezTo>
                    <a:cubicBezTo>
                      <a:pt x="4" y="43"/>
                      <a:pt x="6" y="40"/>
                      <a:pt x="8" y="40"/>
                    </a:cubicBezTo>
                    <a:cubicBezTo>
                      <a:pt x="38" y="14"/>
                      <a:pt x="91" y="53"/>
                      <a:pt x="113" y="4"/>
                    </a:cubicBezTo>
                    <a:cubicBezTo>
                      <a:pt x="131" y="12"/>
                      <a:pt x="155" y="0"/>
                      <a:pt x="170" y="21"/>
                    </a:cubicBezTo>
                    <a:cubicBezTo>
                      <a:pt x="170" y="28"/>
                      <a:pt x="170" y="35"/>
                      <a:pt x="171"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8" name="Freeform 214">
                <a:extLst>
                  <a:ext uri="{FF2B5EF4-FFF2-40B4-BE49-F238E27FC236}">
                    <a16:creationId xmlns:a16="http://schemas.microsoft.com/office/drawing/2014/main" id="{933AD2F1-CD7B-427A-804C-9B26A5CEE301}"/>
                  </a:ext>
                </a:extLst>
              </p:cNvPr>
              <p:cNvSpPr>
                <a:spLocks/>
              </p:cNvSpPr>
              <p:nvPr/>
            </p:nvSpPr>
            <p:spPr bwMode="auto">
              <a:xfrm>
                <a:off x="1314" y="2189"/>
                <a:ext cx="11" cy="33"/>
              </a:xfrm>
              <a:custGeom>
                <a:avLst/>
                <a:gdLst>
                  <a:gd name="T0" fmla="*/ 72 w 72"/>
                  <a:gd name="T1" fmla="*/ 186 h 212"/>
                  <a:gd name="T2" fmla="*/ 54 w 72"/>
                  <a:gd name="T3" fmla="*/ 206 h 212"/>
                  <a:gd name="T4" fmla="*/ 2 w 72"/>
                  <a:gd name="T5" fmla="*/ 164 h 212"/>
                  <a:gd name="T6" fmla="*/ 13 w 72"/>
                  <a:gd name="T7" fmla="*/ 121 h 212"/>
                  <a:gd name="T8" fmla="*/ 11 w 72"/>
                  <a:gd name="T9" fmla="*/ 1 h 212"/>
                  <a:gd name="T10" fmla="*/ 32 w 72"/>
                  <a:gd name="T11" fmla="*/ 0 h 212"/>
                  <a:gd name="T12" fmla="*/ 72 w 72"/>
                  <a:gd name="T13" fmla="*/ 186 h 212"/>
                </a:gdLst>
                <a:ahLst/>
                <a:cxnLst>
                  <a:cxn ang="0">
                    <a:pos x="T0" y="T1"/>
                  </a:cxn>
                  <a:cxn ang="0">
                    <a:pos x="T2" y="T3"/>
                  </a:cxn>
                  <a:cxn ang="0">
                    <a:pos x="T4" y="T5"/>
                  </a:cxn>
                  <a:cxn ang="0">
                    <a:pos x="T6" y="T7"/>
                  </a:cxn>
                  <a:cxn ang="0">
                    <a:pos x="T8" y="T9"/>
                  </a:cxn>
                  <a:cxn ang="0">
                    <a:pos x="T10" y="T11"/>
                  </a:cxn>
                  <a:cxn ang="0">
                    <a:pos x="T12" y="T13"/>
                  </a:cxn>
                </a:cxnLst>
                <a:rect l="0" t="0" r="r" b="b"/>
                <a:pathLst>
                  <a:path w="72" h="212">
                    <a:moveTo>
                      <a:pt x="72" y="186"/>
                    </a:moveTo>
                    <a:cubicBezTo>
                      <a:pt x="66" y="193"/>
                      <a:pt x="60" y="199"/>
                      <a:pt x="54" y="206"/>
                    </a:cubicBezTo>
                    <a:cubicBezTo>
                      <a:pt x="21" y="212"/>
                      <a:pt x="13" y="186"/>
                      <a:pt x="2" y="164"/>
                    </a:cubicBezTo>
                    <a:cubicBezTo>
                      <a:pt x="0" y="148"/>
                      <a:pt x="3" y="134"/>
                      <a:pt x="13" y="121"/>
                    </a:cubicBezTo>
                    <a:cubicBezTo>
                      <a:pt x="12" y="81"/>
                      <a:pt x="11" y="41"/>
                      <a:pt x="11" y="1"/>
                    </a:cubicBezTo>
                    <a:cubicBezTo>
                      <a:pt x="18" y="1"/>
                      <a:pt x="25" y="0"/>
                      <a:pt x="32" y="0"/>
                    </a:cubicBezTo>
                    <a:cubicBezTo>
                      <a:pt x="38" y="64"/>
                      <a:pt x="28" y="131"/>
                      <a:pt x="72"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9" name="Freeform 215">
                <a:extLst>
                  <a:ext uri="{FF2B5EF4-FFF2-40B4-BE49-F238E27FC236}">
                    <a16:creationId xmlns:a16="http://schemas.microsoft.com/office/drawing/2014/main" id="{0EB1D099-AD19-4DEC-ABAF-B126DA4AA53F}"/>
                  </a:ext>
                </a:extLst>
              </p:cNvPr>
              <p:cNvSpPr>
                <a:spLocks/>
              </p:cNvSpPr>
              <p:nvPr/>
            </p:nvSpPr>
            <p:spPr bwMode="auto">
              <a:xfrm>
                <a:off x="1575" y="2449"/>
                <a:ext cx="20" cy="24"/>
              </a:xfrm>
              <a:custGeom>
                <a:avLst/>
                <a:gdLst>
                  <a:gd name="T0" fmla="*/ 134 w 134"/>
                  <a:gd name="T1" fmla="*/ 143 h 155"/>
                  <a:gd name="T2" fmla="*/ 7 w 134"/>
                  <a:gd name="T3" fmla="*/ 117 h 155"/>
                  <a:gd name="T4" fmla="*/ 2 w 134"/>
                  <a:gd name="T5" fmla="*/ 103 h 155"/>
                  <a:gd name="T6" fmla="*/ 8 w 134"/>
                  <a:gd name="T7" fmla="*/ 96 h 155"/>
                  <a:gd name="T8" fmla="*/ 134 w 134"/>
                  <a:gd name="T9" fmla="*/ 143 h 155"/>
                </a:gdLst>
                <a:ahLst/>
                <a:cxnLst>
                  <a:cxn ang="0">
                    <a:pos x="T0" y="T1"/>
                  </a:cxn>
                  <a:cxn ang="0">
                    <a:pos x="T2" y="T3"/>
                  </a:cxn>
                  <a:cxn ang="0">
                    <a:pos x="T4" y="T5"/>
                  </a:cxn>
                  <a:cxn ang="0">
                    <a:pos x="T6" y="T7"/>
                  </a:cxn>
                  <a:cxn ang="0">
                    <a:pos x="T8" y="T9"/>
                  </a:cxn>
                </a:cxnLst>
                <a:rect l="0" t="0" r="r" b="b"/>
                <a:pathLst>
                  <a:path w="134" h="155">
                    <a:moveTo>
                      <a:pt x="134" y="143"/>
                    </a:moveTo>
                    <a:cubicBezTo>
                      <a:pt x="88" y="155"/>
                      <a:pt x="59" y="82"/>
                      <a:pt x="7" y="117"/>
                    </a:cubicBezTo>
                    <a:cubicBezTo>
                      <a:pt x="2" y="112"/>
                      <a:pt x="0" y="108"/>
                      <a:pt x="2" y="103"/>
                    </a:cubicBezTo>
                    <a:cubicBezTo>
                      <a:pt x="4" y="99"/>
                      <a:pt x="6" y="96"/>
                      <a:pt x="8" y="96"/>
                    </a:cubicBezTo>
                    <a:cubicBezTo>
                      <a:pt x="92" y="0"/>
                      <a:pt x="95" y="121"/>
                      <a:pt x="134" y="1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0" name="Freeform 216">
                <a:extLst>
                  <a:ext uri="{FF2B5EF4-FFF2-40B4-BE49-F238E27FC236}">
                    <a16:creationId xmlns:a16="http://schemas.microsoft.com/office/drawing/2014/main" id="{5B5B32DD-E60B-43C0-AF9C-DFEDE2D35E3A}"/>
                  </a:ext>
                </a:extLst>
              </p:cNvPr>
              <p:cNvSpPr>
                <a:spLocks/>
              </p:cNvSpPr>
              <p:nvPr/>
            </p:nvSpPr>
            <p:spPr bwMode="auto">
              <a:xfrm>
                <a:off x="1669" y="2523"/>
                <a:ext cx="25" cy="11"/>
              </a:xfrm>
              <a:custGeom>
                <a:avLst/>
                <a:gdLst>
                  <a:gd name="T0" fmla="*/ 89 w 160"/>
                  <a:gd name="T1" fmla="*/ 18 h 73"/>
                  <a:gd name="T2" fmla="*/ 154 w 160"/>
                  <a:gd name="T3" fmla="*/ 40 h 73"/>
                  <a:gd name="T4" fmla="*/ 136 w 160"/>
                  <a:gd name="T5" fmla="*/ 73 h 73"/>
                  <a:gd name="T6" fmla="*/ 9 w 160"/>
                  <a:gd name="T7" fmla="*/ 19 h 73"/>
                  <a:gd name="T8" fmla="*/ 3 w 160"/>
                  <a:gd name="T9" fmla="*/ 6 h 73"/>
                  <a:gd name="T10" fmla="*/ 10 w 160"/>
                  <a:gd name="T11" fmla="*/ 0 h 73"/>
                  <a:gd name="T12" fmla="*/ 89 w 160"/>
                  <a:gd name="T13" fmla="*/ 18 h 73"/>
                </a:gdLst>
                <a:ahLst/>
                <a:cxnLst>
                  <a:cxn ang="0">
                    <a:pos x="T0" y="T1"/>
                  </a:cxn>
                  <a:cxn ang="0">
                    <a:pos x="T2" y="T3"/>
                  </a:cxn>
                  <a:cxn ang="0">
                    <a:pos x="T4" y="T5"/>
                  </a:cxn>
                  <a:cxn ang="0">
                    <a:pos x="T6" y="T7"/>
                  </a:cxn>
                  <a:cxn ang="0">
                    <a:pos x="T8" y="T9"/>
                  </a:cxn>
                  <a:cxn ang="0">
                    <a:pos x="T10" y="T11"/>
                  </a:cxn>
                  <a:cxn ang="0">
                    <a:pos x="T12" y="T13"/>
                  </a:cxn>
                </a:cxnLst>
                <a:rect l="0" t="0" r="r" b="b"/>
                <a:pathLst>
                  <a:path w="160" h="73">
                    <a:moveTo>
                      <a:pt x="89" y="18"/>
                    </a:moveTo>
                    <a:cubicBezTo>
                      <a:pt x="106" y="39"/>
                      <a:pt x="131" y="37"/>
                      <a:pt x="154" y="40"/>
                    </a:cubicBezTo>
                    <a:cubicBezTo>
                      <a:pt x="160" y="58"/>
                      <a:pt x="150" y="67"/>
                      <a:pt x="136" y="73"/>
                    </a:cubicBezTo>
                    <a:cubicBezTo>
                      <a:pt x="93" y="57"/>
                      <a:pt x="44" y="54"/>
                      <a:pt x="9" y="19"/>
                    </a:cubicBezTo>
                    <a:cubicBezTo>
                      <a:pt x="3" y="15"/>
                      <a:pt x="0" y="10"/>
                      <a:pt x="3" y="6"/>
                    </a:cubicBezTo>
                    <a:cubicBezTo>
                      <a:pt x="5" y="2"/>
                      <a:pt x="8" y="0"/>
                      <a:pt x="10" y="0"/>
                    </a:cubicBezTo>
                    <a:cubicBezTo>
                      <a:pt x="36" y="6"/>
                      <a:pt x="63" y="12"/>
                      <a:pt x="89"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1" name="Freeform 217">
                <a:extLst>
                  <a:ext uri="{FF2B5EF4-FFF2-40B4-BE49-F238E27FC236}">
                    <a16:creationId xmlns:a16="http://schemas.microsoft.com/office/drawing/2014/main" id="{7ADFE2AB-ABAC-49CB-AD67-B3240184AD08}"/>
                  </a:ext>
                </a:extLst>
              </p:cNvPr>
              <p:cNvSpPr>
                <a:spLocks/>
              </p:cNvSpPr>
              <p:nvPr/>
            </p:nvSpPr>
            <p:spPr bwMode="auto">
              <a:xfrm>
                <a:off x="1606" y="2483"/>
                <a:ext cx="23" cy="14"/>
              </a:xfrm>
              <a:custGeom>
                <a:avLst/>
                <a:gdLst>
                  <a:gd name="T0" fmla="*/ 150 w 150"/>
                  <a:gd name="T1" fmla="*/ 69 h 88"/>
                  <a:gd name="T2" fmla="*/ 130 w 150"/>
                  <a:gd name="T3" fmla="*/ 88 h 88"/>
                  <a:gd name="T4" fmla="*/ 8 w 150"/>
                  <a:gd name="T5" fmla="*/ 22 h 88"/>
                  <a:gd name="T6" fmla="*/ 2 w 150"/>
                  <a:gd name="T7" fmla="*/ 10 h 88"/>
                  <a:gd name="T8" fmla="*/ 8 w 150"/>
                  <a:gd name="T9" fmla="*/ 4 h 88"/>
                  <a:gd name="T10" fmla="*/ 150 w 150"/>
                  <a:gd name="T11" fmla="*/ 69 h 88"/>
                </a:gdLst>
                <a:ahLst/>
                <a:cxnLst>
                  <a:cxn ang="0">
                    <a:pos x="T0" y="T1"/>
                  </a:cxn>
                  <a:cxn ang="0">
                    <a:pos x="T2" y="T3"/>
                  </a:cxn>
                  <a:cxn ang="0">
                    <a:pos x="T4" y="T5"/>
                  </a:cxn>
                  <a:cxn ang="0">
                    <a:pos x="T6" y="T7"/>
                  </a:cxn>
                  <a:cxn ang="0">
                    <a:pos x="T8" y="T9"/>
                  </a:cxn>
                  <a:cxn ang="0">
                    <a:pos x="T10" y="T11"/>
                  </a:cxn>
                </a:cxnLst>
                <a:rect l="0" t="0" r="r" b="b"/>
                <a:pathLst>
                  <a:path w="150" h="88">
                    <a:moveTo>
                      <a:pt x="150" y="69"/>
                    </a:moveTo>
                    <a:cubicBezTo>
                      <a:pt x="143" y="76"/>
                      <a:pt x="136" y="82"/>
                      <a:pt x="130" y="88"/>
                    </a:cubicBezTo>
                    <a:cubicBezTo>
                      <a:pt x="100" y="46"/>
                      <a:pt x="59" y="24"/>
                      <a:pt x="8" y="22"/>
                    </a:cubicBezTo>
                    <a:cubicBezTo>
                      <a:pt x="2" y="18"/>
                      <a:pt x="0" y="14"/>
                      <a:pt x="2" y="10"/>
                    </a:cubicBezTo>
                    <a:cubicBezTo>
                      <a:pt x="4" y="6"/>
                      <a:pt x="6" y="4"/>
                      <a:pt x="8" y="4"/>
                    </a:cubicBezTo>
                    <a:cubicBezTo>
                      <a:pt x="67" y="0"/>
                      <a:pt x="117" y="15"/>
                      <a:pt x="150"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2" name="Freeform 218">
                <a:extLst>
                  <a:ext uri="{FF2B5EF4-FFF2-40B4-BE49-F238E27FC236}">
                    <a16:creationId xmlns:a16="http://schemas.microsoft.com/office/drawing/2014/main" id="{662A8342-79BA-4529-A128-006950F70313}"/>
                  </a:ext>
                </a:extLst>
              </p:cNvPr>
              <p:cNvSpPr>
                <a:spLocks/>
              </p:cNvSpPr>
              <p:nvPr/>
            </p:nvSpPr>
            <p:spPr bwMode="auto">
              <a:xfrm>
                <a:off x="1487" y="2437"/>
                <a:ext cx="19" cy="16"/>
              </a:xfrm>
              <a:custGeom>
                <a:avLst/>
                <a:gdLst>
                  <a:gd name="T0" fmla="*/ 124 w 124"/>
                  <a:gd name="T1" fmla="*/ 86 h 105"/>
                  <a:gd name="T2" fmla="*/ 0 w 124"/>
                  <a:gd name="T3" fmla="*/ 102 h 105"/>
                  <a:gd name="T4" fmla="*/ 124 w 124"/>
                  <a:gd name="T5" fmla="*/ 86 h 105"/>
                </a:gdLst>
                <a:ahLst/>
                <a:cxnLst>
                  <a:cxn ang="0">
                    <a:pos x="T0" y="T1"/>
                  </a:cxn>
                  <a:cxn ang="0">
                    <a:pos x="T2" y="T3"/>
                  </a:cxn>
                  <a:cxn ang="0">
                    <a:pos x="T4" y="T5"/>
                  </a:cxn>
                </a:cxnLst>
                <a:rect l="0" t="0" r="r" b="b"/>
                <a:pathLst>
                  <a:path w="124" h="105">
                    <a:moveTo>
                      <a:pt x="124" y="86"/>
                    </a:moveTo>
                    <a:cubicBezTo>
                      <a:pt x="77" y="50"/>
                      <a:pt x="42" y="105"/>
                      <a:pt x="0" y="102"/>
                    </a:cubicBezTo>
                    <a:cubicBezTo>
                      <a:pt x="36" y="55"/>
                      <a:pt x="70" y="0"/>
                      <a:pt x="12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3" name="Freeform 219">
                <a:extLst>
                  <a:ext uri="{FF2B5EF4-FFF2-40B4-BE49-F238E27FC236}">
                    <a16:creationId xmlns:a16="http://schemas.microsoft.com/office/drawing/2014/main" id="{42BD4EE3-3DD0-4747-A6E6-A59C584E568F}"/>
                  </a:ext>
                </a:extLst>
              </p:cNvPr>
              <p:cNvSpPr>
                <a:spLocks/>
              </p:cNvSpPr>
              <p:nvPr/>
            </p:nvSpPr>
            <p:spPr bwMode="auto">
              <a:xfrm>
                <a:off x="1329" y="2243"/>
                <a:ext cx="12" cy="19"/>
              </a:xfrm>
              <a:custGeom>
                <a:avLst/>
                <a:gdLst>
                  <a:gd name="T0" fmla="*/ 0 w 79"/>
                  <a:gd name="T1" fmla="*/ 0 h 121"/>
                  <a:gd name="T2" fmla="*/ 14 w 79"/>
                  <a:gd name="T3" fmla="*/ 0 h 121"/>
                  <a:gd name="T4" fmla="*/ 79 w 79"/>
                  <a:gd name="T5" fmla="*/ 121 h 121"/>
                  <a:gd name="T6" fmla="*/ 0 w 79"/>
                  <a:gd name="T7" fmla="*/ 0 h 121"/>
                </a:gdLst>
                <a:ahLst/>
                <a:cxnLst>
                  <a:cxn ang="0">
                    <a:pos x="T0" y="T1"/>
                  </a:cxn>
                  <a:cxn ang="0">
                    <a:pos x="T2" y="T3"/>
                  </a:cxn>
                  <a:cxn ang="0">
                    <a:pos x="T4" y="T5"/>
                  </a:cxn>
                  <a:cxn ang="0">
                    <a:pos x="T6" y="T7"/>
                  </a:cxn>
                </a:cxnLst>
                <a:rect l="0" t="0" r="r" b="b"/>
                <a:pathLst>
                  <a:path w="79" h="121">
                    <a:moveTo>
                      <a:pt x="0" y="0"/>
                    </a:moveTo>
                    <a:cubicBezTo>
                      <a:pt x="5" y="0"/>
                      <a:pt x="10" y="0"/>
                      <a:pt x="14" y="0"/>
                    </a:cubicBezTo>
                    <a:cubicBezTo>
                      <a:pt x="46" y="35"/>
                      <a:pt x="74" y="72"/>
                      <a:pt x="79" y="121"/>
                    </a:cubicBezTo>
                    <a:cubicBezTo>
                      <a:pt x="21" y="102"/>
                      <a:pt x="17" y="47"/>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4" name="Freeform 220">
                <a:extLst>
                  <a:ext uri="{FF2B5EF4-FFF2-40B4-BE49-F238E27FC236}">
                    <a16:creationId xmlns:a16="http://schemas.microsoft.com/office/drawing/2014/main" id="{797B75E5-09C7-44D4-92E0-D44DBFB7D3C3}"/>
                  </a:ext>
                </a:extLst>
              </p:cNvPr>
              <p:cNvSpPr>
                <a:spLocks/>
              </p:cNvSpPr>
              <p:nvPr/>
            </p:nvSpPr>
            <p:spPr bwMode="auto">
              <a:xfrm>
                <a:off x="1425" y="2363"/>
                <a:ext cx="19" cy="20"/>
              </a:xfrm>
              <a:custGeom>
                <a:avLst/>
                <a:gdLst>
                  <a:gd name="T0" fmla="*/ 33 w 122"/>
                  <a:gd name="T1" fmla="*/ 125 h 125"/>
                  <a:gd name="T2" fmla="*/ 34 w 122"/>
                  <a:gd name="T3" fmla="*/ 0 h 125"/>
                  <a:gd name="T4" fmla="*/ 33 w 122"/>
                  <a:gd name="T5" fmla="*/ 125 h 125"/>
                </a:gdLst>
                <a:ahLst/>
                <a:cxnLst>
                  <a:cxn ang="0">
                    <a:pos x="T0" y="T1"/>
                  </a:cxn>
                  <a:cxn ang="0">
                    <a:pos x="T2" y="T3"/>
                  </a:cxn>
                  <a:cxn ang="0">
                    <a:pos x="T4" y="T5"/>
                  </a:cxn>
                </a:cxnLst>
                <a:rect l="0" t="0" r="r" b="b"/>
                <a:pathLst>
                  <a:path w="122" h="125">
                    <a:moveTo>
                      <a:pt x="33" y="125"/>
                    </a:moveTo>
                    <a:cubicBezTo>
                      <a:pt x="53" y="83"/>
                      <a:pt x="0" y="41"/>
                      <a:pt x="34" y="0"/>
                    </a:cubicBezTo>
                    <a:cubicBezTo>
                      <a:pt x="37" y="42"/>
                      <a:pt x="122" y="84"/>
                      <a:pt x="33" y="1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5" name="Freeform 221">
                <a:extLst>
                  <a:ext uri="{FF2B5EF4-FFF2-40B4-BE49-F238E27FC236}">
                    <a16:creationId xmlns:a16="http://schemas.microsoft.com/office/drawing/2014/main" id="{F8EF881B-4846-4B97-AF61-624BCF3125A5}"/>
                  </a:ext>
                </a:extLst>
              </p:cNvPr>
              <p:cNvSpPr>
                <a:spLocks/>
              </p:cNvSpPr>
              <p:nvPr/>
            </p:nvSpPr>
            <p:spPr bwMode="auto">
              <a:xfrm>
                <a:off x="1461" y="2458"/>
                <a:ext cx="18" cy="8"/>
              </a:xfrm>
              <a:custGeom>
                <a:avLst/>
                <a:gdLst>
                  <a:gd name="T0" fmla="*/ 0 w 115"/>
                  <a:gd name="T1" fmla="*/ 25 h 52"/>
                  <a:gd name="T2" fmla="*/ 22 w 115"/>
                  <a:gd name="T3" fmla="*/ 4 h 52"/>
                  <a:gd name="T4" fmla="*/ 102 w 115"/>
                  <a:gd name="T5" fmla="*/ 0 h 52"/>
                  <a:gd name="T6" fmla="*/ 105 w 115"/>
                  <a:gd name="T7" fmla="*/ 26 h 52"/>
                  <a:gd name="T8" fmla="*/ 0 w 115"/>
                  <a:gd name="T9" fmla="*/ 25 h 52"/>
                </a:gdLst>
                <a:ahLst/>
                <a:cxnLst>
                  <a:cxn ang="0">
                    <a:pos x="T0" y="T1"/>
                  </a:cxn>
                  <a:cxn ang="0">
                    <a:pos x="T2" y="T3"/>
                  </a:cxn>
                  <a:cxn ang="0">
                    <a:pos x="T4" y="T5"/>
                  </a:cxn>
                  <a:cxn ang="0">
                    <a:pos x="T6" y="T7"/>
                  </a:cxn>
                  <a:cxn ang="0">
                    <a:pos x="T8" y="T9"/>
                  </a:cxn>
                </a:cxnLst>
                <a:rect l="0" t="0" r="r" b="b"/>
                <a:pathLst>
                  <a:path w="115" h="52">
                    <a:moveTo>
                      <a:pt x="0" y="25"/>
                    </a:moveTo>
                    <a:cubicBezTo>
                      <a:pt x="8" y="18"/>
                      <a:pt x="15" y="11"/>
                      <a:pt x="22" y="4"/>
                    </a:cubicBezTo>
                    <a:cubicBezTo>
                      <a:pt x="49" y="3"/>
                      <a:pt x="76" y="2"/>
                      <a:pt x="102" y="0"/>
                    </a:cubicBezTo>
                    <a:cubicBezTo>
                      <a:pt x="114" y="8"/>
                      <a:pt x="115" y="16"/>
                      <a:pt x="105" y="26"/>
                    </a:cubicBezTo>
                    <a:cubicBezTo>
                      <a:pt x="70" y="52"/>
                      <a:pt x="35" y="51"/>
                      <a:pt x="0"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6" name="Freeform 222">
                <a:extLst>
                  <a:ext uri="{FF2B5EF4-FFF2-40B4-BE49-F238E27FC236}">
                    <a16:creationId xmlns:a16="http://schemas.microsoft.com/office/drawing/2014/main" id="{3E9960DA-9418-4261-AABC-7087BB5320B6}"/>
                  </a:ext>
                </a:extLst>
              </p:cNvPr>
              <p:cNvSpPr>
                <a:spLocks/>
              </p:cNvSpPr>
              <p:nvPr/>
            </p:nvSpPr>
            <p:spPr bwMode="auto">
              <a:xfrm>
                <a:off x="1560" y="2458"/>
                <a:ext cx="16" cy="13"/>
              </a:xfrm>
              <a:custGeom>
                <a:avLst/>
                <a:gdLst>
                  <a:gd name="T0" fmla="*/ 100 w 100"/>
                  <a:gd name="T1" fmla="*/ 43 h 90"/>
                  <a:gd name="T2" fmla="*/ 99 w 100"/>
                  <a:gd name="T3" fmla="*/ 64 h 90"/>
                  <a:gd name="T4" fmla="*/ 21 w 100"/>
                  <a:gd name="T5" fmla="*/ 90 h 90"/>
                  <a:gd name="T6" fmla="*/ 0 w 100"/>
                  <a:gd name="T7" fmla="*/ 90 h 90"/>
                  <a:gd name="T8" fmla="*/ 100 w 100"/>
                  <a:gd name="T9" fmla="*/ 43 h 90"/>
                </a:gdLst>
                <a:ahLst/>
                <a:cxnLst>
                  <a:cxn ang="0">
                    <a:pos x="T0" y="T1"/>
                  </a:cxn>
                  <a:cxn ang="0">
                    <a:pos x="T2" y="T3"/>
                  </a:cxn>
                  <a:cxn ang="0">
                    <a:pos x="T4" y="T5"/>
                  </a:cxn>
                  <a:cxn ang="0">
                    <a:pos x="T6" y="T7"/>
                  </a:cxn>
                  <a:cxn ang="0">
                    <a:pos x="T8" y="T9"/>
                  </a:cxn>
                </a:cxnLst>
                <a:rect l="0" t="0" r="r" b="b"/>
                <a:pathLst>
                  <a:path w="100" h="90">
                    <a:moveTo>
                      <a:pt x="100" y="43"/>
                    </a:moveTo>
                    <a:cubicBezTo>
                      <a:pt x="100" y="50"/>
                      <a:pt x="100" y="57"/>
                      <a:pt x="99" y="64"/>
                    </a:cubicBezTo>
                    <a:cubicBezTo>
                      <a:pt x="64" y="45"/>
                      <a:pt x="45" y="74"/>
                      <a:pt x="21" y="90"/>
                    </a:cubicBezTo>
                    <a:cubicBezTo>
                      <a:pt x="14" y="90"/>
                      <a:pt x="7" y="90"/>
                      <a:pt x="0" y="90"/>
                    </a:cubicBezTo>
                    <a:cubicBezTo>
                      <a:pt x="17" y="38"/>
                      <a:pt x="40" y="0"/>
                      <a:pt x="100"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7" name="Freeform 223">
                <a:extLst>
                  <a:ext uri="{FF2B5EF4-FFF2-40B4-BE49-F238E27FC236}">
                    <a16:creationId xmlns:a16="http://schemas.microsoft.com/office/drawing/2014/main" id="{2332FD95-9783-4E39-8DCE-6DE3987D0A42}"/>
                  </a:ext>
                </a:extLst>
              </p:cNvPr>
              <p:cNvSpPr>
                <a:spLocks/>
              </p:cNvSpPr>
              <p:nvPr/>
            </p:nvSpPr>
            <p:spPr bwMode="auto">
              <a:xfrm>
                <a:off x="1722" y="2433"/>
                <a:ext cx="16" cy="14"/>
              </a:xfrm>
              <a:custGeom>
                <a:avLst/>
                <a:gdLst>
                  <a:gd name="T0" fmla="*/ 100 w 104"/>
                  <a:gd name="T1" fmla="*/ 0 h 89"/>
                  <a:gd name="T2" fmla="*/ 18 w 104"/>
                  <a:gd name="T3" fmla="*/ 89 h 89"/>
                  <a:gd name="T4" fmla="*/ 100 w 104"/>
                  <a:gd name="T5" fmla="*/ 0 h 89"/>
                </a:gdLst>
                <a:ahLst/>
                <a:cxnLst>
                  <a:cxn ang="0">
                    <a:pos x="T0" y="T1"/>
                  </a:cxn>
                  <a:cxn ang="0">
                    <a:pos x="T2" y="T3"/>
                  </a:cxn>
                  <a:cxn ang="0">
                    <a:pos x="T4" y="T5"/>
                  </a:cxn>
                </a:cxnLst>
                <a:rect l="0" t="0" r="r" b="b"/>
                <a:pathLst>
                  <a:path w="104" h="89">
                    <a:moveTo>
                      <a:pt x="100" y="0"/>
                    </a:moveTo>
                    <a:cubicBezTo>
                      <a:pt x="104" y="58"/>
                      <a:pt x="45" y="59"/>
                      <a:pt x="18" y="89"/>
                    </a:cubicBezTo>
                    <a:cubicBezTo>
                      <a:pt x="0" y="18"/>
                      <a:pt x="70" y="27"/>
                      <a:pt x="10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8" name="Freeform 224">
                <a:extLst>
                  <a:ext uri="{FF2B5EF4-FFF2-40B4-BE49-F238E27FC236}">
                    <a16:creationId xmlns:a16="http://schemas.microsoft.com/office/drawing/2014/main" id="{DFB20B30-B7DA-4470-AE72-0BBFCF6A0916}"/>
                  </a:ext>
                </a:extLst>
              </p:cNvPr>
              <p:cNvSpPr>
                <a:spLocks/>
              </p:cNvSpPr>
              <p:nvPr/>
            </p:nvSpPr>
            <p:spPr bwMode="auto">
              <a:xfrm>
                <a:off x="1381" y="2437"/>
                <a:ext cx="12" cy="22"/>
              </a:xfrm>
              <a:custGeom>
                <a:avLst/>
                <a:gdLst>
                  <a:gd name="T0" fmla="*/ 9 w 76"/>
                  <a:gd name="T1" fmla="*/ 0 h 146"/>
                  <a:gd name="T2" fmla="*/ 27 w 76"/>
                  <a:gd name="T3" fmla="*/ 21 h 146"/>
                  <a:gd name="T4" fmla="*/ 46 w 76"/>
                  <a:gd name="T5" fmla="*/ 82 h 146"/>
                  <a:gd name="T6" fmla="*/ 28 w 76"/>
                  <a:gd name="T7" fmla="*/ 146 h 146"/>
                  <a:gd name="T8" fmla="*/ 26 w 76"/>
                  <a:gd name="T9" fmla="*/ 122 h 146"/>
                  <a:gd name="T10" fmla="*/ 9 w 76"/>
                  <a:gd name="T11" fmla="*/ 0 h 146"/>
                </a:gdLst>
                <a:ahLst/>
                <a:cxnLst>
                  <a:cxn ang="0">
                    <a:pos x="T0" y="T1"/>
                  </a:cxn>
                  <a:cxn ang="0">
                    <a:pos x="T2" y="T3"/>
                  </a:cxn>
                  <a:cxn ang="0">
                    <a:pos x="T4" y="T5"/>
                  </a:cxn>
                  <a:cxn ang="0">
                    <a:pos x="T6" y="T7"/>
                  </a:cxn>
                  <a:cxn ang="0">
                    <a:pos x="T8" y="T9"/>
                  </a:cxn>
                  <a:cxn ang="0">
                    <a:pos x="T10" y="T11"/>
                  </a:cxn>
                </a:cxnLst>
                <a:rect l="0" t="0" r="r" b="b"/>
                <a:pathLst>
                  <a:path w="76" h="146">
                    <a:moveTo>
                      <a:pt x="9" y="0"/>
                    </a:moveTo>
                    <a:cubicBezTo>
                      <a:pt x="15" y="7"/>
                      <a:pt x="21" y="14"/>
                      <a:pt x="27" y="21"/>
                    </a:cubicBezTo>
                    <a:cubicBezTo>
                      <a:pt x="28" y="43"/>
                      <a:pt x="21" y="67"/>
                      <a:pt x="46" y="82"/>
                    </a:cubicBezTo>
                    <a:cubicBezTo>
                      <a:pt x="43" y="104"/>
                      <a:pt x="76" y="137"/>
                      <a:pt x="28" y="146"/>
                    </a:cubicBezTo>
                    <a:cubicBezTo>
                      <a:pt x="17" y="139"/>
                      <a:pt x="17" y="130"/>
                      <a:pt x="26" y="122"/>
                    </a:cubicBezTo>
                    <a:cubicBezTo>
                      <a:pt x="3" y="84"/>
                      <a:pt x="0" y="42"/>
                      <a:pt x="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9" name="Freeform 225">
                <a:extLst>
                  <a:ext uri="{FF2B5EF4-FFF2-40B4-BE49-F238E27FC236}">
                    <a16:creationId xmlns:a16="http://schemas.microsoft.com/office/drawing/2014/main" id="{713C0C31-15E1-4BD2-A5A2-5A76CEF9B314}"/>
                  </a:ext>
                </a:extLst>
              </p:cNvPr>
              <p:cNvSpPr>
                <a:spLocks/>
              </p:cNvSpPr>
              <p:nvPr/>
            </p:nvSpPr>
            <p:spPr bwMode="auto">
              <a:xfrm>
                <a:off x="1646" y="2500"/>
                <a:ext cx="22" cy="12"/>
              </a:xfrm>
              <a:custGeom>
                <a:avLst/>
                <a:gdLst>
                  <a:gd name="T0" fmla="*/ 74 w 143"/>
                  <a:gd name="T1" fmla="*/ 0 h 79"/>
                  <a:gd name="T2" fmla="*/ 98 w 143"/>
                  <a:gd name="T3" fmla="*/ 0 h 79"/>
                  <a:gd name="T4" fmla="*/ 78 w 143"/>
                  <a:gd name="T5" fmla="*/ 79 h 79"/>
                  <a:gd name="T6" fmla="*/ 74 w 143"/>
                  <a:gd name="T7" fmla="*/ 0 h 79"/>
                </a:gdLst>
                <a:ahLst/>
                <a:cxnLst>
                  <a:cxn ang="0">
                    <a:pos x="T0" y="T1"/>
                  </a:cxn>
                  <a:cxn ang="0">
                    <a:pos x="T2" y="T3"/>
                  </a:cxn>
                  <a:cxn ang="0">
                    <a:pos x="T4" y="T5"/>
                  </a:cxn>
                  <a:cxn ang="0">
                    <a:pos x="T6" y="T7"/>
                  </a:cxn>
                </a:cxnLst>
                <a:rect l="0" t="0" r="r" b="b"/>
                <a:pathLst>
                  <a:path w="143" h="79">
                    <a:moveTo>
                      <a:pt x="74" y="0"/>
                    </a:moveTo>
                    <a:cubicBezTo>
                      <a:pt x="82" y="0"/>
                      <a:pt x="90" y="0"/>
                      <a:pt x="98" y="0"/>
                    </a:cubicBezTo>
                    <a:cubicBezTo>
                      <a:pt x="143" y="39"/>
                      <a:pt x="61" y="47"/>
                      <a:pt x="78" y="79"/>
                    </a:cubicBezTo>
                    <a:cubicBezTo>
                      <a:pt x="0" y="57"/>
                      <a:pt x="78" y="26"/>
                      <a:pt x="7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0" name="Freeform 226">
                <a:extLst>
                  <a:ext uri="{FF2B5EF4-FFF2-40B4-BE49-F238E27FC236}">
                    <a16:creationId xmlns:a16="http://schemas.microsoft.com/office/drawing/2014/main" id="{B8ED2051-8681-40D9-A92A-86DDDF46FD00}"/>
                  </a:ext>
                </a:extLst>
              </p:cNvPr>
              <p:cNvSpPr>
                <a:spLocks/>
              </p:cNvSpPr>
              <p:nvPr/>
            </p:nvSpPr>
            <p:spPr bwMode="auto">
              <a:xfrm>
                <a:off x="1391" y="2439"/>
                <a:ext cx="11" cy="21"/>
              </a:xfrm>
              <a:custGeom>
                <a:avLst/>
                <a:gdLst>
                  <a:gd name="T0" fmla="*/ 45 w 72"/>
                  <a:gd name="T1" fmla="*/ 0 h 133"/>
                  <a:gd name="T2" fmla="*/ 46 w 72"/>
                  <a:gd name="T3" fmla="*/ 24 h 133"/>
                  <a:gd name="T4" fmla="*/ 72 w 72"/>
                  <a:gd name="T5" fmla="*/ 125 h 133"/>
                  <a:gd name="T6" fmla="*/ 48 w 72"/>
                  <a:gd name="T7" fmla="*/ 124 h 133"/>
                  <a:gd name="T8" fmla="*/ 4 w 72"/>
                  <a:gd name="T9" fmla="*/ 22 h 133"/>
                  <a:gd name="T10" fmla="*/ 45 w 72"/>
                  <a:gd name="T11" fmla="*/ 0 h 133"/>
                </a:gdLst>
                <a:ahLst/>
                <a:cxnLst>
                  <a:cxn ang="0">
                    <a:pos x="T0" y="T1"/>
                  </a:cxn>
                  <a:cxn ang="0">
                    <a:pos x="T2" y="T3"/>
                  </a:cxn>
                  <a:cxn ang="0">
                    <a:pos x="T4" y="T5"/>
                  </a:cxn>
                  <a:cxn ang="0">
                    <a:pos x="T6" y="T7"/>
                  </a:cxn>
                  <a:cxn ang="0">
                    <a:pos x="T8" y="T9"/>
                  </a:cxn>
                  <a:cxn ang="0">
                    <a:pos x="T10" y="T11"/>
                  </a:cxn>
                </a:cxnLst>
                <a:rect l="0" t="0" r="r" b="b"/>
                <a:pathLst>
                  <a:path w="72" h="133">
                    <a:moveTo>
                      <a:pt x="45" y="0"/>
                    </a:moveTo>
                    <a:cubicBezTo>
                      <a:pt x="45" y="8"/>
                      <a:pt x="46" y="16"/>
                      <a:pt x="46" y="24"/>
                    </a:cubicBezTo>
                    <a:cubicBezTo>
                      <a:pt x="55" y="57"/>
                      <a:pt x="63" y="91"/>
                      <a:pt x="72" y="125"/>
                    </a:cubicBezTo>
                    <a:cubicBezTo>
                      <a:pt x="63" y="133"/>
                      <a:pt x="56" y="132"/>
                      <a:pt x="48" y="124"/>
                    </a:cubicBezTo>
                    <a:cubicBezTo>
                      <a:pt x="59" y="79"/>
                      <a:pt x="0" y="64"/>
                      <a:pt x="4" y="22"/>
                    </a:cubicBezTo>
                    <a:cubicBezTo>
                      <a:pt x="17" y="15"/>
                      <a:pt x="31" y="8"/>
                      <a:pt x="4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1" name="Freeform 227">
                <a:extLst>
                  <a:ext uri="{FF2B5EF4-FFF2-40B4-BE49-F238E27FC236}">
                    <a16:creationId xmlns:a16="http://schemas.microsoft.com/office/drawing/2014/main" id="{C58EC1AE-6E78-4C98-BA0F-16BFC1C95950}"/>
                  </a:ext>
                </a:extLst>
              </p:cNvPr>
              <p:cNvSpPr>
                <a:spLocks/>
              </p:cNvSpPr>
              <p:nvPr/>
            </p:nvSpPr>
            <p:spPr bwMode="auto">
              <a:xfrm>
                <a:off x="1422" y="2383"/>
                <a:ext cx="9" cy="19"/>
              </a:xfrm>
              <a:custGeom>
                <a:avLst/>
                <a:gdLst>
                  <a:gd name="T0" fmla="*/ 9 w 56"/>
                  <a:gd name="T1" fmla="*/ 99 h 125"/>
                  <a:gd name="T2" fmla="*/ 51 w 56"/>
                  <a:gd name="T3" fmla="*/ 0 h 125"/>
                  <a:gd name="T4" fmla="*/ 11 w 56"/>
                  <a:gd name="T5" fmla="*/ 125 h 125"/>
                  <a:gd name="T6" fmla="*/ 9 w 56"/>
                  <a:gd name="T7" fmla="*/ 99 h 125"/>
                </a:gdLst>
                <a:ahLst/>
                <a:cxnLst>
                  <a:cxn ang="0">
                    <a:pos x="T0" y="T1"/>
                  </a:cxn>
                  <a:cxn ang="0">
                    <a:pos x="T2" y="T3"/>
                  </a:cxn>
                  <a:cxn ang="0">
                    <a:pos x="T4" y="T5"/>
                  </a:cxn>
                  <a:cxn ang="0">
                    <a:pos x="T6" y="T7"/>
                  </a:cxn>
                </a:cxnLst>
                <a:rect l="0" t="0" r="r" b="b"/>
                <a:pathLst>
                  <a:path w="56" h="125">
                    <a:moveTo>
                      <a:pt x="9" y="99"/>
                    </a:moveTo>
                    <a:cubicBezTo>
                      <a:pt x="7" y="59"/>
                      <a:pt x="20" y="26"/>
                      <a:pt x="51" y="0"/>
                    </a:cubicBezTo>
                    <a:cubicBezTo>
                      <a:pt x="56" y="47"/>
                      <a:pt x="47" y="91"/>
                      <a:pt x="11" y="125"/>
                    </a:cubicBezTo>
                    <a:cubicBezTo>
                      <a:pt x="1" y="117"/>
                      <a:pt x="0" y="108"/>
                      <a:pt x="9" y="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2" name="Freeform 228">
                <a:extLst>
                  <a:ext uri="{FF2B5EF4-FFF2-40B4-BE49-F238E27FC236}">
                    <a16:creationId xmlns:a16="http://schemas.microsoft.com/office/drawing/2014/main" id="{44A6CC41-0867-4958-AA22-B85EBF80A06D}"/>
                  </a:ext>
                </a:extLst>
              </p:cNvPr>
              <p:cNvSpPr>
                <a:spLocks/>
              </p:cNvSpPr>
              <p:nvPr/>
            </p:nvSpPr>
            <p:spPr bwMode="auto">
              <a:xfrm>
                <a:off x="1357" y="2129"/>
                <a:ext cx="13" cy="16"/>
              </a:xfrm>
              <a:custGeom>
                <a:avLst/>
                <a:gdLst>
                  <a:gd name="T0" fmla="*/ 59 w 82"/>
                  <a:gd name="T1" fmla="*/ 0 h 103"/>
                  <a:gd name="T2" fmla="*/ 82 w 82"/>
                  <a:gd name="T3" fmla="*/ 0 h 103"/>
                  <a:gd name="T4" fmla="*/ 0 w 82"/>
                  <a:gd name="T5" fmla="*/ 103 h 103"/>
                  <a:gd name="T6" fmla="*/ 59 w 82"/>
                  <a:gd name="T7" fmla="*/ 0 h 103"/>
                </a:gdLst>
                <a:ahLst/>
                <a:cxnLst>
                  <a:cxn ang="0">
                    <a:pos x="T0" y="T1"/>
                  </a:cxn>
                  <a:cxn ang="0">
                    <a:pos x="T2" y="T3"/>
                  </a:cxn>
                  <a:cxn ang="0">
                    <a:pos x="T4" y="T5"/>
                  </a:cxn>
                  <a:cxn ang="0">
                    <a:pos x="T6" y="T7"/>
                  </a:cxn>
                </a:cxnLst>
                <a:rect l="0" t="0" r="r" b="b"/>
                <a:pathLst>
                  <a:path w="82" h="103">
                    <a:moveTo>
                      <a:pt x="59" y="0"/>
                    </a:moveTo>
                    <a:cubicBezTo>
                      <a:pt x="67" y="0"/>
                      <a:pt x="75" y="0"/>
                      <a:pt x="82" y="0"/>
                    </a:cubicBezTo>
                    <a:cubicBezTo>
                      <a:pt x="62" y="40"/>
                      <a:pt x="48" y="85"/>
                      <a:pt x="0" y="103"/>
                    </a:cubicBezTo>
                    <a:cubicBezTo>
                      <a:pt x="4" y="60"/>
                      <a:pt x="36" y="32"/>
                      <a:pt x="5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3" name="Freeform 229">
                <a:extLst>
                  <a:ext uri="{FF2B5EF4-FFF2-40B4-BE49-F238E27FC236}">
                    <a16:creationId xmlns:a16="http://schemas.microsoft.com/office/drawing/2014/main" id="{88414ECE-785A-4C8C-87A2-568F2F429A90}"/>
                  </a:ext>
                </a:extLst>
              </p:cNvPr>
              <p:cNvSpPr>
                <a:spLocks/>
              </p:cNvSpPr>
              <p:nvPr/>
            </p:nvSpPr>
            <p:spPr bwMode="auto">
              <a:xfrm>
                <a:off x="1655" y="2515"/>
                <a:ext cx="16" cy="11"/>
              </a:xfrm>
              <a:custGeom>
                <a:avLst/>
                <a:gdLst>
                  <a:gd name="T0" fmla="*/ 100 w 100"/>
                  <a:gd name="T1" fmla="*/ 50 h 70"/>
                  <a:gd name="T2" fmla="*/ 99 w 100"/>
                  <a:gd name="T3" fmla="*/ 69 h 70"/>
                  <a:gd name="T4" fmla="*/ 19 w 100"/>
                  <a:gd name="T5" fmla="*/ 70 h 70"/>
                  <a:gd name="T6" fmla="*/ 18 w 100"/>
                  <a:gd name="T7" fmla="*/ 45 h 70"/>
                  <a:gd name="T8" fmla="*/ 18 w 100"/>
                  <a:gd name="T9" fmla="*/ 0 h 70"/>
                  <a:gd name="T10" fmla="*/ 100 w 100"/>
                  <a:gd name="T11" fmla="*/ 50 h 70"/>
                </a:gdLst>
                <a:ahLst/>
                <a:cxnLst>
                  <a:cxn ang="0">
                    <a:pos x="T0" y="T1"/>
                  </a:cxn>
                  <a:cxn ang="0">
                    <a:pos x="T2" y="T3"/>
                  </a:cxn>
                  <a:cxn ang="0">
                    <a:pos x="T4" y="T5"/>
                  </a:cxn>
                  <a:cxn ang="0">
                    <a:pos x="T6" y="T7"/>
                  </a:cxn>
                  <a:cxn ang="0">
                    <a:pos x="T8" y="T9"/>
                  </a:cxn>
                  <a:cxn ang="0">
                    <a:pos x="T10" y="T11"/>
                  </a:cxn>
                </a:cxnLst>
                <a:rect l="0" t="0" r="r" b="b"/>
                <a:pathLst>
                  <a:path w="100" h="70">
                    <a:moveTo>
                      <a:pt x="100" y="50"/>
                    </a:moveTo>
                    <a:cubicBezTo>
                      <a:pt x="100" y="56"/>
                      <a:pt x="100" y="63"/>
                      <a:pt x="99" y="69"/>
                    </a:cubicBezTo>
                    <a:cubicBezTo>
                      <a:pt x="72" y="70"/>
                      <a:pt x="46" y="70"/>
                      <a:pt x="19" y="70"/>
                    </a:cubicBezTo>
                    <a:cubicBezTo>
                      <a:pt x="9" y="62"/>
                      <a:pt x="8" y="54"/>
                      <a:pt x="18" y="45"/>
                    </a:cubicBezTo>
                    <a:cubicBezTo>
                      <a:pt x="14" y="30"/>
                      <a:pt x="0" y="15"/>
                      <a:pt x="18" y="0"/>
                    </a:cubicBezTo>
                    <a:cubicBezTo>
                      <a:pt x="45" y="17"/>
                      <a:pt x="65" y="47"/>
                      <a:pt x="100" y="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4" name="Freeform 230">
                <a:extLst>
                  <a:ext uri="{FF2B5EF4-FFF2-40B4-BE49-F238E27FC236}">
                    <a16:creationId xmlns:a16="http://schemas.microsoft.com/office/drawing/2014/main" id="{8D41EA55-FDC9-4317-8F02-4129B7B9FC9B}"/>
                  </a:ext>
                </a:extLst>
              </p:cNvPr>
              <p:cNvSpPr>
                <a:spLocks/>
              </p:cNvSpPr>
              <p:nvPr/>
            </p:nvSpPr>
            <p:spPr bwMode="auto">
              <a:xfrm>
                <a:off x="1598" y="2471"/>
                <a:ext cx="10" cy="16"/>
              </a:xfrm>
              <a:custGeom>
                <a:avLst/>
                <a:gdLst>
                  <a:gd name="T0" fmla="*/ 61 w 67"/>
                  <a:gd name="T1" fmla="*/ 80 h 98"/>
                  <a:gd name="T2" fmla="*/ 61 w 67"/>
                  <a:gd name="T3" fmla="*/ 98 h 98"/>
                  <a:gd name="T4" fmla="*/ 0 w 67"/>
                  <a:gd name="T5" fmla="*/ 0 h 98"/>
                  <a:gd name="T6" fmla="*/ 61 w 67"/>
                  <a:gd name="T7" fmla="*/ 80 h 98"/>
                </a:gdLst>
                <a:ahLst/>
                <a:cxnLst>
                  <a:cxn ang="0">
                    <a:pos x="T0" y="T1"/>
                  </a:cxn>
                  <a:cxn ang="0">
                    <a:pos x="T2" y="T3"/>
                  </a:cxn>
                  <a:cxn ang="0">
                    <a:pos x="T4" y="T5"/>
                  </a:cxn>
                  <a:cxn ang="0">
                    <a:pos x="T6" y="T7"/>
                  </a:cxn>
                </a:cxnLst>
                <a:rect l="0" t="0" r="r" b="b"/>
                <a:pathLst>
                  <a:path w="67" h="98">
                    <a:moveTo>
                      <a:pt x="61" y="80"/>
                    </a:moveTo>
                    <a:cubicBezTo>
                      <a:pt x="61" y="86"/>
                      <a:pt x="61" y="92"/>
                      <a:pt x="61" y="98"/>
                    </a:cubicBezTo>
                    <a:cubicBezTo>
                      <a:pt x="42" y="64"/>
                      <a:pt x="7" y="41"/>
                      <a:pt x="0" y="0"/>
                    </a:cubicBezTo>
                    <a:cubicBezTo>
                      <a:pt x="51" y="3"/>
                      <a:pt x="67" y="33"/>
                      <a:pt x="61" y="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5" name="Freeform 231">
                <a:extLst>
                  <a:ext uri="{FF2B5EF4-FFF2-40B4-BE49-F238E27FC236}">
                    <a16:creationId xmlns:a16="http://schemas.microsoft.com/office/drawing/2014/main" id="{75BDC25F-9B22-4C30-810D-D9B873884236}"/>
                  </a:ext>
                </a:extLst>
              </p:cNvPr>
              <p:cNvSpPr>
                <a:spLocks/>
              </p:cNvSpPr>
              <p:nvPr/>
            </p:nvSpPr>
            <p:spPr bwMode="auto">
              <a:xfrm>
                <a:off x="1744" y="2351"/>
                <a:ext cx="9" cy="14"/>
              </a:xfrm>
              <a:custGeom>
                <a:avLst/>
                <a:gdLst>
                  <a:gd name="T0" fmla="*/ 0 w 61"/>
                  <a:gd name="T1" fmla="*/ 39 h 88"/>
                  <a:gd name="T2" fmla="*/ 0 w 61"/>
                  <a:gd name="T3" fmla="*/ 19 h 88"/>
                  <a:gd name="T4" fmla="*/ 61 w 61"/>
                  <a:gd name="T5" fmla="*/ 62 h 88"/>
                  <a:gd name="T6" fmla="*/ 0 w 61"/>
                  <a:gd name="T7" fmla="*/ 39 h 88"/>
                </a:gdLst>
                <a:ahLst/>
                <a:cxnLst>
                  <a:cxn ang="0">
                    <a:pos x="T0" y="T1"/>
                  </a:cxn>
                  <a:cxn ang="0">
                    <a:pos x="T2" y="T3"/>
                  </a:cxn>
                  <a:cxn ang="0">
                    <a:pos x="T4" y="T5"/>
                  </a:cxn>
                  <a:cxn ang="0">
                    <a:pos x="T6" y="T7"/>
                  </a:cxn>
                </a:cxnLst>
                <a:rect l="0" t="0" r="r" b="b"/>
                <a:pathLst>
                  <a:path w="61" h="88">
                    <a:moveTo>
                      <a:pt x="0" y="39"/>
                    </a:moveTo>
                    <a:cubicBezTo>
                      <a:pt x="0" y="32"/>
                      <a:pt x="0" y="25"/>
                      <a:pt x="0" y="19"/>
                    </a:cubicBezTo>
                    <a:cubicBezTo>
                      <a:pt x="44" y="0"/>
                      <a:pt x="57" y="26"/>
                      <a:pt x="61" y="62"/>
                    </a:cubicBezTo>
                    <a:cubicBezTo>
                      <a:pt x="28" y="88"/>
                      <a:pt x="19" y="49"/>
                      <a:pt x="0"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6" name="Freeform 232">
                <a:extLst>
                  <a:ext uri="{FF2B5EF4-FFF2-40B4-BE49-F238E27FC236}">
                    <a16:creationId xmlns:a16="http://schemas.microsoft.com/office/drawing/2014/main" id="{2B010DF7-EE5E-4D03-8250-7D73AC5BC0B2}"/>
                  </a:ext>
                </a:extLst>
              </p:cNvPr>
              <p:cNvSpPr>
                <a:spLocks/>
              </p:cNvSpPr>
              <p:nvPr/>
            </p:nvSpPr>
            <p:spPr bwMode="auto">
              <a:xfrm>
                <a:off x="1477" y="2452"/>
                <a:ext cx="10" cy="10"/>
              </a:xfrm>
              <a:custGeom>
                <a:avLst/>
                <a:gdLst>
                  <a:gd name="T0" fmla="*/ 3 w 65"/>
                  <a:gd name="T1" fmla="*/ 69 h 69"/>
                  <a:gd name="T2" fmla="*/ 0 w 65"/>
                  <a:gd name="T3" fmla="*/ 43 h 69"/>
                  <a:gd name="T4" fmla="*/ 65 w 65"/>
                  <a:gd name="T5" fmla="*/ 5 h 69"/>
                  <a:gd name="T6" fmla="*/ 3 w 65"/>
                  <a:gd name="T7" fmla="*/ 69 h 69"/>
                </a:gdLst>
                <a:ahLst/>
                <a:cxnLst>
                  <a:cxn ang="0">
                    <a:pos x="T0" y="T1"/>
                  </a:cxn>
                  <a:cxn ang="0">
                    <a:pos x="T2" y="T3"/>
                  </a:cxn>
                  <a:cxn ang="0">
                    <a:pos x="T4" y="T5"/>
                  </a:cxn>
                  <a:cxn ang="0">
                    <a:pos x="T6" y="T7"/>
                  </a:cxn>
                </a:cxnLst>
                <a:rect l="0" t="0" r="r" b="b"/>
                <a:pathLst>
                  <a:path w="65" h="69">
                    <a:moveTo>
                      <a:pt x="3" y="69"/>
                    </a:moveTo>
                    <a:cubicBezTo>
                      <a:pt x="2" y="60"/>
                      <a:pt x="1" y="52"/>
                      <a:pt x="0" y="43"/>
                    </a:cubicBezTo>
                    <a:cubicBezTo>
                      <a:pt x="4" y="0"/>
                      <a:pt x="36" y="5"/>
                      <a:pt x="65" y="5"/>
                    </a:cubicBezTo>
                    <a:cubicBezTo>
                      <a:pt x="44" y="26"/>
                      <a:pt x="24" y="47"/>
                      <a:pt x="3"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7" name="Freeform 233">
                <a:extLst>
                  <a:ext uri="{FF2B5EF4-FFF2-40B4-BE49-F238E27FC236}">
                    <a16:creationId xmlns:a16="http://schemas.microsoft.com/office/drawing/2014/main" id="{8788EC2D-E228-4529-9D49-25456094749C}"/>
                  </a:ext>
                </a:extLst>
              </p:cNvPr>
              <p:cNvSpPr>
                <a:spLocks/>
              </p:cNvSpPr>
              <p:nvPr/>
            </p:nvSpPr>
            <p:spPr bwMode="auto">
              <a:xfrm>
                <a:off x="1414" y="2427"/>
                <a:ext cx="9" cy="10"/>
              </a:xfrm>
              <a:custGeom>
                <a:avLst/>
                <a:gdLst>
                  <a:gd name="T0" fmla="*/ 57 w 57"/>
                  <a:gd name="T1" fmla="*/ 64 h 69"/>
                  <a:gd name="T2" fmla="*/ 0 w 57"/>
                  <a:gd name="T3" fmla="*/ 47 h 69"/>
                  <a:gd name="T4" fmla="*/ 57 w 57"/>
                  <a:gd name="T5" fmla="*/ 64 h 69"/>
                </a:gdLst>
                <a:ahLst/>
                <a:cxnLst>
                  <a:cxn ang="0">
                    <a:pos x="T0" y="T1"/>
                  </a:cxn>
                  <a:cxn ang="0">
                    <a:pos x="T2" y="T3"/>
                  </a:cxn>
                  <a:cxn ang="0">
                    <a:pos x="T4" y="T5"/>
                  </a:cxn>
                </a:cxnLst>
                <a:rect l="0" t="0" r="r" b="b"/>
                <a:pathLst>
                  <a:path w="57" h="69">
                    <a:moveTo>
                      <a:pt x="57" y="64"/>
                    </a:moveTo>
                    <a:cubicBezTo>
                      <a:pt x="36" y="64"/>
                      <a:pt x="14" y="69"/>
                      <a:pt x="0" y="47"/>
                    </a:cubicBezTo>
                    <a:cubicBezTo>
                      <a:pt x="24" y="36"/>
                      <a:pt x="55" y="0"/>
                      <a:pt x="57"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8" name="Freeform 234">
                <a:extLst>
                  <a:ext uri="{FF2B5EF4-FFF2-40B4-BE49-F238E27FC236}">
                    <a16:creationId xmlns:a16="http://schemas.microsoft.com/office/drawing/2014/main" id="{57559B7A-96A9-46DB-94F0-06168D1D614C}"/>
                  </a:ext>
                </a:extLst>
              </p:cNvPr>
              <p:cNvSpPr>
                <a:spLocks/>
              </p:cNvSpPr>
              <p:nvPr/>
            </p:nvSpPr>
            <p:spPr bwMode="auto">
              <a:xfrm>
                <a:off x="1417" y="2398"/>
                <a:ext cx="7" cy="13"/>
              </a:xfrm>
              <a:custGeom>
                <a:avLst/>
                <a:gdLst>
                  <a:gd name="T0" fmla="*/ 41 w 43"/>
                  <a:gd name="T1" fmla="*/ 0 h 87"/>
                  <a:gd name="T2" fmla="*/ 43 w 43"/>
                  <a:gd name="T3" fmla="*/ 26 h 87"/>
                  <a:gd name="T4" fmla="*/ 0 w 43"/>
                  <a:gd name="T5" fmla="*/ 87 h 87"/>
                  <a:gd name="T6" fmla="*/ 41 w 43"/>
                  <a:gd name="T7" fmla="*/ 0 h 87"/>
                </a:gdLst>
                <a:ahLst/>
                <a:cxnLst>
                  <a:cxn ang="0">
                    <a:pos x="T0" y="T1"/>
                  </a:cxn>
                  <a:cxn ang="0">
                    <a:pos x="T2" y="T3"/>
                  </a:cxn>
                  <a:cxn ang="0">
                    <a:pos x="T4" y="T5"/>
                  </a:cxn>
                  <a:cxn ang="0">
                    <a:pos x="T6" y="T7"/>
                  </a:cxn>
                </a:cxnLst>
                <a:rect l="0" t="0" r="r" b="b"/>
                <a:pathLst>
                  <a:path w="43" h="87">
                    <a:moveTo>
                      <a:pt x="41" y="0"/>
                    </a:moveTo>
                    <a:cubicBezTo>
                      <a:pt x="41" y="9"/>
                      <a:pt x="42" y="17"/>
                      <a:pt x="43" y="26"/>
                    </a:cubicBezTo>
                    <a:cubicBezTo>
                      <a:pt x="38" y="53"/>
                      <a:pt x="29" y="76"/>
                      <a:pt x="0" y="87"/>
                    </a:cubicBezTo>
                    <a:cubicBezTo>
                      <a:pt x="1" y="52"/>
                      <a:pt x="17" y="24"/>
                      <a:pt x="4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9" name="Freeform 235">
                <a:extLst>
                  <a:ext uri="{FF2B5EF4-FFF2-40B4-BE49-F238E27FC236}">
                    <a16:creationId xmlns:a16="http://schemas.microsoft.com/office/drawing/2014/main" id="{2ED6EDDD-5384-446E-A70D-FEE0E695EADE}"/>
                  </a:ext>
                </a:extLst>
              </p:cNvPr>
              <p:cNvSpPr>
                <a:spLocks/>
              </p:cNvSpPr>
              <p:nvPr/>
            </p:nvSpPr>
            <p:spPr bwMode="auto">
              <a:xfrm>
                <a:off x="1352" y="2145"/>
                <a:ext cx="8" cy="9"/>
              </a:xfrm>
              <a:custGeom>
                <a:avLst/>
                <a:gdLst>
                  <a:gd name="T0" fmla="*/ 50 w 50"/>
                  <a:gd name="T1" fmla="*/ 62 h 62"/>
                  <a:gd name="T2" fmla="*/ 29 w 50"/>
                  <a:gd name="T3" fmla="*/ 62 h 62"/>
                  <a:gd name="T4" fmla="*/ 31 w 50"/>
                  <a:gd name="T5" fmla="*/ 0 h 62"/>
                  <a:gd name="T6" fmla="*/ 50 w 50"/>
                  <a:gd name="T7" fmla="*/ 62 h 62"/>
                </a:gdLst>
                <a:ahLst/>
                <a:cxnLst>
                  <a:cxn ang="0">
                    <a:pos x="T0" y="T1"/>
                  </a:cxn>
                  <a:cxn ang="0">
                    <a:pos x="T2" y="T3"/>
                  </a:cxn>
                  <a:cxn ang="0">
                    <a:pos x="T4" y="T5"/>
                  </a:cxn>
                  <a:cxn ang="0">
                    <a:pos x="T6" y="T7"/>
                  </a:cxn>
                </a:cxnLst>
                <a:rect l="0" t="0" r="r" b="b"/>
                <a:pathLst>
                  <a:path w="50" h="62">
                    <a:moveTo>
                      <a:pt x="50" y="62"/>
                    </a:moveTo>
                    <a:cubicBezTo>
                      <a:pt x="43" y="62"/>
                      <a:pt x="36" y="62"/>
                      <a:pt x="29" y="62"/>
                    </a:cubicBezTo>
                    <a:cubicBezTo>
                      <a:pt x="8" y="41"/>
                      <a:pt x="0" y="20"/>
                      <a:pt x="31" y="0"/>
                    </a:cubicBezTo>
                    <a:cubicBezTo>
                      <a:pt x="37" y="21"/>
                      <a:pt x="44" y="41"/>
                      <a:pt x="50" y="6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0" name="Freeform 236">
                <a:extLst>
                  <a:ext uri="{FF2B5EF4-FFF2-40B4-BE49-F238E27FC236}">
                    <a16:creationId xmlns:a16="http://schemas.microsoft.com/office/drawing/2014/main" id="{C922E6E6-1CC6-4092-80ED-7F25169EEC7D}"/>
                  </a:ext>
                </a:extLst>
              </p:cNvPr>
              <p:cNvSpPr>
                <a:spLocks/>
              </p:cNvSpPr>
              <p:nvPr/>
            </p:nvSpPr>
            <p:spPr bwMode="auto">
              <a:xfrm>
                <a:off x="1246" y="1948"/>
                <a:ext cx="18" cy="27"/>
              </a:xfrm>
              <a:custGeom>
                <a:avLst/>
                <a:gdLst>
                  <a:gd name="T0" fmla="*/ 22 w 115"/>
                  <a:gd name="T1" fmla="*/ 140 h 176"/>
                  <a:gd name="T2" fmla="*/ 0 w 115"/>
                  <a:gd name="T3" fmla="*/ 125 h 176"/>
                  <a:gd name="T4" fmla="*/ 87 w 115"/>
                  <a:gd name="T5" fmla="*/ 4 h 176"/>
                  <a:gd name="T6" fmla="*/ 107 w 115"/>
                  <a:gd name="T7" fmla="*/ 25 h 176"/>
                  <a:gd name="T8" fmla="*/ 44 w 115"/>
                  <a:gd name="T9" fmla="*/ 167 h 176"/>
                  <a:gd name="T10" fmla="*/ 28 w 115"/>
                  <a:gd name="T11" fmla="*/ 168 h 176"/>
                  <a:gd name="T12" fmla="*/ 22 w 115"/>
                  <a:gd name="T13" fmla="*/ 140 h 176"/>
                </a:gdLst>
                <a:ahLst/>
                <a:cxnLst>
                  <a:cxn ang="0">
                    <a:pos x="T0" y="T1"/>
                  </a:cxn>
                  <a:cxn ang="0">
                    <a:pos x="T2" y="T3"/>
                  </a:cxn>
                  <a:cxn ang="0">
                    <a:pos x="T4" y="T5"/>
                  </a:cxn>
                  <a:cxn ang="0">
                    <a:pos x="T6" y="T7"/>
                  </a:cxn>
                  <a:cxn ang="0">
                    <a:pos x="T8" y="T9"/>
                  </a:cxn>
                  <a:cxn ang="0">
                    <a:pos x="T10" y="T11"/>
                  </a:cxn>
                  <a:cxn ang="0">
                    <a:pos x="T12" y="T13"/>
                  </a:cxn>
                </a:cxnLst>
                <a:rect l="0" t="0" r="r" b="b"/>
                <a:pathLst>
                  <a:path w="115" h="176">
                    <a:moveTo>
                      <a:pt x="22" y="140"/>
                    </a:moveTo>
                    <a:cubicBezTo>
                      <a:pt x="14" y="135"/>
                      <a:pt x="7" y="130"/>
                      <a:pt x="0" y="125"/>
                    </a:cubicBezTo>
                    <a:cubicBezTo>
                      <a:pt x="24" y="81"/>
                      <a:pt x="96" y="71"/>
                      <a:pt x="87" y="4"/>
                    </a:cubicBezTo>
                    <a:cubicBezTo>
                      <a:pt x="105" y="0"/>
                      <a:pt x="115" y="4"/>
                      <a:pt x="107" y="25"/>
                    </a:cubicBezTo>
                    <a:cubicBezTo>
                      <a:pt x="88" y="74"/>
                      <a:pt x="100" y="135"/>
                      <a:pt x="44" y="167"/>
                    </a:cubicBezTo>
                    <a:cubicBezTo>
                      <a:pt x="39" y="176"/>
                      <a:pt x="34" y="176"/>
                      <a:pt x="28" y="168"/>
                    </a:cubicBezTo>
                    <a:cubicBezTo>
                      <a:pt x="26" y="158"/>
                      <a:pt x="24" y="149"/>
                      <a:pt x="22"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1" name="Freeform 237">
                <a:extLst>
                  <a:ext uri="{FF2B5EF4-FFF2-40B4-BE49-F238E27FC236}">
                    <a16:creationId xmlns:a16="http://schemas.microsoft.com/office/drawing/2014/main" id="{39CFDF11-2F4F-4612-A0FE-2F2369327AA4}"/>
                  </a:ext>
                </a:extLst>
              </p:cNvPr>
              <p:cNvSpPr>
                <a:spLocks/>
              </p:cNvSpPr>
              <p:nvPr/>
            </p:nvSpPr>
            <p:spPr bwMode="auto">
              <a:xfrm>
                <a:off x="1340" y="1933"/>
                <a:ext cx="38" cy="14"/>
              </a:xfrm>
              <a:custGeom>
                <a:avLst/>
                <a:gdLst>
                  <a:gd name="T0" fmla="*/ 232 w 243"/>
                  <a:gd name="T1" fmla="*/ 83 h 88"/>
                  <a:gd name="T2" fmla="*/ 144 w 243"/>
                  <a:gd name="T3" fmla="*/ 65 h 88"/>
                  <a:gd name="T4" fmla="*/ 8 w 243"/>
                  <a:gd name="T5" fmla="*/ 57 h 88"/>
                  <a:gd name="T6" fmla="*/ 2 w 243"/>
                  <a:gd name="T7" fmla="*/ 41 h 88"/>
                  <a:gd name="T8" fmla="*/ 7 w 243"/>
                  <a:gd name="T9" fmla="*/ 33 h 88"/>
                  <a:gd name="T10" fmla="*/ 161 w 243"/>
                  <a:gd name="T11" fmla="*/ 32 h 88"/>
                  <a:gd name="T12" fmla="*/ 234 w 243"/>
                  <a:gd name="T13" fmla="*/ 58 h 88"/>
                  <a:gd name="T14" fmla="*/ 232 w 243"/>
                  <a:gd name="T15" fmla="*/ 83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88">
                    <a:moveTo>
                      <a:pt x="232" y="83"/>
                    </a:moveTo>
                    <a:cubicBezTo>
                      <a:pt x="208" y="48"/>
                      <a:pt x="177" y="51"/>
                      <a:pt x="144" y="65"/>
                    </a:cubicBezTo>
                    <a:cubicBezTo>
                      <a:pt x="97" y="86"/>
                      <a:pt x="51" y="88"/>
                      <a:pt x="8" y="57"/>
                    </a:cubicBezTo>
                    <a:cubicBezTo>
                      <a:pt x="2" y="52"/>
                      <a:pt x="0" y="47"/>
                      <a:pt x="2" y="41"/>
                    </a:cubicBezTo>
                    <a:cubicBezTo>
                      <a:pt x="3" y="36"/>
                      <a:pt x="5" y="33"/>
                      <a:pt x="7" y="33"/>
                    </a:cubicBezTo>
                    <a:cubicBezTo>
                      <a:pt x="59" y="63"/>
                      <a:pt x="110" y="46"/>
                      <a:pt x="161" y="32"/>
                    </a:cubicBezTo>
                    <a:cubicBezTo>
                      <a:pt x="192" y="23"/>
                      <a:pt x="227" y="0"/>
                      <a:pt x="234" y="58"/>
                    </a:cubicBezTo>
                    <a:cubicBezTo>
                      <a:pt x="243" y="67"/>
                      <a:pt x="243" y="75"/>
                      <a:pt x="232" y="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2" name="Freeform 238">
                <a:extLst>
                  <a:ext uri="{FF2B5EF4-FFF2-40B4-BE49-F238E27FC236}">
                    <a16:creationId xmlns:a16="http://schemas.microsoft.com/office/drawing/2014/main" id="{73D6E0E5-2177-4D49-AF27-018A291D8486}"/>
                  </a:ext>
                </a:extLst>
              </p:cNvPr>
              <p:cNvSpPr>
                <a:spLocks/>
              </p:cNvSpPr>
              <p:nvPr/>
            </p:nvSpPr>
            <p:spPr bwMode="auto">
              <a:xfrm>
                <a:off x="1256" y="1928"/>
                <a:ext cx="29" cy="15"/>
              </a:xfrm>
              <a:custGeom>
                <a:avLst/>
                <a:gdLst>
                  <a:gd name="T0" fmla="*/ 189 w 189"/>
                  <a:gd name="T1" fmla="*/ 11 h 100"/>
                  <a:gd name="T2" fmla="*/ 44 w 189"/>
                  <a:gd name="T3" fmla="*/ 92 h 100"/>
                  <a:gd name="T4" fmla="*/ 19 w 189"/>
                  <a:gd name="T5" fmla="*/ 94 h 100"/>
                  <a:gd name="T6" fmla="*/ 18 w 189"/>
                  <a:gd name="T7" fmla="*/ 47 h 100"/>
                  <a:gd name="T8" fmla="*/ 164 w 189"/>
                  <a:gd name="T9" fmla="*/ 10 h 100"/>
                  <a:gd name="T10" fmla="*/ 189 w 189"/>
                  <a:gd name="T11" fmla="*/ 11 h 100"/>
                </a:gdLst>
                <a:ahLst/>
                <a:cxnLst>
                  <a:cxn ang="0">
                    <a:pos x="T0" y="T1"/>
                  </a:cxn>
                  <a:cxn ang="0">
                    <a:pos x="T2" y="T3"/>
                  </a:cxn>
                  <a:cxn ang="0">
                    <a:pos x="T4" y="T5"/>
                  </a:cxn>
                  <a:cxn ang="0">
                    <a:pos x="T6" y="T7"/>
                  </a:cxn>
                  <a:cxn ang="0">
                    <a:pos x="T8" y="T9"/>
                  </a:cxn>
                  <a:cxn ang="0">
                    <a:pos x="T10" y="T11"/>
                  </a:cxn>
                </a:cxnLst>
                <a:rect l="0" t="0" r="r" b="b"/>
                <a:pathLst>
                  <a:path w="189" h="100">
                    <a:moveTo>
                      <a:pt x="189" y="11"/>
                    </a:moveTo>
                    <a:cubicBezTo>
                      <a:pt x="140" y="38"/>
                      <a:pt x="92" y="65"/>
                      <a:pt x="44" y="92"/>
                    </a:cubicBezTo>
                    <a:cubicBezTo>
                      <a:pt x="36" y="100"/>
                      <a:pt x="28" y="100"/>
                      <a:pt x="19" y="94"/>
                    </a:cubicBezTo>
                    <a:cubicBezTo>
                      <a:pt x="0" y="78"/>
                      <a:pt x="1" y="45"/>
                      <a:pt x="18" y="47"/>
                    </a:cubicBezTo>
                    <a:cubicBezTo>
                      <a:pt x="74" y="55"/>
                      <a:pt x="110" y="0"/>
                      <a:pt x="164" y="10"/>
                    </a:cubicBezTo>
                    <a:cubicBezTo>
                      <a:pt x="173" y="0"/>
                      <a:pt x="181" y="1"/>
                      <a:pt x="189"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3" name="Freeform 239">
                <a:extLst>
                  <a:ext uri="{FF2B5EF4-FFF2-40B4-BE49-F238E27FC236}">
                    <a16:creationId xmlns:a16="http://schemas.microsoft.com/office/drawing/2014/main" id="{50B6C267-E844-4359-B764-5650238013BA}"/>
                  </a:ext>
                </a:extLst>
              </p:cNvPr>
              <p:cNvSpPr>
                <a:spLocks/>
              </p:cNvSpPr>
              <p:nvPr/>
            </p:nvSpPr>
            <p:spPr bwMode="auto">
              <a:xfrm>
                <a:off x="1289" y="1915"/>
                <a:ext cx="24" cy="8"/>
              </a:xfrm>
              <a:custGeom>
                <a:avLst/>
                <a:gdLst>
                  <a:gd name="T0" fmla="*/ 114 w 157"/>
                  <a:gd name="T1" fmla="*/ 49 h 53"/>
                  <a:gd name="T2" fmla="*/ 11 w 157"/>
                  <a:gd name="T3" fmla="*/ 53 h 53"/>
                  <a:gd name="T4" fmla="*/ 9 w 157"/>
                  <a:gd name="T5" fmla="*/ 27 h 53"/>
                  <a:gd name="T6" fmla="*/ 157 w 157"/>
                  <a:gd name="T7" fmla="*/ 28 h 53"/>
                  <a:gd name="T8" fmla="*/ 114 w 157"/>
                  <a:gd name="T9" fmla="*/ 49 h 53"/>
                </a:gdLst>
                <a:ahLst/>
                <a:cxnLst>
                  <a:cxn ang="0">
                    <a:pos x="T0" y="T1"/>
                  </a:cxn>
                  <a:cxn ang="0">
                    <a:pos x="T2" y="T3"/>
                  </a:cxn>
                  <a:cxn ang="0">
                    <a:pos x="T4" y="T5"/>
                  </a:cxn>
                  <a:cxn ang="0">
                    <a:pos x="T6" y="T7"/>
                  </a:cxn>
                  <a:cxn ang="0">
                    <a:pos x="T8" y="T9"/>
                  </a:cxn>
                </a:cxnLst>
                <a:rect l="0" t="0" r="r" b="b"/>
                <a:pathLst>
                  <a:path w="157" h="53">
                    <a:moveTo>
                      <a:pt x="114" y="49"/>
                    </a:moveTo>
                    <a:cubicBezTo>
                      <a:pt x="80" y="50"/>
                      <a:pt x="45" y="51"/>
                      <a:pt x="11" y="53"/>
                    </a:cubicBezTo>
                    <a:cubicBezTo>
                      <a:pt x="1" y="45"/>
                      <a:pt x="0" y="36"/>
                      <a:pt x="9" y="27"/>
                    </a:cubicBezTo>
                    <a:cubicBezTo>
                      <a:pt x="59" y="0"/>
                      <a:pt x="108" y="1"/>
                      <a:pt x="157" y="28"/>
                    </a:cubicBezTo>
                    <a:cubicBezTo>
                      <a:pt x="149" y="47"/>
                      <a:pt x="126" y="36"/>
                      <a:pt x="114"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4" name="Freeform 240">
                <a:extLst>
                  <a:ext uri="{FF2B5EF4-FFF2-40B4-BE49-F238E27FC236}">
                    <a16:creationId xmlns:a16="http://schemas.microsoft.com/office/drawing/2014/main" id="{F6717318-36C3-4AE5-82B7-F87D1BC5788C}"/>
                  </a:ext>
                </a:extLst>
              </p:cNvPr>
              <p:cNvSpPr>
                <a:spLocks/>
              </p:cNvSpPr>
              <p:nvPr/>
            </p:nvSpPr>
            <p:spPr bwMode="auto">
              <a:xfrm>
                <a:off x="1306" y="1920"/>
                <a:ext cx="23" cy="13"/>
              </a:xfrm>
              <a:custGeom>
                <a:avLst/>
                <a:gdLst>
                  <a:gd name="T0" fmla="*/ 0 w 143"/>
                  <a:gd name="T1" fmla="*/ 21 h 85"/>
                  <a:gd name="T2" fmla="*/ 43 w 143"/>
                  <a:gd name="T3" fmla="*/ 0 h 85"/>
                  <a:gd name="T4" fmla="*/ 143 w 143"/>
                  <a:gd name="T5" fmla="*/ 85 h 85"/>
                  <a:gd name="T6" fmla="*/ 0 w 143"/>
                  <a:gd name="T7" fmla="*/ 21 h 85"/>
                </a:gdLst>
                <a:ahLst/>
                <a:cxnLst>
                  <a:cxn ang="0">
                    <a:pos x="T0" y="T1"/>
                  </a:cxn>
                  <a:cxn ang="0">
                    <a:pos x="T2" y="T3"/>
                  </a:cxn>
                  <a:cxn ang="0">
                    <a:pos x="T4" y="T5"/>
                  </a:cxn>
                  <a:cxn ang="0">
                    <a:pos x="T6" y="T7"/>
                  </a:cxn>
                </a:cxnLst>
                <a:rect l="0" t="0" r="r" b="b"/>
                <a:pathLst>
                  <a:path w="143" h="85">
                    <a:moveTo>
                      <a:pt x="0" y="21"/>
                    </a:moveTo>
                    <a:cubicBezTo>
                      <a:pt x="15" y="14"/>
                      <a:pt x="29" y="7"/>
                      <a:pt x="43" y="0"/>
                    </a:cubicBezTo>
                    <a:cubicBezTo>
                      <a:pt x="78" y="27"/>
                      <a:pt x="131" y="33"/>
                      <a:pt x="143" y="85"/>
                    </a:cubicBezTo>
                    <a:cubicBezTo>
                      <a:pt x="96" y="64"/>
                      <a:pt x="48" y="42"/>
                      <a:pt x="0"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5" name="Freeform 241">
                <a:extLst>
                  <a:ext uri="{FF2B5EF4-FFF2-40B4-BE49-F238E27FC236}">
                    <a16:creationId xmlns:a16="http://schemas.microsoft.com/office/drawing/2014/main" id="{4011AACF-9DEE-4364-A0C0-12F834C635C0}"/>
                  </a:ext>
                </a:extLst>
              </p:cNvPr>
              <p:cNvSpPr>
                <a:spLocks/>
              </p:cNvSpPr>
              <p:nvPr/>
            </p:nvSpPr>
            <p:spPr bwMode="auto">
              <a:xfrm>
                <a:off x="1328" y="1933"/>
                <a:ext cx="13" cy="9"/>
              </a:xfrm>
              <a:custGeom>
                <a:avLst/>
                <a:gdLst>
                  <a:gd name="T0" fmla="*/ 83 w 84"/>
                  <a:gd name="T1" fmla="*/ 35 h 59"/>
                  <a:gd name="T2" fmla="*/ 84 w 84"/>
                  <a:gd name="T3" fmla="*/ 59 h 59"/>
                  <a:gd name="T4" fmla="*/ 0 w 84"/>
                  <a:gd name="T5" fmla="*/ 0 h 59"/>
                  <a:gd name="T6" fmla="*/ 83 w 84"/>
                  <a:gd name="T7" fmla="*/ 35 h 59"/>
                </a:gdLst>
                <a:ahLst/>
                <a:cxnLst>
                  <a:cxn ang="0">
                    <a:pos x="T0" y="T1"/>
                  </a:cxn>
                  <a:cxn ang="0">
                    <a:pos x="T2" y="T3"/>
                  </a:cxn>
                  <a:cxn ang="0">
                    <a:pos x="T4" y="T5"/>
                  </a:cxn>
                  <a:cxn ang="0">
                    <a:pos x="T6" y="T7"/>
                  </a:cxn>
                </a:cxnLst>
                <a:rect l="0" t="0" r="r" b="b"/>
                <a:pathLst>
                  <a:path w="84" h="59">
                    <a:moveTo>
                      <a:pt x="83" y="35"/>
                    </a:moveTo>
                    <a:cubicBezTo>
                      <a:pt x="83" y="43"/>
                      <a:pt x="84" y="51"/>
                      <a:pt x="84" y="59"/>
                    </a:cubicBezTo>
                    <a:cubicBezTo>
                      <a:pt x="56" y="39"/>
                      <a:pt x="4" y="54"/>
                      <a:pt x="0" y="0"/>
                    </a:cubicBezTo>
                    <a:cubicBezTo>
                      <a:pt x="33" y="0"/>
                      <a:pt x="65" y="1"/>
                      <a:pt x="83"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6" name="Freeform 242">
                <a:extLst>
                  <a:ext uri="{FF2B5EF4-FFF2-40B4-BE49-F238E27FC236}">
                    <a16:creationId xmlns:a16="http://schemas.microsoft.com/office/drawing/2014/main" id="{A991372F-7EBF-433D-8214-160E7F59411A}"/>
                  </a:ext>
                </a:extLst>
              </p:cNvPr>
              <p:cNvSpPr>
                <a:spLocks/>
              </p:cNvSpPr>
              <p:nvPr/>
            </p:nvSpPr>
            <p:spPr bwMode="auto">
              <a:xfrm>
                <a:off x="1259" y="1942"/>
                <a:ext cx="7" cy="10"/>
              </a:xfrm>
              <a:custGeom>
                <a:avLst/>
                <a:gdLst>
                  <a:gd name="T0" fmla="*/ 0 w 51"/>
                  <a:gd name="T1" fmla="*/ 2 h 64"/>
                  <a:gd name="T2" fmla="*/ 25 w 51"/>
                  <a:gd name="T3" fmla="*/ 0 h 64"/>
                  <a:gd name="T4" fmla="*/ 25 w 51"/>
                  <a:gd name="T5" fmla="*/ 64 h 64"/>
                  <a:gd name="T6" fmla="*/ 5 w 51"/>
                  <a:gd name="T7" fmla="*/ 43 h 64"/>
                  <a:gd name="T8" fmla="*/ 0 w 51"/>
                  <a:gd name="T9" fmla="*/ 2 h 64"/>
                </a:gdLst>
                <a:ahLst/>
                <a:cxnLst>
                  <a:cxn ang="0">
                    <a:pos x="T0" y="T1"/>
                  </a:cxn>
                  <a:cxn ang="0">
                    <a:pos x="T2" y="T3"/>
                  </a:cxn>
                  <a:cxn ang="0">
                    <a:pos x="T4" y="T5"/>
                  </a:cxn>
                  <a:cxn ang="0">
                    <a:pos x="T6" y="T7"/>
                  </a:cxn>
                  <a:cxn ang="0">
                    <a:pos x="T8" y="T9"/>
                  </a:cxn>
                </a:cxnLst>
                <a:rect l="0" t="0" r="r" b="b"/>
                <a:pathLst>
                  <a:path w="51" h="64">
                    <a:moveTo>
                      <a:pt x="0" y="2"/>
                    </a:moveTo>
                    <a:cubicBezTo>
                      <a:pt x="9" y="1"/>
                      <a:pt x="17" y="1"/>
                      <a:pt x="25" y="0"/>
                    </a:cubicBezTo>
                    <a:cubicBezTo>
                      <a:pt x="51" y="22"/>
                      <a:pt x="46" y="43"/>
                      <a:pt x="25" y="64"/>
                    </a:cubicBezTo>
                    <a:cubicBezTo>
                      <a:pt x="18" y="57"/>
                      <a:pt x="11" y="50"/>
                      <a:pt x="5" y="43"/>
                    </a:cubicBezTo>
                    <a:cubicBezTo>
                      <a:pt x="3" y="29"/>
                      <a:pt x="2" y="15"/>
                      <a:pt x="0"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7" name="Freeform 243">
                <a:extLst>
                  <a:ext uri="{FF2B5EF4-FFF2-40B4-BE49-F238E27FC236}">
                    <a16:creationId xmlns:a16="http://schemas.microsoft.com/office/drawing/2014/main" id="{491ECA29-0DD3-4447-B2CB-323C61E6F289}"/>
                  </a:ext>
                </a:extLst>
              </p:cNvPr>
              <p:cNvSpPr>
                <a:spLocks/>
              </p:cNvSpPr>
              <p:nvPr/>
            </p:nvSpPr>
            <p:spPr bwMode="auto">
              <a:xfrm>
                <a:off x="1281" y="1919"/>
                <a:ext cx="10" cy="11"/>
              </a:xfrm>
              <a:custGeom>
                <a:avLst/>
                <a:gdLst>
                  <a:gd name="T0" fmla="*/ 61 w 63"/>
                  <a:gd name="T1" fmla="*/ 0 h 66"/>
                  <a:gd name="T2" fmla="*/ 63 w 63"/>
                  <a:gd name="T3" fmla="*/ 26 h 66"/>
                  <a:gd name="T4" fmla="*/ 25 w 63"/>
                  <a:gd name="T5" fmla="*/ 66 h 66"/>
                  <a:gd name="T6" fmla="*/ 0 w 63"/>
                  <a:gd name="T7" fmla="*/ 65 h 66"/>
                  <a:gd name="T8" fmla="*/ 61 w 63"/>
                  <a:gd name="T9" fmla="*/ 0 h 66"/>
                </a:gdLst>
                <a:ahLst/>
                <a:cxnLst>
                  <a:cxn ang="0">
                    <a:pos x="T0" y="T1"/>
                  </a:cxn>
                  <a:cxn ang="0">
                    <a:pos x="T2" y="T3"/>
                  </a:cxn>
                  <a:cxn ang="0">
                    <a:pos x="T4" y="T5"/>
                  </a:cxn>
                  <a:cxn ang="0">
                    <a:pos x="T6" y="T7"/>
                  </a:cxn>
                  <a:cxn ang="0">
                    <a:pos x="T8" y="T9"/>
                  </a:cxn>
                </a:cxnLst>
                <a:rect l="0" t="0" r="r" b="b"/>
                <a:pathLst>
                  <a:path w="63" h="66">
                    <a:moveTo>
                      <a:pt x="61" y="0"/>
                    </a:moveTo>
                    <a:cubicBezTo>
                      <a:pt x="62" y="9"/>
                      <a:pt x="62" y="17"/>
                      <a:pt x="63" y="26"/>
                    </a:cubicBezTo>
                    <a:cubicBezTo>
                      <a:pt x="50" y="39"/>
                      <a:pt x="37" y="53"/>
                      <a:pt x="25" y="66"/>
                    </a:cubicBezTo>
                    <a:cubicBezTo>
                      <a:pt x="16" y="66"/>
                      <a:pt x="8" y="65"/>
                      <a:pt x="0" y="65"/>
                    </a:cubicBezTo>
                    <a:cubicBezTo>
                      <a:pt x="16" y="39"/>
                      <a:pt x="33" y="14"/>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8" name="Freeform 244">
                <a:extLst>
                  <a:ext uri="{FF2B5EF4-FFF2-40B4-BE49-F238E27FC236}">
                    <a16:creationId xmlns:a16="http://schemas.microsoft.com/office/drawing/2014/main" id="{C60E3C7A-E8D2-4E78-91B4-9A9A76FF5389}"/>
                  </a:ext>
                </a:extLst>
              </p:cNvPr>
              <p:cNvSpPr>
                <a:spLocks/>
              </p:cNvSpPr>
              <p:nvPr/>
            </p:nvSpPr>
            <p:spPr bwMode="auto">
              <a:xfrm>
                <a:off x="1376" y="1942"/>
                <a:ext cx="10" cy="10"/>
              </a:xfrm>
              <a:custGeom>
                <a:avLst/>
                <a:gdLst>
                  <a:gd name="T0" fmla="*/ 0 w 63"/>
                  <a:gd name="T1" fmla="*/ 25 h 66"/>
                  <a:gd name="T2" fmla="*/ 2 w 63"/>
                  <a:gd name="T3" fmla="*/ 0 h 66"/>
                  <a:gd name="T4" fmla="*/ 42 w 63"/>
                  <a:gd name="T5" fmla="*/ 66 h 66"/>
                  <a:gd name="T6" fmla="*/ 0 w 63"/>
                  <a:gd name="T7" fmla="*/ 25 h 66"/>
                </a:gdLst>
                <a:ahLst/>
                <a:cxnLst>
                  <a:cxn ang="0">
                    <a:pos x="T0" y="T1"/>
                  </a:cxn>
                  <a:cxn ang="0">
                    <a:pos x="T2" y="T3"/>
                  </a:cxn>
                  <a:cxn ang="0">
                    <a:pos x="T4" y="T5"/>
                  </a:cxn>
                  <a:cxn ang="0">
                    <a:pos x="T6" y="T7"/>
                  </a:cxn>
                </a:cxnLst>
                <a:rect l="0" t="0" r="r" b="b"/>
                <a:pathLst>
                  <a:path w="63" h="66">
                    <a:moveTo>
                      <a:pt x="0" y="25"/>
                    </a:moveTo>
                    <a:cubicBezTo>
                      <a:pt x="1" y="16"/>
                      <a:pt x="1" y="8"/>
                      <a:pt x="2" y="0"/>
                    </a:cubicBezTo>
                    <a:cubicBezTo>
                      <a:pt x="17" y="20"/>
                      <a:pt x="63" y="23"/>
                      <a:pt x="42" y="66"/>
                    </a:cubicBezTo>
                    <a:cubicBezTo>
                      <a:pt x="28" y="52"/>
                      <a:pt x="14" y="38"/>
                      <a:pt x="0"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9" name="Freeform 245">
                <a:extLst>
                  <a:ext uri="{FF2B5EF4-FFF2-40B4-BE49-F238E27FC236}">
                    <a16:creationId xmlns:a16="http://schemas.microsoft.com/office/drawing/2014/main" id="{AEA80462-A416-4B88-BA16-2DC0AC0EB10E}"/>
                  </a:ext>
                </a:extLst>
              </p:cNvPr>
              <p:cNvSpPr>
                <a:spLocks/>
              </p:cNvSpPr>
              <p:nvPr/>
            </p:nvSpPr>
            <p:spPr bwMode="auto">
              <a:xfrm>
                <a:off x="1271" y="3291"/>
                <a:ext cx="26" cy="25"/>
              </a:xfrm>
              <a:custGeom>
                <a:avLst/>
                <a:gdLst>
                  <a:gd name="T0" fmla="*/ 128 w 166"/>
                  <a:gd name="T1" fmla="*/ 9 h 165"/>
                  <a:gd name="T2" fmla="*/ 138 w 166"/>
                  <a:gd name="T3" fmla="*/ 60 h 165"/>
                  <a:gd name="T4" fmla="*/ 166 w 166"/>
                  <a:gd name="T5" fmla="*/ 133 h 165"/>
                  <a:gd name="T6" fmla="*/ 146 w 166"/>
                  <a:gd name="T7" fmla="*/ 151 h 165"/>
                  <a:gd name="T8" fmla="*/ 94 w 166"/>
                  <a:gd name="T9" fmla="*/ 66 h 165"/>
                  <a:gd name="T10" fmla="*/ 106 w 166"/>
                  <a:gd name="T11" fmla="*/ 9 h 165"/>
                  <a:gd name="T12" fmla="*/ 128 w 166"/>
                  <a:gd name="T13" fmla="*/ 9 h 165"/>
                </a:gdLst>
                <a:ahLst/>
                <a:cxnLst>
                  <a:cxn ang="0">
                    <a:pos x="T0" y="T1"/>
                  </a:cxn>
                  <a:cxn ang="0">
                    <a:pos x="T2" y="T3"/>
                  </a:cxn>
                  <a:cxn ang="0">
                    <a:pos x="T4" y="T5"/>
                  </a:cxn>
                  <a:cxn ang="0">
                    <a:pos x="T6" y="T7"/>
                  </a:cxn>
                  <a:cxn ang="0">
                    <a:pos x="T8" y="T9"/>
                  </a:cxn>
                  <a:cxn ang="0">
                    <a:pos x="T10" y="T11"/>
                  </a:cxn>
                  <a:cxn ang="0">
                    <a:pos x="T12" y="T13"/>
                  </a:cxn>
                </a:cxnLst>
                <a:rect l="0" t="0" r="r" b="b"/>
                <a:pathLst>
                  <a:path w="166" h="165">
                    <a:moveTo>
                      <a:pt x="128" y="9"/>
                    </a:moveTo>
                    <a:cubicBezTo>
                      <a:pt x="145" y="24"/>
                      <a:pt x="151" y="46"/>
                      <a:pt x="138" y="60"/>
                    </a:cubicBezTo>
                    <a:cubicBezTo>
                      <a:pt x="94" y="108"/>
                      <a:pt x="146" y="113"/>
                      <a:pt x="166" y="133"/>
                    </a:cubicBezTo>
                    <a:cubicBezTo>
                      <a:pt x="162" y="142"/>
                      <a:pt x="155" y="148"/>
                      <a:pt x="146" y="151"/>
                    </a:cubicBezTo>
                    <a:cubicBezTo>
                      <a:pt x="102" y="140"/>
                      <a:pt x="0" y="165"/>
                      <a:pt x="94" y="66"/>
                    </a:cubicBezTo>
                    <a:cubicBezTo>
                      <a:pt x="105" y="54"/>
                      <a:pt x="102" y="29"/>
                      <a:pt x="106" y="9"/>
                    </a:cubicBezTo>
                    <a:cubicBezTo>
                      <a:pt x="113" y="0"/>
                      <a:pt x="120" y="0"/>
                      <a:pt x="128"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0" name="Freeform 246">
                <a:extLst>
                  <a:ext uri="{FF2B5EF4-FFF2-40B4-BE49-F238E27FC236}">
                    <a16:creationId xmlns:a16="http://schemas.microsoft.com/office/drawing/2014/main" id="{334D841E-38FA-4156-84C1-7A4B2BC001B2}"/>
                  </a:ext>
                </a:extLst>
              </p:cNvPr>
              <p:cNvSpPr>
                <a:spLocks/>
              </p:cNvSpPr>
              <p:nvPr/>
            </p:nvSpPr>
            <p:spPr bwMode="auto">
              <a:xfrm>
                <a:off x="1239" y="3111"/>
                <a:ext cx="30" cy="18"/>
              </a:xfrm>
              <a:custGeom>
                <a:avLst/>
                <a:gdLst>
                  <a:gd name="T0" fmla="*/ 194 w 194"/>
                  <a:gd name="T1" fmla="*/ 0 h 115"/>
                  <a:gd name="T2" fmla="*/ 16 w 194"/>
                  <a:gd name="T3" fmla="*/ 92 h 115"/>
                  <a:gd name="T4" fmla="*/ 7 w 194"/>
                  <a:gd name="T5" fmla="*/ 46 h 115"/>
                  <a:gd name="T6" fmla="*/ 48 w 194"/>
                  <a:gd name="T7" fmla="*/ 38 h 115"/>
                  <a:gd name="T8" fmla="*/ 194 w 194"/>
                  <a:gd name="T9" fmla="*/ 0 h 115"/>
                </a:gdLst>
                <a:ahLst/>
                <a:cxnLst>
                  <a:cxn ang="0">
                    <a:pos x="T0" y="T1"/>
                  </a:cxn>
                  <a:cxn ang="0">
                    <a:pos x="T2" y="T3"/>
                  </a:cxn>
                  <a:cxn ang="0">
                    <a:pos x="T4" y="T5"/>
                  </a:cxn>
                  <a:cxn ang="0">
                    <a:pos x="T6" y="T7"/>
                  </a:cxn>
                  <a:cxn ang="0">
                    <a:pos x="T8" y="T9"/>
                  </a:cxn>
                </a:cxnLst>
                <a:rect l="0" t="0" r="r" b="b"/>
                <a:pathLst>
                  <a:path w="194" h="115">
                    <a:moveTo>
                      <a:pt x="194" y="0"/>
                    </a:moveTo>
                    <a:cubicBezTo>
                      <a:pt x="166" y="64"/>
                      <a:pt x="45" y="115"/>
                      <a:pt x="16" y="92"/>
                    </a:cubicBezTo>
                    <a:cubicBezTo>
                      <a:pt x="0" y="81"/>
                      <a:pt x="0" y="62"/>
                      <a:pt x="7" y="46"/>
                    </a:cubicBezTo>
                    <a:cubicBezTo>
                      <a:pt x="15" y="25"/>
                      <a:pt x="32" y="25"/>
                      <a:pt x="48" y="38"/>
                    </a:cubicBezTo>
                    <a:cubicBezTo>
                      <a:pt x="99" y="79"/>
                      <a:pt x="143" y="61"/>
                      <a:pt x="19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1" name="Freeform 247">
                <a:extLst>
                  <a:ext uri="{FF2B5EF4-FFF2-40B4-BE49-F238E27FC236}">
                    <a16:creationId xmlns:a16="http://schemas.microsoft.com/office/drawing/2014/main" id="{77DF93CE-21C8-4113-924B-CC91DE5F3E31}"/>
                  </a:ext>
                </a:extLst>
              </p:cNvPr>
              <p:cNvSpPr>
                <a:spLocks/>
              </p:cNvSpPr>
              <p:nvPr/>
            </p:nvSpPr>
            <p:spPr bwMode="auto">
              <a:xfrm>
                <a:off x="1209" y="3340"/>
                <a:ext cx="31" cy="16"/>
              </a:xfrm>
              <a:custGeom>
                <a:avLst/>
                <a:gdLst>
                  <a:gd name="T0" fmla="*/ 196 w 196"/>
                  <a:gd name="T1" fmla="*/ 18 h 100"/>
                  <a:gd name="T2" fmla="*/ 11 w 196"/>
                  <a:gd name="T3" fmla="*/ 35 h 100"/>
                  <a:gd name="T4" fmla="*/ 11 w 196"/>
                  <a:gd name="T5" fmla="*/ 0 h 100"/>
                  <a:gd name="T6" fmla="*/ 196 w 196"/>
                  <a:gd name="T7" fmla="*/ 18 h 100"/>
                </a:gdLst>
                <a:ahLst/>
                <a:cxnLst>
                  <a:cxn ang="0">
                    <a:pos x="T0" y="T1"/>
                  </a:cxn>
                  <a:cxn ang="0">
                    <a:pos x="T2" y="T3"/>
                  </a:cxn>
                  <a:cxn ang="0">
                    <a:pos x="T4" y="T5"/>
                  </a:cxn>
                  <a:cxn ang="0">
                    <a:pos x="T6" y="T7"/>
                  </a:cxn>
                </a:cxnLst>
                <a:rect l="0" t="0" r="r" b="b"/>
                <a:pathLst>
                  <a:path w="196" h="100">
                    <a:moveTo>
                      <a:pt x="196" y="18"/>
                    </a:moveTo>
                    <a:cubicBezTo>
                      <a:pt x="141" y="95"/>
                      <a:pt x="87" y="100"/>
                      <a:pt x="11" y="35"/>
                    </a:cubicBezTo>
                    <a:cubicBezTo>
                      <a:pt x="0" y="24"/>
                      <a:pt x="0" y="12"/>
                      <a:pt x="11" y="0"/>
                    </a:cubicBezTo>
                    <a:cubicBezTo>
                      <a:pt x="68" y="51"/>
                      <a:pt x="132" y="40"/>
                      <a:pt x="196"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2" name="Freeform 248">
                <a:extLst>
                  <a:ext uri="{FF2B5EF4-FFF2-40B4-BE49-F238E27FC236}">
                    <a16:creationId xmlns:a16="http://schemas.microsoft.com/office/drawing/2014/main" id="{6074CCDE-9CFD-4D87-965C-363F7275FDA4}"/>
                  </a:ext>
                </a:extLst>
              </p:cNvPr>
              <p:cNvSpPr>
                <a:spLocks/>
              </p:cNvSpPr>
              <p:nvPr/>
            </p:nvSpPr>
            <p:spPr bwMode="auto">
              <a:xfrm>
                <a:off x="1194" y="3333"/>
                <a:ext cx="17" cy="21"/>
              </a:xfrm>
              <a:custGeom>
                <a:avLst/>
                <a:gdLst>
                  <a:gd name="T0" fmla="*/ 113 w 113"/>
                  <a:gd name="T1" fmla="*/ 46 h 132"/>
                  <a:gd name="T2" fmla="*/ 113 w 113"/>
                  <a:gd name="T3" fmla="*/ 81 h 132"/>
                  <a:gd name="T4" fmla="*/ 12 w 113"/>
                  <a:gd name="T5" fmla="*/ 126 h 132"/>
                  <a:gd name="T6" fmla="*/ 11 w 113"/>
                  <a:gd name="T7" fmla="*/ 85 h 132"/>
                  <a:gd name="T8" fmla="*/ 61 w 113"/>
                  <a:gd name="T9" fmla="*/ 68 h 132"/>
                  <a:gd name="T10" fmla="*/ 4 w 113"/>
                  <a:gd name="T11" fmla="*/ 0 h 132"/>
                  <a:gd name="T12" fmla="*/ 113 w 113"/>
                  <a:gd name="T13" fmla="*/ 46 h 132"/>
                </a:gdLst>
                <a:ahLst/>
                <a:cxnLst>
                  <a:cxn ang="0">
                    <a:pos x="T0" y="T1"/>
                  </a:cxn>
                  <a:cxn ang="0">
                    <a:pos x="T2" y="T3"/>
                  </a:cxn>
                  <a:cxn ang="0">
                    <a:pos x="T4" y="T5"/>
                  </a:cxn>
                  <a:cxn ang="0">
                    <a:pos x="T6" y="T7"/>
                  </a:cxn>
                  <a:cxn ang="0">
                    <a:pos x="T8" y="T9"/>
                  </a:cxn>
                  <a:cxn ang="0">
                    <a:pos x="T10" y="T11"/>
                  </a:cxn>
                  <a:cxn ang="0">
                    <a:pos x="T12" y="T13"/>
                  </a:cxn>
                </a:cxnLst>
                <a:rect l="0" t="0" r="r" b="b"/>
                <a:pathLst>
                  <a:path w="113" h="132">
                    <a:moveTo>
                      <a:pt x="113" y="46"/>
                    </a:moveTo>
                    <a:cubicBezTo>
                      <a:pt x="113" y="58"/>
                      <a:pt x="113" y="70"/>
                      <a:pt x="113" y="81"/>
                    </a:cubicBezTo>
                    <a:cubicBezTo>
                      <a:pt x="83" y="103"/>
                      <a:pt x="55" y="132"/>
                      <a:pt x="12" y="126"/>
                    </a:cubicBezTo>
                    <a:cubicBezTo>
                      <a:pt x="0" y="113"/>
                      <a:pt x="0" y="99"/>
                      <a:pt x="11" y="85"/>
                    </a:cubicBezTo>
                    <a:cubicBezTo>
                      <a:pt x="29" y="82"/>
                      <a:pt x="58" y="89"/>
                      <a:pt x="61" y="68"/>
                    </a:cubicBezTo>
                    <a:cubicBezTo>
                      <a:pt x="67" y="30"/>
                      <a:pt x="14" y="31"/>
                      <a:pt x="4" y="0"/>
                    </a:cubicBezTo>
                    <a:cubicBezTo>
                      <a:pt x="46" y="1"/>
                      <a:pt x="80" y="23"/>
                      <a:pt x="113"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3" name="Freeform 249">
                <a:extLst>
                  <a:ext uri="{FF2B5EF4-FFF2-40B4-BE49-F238E27FC236}">
                    <a16:creationId xmlns:a16="http://schemas.microsoft.com/office/drawing/2014/main" id="{9A192231-F184-4F4E-ACB2-C5EDBF925B66}"/>
                  </a:ext>
                </a:extLst>
              </p:cNvPr>
              <p:cNvSpPr>
                <a:spLocks/>
              </p:cNvSpPr>
              <p:nvPr/>
            </p:nvSpPr>
            <p:spPr bwMode="auto">
              <a:xfrm>
                <a:off x="1299" y="3257"/>
                <a:ext cx="29" cy="25"/>
              </a:xfrm>
              <a:custGeom>
                <a:avLst/>
                <a:gdLst>
                  <a:gd name="T0" fmla="*/ 193 w 193"/>
                  <a:gd name="T1" fmla="*/ 86 h 161"/>
                  <a:gd name="T2" fmla="*/ 192 w 193"/>
                  <a:gd name="T3" fmla="*/ 109 h 161"/>
                  <a:gd name="T4" fmla="*/ 8 w 193"/>
                  <a:gd name="T5" fmla="*/ 161 h 161"/>
                  <a:gd name="T6" fmla="*/ 2 w 193"/>
                  <a:gd name="T7" fmla="*/ 149 h 161"/>
                  <a:gd name="T8" fmla="*/ 8 w 193"/>
                  <a:gd name="T9" fmla="*/ 143 h 161"/>
                  <a:gd name="T10" fmla="*/ 193 w 193"/>
                  <a:gd name="T11" fmla="*/ 86 h 161"/>
                </a:gdLst>
                <a:ahLst/>
                <a:cxnLst>
                  <a:cxn ang="0">
                    <a:pos x="T0" y="T1"/>
                  </a:cxn>
                  <a:cxn ang="0">
                    <a:pos x="T2" y="T3"/>
                  </a:cxn>
                  <a:cxn ang="0">
                    <a:pos x="T4" y="T5"/>
                  </a:cxn>
                  <a:cxn ang="0">
                    <a:pos x="T6" y="T7"/>
                  </a:cxn>
                  <a:cxn ang="0">
                    <a:pos x="T8" y="T9"/>
                  </a:cxn>
                  <a:cxn ang="0">
                    <a:pos x="T10" y="T11"/>
                  </a:cxn>
                </a:cxnLst>
                <a:rect l="0" t="0" r="r" b="b"/>
                <a:pathLst>
                  <a:path w="193" h="161">
                    <a:moveTo>
                      <a:pt x="193" y="86"/>
                    </a:moveTo>
                    <a:cubicBezTo>
                      <a:pt x="193" y="94"/>
                      <a:pt x="192" y="102"/>
                      <a:pt x="192" y="109"/>
                    </a:cubicBezTo>
                    <a:cubicBezTo>
                      <a:pt x="122" y="96"/>
                      <a:pt x="51" y="77"/>
                      <a:pt x="8" y="161"/>
                    </a:cubicBezTo>
                    <a:cubicBezTo>
                      <a:pt x="2" y="157"/>
                      <a:pt x="0" y="153"/>
                      <a:pt x="2" y="149"/>
                    </a:cubicBezTo>
                    <a:cubicBezTo>
                      <a:pt x="4" y="145"/>
                      <a:pt x="6" y="143"/>
                      <a:pt x="8" y="143"/>
                    </a:cubicBezTo>
                    <a:cubicBezTo>
                      <a:pt x="32" y="0"/>
                      <a:pt x="126" y="89"/>
                      <a:pt x="193"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4" name="Freeform 250">
                <a:extLst>
                  <a:ext uri="{FF2B5EF4-FFF2-40B4-BE49-F238E27FC236}">
                    <a16:creationId xmlns:a16="http://schemas.microsoft.com/office/drawing/2014/main" id="{BC9AE0C6-EC78-4034-BE03-433A4ACE1688}"/>
                  </a:ext>
                </a:extLst>
              </p:cNvPr>
              <p:cNvSpPr>
                <a:spLocks/>
              </p:cNvSpPr>
              <p:nvPr/>
            </p:nvSpPr>
            <p:spPr bwMode="auto">
              <a:xfrm>
                <a:off x="1241" y="3175"/>
                <a:ext cx="22" cy="15"/>
              </a:xfrm>
              <a:custGeom>
                <a:avLst/>
                <a:gdLst>
                  <a:gd name="T0" fmla="*/ 35 w 146"/>
                  <a:gd name="T1" fmla="*/ 0 h 101"/>
                  <a:gd name="T2" fmla="*/ 96 w 146"/>
                  <a:gd name="T3" fmla="*/ 21 h 101"/>
                  <a:gd name="T4" fmla="*/ 142 w 146"/>
                  <a:gd name="T5" fmla="*/ 79 h 101"/>
                  <a:gd name="T6" fmla="*/ 139 w 146"/>
                  <a:gd name="T7" fmla="*/ 83 h 101"/>
                  <a:gd name="T8" fmla="*/ 74 w 146"/>
                  <a:gd name="T9" fmla="*/ 87 h 101"/>
                  <a:gd name="T10" fmla="*/ 35 w 146"/>
                  <a:gd name="T11" fmla="*/ 0 h 101"/>
                </a:gdLst>
                <a:ahLst/>
                <a:cxnLst>
                  <a:cxn ang="0">
                    <a:pos x="T0" y="T1"/>
                  </a:cxn>
                  <a:cxn ang="0">
                    <a:pos x="T2" y="T3"/>
                  </a:cxn>
                  <a:cxn ang="0">
                    <a:pos x="T4" y="T5"/>
                  </a:cxn>
                  <a:cxn ang="0">
                    <a:pos x="T6" y="T7"/>
                  </a:cxn>
                  <a:cxn ang="0">
                    <a:pos x="T8" y="T9"/>
                  </a:cxn>
                  <a:cxn ang="0">
                    <a:pos x="T10" y="T11"/>
                  </a:cxn>
                </a:cxnLst>
                <a:rect l="0" t="0" r="r" b="b"/>
                <a:pathLst>
                  <a:path w="146" h="101">
                    <a:moveTo>
                      <a:pt x="35" y="0"/>
                    </a:moveTo>
                    <a:cubicBezTo>
                      <a:pt x="56" y="7"/>
                      <a:pt x="76" y="14"/>
                      <a:pt x="96" y="21"/>
                    </a:cubicBezTo>
                    <a:cubicBezTo>
                      <a:pt x="121" y="33"/>
                      <a:pt x="146" y="44"/>
                      <a:pt x="142" y="79"/>
                    </a:cubicBezTo>
                    <a:cubicBezTo>
                      <a:pt x="139" y="83"/>
                      <a:pt x="139" y="83"/>
                      <a:pt x="139" y="83"/>
                    </a:cubicBezTo>
                    <a:cubicBezTo>
                      <a:pt x="118" y="98"/>
                      <a:pt x="96" y="101"/>
                      <a:pt x="74" y="87"/>
                    </a:cubicBezTo>
                    <a:cubicBezTo>
                      <a:pt x="67" y="55"/>
                      <a:pt x="0" y="50"/>
                      <a:pt x="3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5" name="Freeform 251">
                <a:extLst>
                  <a:ext uri="{FF2B5EF4-FFF2-40B4-BE49-F238E27FC236}">
                    <a16:creationId xmlns:a16="http://schemas.microsoft.com/office/drawing/2014/main" id="{683BB24C-B814-46F0-972D-27BD29EB003E}"/>
                  </a:ext>
                </a:extLst>
              </p:cNvPr>
              <p:cNvSpPr>
                <a:spLocks/>
              </p:cNvSpPr>
              <p:nvPr/>
            </p:nvSpPr>
            <p:spPr bwMode="auto">
              <a:xfrm>
                <a:off x="1270" y="3326"/>
                <a:ext cx="18" cy="22"/>
              </a:xfrm>
              <a:custGeom>
                <a:avLst/>
                <a:gdLst>
                  <a:gd name="T0" fmla="*/ 114 w 114"/>
                  <a:gd name="T1" fmla="*/ 26 h 144"/>
                  <a:gd name="T2" fmla="*/ 9 w 114"/>
                  <a:gd name="T3" fmla="*/ 88 h 144"/>
                  <a:gd name="T4" fmla="*/ 2 w 114"/>
                  <a:gd name="T5" fmla="*/ 76 h 144"/>
                  <a:gd name="T6" fmla="*/ 9 w 114"/>
                  <a:gd name="T7" fmla="*/ 70 h 144"/>
                  <a:gd name="T8" fmla="*/ 114 w 114"/>
                  <a:gd name="T9" fmla="*/ 26 h 144"/>
                </a:gdLst>
                <a:ahLst/>
                <a:cxnLst>
                  <a:cxn ang="0">
                    <a:pos x="T0" y="T1"/>
                  </a:cxn>
                  <a:cxn ang="0">
                    <a:pos x="T2" y="T3"/>
                  </a:cxn>
                  <a:cxn ang="0">
                    <a:pos x="T4" y="T5"/>
                  </a:cxn>
                  <a:cxn ang="0">
                    <a:pos x="T6" y="T7"/>
                  </a:cxn>
                  <a:cxn ang="0">
                    <a:pos x="T8" y="T9"/>
                  </a:cxn>
                </a:cxnLst>
                <a:rect l="0" t="0" r="r" b="b"/>
                <a:pathLst>
                  <a:path w="114" h="144">
                    <a:moveTo>
                      <a:pt x="114" y="26"/>
                    </a:moveTo>
                    <a:cubicBezTo>
                      <a:pt x="65" y="22"/>
                      <a:pt x="90" y="144"/>
                      <a:pt x="9" y="88"/>
                    </a:cubicBezTo>
                    <a:cubicBezTo>
                      <a:pt x="2" y="84"/>
                      <a:pt x="0" y="80"/>
                      <a:pt x="2" y="76"/>
                    </a:cubicBezTo>
                    <a:cubicBezTo>
                      <a:pt x="4" y="72"/>
                      <a:pt x="6" y="70"/>
                      <a:pt x="9" y="70"/>
                    </a:cubicBezTo>
                    <a:cubicBezTo>
                      <a:pt x="44" y="56"/>
                      <a:pt x="62" y="0"/>
                      <a:pt x="114" y="2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6" name="Freeform 252">
                <a:extLst>
                  <a:ext uri="{FF2B5EF4-FFF2-40B4-BE49-F238E27FC236}">
                    <a16:creationId xmlns:a16="http://schemas.microsoft.com/office/drawing/2014/main" id="{9C7C0964-20F8-44AD-9C8E-CF0F91FC5DCD}"/>
                  </a:ext>
                </a:extLst>
              </p:cNvPr>
              <p:cNvSpPr>
                <a:spLocks/>
              </p:cNvSpPr>
              <p:nvPr/>
            </p:nvSpPr>
            <p:spPr bwMode="auto">
              <a:xfrm>
                <a:off x="1240" y="3331"/>
                <a:ext cx="31" cy="9"/>
              </a:xfrm>
              <a:custGeom>
                <a:avLst/>
                <a:gdLst>
                  <a:gd name="T0" fmla="*/ 205 w 205"/>
                  <a:gd name="T1" fmla="*/ 42 h 60"/>
                  <a:gd name="T2" fmla="*/ 205 w 205"/>
                  <a:gd name="T3" fmla="*/ 60 h 60"/>
                  <a:gd name="T4" fmla="*/ 0 w 205"/>
                  <a:gd name="T5" fmla="*/ 59 h 60"/>
                  <a:gd name="T6" fmla="*/ 205 w 205"/>
                  <a:gd name="T7" fmla="*/ 42 h 60"/>
                </a:gdLst>
                <a:ahLst/>
                <a:cxnLst>
                  <a:cxn ang="0">
                    <a:pos x="T0" y="T1"/>
                  </a:cxn>
                  <a:cxn ang="0">
                    <a:pos x="T2" y="T3"/>
                  </a:cxn>
                  <a:cxn ang="0">
                    <a:pos x="T4" y="T5"/>
                  </a:cxn>
                  <a:cxn ang="0">
                    <a:pos x="T6" y="T7"/>
                  </a:cxn>
                </a:cxnLst>
                <a:rect l="0" t="0" r="r" b="b"/>
                <a:pathLst>
                  <a:path w="205" h="60">
                    <a:moveTo>
                      <a:pt x="205" y="42"/>
                    </a:moveTo>
                    <a:cubicBezTo>
                      <a:pt x="205" y="48"/>
                      <a:pt x="205" y="54"/>
                      <a:pt x="205" y="60"/>
                    </a:cubicBezTo>
                    <a:cubicBezTo>
                      <a:pt x="137" y="60"/>
                      <a:pt x="68" y="59"/>
                      <a:pt x="0" y="59"/>
                    </a:cubicBezTo>
                    <a:cubicBezTo>
                      <a:pt x="64" y="0"/>
                      <a:pt x="137" y="52"/>
                      <a:pt x="205" y="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7" name="Freeform 253">
                <a:extLst>
                  <a:ext uri="{FF2B5EF4-FFF2-40B4-BE49-F238E27FC236}">
                    <a16:creationId xmlns:a16="http://schemas.microsoft.com/office/drawing/2014/main" id="{08F83870-1C66-4B20-BFA1-15B267584863}"/>
                  </a:ext>
                </a:extLst>
              </p:cNvPr>
              <p:cNvSpPr>
                <a:spLocks/>
              </p:cNvSpPr>
              <p:nvPr/>
            </p:nvSpPr>
            <p:spPr bwMode="auto">
              <a:xfrm>
                <a:off x="1168" y="3320"/>
                <a:ext cx="22" cy="7"/>
              </a:xfrm>
              <a:custGeom>
                <a:avLst/>
                <a:gdLst>
                  <a:gd name="T0" fmla="*/ 143 w 143"/>
                  <a:gd name="T1" fmla="*/ 47 h 47"/>
                  <a:gd name="T2" fmla="*/ 0 w 143"/>
                  <a:gd name="T3" fmla="*/ 17 h 47"/>
                  <a:gd name="T4" fmla="*/ 3 w 143"/>
                  <a:gd name="T5" fmla="*/ 0 h 47"/>
                  <a:gd name="T6" fmla="*/ 57 w 143"/>
                  <a:gd name="T7" fmla="*/ 4 h 47"/>
                  <a:gd name="T8" fmla="*/ 143 w 143"/>
                  <a:gd name="T9" fmla="*/ 47 h 47"/>
                </a:gdLst>
                <a:ahLst/>
                <a:cxnLst>
                  <a:cxn ang="0">
                    <a:pos x="T0" y="T1"/>
                  </a:cxn>
                  <a:cxn ang="0">
                    <a:pos x="T2" y="T3"/>
                  </a:cxn>
                  <a:cxn ang="0">
                    <a:pos x="T4" y="T5"/>
                  </a:cxn>
                  <a:cxn ang="0">
                    <a:pos x="T6" y="T7"/>
                  </a:cxn>
                  <a:cxn ang="0">
                    <a:pos x="T8" y="T9"/>
                  </a:cxn>
                </a:cxnLst>
                <a:rect l="0" t="0" r="r" b="b"/>
                <a:pathLst>
                  <a:path w="143" h="47">
                    <a:moveTo>
                      <a:pt x="143" y="47"/>
                    </a:moveTo>
                    <a:cubicBezTo>
                      <a:pt x="95" y="37"/>
                      <a:pt x="48" y="27"/>
                      <a:pt x="0" y="17"/>
                    </a:cubicBezTo>
                    <a:cubicBezTo>
                      <a:pt x="1" y="11"/>
                      <a:pt x="2" y="6"/>
                      <a:pt x="3" y="0"/>
                    </a:cubicBezTo>
                    <a:cubicBezTo>
                      <a:pt x="21" y="2"/>
                      <a:pt x="39" y="3"/>
                      <a:pt x="57" y="4"/>
                    </a:cubicBezTo>
                    <a:cubicBezTo>
                      <a:pt x="94" y="2"/>
                      <a:pt x="124" y="12"/>
                      <a:pt x="143" y="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8" name="Freeform 254">
                <a:extLst>
                  <a:ext uri="{FF2B5EF4-FFF2-40B4-BE49-F238E27FC236}">
                    <a16:creationId xmlns:a16="http://schemas.microsoft.com/office/drawing/2014/main" id="{42B4BD8D-A434-4DC7-87AD-5EF5774480A8}"/>
                  </a:ext>
                </a:extLst>
              </p:cNvPr>
              <p:cNvSpPr>
                <a:spLocks/>
              </p:cNvSpPr>
              <p:nvPr/>
            </p:nvSpPr>
            <p:spPr bwMode="auto">
              <a:xfrm>
                <a:off x="1223" y="2947"/>
                <a:ext cx="14" cy="16"/>
              </a:xfrm>
              <a:custGeom>
                <a:avLst/>
                <a:gdLst>
                  <a:gd name="T0" fmla="*/ 68 w 92"/>
                  <a:gd name="T1" fmla="*/ 0 h 104"/>
                  <a:gd name="T2" fmla="*/ 92 w 92"/>
                  <a:gd name="T3" fmla="*/ 1 h 104"/>
                  <a:gd name="T4" fmla="*/ 50 w 92"/>
                  <a:gd name="T5" fmla="*/ 104 h 104"/>
                  <a:gd name="T6" fmla="*/ 41 w 92"/>
                  <a:gd name="T7" fmla="*/ 104 h 104"/>
                  <a:gd name="T8" fmla="*/ 31 w 92"/>
                  <a:gd name="T9" fmla="*/ 104 h 104"/>
                  <a:gd name="T10" fmla="*/ 68 w 92"/>
                  <a:gd name="T11" fmla="*/ 0 h 104"/>
                </a:gdLst>
                <a:ahLst/>
                <a:cxnLst>
                  <a:cxn ang="0">
                    <a:pos x="T0" y="T1"/>
                  </a:cxn>
                  <a:cxn ang="0">
                    <a:pos x="T2" y="T3"/>
                  </a:cxn>
                  <a:cxn ang="0">
                    <a:pos x="T4" y="T5"/>
                  </a:cxn>
                  <a:cxn ang="0">
                    <a:pos x="T6" y="T7"/>
                  </a:cxn>
                  <a:cxn ang="0">
                    <a:pos x="T8" y="T9"/>
                  </a:cxn>
                  <a:cxn ang="0">
                    <a:pos x="T10" y="T11"/>
                  </a:cxn>
                </a:cxnLst>
                <a:rect l="0" t="0" r="r" b="b"/>
                <a:pathLst>
                  <a:path w="92" h="104">
                    <a:moveTo>
                      <a:pt x="68" y="0"/>
                    </a:moveTo>
                    <a:cubicBezTo>
                      <a:pt x="76" y="0"/>
                      <a:pt x="84" y="1"/>
                      <a:pt x="92" y="1"/>
                    </a:cubicBezTo>
                    <a:cubicBezTo>
                      <a:pt x="73" y="34"/>
                      <a:pt x="38" y="59"/>
                      <a:pt x="50" y="104"/>
                    </a:cubicBezTo>
                    <a:cubicBezTo>
                      <a:pt x="41" y="104"/>
                      <a:pt x="41" y="104"/>
                      <a:pt x="41" y="104"/>
                    </a:cubicBezTo>
                    <a:cubicBezTo>
                      <a:pt x="41" y="104"/>
                      <a:pt x="31" y="104"/>
                      <a:pt x="31" y="104"/>
                    </a:cubicBezTo>
                    <a:cubicBezTo>
                      <a:pt x="37" y="67"/>
                      <a:pt x="0" y="15"/>
                      <a:pt x="6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9" name="Freeform 255">
                <a:extLst>
                  <a:ext uri="{FF2B5EF4-FFF2-40B4-BE49-F238E27FC236}">
                    <a16:creationId xmlns:a16="http://schemas.microsoft.com/office/drawing/2014/main" id="{7A397696-E3B9-4604-9549-56E190BBDE3D}"/>
                  </a:ext>
                </a:extLst>
              </p:cNvPr>
              <p:cNvSpPr>
                <a:spLocks/>
              </p:cNvSpPr>
              <p:nvPr/>
            </p:nvSpPr>
            <p:spPr bwMode="auto">
              <a:xfrm>
                <a:off x="1068" y="3070"/>
                <a:ext cx="13" cy="19"/>
              </a:xfrm>
              <a:custGeom>
                <a:avLst/>
                <a:gdLst>
                  <a:gd name="T0" fmla="*/ 52 w 87"/>
                  <a:gd name="T1" fmla="*/ 122 h 123"/>
                  <a:gd name="T2" fmla="*/ 31 w 87"/>
                  <a:gd name="T3" fmla="*/ 123 h 123"/>
                  <a:gd name="T4" fmla="*/ 7 w 87"/>
                  <a:gd name="T5" fmla="*/ 0 h 123"/>
                  <a:gd name="T6" fmla="*/ 52 w 87"/>
                  <a:gd name="T7" fmla="*/ 122 h 123"/>
                </a:gdLst>
                <a:ahLst/>
                <a:cxnLst>
                  <a:cxn ang="0">
                    <a:pos x="T0" y="T1"/>
                  </a:cxn>
                  <a:cxn ang="0">
                    <a:pos x="T2" y="T3"/>
                  </a:cxn>
                  <a:cxn ang="0">
                    <a:pos x="T4" y="T5"/>
                  </a:cxn>
                  <a:cxn ang="0">
                    <a:pos x="T6" y="T7"/>
                  </a:cxn>
                </a:cxnLst>
                <a:rect l="0" t="0" r="r" b="b"/>
                <a:pathLst>
                  <a:path w="87" h="123">
                    <a:moveTo>
                      <a:pt x="52" y="122"/>
                    </a:moveTo>
                    <a:cubicBezTo>
                      <a:pt x="45" y="122"/>
                      <a:pt x="38" y="122"/>
                      <a:pt x="31" y="123"/>
                    </a:cubicBezTo>
                    <a:cubicBezTo>
                      <a:pt x="0" y="87"/>
                      <a:pt x="47" y="35"/>
                      <a:pt x="7" y="0"/>
                    </a:cubicBezTo>
                    <a:cubicBezTo>
                      <a:pt x="87" y="16"/>
                      <a:pt x="31" y="83"/>
                      <a:pt x="52" y="1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0" name="Freeform 256">
                <a:extLst>
                  <a:ext uri="{FF2B5EF4-FFF2-40B4-BE49-F238E27FC236}">
                    <a16:creationId xmlns:a16="http://schemas.microsoft.com/office/drawing/2014/main" id="{8FC0A6D0-66BD-42E7-8AF4-1EFCB5095092}"/>
                  </a:ext>
                </a:extLst>
              </p:cNvPr>
              <p:cNvSpPr>
                <a:spLocks/>
              </p:cNvSpPr>
              <p:nvPr/>
            </p:nvSpPr>
            <p:spPr bwMode="auto">
              <a:xfrm>
                <a:off x="1252" y="3188"/>
                <a:ext cx="12" cy="15"/>
              </a:xfrm>
              <a:custGeom>
                <a:avLst/>
                <a:gdLst>
                  <a:gd name="T0" fmla="*/ 0 w 79"/>
                  <a:gd name="T1" fmla="*/ 4 h 102"/>
                  <a:gd name="T2" fmla="*/ 65 w 79"/>
                  <a:gd name="T3" fmla="*/ 0 h 102"/>
                  <a:gd name="T4" fmla="*/ 4 w 79"/>
                  <a:gd name="T5" fmla="*/ 46 h 102"/>
                  <a:gd name="T6" fmla="*/ 0 w 79"/>
                  <a:gd name="T7" fmla="*/ 4 h 102"/>
                </a:gdLst>
                <a:ahLst/>
                <a:cxnLst>
                  <a:cxn ang="0">
                    <a:pos x="T0" y="T1"/>
                  </a:cxn>
                  <a:cxn ang="0">
                    <a:pos x="T2" y="T3"/>
                  </a:cxn>
                  <a:cxn ang="0">
                    <a:pos x="T4" y="T5"/>
                  </a:cxn>
                  <a:cxn ang="0">
                    <a:pos x="T6" y="T7"/>
                  </a:cxn>
                </a:cxnLst>
                <a:rect l="0" t="0" r="r" b="b"/>
                <a:pathLst>
                  <a:path w="79" h="102">
                    <a:moveTo>
                      <a:pt x="0" y="4"/>
                    </a:moveTo>
                    <a:cubicBezTo>
                      <a:pt x="21" y="2"/>
                      <a:pt x="43" y="1"/>
                      <a:pt x="65" y="0"/>
                    </a:cubicBezTo>
                    <a:cubicBezTo>
                      <a:pt x="32" y="0"/>
                      <a:pt x="79" y="102"/>
                      <a:pt x="4" y="46"/>
                    </a:cubicBezTo>
                    <a:cubicBezTo>
                      <a:pt x="3" y="32"/>
                      <a:pt x="1" y="18"/>
                      <a:pt x="0"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1" name="Freeform 257">
                <a:extLst>
                  <a:ext uri="{FF2B5EF4-FFF2-40B4-BE49-F238E27FC236}">
                    <a16:creationId xmlns:a16="http://schemas.microsoft.com/office/drawing/2014/main" id="{DAEA20EC-6163-4497-9D96-5FA8F978C8E0}"/>
                  </a:ext>
                </a:extLst>
              </p:cNvPr>
              <p:cNvSpPr>
                <a:spLocks/>
              </p:cNvSpPr>
              <p:nvPr/>
            </p:nvSpPr>
            <p:spPr bwMode="auto">
              <a:xfrm>
                <a:off x="1285" y="3278"/>
                <a:ext cx="15" cy="14"/>
              </a:xfrm>
              <a:custGeom>
                <a:avLst/>
                <a:gdLst>
                  <a:gd name="T0" fmla="*/ 94 w 94"/>
                  <a:gd name="T1" fmla="*/ 5 h 88"/>
                  <a:gd name="T2" fmla="*/ 94 w 94"/>
                  <a:gd name="T3" fmla="*/ 23 h 88"/>
                  <a:gd name="T4" fmla="*/ 36 w 94"/>
                  <a:gd name="T5" fmla="*/ 88 h 88"/>
                  <a:gd name="T6" fmla="*/ 15 w 94"/>
                  <a:gd name="T7" fmla="*/ 88 h 88"/>
                  <a:gd name="T8" fmla="*/ 94 w 94"/>
                  <a:gd name="T9" fmla="*/ 5 h 88"/>
                </a:gdLst>
                <a:ahLst/>
                <a:cxnLst>
                  <a:cxn ang="0">
                    <a:pos x="T0" y="T1"/>
                  </a:cxn>
                  <a:cxn ang="0">
                    <a:pos x="T2" y="T3"/>
                  </a:cxn>
                  <a:cxn ang="0">
                    <a:pos x="T4" y="T5"/>
                  </a:cxn>
                  <a:cxn ang="0">
                    <a:pos x="T6" y="T7"/>
                  </a:cxn>
                  <a:cxn ang="0">
                    <a:pos x="T8" y="T9"/>
                  </a:cxn>
                </a:cxnLst>
                <a:rect l="0" t="0" r="r" b="b"/>
                <a:pathLst>
                  <a:path w="94" h="88">
                    <a:moveTo>
                      <a:pt x="94" y="5"/>
                    </a:moveTo>
                    <a:cubicBezTo>
                      <a:pt x="94" y="11"/>
                      <a:pt x="94" y="17"/>
                      <a:pt x="94" y="23"/>
                    </a:cubicBezTo>
                    <a:cubicBezTo>
                      <a:pt x="55" y="27"/>
                      <a:pt x="27" y="41"/>
                      <a:pt x="36" y="88"/>
                    </a:cubicBezTo>
                    <a:cubicBezTo>
                      <a:pt x="29" y="88"/>
                      <a:pt x="22" y="88"/>
                      <a:pt x="15" y="88"/>
                    </a:cubicBezTo>
                    <a:cubicBezTo>
                      <a:pt x="0" y="21"/>
                      <a:pt x="33" y="0"/>
                      <a:pt x="94"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2" name="Freeform 258">
                <a:extLst>
                  <a:ext uri="{FF2B5EF4-FFF2-40B4-BE49-F238E27FC236}">
                    <a16:creationId xmlns:a16="http://schemas.microsoft.com/office/drawing/2014/main" id="{8672C89A-1B65-4C2F-B9A6-883D5BB840E7}"/>
                  </a:ext>
                </a:extLst>
              </p:cNvPr>
              <p:cNvSpPr>
                <a:spLocks/>
              </p:cNvSpPr>
              <p:nvPr/>
            </p:nvSpPr>
            <p:spPr bwMode="auto">
              <a:xfrm>
                <a:off x="1294" y="3311"/>
                <a:ext cx="8" cy="14"/>
              </a:xfrm>
              <a:custGeom>
                <a:avLst/>
                <a:gdLst>
                  <a:gd name="T0" fmla="*/ 0 w 53"/>
                  <a:gd name="T1" fmla="*/ 18 h 88"/>
                  <a:gd name="T2" fmla="*/ 20 w 53"/>
                  <a:gd name="T3" fmla="*/ 0 h 88"/>
                  <a:gd name="T4" fmla="*/ 18 w 53"/>
                  <a:gd name="T5" fmla="*/ 88 h 88"/>
                  <a:gd name="T6" fmla="*/ 0 w 53"/>
                  <a:gd name="T7" fmla="*/ 18 h 88"/>
                </a:gdLst>
                <a:ahLst/>
                <a:cxnLst>
                  <a:cxn ang="0">
                    <a:pos x="T0" y="T1"/>
                  </a:cxn>
                  <a:cxn ang="0">
                    <a:pos x="T2" y="T3"/>
                  </a:cxn>
                  <a:cxn ang="0">
                    <a:pos x="T4" y="T5"/>
                  </a:cxn>
                  <a:cxn ang="0">
                    <a:pos x="T6" y="T7"/>
                  </a:cxn>
                </a:cxnLst>
                <a:rect l="0" t="0" r="r" b="b"/>
                <a:pathLst>
                  <a:path w="53" h="88">
                    <a:moveTo>
                      <a:pt x="0" y="18"/>
                    </a:moveTo>
                    <a:cubicBezTo>
                      <a:pt x="7" y="12"/>
                      <a:pt x="13" y="6"/>
                      <a:pt x="20" y="0"/>
                    </a:cubicBezTo>
                    <a:cubicBezTo>
                      <a:pt x="53" y="30"/>
                      <a:pt x="50" y="59"/>
                      <a:pt x="18" y="88"/>
                    </a:cubicBezTo>
                    <a:cubicBezTo>
                      <a:pt x="16" y="64"/>
                      <a:pt x="26" y="36"/>
                      <a:pt x="0"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3" name="Freeform 259">
                <a:extLst>
                  <a:ext uri="{FF2B5EF4-FFF2-40B4-BE49-F238E27FC236}">
                    <a16:creationId xmlns:a16="http://schemas.microsoft.com/office/drawing/2014/main" id="{06C7E82E-02B7-4E05-86A3-FBCA2E745C1E}"/>
                  </a:ext>
                </a:extLst>
              </p:cNvPr>
              <p:cNvSpPr>
                <a:spLocks/>
              </p:cNvSpPr>
              <p:nvPr/>
            </p:nvSpPr>
            <p:spPr bwMode="auto">
              <a:xfrm>
                <a:off x="1101" y="2610"/>
                <a:ext cx="17" cy="15"/>
              </a:xfrm>
              <a:custGeom>
                <a:avLst/>
                <a:gdLst>
                  <a:gd name="T0" fmla="*/ 0 w 112"/>
                  <a:gd name="T1" fmla="*/ 65 h 94"/>
                  <a:gd name="T2" fmla="*/ 100 w 112"/>
                  <a:gd name="T3" fmla="*/ 0 h 94"/>
                  <a:gd name="T4" fmla="*/ 112 w 112"/>
                  <a:gd name="T5" fmla="*/ 25 h 94"/>
                  <a:gd name="T6" fmla="*/ 63 w 112"/>
                  <a:gd name="T7" fmla="*/ 90 h 94"/>
                  <a:gd name="T8" fmla="*/ 0 w 112"/>
                  <a:gd name="T9" fmla="*/ 65 h 94"/>
                </a:gdLst>
                <a:ahLst/>
                <a:cxnLst>
                  <a:cxn ang="0">
                    <a:pos x="T0" y="T1"/>
                  </a:cxn>
                  <a:cxn ang="0">
                    <a:pos x="T2" y="T3"/>
                  </a:cxn>
                  <a:cxn ang="0">
                    <a:pos x="T4" y="T5"/>
                  </a:cxn>
                  <a:cxn ang="0">
                    <a:pos x="T6" y="T7"/>
                  </a:cxn>
                  <a:cxn ang="0">
                    <a:pos x="T8" y="T9"/>
                  </a:cxn>
                </a:cxnLst>
                <a:rect l="0" t="0" r="r" b="b"/>
                <a:pathLst>
                  <a:path w="112" h="94">
                    <a:moveTo>
                      <a:pt x="0" y="65"/>
                    </a:moveTo>
                    <a:cubicBezTo>
                      <a:pt x="7" y="2"/>
                      <a:pt x="76" y="35"/>
                      <a:pt x="100" y="0"/>
                    </a:cubicBezTo>
                    <a:cubicBezTo>
                      <a:pt x="107" y="7"/>
                      <a:pt x="111" y="15"/>
                      <a:pt x="112" y="25"/>
                    </a:cubicBezTo>
                    <a:cubicBezTo>
                      <a:pt x="109" y="57"/>
                      <a:pt x="91" y="78"/>
                      <a:pt x="63" y="90"/>
                    </a:cubicBezTo>
                    <a:cubicBezTo>
                      <a:pt x="37" y="94"/>
                      <a:pt x="19" y="77"/>
                      <a:pt x="0" y="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4" name="Freeform 260">
                <a:extLst>
                  <a:ext uri="{FF2B5EF4-FFF2-40B4-BE49-F238E27FC236}">
                    <a16:creationId xmlns:a16="http://schemas.microsoft.com/office/drawing/2014/main" id="{F44839E7-C4C4-4B66-A262-D849D4F7548F}"/>
                  </a:ext>
                </a:extLst>
              </p:cNvPr>
              <p:cNvSpPr>
                <a:spLocks/>
              </p:cNvSpPr>
              <p:nvPr/>
            </p:nvSpPr>
            <p:spPr bwMode="auto">
              <a:xfrm>
                <a:off x="1101" y="2620"/>
                <a:ext cx="17" cy="13"/>
              </a:xfrm>
              <a:custGeom>
                <a:avLst/>
                <a:gdLst>
                  <a:gd name="T0" fmla="*/ 0 w 112"/>
                  <a:gd name="T1" fmla="*/ 0 h 79"/>
                  <a:gd name="T2" fmla="*/ 63 w 112"/>
                  <a:gd name="T3" fmla="*/ 18 h 79"/>
                  <a:gd name="T4" fmla="*/ 108 w 112"/>
                  <a:gd name="T5" fmla="*/ 56 h 79"/>
                  <a:gd name="T6" fmla="*/ 56 w 112"/>
                  <a:gd name="T7" fmla="*/ 41 h 79"/>
                  <a:gd name="T8" fmla="*/ 0 w 112"/>
                  <a:gd name="T9" fmla="*/ 0 h 79"/>
                </a:gdLst>
                <a:ahLst/>
                <a:cxnLst>
                  <a:cxn ang="0">
                    <a:pos x="T0" y="T1"/>
                  </a:cxn>
                  <a:cxn ang="0">
                    <a:pos x="T2" y="T3"/>
                  </a:cxn>
                  <a:cxn ang="0">
                    <a:pos x="T4" y="T5"/>
                  </a:cxn>
                  <a:cxn ang="0">
                    <a:pos x="T6" y="T7"/>
                  </a:cxn>
                  <a:cxn ang="0">
                    <a:pos x="T8" y="T9"/>
                  </a:cxn>
                </a:cxnLst>
                <a:rect l="0" t="0" r="r" b="b"/>
                <a:pathLst>
                  <a:path w="112" h="79">
                    <a:moveTo>
                      <a:pt x="0" y="0"/>
                    </a:moveTo>
                    <a:cubicBezTo>
                      <a:pt x="21" y="6"/>
                      <a:pt x="42" y="12"/>
                      <a:pt x="63" y="18"/>
                    </a:cubicBezTo>
                    <a:cubicBezTo>
                      <a:pt x="103" y="2"/>
                      <a:pt x="112" y="22"/>
                      <a:pt x="108" y="56"/>
                    </a:cubicBezTo>
                    <a:cubicBezTo>
                      <a:pt x="83" y="79"/>
                      <a:pt x="71" y="54"/>
                      <a:pt x="56" y="41"/>
                    </a:cubicBezTo>
                    <a:cubicBezTo>
                      <a:pt x="30" y="38"/>
                      <a:pt x="7" y="29"/>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5" name="Freeform 261">
                <a:extLst>
                  <a:ext uri="{FF2B5EF4-FFF2-40B4-BE49-F238E27FC236}">
                    <a16:creationId xmlns:a16="http://schemas.microsoft.com/office/drawing/2014/main" id="{6E84C457-60AA-486E-BDDA-71781CC2BF16}"/>
                  </a:ext>
                </a:extLst>
              </p:cNvPr>
              <p:cNvSpPr>
                <a:spLocks/>
              </p:cNvSpPr>
              <p:nvPr/>
            </p:nvSpPr>
            <p:spPr bwMode="auto">
              <a:xfrm>
                <a:off x="1098" y="2627"/>
                <a:ext cx="19" cy="6"/>
              </a:xfrm>
              <a:custGeom>
                <a:avLst/>
                <a:gdLst>
                  <a:gd name="T0" fmla="*/ 76 w 128"/>
                  <a:gd name="T1" fmla="*/ 0 h 42"/>
                  <a:gd name="T2" fmla="*/ 120 w 128"/>
                  <a:gd name="T3" fmla="*/ 20 h 42"/>
                  <a:gd name="T4" fmla="*/ 125 w 128"/>
                  <a:gd name="T5" fmla="*/ 34 h 42"/>
                  <a:gd name="T6" fmla="*/ 119 w 128"/>
                  <a:gd name="T7" fmla="*/ 40 h 42"/>
                  <a:gd name="T8" fmla="*/ 23 w 128"/>
                  <a:gd name="T9" fmla="*/ 42 h 42"/>
                  <a:gd name="T10" fmla="*/ 0 w 128"/>
                  <a:gd name="T11" fmla="*/ 41 h 42"/>
                  <a:gd name="T12" fmla="*/ 76 w 128"/>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128" h="42">
                    <a:moveTo>
                      <a:pt x="76" y="0"/>
                    </a:moveTo>
                    <a:cubicBezTo>
                      <a:pt x="91" y="7"/>
                      <a:pt x="106" y="13"/>
                      <a:pt x="120" y="20"/>
                    </a:cubicBezTo>
                    <a:cubicBezTo>
                      <a:pt x="126" y="25"/>
                      <a:pt x="128" y="29"/>
                      <a:pt x="125" y="34"/>
                    </a:cubicBezTo>
                    <a:cubicBezTo>
                      <a:pt x="123" y="38"/>
                      <a:pt x="121" y="40"/>
                      <a:pt x="119" y="40"/>
                    </a:cubicBezTo>
                    <a:cubicBezTo>
                      <a:pt x="87" y="41"/>
                      <a:pt x="55" y="42"/>
                      <a:pt x="23" y="42"/>
                    </a:cubicBezTo>
                    <a:cubicBezTo>
                      <a:pt x="15" y="42"/>
                      <a:pt x="8" y="41"/>
                      <a:pt x="0" y="41"/>
                    </a:cubicBezTo>
                    <a:cubicBezTo>
                      <a:pt x="14" y="5"/>
                      <a:pt x="61" y="33"/>
                      <a:pt x="7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6" name="Freeform 262">
                <a:extLst>
                  <a:ext uri="{FF2B5EF4-FFF2-40B4-BE49-F238E27FC236}">
                    <a16:creationId xmlns:a16="http://schemas.microsoft.com/office/drawing/2014/main" id="{B4A99B7D-475C-4D5E-8C4D-DE398B0E2D88}"/>
                  </a:ext>
                </a:extLst>
              </p:cNvPr>
              <p:cNvSpPr>
                <a:spLocks/>
              </p:cNvSpPr>
              <p:nvPr/>
            </p:nvSpPr>
            <p:spPr bwMode="auto">
              <a:xfrm>
                <a:off x="1116" y="2605"/>
                <a:ext cx="10" cy="11"/>
              </a:xfrm>
              <a:custGeom>
                <a:avLst/>
                <a:gdLst>
                  <a:gd name="T0" fmla="*/ 1 w 65"/>
                  <a:gd name="T1" fmla="*/ 61 h 77"/>
                  <a:gd name="T2" fmla="*/ 0 w 65"/>
                  <a:gd name="T3" fmla="*/ 38 h 77"/>
                  <a:gd name="T4" fmla="*/ 63 w 65"/>
                  <a:gd name="T5" fmla="*/ 0 h 77"/>
                  <a:gd name="T6" fmla="*/ 64 w 65"/>
                  <a:gd name="T7" fmla="*/ 25 h 77"/>
                  <a:gd name="T8" fmla="*/ 63 w 65"/>
                  <a:gd name="T9" fmla="*/ 42 h 77"/>
                  <a:gd name="T10" fmla="*/ 1 w 65"/>
                  <a:gd name="T11" fmla="*/ 61 h 77"/>
                </a:gdLst>
                <a:ahLst/>
                <a:cxnLst>
                  <a:cxn ang="0">
                    <a:pos x="T0" y="T1"/>
                  </a:cxn>
                  <a:cxn ang="0">
                    <a:pos x="T2" y="T3"/>
                  </a:cxn>
                  <a:cxn ang="0">
                    <a:pos x="T4" y="T5"/>
                  </a:cxn>
                  <a:cxn ang="0">
                    <a:pos x="T6" y="T7"/>
                  </a:cxn>
                  <a:cxn ang="0">
                    <a:pos x="T8" y="T9"/>
                  </a:cxn>
                  <a:cxn ang="0">
                    <a:pos x="T10" y="T11"/>
                  </a:cxn>
                </a:cxnLst>
                <a:rect l="0" t="0" r="r" b="b"/>
                <a:pathLst>
                  <a:path w="65" h="77">
                    <a:moveTo>
                      <a:pt x="1" y="61"/>
                    </a:moveTo>
                    <a:cubicBezTo>
                      <a:pt x="1" y="53"/>
                      <a:pt x="1" y="46"/>
                      <a:pt x="0" y="38"/>
                    </a:cubicBezTo>
                    <a:cubicBezTo>
                      <a:pt x="21" y="25"/>
                      <a:pt x="42" y="13"/>
                      <a:pt x="63" y="0"/>
                    </a:cubicBezTo>
                    <a:cubicBezTo>
                      <a:pt x="63" y="8"/>
                      <a:pt x="64" y="16"/>
                      <a:pt x="64" y="25"/>
                    </a:cubicBezTo>
                    <a:cubicBezTo>
                      <a:pt x="65" y="31"/>
                      <a:pt x="64" y="36"/>
                      <a:pt x="63" y="42"/>
                    </a:cubicBezTo>
                    <a:cubicBezTo>
                      <a:pt x="45" y="57"/>
                      <a:pt x="28" y="77"/>
                      <a:pt x="1"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7" name="Freeform 263">
                <a:extLst>
                  <a:ext uri="{FF2B5EF4-FFF2-40B4-BE49-F238E27FC236}">
                    <a16:creationId xmlns:a16="http://schemas.microsoft.com/office/drawing/2014/main" id="{741D82A1-AC0C-4527-8441-1FED028AA95E}"/>
                  </a:ext>
                </a:extLst>
              </p:cNvPr>
              <p:cNvSpPr>
                <a:spLocks/>
              </p:cNvSpPr>
              <p:nvPr/>
            </p:nvSpPr>
            <p:spPr bwMode="auto">
              <a:xfrm>
                <a:off x="1743" y="2634"/>
                <a:ext cx="118" cy="43"/>
              </a:xfrm>
              <a:custGeom>
                <a:avLst/>
                <a:gdLst>
                  <a:gd name="T0" fmla="*/ 767 w 767"/>
                  <a:gd name="T1" fmla="*/ 240 h 276"/>
                  <a:gd name="T2" fmla="*/ 706 w 767"/>
                  <a:gd name="T3" fmla="*/ 254 h 276"/>
                  <a:gd name="T4" fmla="*/ 486 w 767"/>
                  <a:gd name="T5" fmla="*/ 233 h 276"/>
                  <a:gd name="T6" fmla="*/ 381 w 767"/>
                  <a:gd name="T7" fmla="*/ 220 h 276"/>
                  <a:gd name="T8" fmla="*/ 392 w 767"/>
                  <a:gd name="T9" fmla="*/ 144 h 276"/>
                  <a:gd name="T10" fmla="*/ 324 w 767"/>
                  <a:gd name="T11" fmla="*/ 77 h 276"/>
                  <a:gd name="T12" fmla="*/ 115 w 767"/>
                  <a:gd name="T13" fmla="*/ 115 h 276"/>
                  <a:gd name="T14" fmla="*/ 7 w 767"/>
                  <a:gd name="T15" fmla="*/ 75 h 276"/>
                  <a:gd name="T16" fmla="*/ 30 w 767"/>
                  <a:gd name="T17" fmla="*/ 46 h 276"/>
                  <a:gd name="T18" fmla="*/ 325 w 767"/>
                  <a:gd name="T19" fmla="*/ 17 h 276"/>
                  <a:gd name="T20" fmla="*/ 440 w 767"/>
                  <a:gd name="T21" fmla="*/ 96 h 276"/>
                  <a:gd name="T22" fmla="*/ 524 w 767"/>
                  <a:gd name="T23" fmla="*/ 154 h 276"/>
                  <a:gd name="T24" fmla="*/ 752 w 767"/>
                  <a:gd name="T25" fmla="*/ 213 h 276"/>
                  <a:gd name="T26" fmla="*/ 767 w 767"/>
                  <a:gd name="T27" fmla="*/ 24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7" h="276">
                    <a:moveTo>
                      <a:pt x="767" y="240"/>
                    </a:moveTo>
                    <a:cubicBezTo>
                      <a:pt x="753" y="276"/>
                      <a:pt x="737" y="272"/>
                      <a:pt x="706" y="254"/>
                    </a:cubicBezTo>
                    <a:cubicBezTo>
                      <a:pt x="638" y="214"/>
                      <a:pt x="569" y="172"/>
                      <a:pt x="486" y="233"/>
                    </a:cubicBezTo>
                    <a:cubicBezTo>
                      <a:pt x="456" y="256"/>
                      <a:pt x="413" y="243"/>
                      <a:pt x="381" y="220"/>
                    </a:cubicBezTo>
                    <a:cubicBezTo>
                      <a:pt x="336" y="189"/>
                      <a:pt x="386" y="169"/>
                      <a:pt x="392" y="144"/>
                    </a:cubicBezTo>
                    <a:cubicBezTo>
                      <a:pt x="408" y="81"/>
                      <a:pt x="393" y="58"/>
                      <a:pt x="324" y="77"/>
                    </a:cubicBezTo>
                    <a:cubicBezTo>
                      <a:pt x="256" y="95"/>
                      <a:pt x="185" y="105"/>
                      <a:pt x="115" y="115"/>
                    </a:cubicBezTo>
                    <a:cubicBezTo>
                      <a:pt x="73" y="121"/>
                      <a:pt x="34" y="112"/>
                      <a:pt x="7" y="75"/>
                    </a:cubicBezTo>
                    <a:cubicBezTo>
                      <a:pt x="0" y="53"/>
                      <a:pt x="15" y="49"/>
                      <a:pt x="30" y="46"/>
                    </a:cubicBezTo>
                    <a:cubicBezTo>
                      <a:pt x="130" y="52"/>
                      <a:pt x="228" y="33"/>
                      <a:pt x="325" y="17"/>
                    </a:cubicBezTo>
                    <a:cubicBezTo>
                      <a:pt x="424" y="0"/>
                      <a:pt x="437" y="1"/>
                      <a:pt x="440" y="96"/>
                    </a:cubicBezTo>
                    <a:cubicBezTo>
                      <a:pt x="442" y="164"/>
                      <a:pt x="458" y="176"/>
                      <a:pt x="524" y="154"/>
                    </a:cubicBezTo>
                    <a:cubicBezTo>
                      <a:pt x="607" y="128"/>
                      <a:pt x="684" y="163"/>
                      <a:pt x="752" y="213"/>
                    </a:cubicBezTo>
                    <a:cubicBezTo>
                      <a:pt x="759" y="221"/>
                      <a:pt x="764" y="230"/>
                      <a:pt x="767" y="2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8" name="Freeform 264">
                <a:extLst>
                  <a:ext uri="{FF2B5EF4-FFF2-40B4-BE49-F238E27FC236}">
                    <a16:creationId xmlns:a16="http://schemas.microsoft.com/office/drawing/2014/main" id="{EECB1F38-646F-4ED5-850E-8C6126826A7C}"/>
                  </a:ext>
                </a:extLst>
              </p:cNvPr>
              <p:cNvSpPr>
                <a:spLocks/>
              </p:cNvSpPr>
              <p:nvPr/>
            </p:nvSpPr>
            <p:spPr bwMode="auto">
              <a:xfrm>
                <a:off x="1590" y="2793"/>
                <a:ext cx="61" cy="30"/>
              </a:xfrm>
              <a:custGeom>
                <a:avLst/>
                <a:gdLst>
                  <a:gd name="T0" fmla="*/ 93 w 397"/>
                  <a:gd name="T1" fmla="*/ 155 h 194"/>
                  <a:gd name="T2" fmla="*/ 9 w 397"/>
                  <a:gd name="T3" fmla="*/ 77 h 194"/>
                  <a:gd name="T4" fmla="*/ 81 w 397"/>
                  <a:gd name="T5" fmla="*/ 17 h 194"/>
                  <a:gd name="T6" fmla="*/ 216 w 397"/>
                  <a:gd name="T7" fmla="*/ 51 h 194"/>
                  <a:gd name="T8" fmla="*/ 341 w 397"/>
                  <a:gd name="T9" fmla="*/ 72 h 194"/>
                  <a:gd name="T10" fmla="*/ 359 w 397"/>
                  <a:gd name="T11" fmla="*/ 56 h 194"/>
                  <a:gd name="T12" fmla="*/ 366 w 397"/>
                  <a:gd name="T13" fmla="*/ 154 h 194"/>
                  <a:gd name="T14" fmla="*/ 291 w 397"/>
                  <a:gd name="T15" fmla="*/ 143 h 194"/>
                  <a:gd name="T16" fmla="*/ 174 w 397"/>
                  <a:gd name="T17" fmla="*/ 82 h 194"/>
                  <a:gd name="T18" fmla="*/ 47 w 397"/>
                  <a:gd name="T19" fmla="*/ 65 h 194"/>
                  <a:gd name="T20" fmla="*/ 93 w 397"/>
                  <a:gd name="T21" fmla="*/ 15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194">
                    <a:moveTo>
                      <a:pt x="93" y="155"/>
                    </a:moveTo>
                    <a:cubicBezTo>
                      <a:pt x="48" y="147"/>
                      <a:pt x="8" y="136"/>
                      <a:pt x="9" y="77"/>
                    </a:cubicBezTo>
                    <a:cubicBezTo>
                      <a:pt x="10" y="28"/>
                      <a:pt x="24" y="0"/>
                      <a:pt x="81" y="17"/>
                    </a:cubicBezTo>
                    <a:cubicBezTo>
                      <a:pt x="126" y="30"/>
                      <a:pt x="171" y="40"/>
                      <a:pt x="216" y="51"/>
                    </a:cubicBezTo>
                    <a:cubicBezTo>
                      <a:pt x="250" y="102"/>
                      <a:pt x="298" y="71"/>
                      <a:pt x="341" y="72"/>
                    </a:cubicBezTo>
                    <a:cubicBezTo>
                      <a:pt x="347" y="67"/>
                      <a:pt x="353" y="61"/>
                      <a:pt x="359" y="56"/>
                    </a:cubicBezTo>
                    <a:cubicBezTo>
                      <a:pt x="397" y="87"/>
                      <a:pt x="388" y="124"/>
                      <a:pt x="366" y="154"/>
                    </a:cubicBezTo>
                    <a:cubicBezTo>
                      <a:pt x="337" y="194"/>
                      <a:pt x="316" y="147"/>
                      <a:pt x="291" y="143"/>
                    </a:cubicBezTo>
                    <a:cubicBezTo>
                      <a:pt x="244" y="136"/>
                      <a:pt x="203" y="140"/>
                      <a:pt x="174" y="82"/>
                    </a:cubicBezTo>
                    <a:cubicBezTo>
                      <a:pt x="164" y="62"/>
                      <a:pt x="78" y="34"/>
                      <a:pt x="47" y="65"/>
                    </a:cubicBezTo>
                    <a:cubicBezTo>
                      <a:pt x="0" y="110"/>
                      <a:pt x="93" y="115"/>
                      <a:pt x="93" y="15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9" name="Freeform 265">
                <a:extLst>
                  <a:ext uri="{FF2B5EF4-FFF2-40B4-BE49-F238E27FC236}">
                    <a16:creationId xmlns:a16="http://schemas.microsoft.com/office/drawing/2014/main" id="{751D568B-9C11-4293-A260-F73CFBC76E49}"/>
                  </a:ext>
                </a:extLst>
              </p:cNvPr>
              <p:cNvSpPr>
                <a:spLocks/>
              </p:cNvSpPr>
              <p:nvPr/>
            </p:nvSpPr>
            <p:spPr bwMode="auto">
              <a:xfrm>
                <a:off x="1703" y="2622"/>
                <a:ext cx="48" cy="50"/>
              </a:xfrm>
              <a:custGeom>
                <a:avLst/>
                <a:gdLst>
                  <a:gd name="T0" fmla="*/ 283 w 311"/>
                  <a:gd name="T1" fmla="*/ 134 h 327"/>
                  <a:gd name="T2" fmla="*/ 266 w 311"/>
                  <a:gd name="T3" fmla="*/ 154 h 327"/>
                  <a:gd name="T4" fmla="*/ 243 w 311"/>
                  <a:gd name="T5" fmla="*/ 134 h 327"/>
                  <a:gd name="T6" fmla="*/ 22 w 311"/>
                  <a:gd name="T7" fmla="*/ 319 h 327"/>
                  <a:gd name="T8" fmla="*/ 0 w 311"/>
                  <a:gd name="T9" fmla="*/ 319 h 327"/>
                  <a:gd name="T10" fmla="*/ 88 w 311"/>
                  <a:gd name="T11" fmla="*/ 201 h 327"/>
                  <a:gd name="T12" fmla="*/ 245 w 311"/>
                  <a:gd name="T13" fmla="*/ 32 h 327"/>
                  <a:gd name="T14" fmla="*/ 287 w 311"/>
                  <a:gd name="T15" fmla="*/ 0 h 327"/>
                  <a:gd name="T16" fmla="*/ 311 w 311"/>
                  <a:gd name="T17" fmla="*/ 12 h 327"/>
                  <a:gd name="T18" fmla="*/ 283 w 311"/>
                  <a:gd name="T19" fmla="*/ 134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 h="327">
                    <a:moveTo>
                      <a:pt x="283" y="134"/>
                    </a:moveTo>
                    <a:cubicBezTo>
                      <a:pt x="277" y="141"/>
                      <a:pt x="271" y="147"/>
                      <a:pt x="266" y="154"/>
                    </a:cubicBezTo>
                    <a:cubicBezTo>
                      <a:pt x="258" y="147"/>
                      <a:pt x="250" y="141"/>
                      <a:pt x="243" y="134"/>
                    </a:cubicBezTo>
                    <a:cubicBezTo>
                      <a:pt x="187" y="216"/>
                      <a:pt x="63" y="218"/>
                      <a:pt x="22" y="319"/>
                    </a:cubicBezTo>
                    <a:cubicBezTo>
                      <a:pt x="15" y="327"/>
                      <a:pt x="7" y="327"/>
                      <a:pt x="0" y="319"/>
                    </a:cubicBezTo>
                    <a:cubicBezTo>
                      <a:pt x="3" y="260"/>
                      <a:pt x="47" y="222"/>
                      <a:pt x="88" y="201"/>
                    </a:cubicBezTo>
                    <a:cubicBezTo>
                      <a:pt x="166" y="164"/>
                      <a:pt x="212" y="106"/>
                      <a:pt x="245" y="32"/>
                    </a:cubicBezTo>
                    <a:cubicBezTo>
                      <a:pt x="253" y="14"/>
                      <a:pt x="265" y="1"/>
                      <a:pt x="287" y="0"/>
                    </a:cubicBezTo>
                    <a:cubicBezTo>
                      <a:pt x="296" y="1"/>
                      <a:pt x="304" y="5"/>
                      <a:pt x="311" y="12"/>
                    </a:cubicBezTo>
                    <a:cubicBezTo>
                      <a:pt x="308" y="54"/>
                      <a:pt x="268" y="88"/>
                      <a:pt x="283"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0" name="Freeform 266">
                <a:extLst>
                  <a:ext uri="{FF2B5EF4-FFF2-40B4-BE49-F238E27FC236}">
                    <a16:creationId xmlns:a16="http://schemas.microsoft.com/office/drawing/2014/main" id="{FB90EC3E-5C6E-4EF3-9A4A-5AC6D70E0BCB}"/>
                  </a:ext>
                </a:extLst>
              </p:cNvPr>
              <p:cNvSpPr>
                <a:spLocks/>
              </p:cNvSpPr>
              <p:nvPr/>
            </p:nvSpPr>
            <p:spPr bwMode="auto">
              <a:xfrm>
                <a:off x="1857" y="2631"/>
                <a:ext cx="39" cy="40"/>
              </a:xfrm>
              <a:custGeom>
                <a:avLst/>
                <a:gdLst>
                  <a:gd name="T0" fmla="*/ 26 w 255"/>
                  <a:gd name="T1" fmla="*/ 257 h 257"/>
                  <a:gd name="T2" fmla="*/ 2 w 255"/>
                  <a:gd name="T3" fmla="*/ 255 h 257"/>
                  <a:gd name="T4" fmla="*/ 15 w 255"/>
                  <a:gd name="T5" fmla="*/ 113 h 257"/>
                  <a:gd name="T6" fmla="*/ 130 w 255"/>
                  <a:gd name="T7" fmla="*/ 23 h 257"/>
                  <a:gd name="T8" fmla="*/ 230 w 255"/>
                  <a:gd name="T9" fmla="*/ 114 h 257"/>
                  <a:gd name="T10" fmla="*/ 255 w 255"/>
                  <a:gd name="T11" fmla="*/ 136 h 257"/>
                  <a:gd name="T12" fmla="*/ 178 w 255"/>
                  <a:gd name="T13" fmla="*/ 109 h 257"/>
                  <a:gd name="T14" fmla="*/ 82 w 255"/>
                  <a:gd name="T15" fmla="*/ 91 h 257"/>
                  <a:gd name="T16" fmla="*/ 67 w 255"/>
                  <a:gd name="T17" fmla="*/ 162 h 257"/>
                  <a:gd name="T18" fmla="*/ 26 w 255"/>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7">
                    <a:moveTo>
                      <a:pt x="26" y="257"/>
                    </a:moveTo>
                    <a:cubicBezTo>
                      <a:pt x="18" y="256"/>
                      <a:pt x="10" y="256"/>
                      <a:pt x="2" y="255"/>
                    </a:cubicBezTo>
                    <a:cubicBezTo>
                      <a:pt x="0" y="207"/>
                      <a:pt x="17" y="161"/>
                      <a:pt x="15" y="113"/>
                    </a:cubicBezTo>
                    <a:cubicBezTo>
                      <a:pt x="12" y="17"/>
                      <a:pt x="34" y="0"/>
                      <a:pt x="130" y="23"/>
                    </a:cubicBezTo>
                    <a:cubicBezTo>
                      <a:pt x="179" y="34"/>
                      <a:pt x="236" y="41"/>
                      <a:pt x="230" y="114"/>
                    </a:cubicBezTo>
                    <a:cubicBezTo>
                      <a:pt x="239" y="121"/>
                      <a:pt x="247" y="129"/>
                      <a:pt x="255" y="136"/>
                    </a:cubicBezTo>
                    <a:cubicBezTo>
                      <a:pt x="212" y="179"/>
                      <a:pt x="200" y="126"/>
                      <a:pt x="178" y="109"/>
                    </a:cubicBezTo>
                    <a:cubicBezTo>
                      <a:pt x="148" y="86"/>
                      <a:pt x="111" y="83"/>
                      <a:pt x="82" y="91"/>
                    </a:cubicBezTo>
                    <a:cubicBezTo>
                      <a:pt x="52" y="99"/>
                      <a:pt x="68" y="138"/>
                      <a:pt x="67" y="162"/>
                    </a:cubicBezTo>
                    <a:cubicBezTo>
                      <a:pt x="66" y="201"/>
                      <a:pt x="68" y="237"/>
                      <a:pt x="26" y="2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1" name="Freeform 267">
                <a:extLst>
                  <a:ext uri="{FF2B5EF4-FFF2-40B4-BE49-F238E27FC236}">
                    <a16:creationId xmlns:a16="http://schemas.microsoft.com/office/drawing/2014/main" id="{EBEE1FFE-5EAD-4794-9C8D-971961B7984A}"/>
                  </a:ext>
                </a:extLst>
              </p:cNvPr>
              <p:cNvSpPr>
                <a:spLocks/>
              </p:cNvSpPr>
              <p:nvPr/>
            </p:nvSpPr>
            <p:spPr bwMode="auto">
              <a:xfrm>
                <a:off x="1623" y="2728"/>
                <a:ext cx="22" cy="41"/>
              </a:xfrm>
              <a:custGeom>
                <a:avLst/>
                <a:gdLst>
                  <a:gd name="T0" fmla="*/ 2 w 140"/>
                  <a:gd name="T1" fmla="*/ 268 h 268"/>
                  <a:gd name="T2" fmla="*/ 0 w 140"/>
                  <a:gd name="T3" fmla="*/ 135 h 268"/>
                  <a:gd name="T4" fmla="*/ 25 w 140"/>
                  <a:gd name="T5" fmla="*/ 88 h 268"/>
                  <a:gd name="T6" fmla="*/ 121 w 140"/>
                  <a:gd name="T7" fmla="*/ 0 h 268"/>
                  <a:gd name="T8" fmla="*/ 140 w 140"/>
                  <a:gd name="T9" fmla="*/ 21 h 268"/>
                  <a:gd name="T10" fmla="*/ 40 w 140"/>
                  <a:gd name="T11" fmla="*/ 144 h 268"/>
                  <a:gd name="T12" fmla="*/ 2 w 140"/>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140" h="268">
                    <a:moveTo>
                      <a:pt x="2" y="268"/>
                    </a:moveTo>
                    <a:cubicBezTo>
                      <a:pt x="2" y="223"/>
                      <a:pt x="0" y="179"/>
                      <a:pt x="0" y="135"/>
                    </a:cubicBezTo>
                    <a:cubicBezTo>
                      <a:pt x="0" y="115"/>
                      <a:pt x="1" y="82"/>
                      <a:pt x="25" y="88"/>
                    </a:cubicBezTo>
                    <a:cubicBezTo>
                      <a:pt x="109" y="110"/>
                      <a:pt x="88" y="27"/>
                      <a:pt x="121" y="0"/>
                    </a:cubicBezTo>
                    <a:cubicBezTo>
                      <a:pt x="134" y="1"/>
                      <a:pt x="136" y="12"/>
                      <a:pt x="140" y="21"/>
                    </a:cubicBezTo>
                    <a:cubicBezTo>
                      <a:pt x="114" y="68"/>
                      <a:pt x="121" y="142"/>
                      <a:pt x="40" y="144"/>
                    </a:cubicBezTo>
                    <a:cubicBezTo>
                      <a:pt x="6" y="179"/>
                      <a:pt x="64" y="242"/>
                      <a:pt x="2" y="2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2" name="Freeform 268">
                <a:extLst>
                  <a:ext uri="{FF2B5EF4-FFF2-40B4-BE49-F238E27FC236}">
                    <a16:creationId xmlns:a16="http://schemas.microsoft.com/office/drawing/2014/main" id="{42BAE787-E32F-4A9C-B442-A02253706814}"/>
                  </a:ext>
                </a:extLst>
              </p:cNvPr>
              <p:cNvSpPr>
                <a:spLocks/>
              </p:cNvSpPr>
              <p:nvPr/>
            </p:nvSpPr>
            <p:spPr bwMode="auto">
              <a:xfrm>
                <a:off x="1583" y="2873"/>
                <a:ext cx="32" cy="36"/>
              </a:xfrm>
              <a:custGeom>
                <a:avLst/>
                <a:gdLst>
                  <a:gd name="T0" fmla="*/ 11 w 203"/>
                  <a:gd name="T1" fmla="*/ 210 h 233"/>
                  <a:gd name="T2" fmla="*/ 176 w 203"/>
                  <a:gd name="T3" fmla="*/ 6 h 233"/>
                  <a:gd name="T4" fmla="*/ 196 w 203"/>
                  <a:gd name="T5" fmla="*/ 25 h 233"/>
                  <a:gd name="T6" fmla="*/ 29 w 203"/>
                  <a:gd name="T7" fmla="*/ 230 h 233"/>
                  <a:gd name="T8" fmla="*/ 11 w 203"/>
                  <a:gd name="T9" fmla="*/ 210 h 233"/>
                </a:gdLst>
                <a:ahLst/>
                <a:cxnLst>
                  <a:cxn ang="0">
                    <a:pos x="T0" y="T1"/>
                  </a:cxn>
                  <a:cxn ang="0">
                    <a:pos x="T2" y="T3"/>
                  </a:cxn>
                  <a:cxn ang="0">
                    <a:pos x="T4" y="T5"/>
                  </a:cxn>
                  <a:cxn ang="0">
                    <a:pos x="T6" y="T7"/>
                  </a:cxn>
                  <a:cxn ang="0">
                    <a:pos x="T8" y="T9"/>
                  </a:cxn>
                </a:cxnLst>
                <a:rect l="0" t="0" r="r" b="b"/>
                <a:pathLst>
                  <a:path w="203" h="233">
                    <a:moveTo>
                      <a:pt x="11" y="210"/>
                    </a:moveTo>
                    <a:cubicBezTo>
                      <a:pt x="44" y="124"/>
                      <a:pt x="137" y="87"/>
                      <a:pt x="176" y="6"/>
                    </a:cubicBezTo>
                    <a:cubicBezTo>
                      <a:pt x="194" y="0"/>
                      <a:pt x="203" y="4"/>
                      <a:pt x="196" y="25"/>
                    </a:cubicBezTo>
                    <a:cubicBezTo>
                      <a:pt x="158" y="108"/>
                      <a:pt x="80" y="158"/>
                      <a:pt x="29" y="230"/>
                    </a:cubicBezTo>
                    <a:cubicBezTo>
                      <a:pt x="11" y="233"/>
                      <a:pt x="0" y="232"/>
                      <a:pt x="11" y="2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3" name="Freeform 269">
                <a:extLst>
                  <a:ext uri="{FF2B5EF4-FFF2-40B4-BE49-F238E27FC236}">
                    <a16:creationId xmlns:a16="http://schemas.microsoft.com/office/drawing/2014/main" id="{53CC0A17-C81A-4F10-8F09-CC29423684BF}"/>
                  </a:ext>
                </a:extLst>
              </p:cNvPr>
              <p:cNvSpPr>
                <a:spLocks/>
              </p:cNvSpPr>
              <p:nvPr/>
            </p:nvSpPr>
            <p:spPr bwMode="auto">
              <a:xfrm>
                <a:off x="1642" y="2718"/>
                <a:ext cx="34" cy="13"/>
              </a:xfrm>
              <a:custGeom>
                <a:avLst/>
                <a:gdLst>
                  <a:gd name="T0" fmla="*/ 19 w 219"/>
                  <a:gd name="T1" fmla="*/ 82 h 82"/>
                  <a:gd name="T2" fmla="*/ 0 w 219"/>
                  <a:gd name="T3" fmla="*/ 61 h 82"/>
                  <a:gd name="T4" fmla="*/ 99 w 219"/>
                  <a:gd name="T5" fmla="*/ 28 h 82"/>
                  <a:gd name="T6" fmla="*/ 207 w 219"/>
                  <a:gd name="T7" fmla="*/ 46 h 82"/>
                  <a:gd name="T8" fmla="*/ 207 w 219"/>
                  <a:gd name="T9" fmla="*/ 78 h 82"/>
                  <a:gd name="T10" fmla="*/ 19 w 219"/>
                  <a:gd name="T11" fmla="*/ 82 h 82"/>
                </a:gdLst>
                <a:ahLst/>
                <a:cxnLst>
                  <a:cxn ang="0">
                    <a:pos x="T0" y="T1"/>
                  </a:cxn>
                  <a:cxn ang="0">
                    <a:pos x="T2" y="T3"/>
                  </a:cxn>
                  <a:cxn ang="0">
                    <a:pos x="T4" y="T5"/>
                  </a:cxn>
                  <a:cxn ang="0">
                    <a:pos x="T6" y="T7"/>
                  </a:cxn>
                  <a:cxn ang="0">
                    <a:pos x="T8" y="T9"/>
                  </a:cxn>
                  <a:cxn ang="0">
                    <a:pos x="T10" y="T11"/>
                  </a:cxn>
                </a:cxnLst>
                <a:rect l="0" t="0" r="r" b="b"/>
                <a:pathLst>
                  <a:path w="219" h="82">
                    <a:moveTo>
                      <a:pt x="19" y="82"/>
                    </a:moveTo>
                    <a:cubicBezTo>
                      <a:pt x="13" y="75"/>
                      <a:pt x="7" y="68"/>
                      <a:pt x="0" y="61"/>
                    </a:cubicBezTo>
                    <a:cubicBezTo>
                      <a:pt x="16" y="0"/>
                      <a:pt x="64" y="27"/>
                      <a:pt x="99" y="28"/>
                    </a:cubicBezTo>
                    <a:cubicBezTo>
                      <a:pt x="136" y="29"/>
                      <a:pt x="171" y="39"/>
                      <a:pt x="207" y="46"/>
                    </a:cubicBezTo>
                    <a:cubicBezTo>
                      <a:pt x="219" y="56"/>
                      <a:pt x="219" y="67"/>
                      <a:pt x="207" y="78"/>
                    </a:cubicBezTo>
                    <a:cubicBezTo>
                      <a:pt x="144" y="66"/>
                      <a:pt x="81" y="47"/>
                      <a:pt x="19"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4" name="Freeform 270">
                <a:extLst>
                  <a:ext uri="{FF2B5EF4-FFF2-40B4-BE49-F238E27FC236}">
                    <a16:creationId xmlns:a16="http://schemas.microsoft.com/office/drawing/2014/main" id="{2B6EE9EE-9831-4B9A-9463-84B52D71A806}"/>
                  </a:ext>
                </a:extLst>
              </p:cNvPr>
              <p:cNvSpPr>
                <a:spLocks/>
              </p:cNvSpPr>
              <p:nvPr/>
            </p:nvSpPr>
            <p:spPr bwMode="auto">
              <a:xfrm>
                <a:off x="1674" y="2707"/>
                <a:ext cx="22" cy="23"/>
              </a:xfrm>
              <a:custGeom>
                <a:avLst/>
                <a:gdLst>
                  <a:gd name="T0" fmla="*/ 0 w 143"/>
                  <a:gd name="T1" fmla="*/ 151 h 151"/>
                  <a:gd name="T2" fmla="*/ 0 w 143"/>
                  <a:gd name="T3" fmla="*/ 119 h 151"/>
                  <a:gd name="T4" fmla="*/ 100 w 143"/>
                  <a:gd name="T5" fmla="*/ 32 h 151"/>
                  <a:gd name="T6" fmla="*/ 143 w 143"/>
                  <a:gd name="T7" fmla="*/ 14 h 151"/>
                  <a:gd name="T8" fmla="*/ 0 w 143"/>
                  <a:gd name="T9" fmla="*/ 151 h 151"/>
                </a:gdLst>
                <a:ahLst/>
                <a:cxnLst>
                  <a:cxn ang="0">
                    <a:pos x="T0" y="T1"/>
                  </a:cxn>
                  <a:cxn ang="0">
                    <a:pos x="T2" y="T3"/>
                  </a:cxn>
                  <a:cxn ang="0">
                    <a:pos x="T4" y="T5"/>
                  </a:cxn>
                  <a:cxn ang="0">
                    <a:pos x="T6" y="T7"/>
                  </a:cxn>
                  <a:cxn ang="0">
                    <a:pos x="T8" y="T9"/>
                  </a:cxn>
                </a:cxnLst>
                <a:rect l="0" t="0" r="r" b="b"/>
                <a:pathLst>
                  <a:path w="143" h="151">
                    <a:moveTo>
                      <a:pt x="0" y="151"/>
                    </a:moveTo>
                    <a:cubicBezTo>
                      <a:pt x="0" y="140"/>
                      <a:pt x="0" y="129"/>
                      <a:pt x="0" y="119"/>
                    </a:cubicBezTo>
                    <a:cubicBezTo>
                      <a:pt x="60" y="120"/>
                      <a:pt x="26" y="14"/>
                      <a:pt x="100" y="32"/>
                    </a:cubicBezTo>
                    <a:cubicBezTo>
                      <a:pt x="114" y="25"/>
                      <a:pt x="121" y="0"/>
                      <a:pt x="143" y="14"/>
                    </a:cubicBezTo>
                    <a:cubicBezTo>
                      <a:pt x="87" y="51"/>
                      <a:pt x="85" y="144"/>
                      <a:pt x="0" y="1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5" name="Freeform 271">
                <a:extLst>
                  <a:ext uri="{FF2B5EF4-FFF2-40B4-BE49-F238E27FC236}">
                    <a16:creationId xmlns:a16="http://schemas.microsoft.com/office/drawing/2014/main" id="{64A166BC-32BB-4EE1-A9AC-BBA9A56BC11C}"/>
                  </a:ext>
                </a:extLst>
              </p:cNvPr>
              <p:cNvSpPr>
                <a:spLocks/>
              </p:cNvSpPr>
              <p:nvPr/>
            </p:nvSpPr>
            <p:spPr bwMode="auto">
              <a:xfrm>
                <a:off x="1606" y="2843"/>
                <a:ext cx="14" cy="34"/>
              </a:xfrm>
              <a:custGeom>
                <a:avLst/>
                <a:gdLst>
                  <a:gd name="T0" fmla="*/ 52 w 91"/>
                  <a:gd name="T1" fmla="*/ 222 h 222"/>
                  <a:gd name="T2" fmla="*/ 32 w 91"/>
                  <a:gd name="T3" fmla="*/ 203 h 222"/>
                  <a:gd name="T4" fmla="*/ 31 w 91"/>
                  <a:gd name="T5" fmla="*/ 101 h 222"/>
                  <a:gd name="T6" fmla="*/ 50 w 91"/>
                  <a:gd name="T7" fmla="*/ 0 h 222"/>
                  <a:gd name="T8" fmla="*/ 52 w 91"/>
                  <a:gd name="T9" fmla="*/ 222 h 222"/>
                </a:gdLst>
                <a:ahLst/>
                <a:cxnLst>
                  <a:cxn ang="0">
                    <a:pos x="T0" y="T1"/>
                  </a:cxn>
                  <a:cxn ang="0">
                    <a:pos x="T2" y="T3"/>
                  </a:cxn>
                  <a:cxn ang="0">
                    <a:pos x="T4" y="T5"/>
                  </a:cxn>
                  <a:cxn ang="0">
                    <a:pos x="T6" y="T7"/>
                  </a:cxn>
                  <a:cxn ang="0">
                    <a:pos x="T8" y="T9"/>
                  </a:cxn>
                </a:cxnLst>
                <a:rect l="0" t="0" r="r" b="b"/>
                <a:pathLst>
                  <a:path w="91" h="222">
                    <a:moveTo>
                      <a:pt x="52" y="222"/>
                    </a:moveTo>
                    <a:cubicBezTo>
                      <a:pt x="45" y="216"/>
                      <a:pt x="38" y="209"/>
                      <a:pt x="32" y="203"/>
                    </a:cubicBezTo>
                    <a:cubicBezTo>
                      <a:pt x="32" y="169"/>
                      <a:pt x="31" y="135"/>
                      <a:pt x="31" y="101"/>
                    </a:cubicBezTo>
                    <a:cubicBezTo>
                      <a:pt x="25" y="65"/>
                      <a:pt x="0" y="26"/>
                      <a:pt x="50" y="0"/>
                    </a:cubicBezTo>
                    <a:cubicBezTo>
                      <a:pt x="33" y="75"/>
                      <a:pt x="91" y="148"/>
                      <a:pt x="52" y="2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6" name="Freeform 272">
                <a:extLst>
                  <a:ext uri="{FF2B5EF4-FFF2-40B4-BE49-F238E27FC236}">
                    <a16:creationId xmlns:a16="http://schemas.microsoft.com/office/drawing/2014/main" id="{562C3A8F-E2D2-4FE6-9634-BC2D45B5F36B}"/>
                  </a:ext>
                </a:extLst>
              </p:cNvPr>
              <p:cNvSpPr>
                <a:spLocks/>
              </p:cNvSpPr>
              <p:nvPr/>
            </p:nvSpPr>
            <p:spPr bwMode="auto">
              <a:xfrm>
                <a:off x="1564" y="2905"/>
                <a:ext cx="24" cy="20"/>
              </a:xfrm>
              <a:custGeom>
                <a:avLst/>
                <a:gdLst>
                  <a:gd name="T0" fmla="*/ 139 w 157"/>
                  <a:gd name="T1" fmla="*/ 0 h 127"/>
                  <a:gd name="T2" fmla="*/ 157 w 157"/>
                  <a:gd name="T3" fmla="*/ 20 h 127"/>
                  <a:gd name="T4" fmla="*/ 18 w 157"/>
                  <a:gd name="T5" fmla="*/ 127 h 127"/>
                  <a:gd name="T6" fmla="*/ 0 w 157"/>
                  <a:gd name="T7" fmla="*/ 105 h 127"/>
                  <a:gd name="T8" fmla="*/ 139 w 157"/>
                  <a:gd name="T9" fmla="*/ 0 h 127"/>
                </a:gdLst>
                <a:ahLst/>
                <a:cxnLst>
                  <a:cxn ang="0">
                    <a:pos x="T0" y="T1"/>
                  </a:cxn>
                  <a:cxn ang="0">
                    <a:pos x="T2" y="T3"/>
                  </a:cxn>
                  <a:cxn ang="0">
                    <a:pos x="T4" y="T5"/>
                  </a:cxn>
                  <a:cxn ang="0">
                    <a:pos x="T6" y="T7"/>
                  </a:cxn>
                  <a:cxn ang="0">
                    <a:pos x="T8" y="T9"/>
                  </a:cxn>
                </a:cxnLst>
                <a:rect l="0" t="0" r="r" b="b"/>
                <a:pathLst>
                  <a:path w="157" h="127">
                    <a:moveTo>
                      <a:pt x="139" y="0"/>
                    </a:moveTo>
                    <a:cubicBezTo>
                      <a:pt x="145" y="7"/>
                      <a:pt x="151" y="13"/>
                      <a:pt x="157" y="20"/>
                    </a:cubicBezTo>
                    <a:cubicBezTo>
                      <a:pt x="133" y="84"/>
                      <a:pt x="54" y="78"/>
                      <a:pt x="18" y="127"/>
                    </a:cubicBezTo>
                    <a:cubicBezTo>
                      <a:pt x="5" y="126"/>
                      <a:pt x="6" y="112"/>
                      <a:pt x="0" y="105"/>
                    </a:cubicBezTo>
                    <a:cubicBezTo>
                      <a:pt x="30" y="49"/>
                      <a:pt x="104" y="51"/>
                      <a:pt x="13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7" name="Freeform 273">
                <a:extLst>
                  <a:ext uri="{FF2B5EF4-FFF2-40B4-BE49-F238E27FC236}">
                    <a16:creationId xmlns:a16="http://schemas.microsoft.com/office/drawing/2014/main" id="{4B858125-AA7A-41B5-9330-FC5DA0AAA55A}"/>
                  </a:ext>
                </a:extLst>
              </p:cNvPr>
              <p:cNvSpPr>
                <a:spLocks/>
              </p:cNvSpPr>
              <p:nvPr/>
            </p:nvSpPr>
            <p:spPr bwMode="auto">
              <a:xfrm>
                <a:off x="1623" y="2774"/>
                <a:ext cx="9" cy="31"/>
              </a:xfrm>
              <a:custGeom>
                <a:avLst/>
                <a:gdLst>
                  <a:gd name="T0" fmla="*/ 19 w 62"/>
                  <a:gd name="T1" fmla="*/ 132 h 198"/>
                  <a:gd name="T2" fmla="*/ 40 w 62"/>
                  <a:gd name="T3" fmla="*/ 9 h 198"/>
                  <a:gd name="T4" fmla="*/ 62 w 62"/>
                  <a:gd name="T5" fmla="*/ 9 h 198"/>
                  <a:gd name="T6" fmla="*/ 44 w 62"/>
                  <a:gd name="T7" fmla="*/ 171 h 198"/>
                  <a:gd name="T8" fmla="*/ 39 w 62"/>
                  <a:gd name="T9" fmla="*/ 198 h 198"/>
                  <a:gd name="T10" fmla="*/ 19 w 62"/>
                  <a:gd name="T11" fmla="*/ 132 h 198"/>
                </a:gdLst>
                <a:ahLst/>
                <a:cxnLst>
                  <a:cxn ang="0">
                    <a:pos x="T0" y="T1"/>
                  </a:cxn>
                  <a:cxn ang="0">
                    <a:pos x="T2" y="T3"/>
                  </a:cxn>
                  <a:cxn ang="0">
                    <a:pos x="T4" y="T5"/>
                  </a:cxn>
                  <a:cxn ang="0">
                    <a:pos x="T6" y="T7"/>
                  </a:cxn>
                  <a:cxn ang="0">
                    <a:pos x="T8" y="T9"/>
                  </a:cxn>
                  <a:cxn ang="0">
                    <a:pos x="T10" y="T11"/>
                  </a:cxn>
                </a:cxnLst>
                <a:rect l="0" t="0" r="r" b="b"/>
                <a:pathLst>
                  <a:path w="62" h="198">
                    <a:moveTo>
                      <a:pt x="19" y="132"/>
                    </a:moveTo>
                    <a:cubicBezTo>
                      <a:pt x="26" y="91"/>
                      <a:pt x="33" y="50"/>
                      <a:pt x="40" y="9"/>
                    </a:cubicBezTo>
                    <a:cubicBezTo>
                      <a:pt x="47" y="0"/>
                      <a:pt x="55" y="1"/>
                      <a:pt x="62" y="9"/>
                    </a:cubicBezTo>
                    <a:cubicBezTo>
                      <a:pt x="56" y="63"/>
                      <a:pt x="50" y="117"/>
                      <a:pt x="44" y="171"/>
                    </a:cubicBezTo>
                    <a:cubicBezTo>
                      <a:pt x="51" y="182"/>
                      <a:pt x="50" y="191"/>
                      <a:pt x="39" y="198"/>
                    </a:cubicBezTo>
                    <a:cubicBezTo>
                      <a:pt x="0" y="186"/>
                      <a:pt x="13" y="158"/>
                      <a:pt x="19" y="1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8" name="Freeform 274">
                <a:extLst>
                  <a:ext uri="{FF2B5EF4-FFF2-40B4-BE49-F238E27FC236}">
                    <a16:creationId xmlns:a16="http://schemas.microsoft.com/office/drawing/2014/main" id="{B1E62558-19D7-4171-8C43-E5F0C91A259C}"/>
                  </a:ext>
                </a:extLst>
              </p:cNvPr>
              <p:cNvSpPr>
                <a:spLocks/>
              </p:cNvSpPr>
              <p:nvPr/>
            </p:nvSpPr>
            <p:spPr bwMode="auto">
              <a:xfrm>
                <a:off x="1622" y="2750"/>
                <a:ext cx="10" cy="26"/>
              </a:xfrm>
              <a:custGeom>
                <a:avLst/>
                <a:gdLst>
                  <a:gd name="T0" fmla="*/ 68 w 68"/>
                  <a:gd name="T1" fmla="*/ 167 h 167"/>
                  <a:gd name="T2" fmla="*/ 46 w 68"/>
                  <a:gd name="T3" fmla="*/ 167 h 167"/>
                  <a:gd name="T4" fmla="*/ 10 w 68"/>
                  <a:gd name="T5" fmla="*/ 124 h 167"/>
                  <a:gd name="T6" fmla="*/ 48 w 68"/>
                  <a:gd name="T7" fmla="*/ 0 h 167"/>
                  <a:gd name="T8" fmla="*/ 68 w 68"/>
                  <a:gd name="T9" fmla="*/ 167 h 167"/>
                </a:gdLst>
                <a:ahLst/>
                <a:cxnLst>
                  <a:cxn ang="0">
                    <a:pos x="T0" y="T1"/>
                  </a:cxn>
                  <a:cxn ang="0">
                    <a:pos x="T2" y="T3"/>
                  </a:cxn>
                  <a:cxn ang="0">
                    <a:pos x="T4" y="T5"/>
                  </a:cxn>
                  <a:cxn ang="0">
                    <a:pos x="T6" y="T7"/>
                  </a:cxn>
                  <a:cxn ang="0">
                    <a:pos x="T8" y="T9"/>
                  </a:cxn>
                </a:cxnLst>
                <a:rect l="0" t="0" r="r" b="b"/>
                <a:pathLst>
                  <a:path w="68" h="167">
                    <a:moveTo>
                      <a:pt x="68" y="167"/>
                    </a:moveTo>
                    <a:cubicBezTo>
                      <a:pt x="60" y="167"/>
                      <a:pt x="53" y="167"/>
                      <a:pt x="46" y="167"/>
                    </a:cubicBezTo>
                    <a:cubicBezTo>
                      <a:pt x="28" y="158"/>
                      <a:pt x="15" y="144"/>
                      <a:pt x="10" y="124"/>
                    </a:cubicBezTo>
                    <a:cubicBezTo>
                      <a:pt x="54" y="92"/>
                      <a:pt x="0" y="31"/>
                      <a:pt x="48" y="0"/>
                    </a:cubicBezTo>
                    <a:cubicBezTo>
                      <a:pt x="50" y="56"/>
                      <a:pt x="39" y="114"/>
                      <a:pt x="68" y="1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9" name="Freeform 275">
                <a:extLst>
                  <a:ext uri="{FF2B5EF4-FFF2-40B4-BE49-F238E27FC236}">
                    <a16:creationId xmlns:a16="http://schemas.microsoft.com/office/drawing/2014/main" id="{B8AE92CE-C8A8-4D12-81E1-E05485447E72}"/>
                  </a:ext>
                </a:extLst>
              </p:cNvPr>
              <p:cNvSpPr>
                <a:spLocks/>
              </p:cNvSpPr>
              <p:nvPr/>
            </p:nvSpPr>
            <p:spPr bwMode="auto">
              <a:xfrm>
                <a:off x="1601" y="2832"/>
                <a:ext cx="12" cy="26"/>
              </a:xfrm>
              <a:custGeom>
                <a:avLst/>
                <a:gdLst>
                  <a:gd name="T0" fmla="*/ 79 w 79"/>
                  <a:gd name="T1" fmla="*/ 66 h 167"/>
                  <a:gd name="T2" fmla="*/ 60 w 79"/>
                  <a:gd name="T3" fmla="*/ 167 h 167"/>
                  <a:gd name="T4" fmla="*/ 0 w 79"/>
                  <a:gd name="T5" fmla="*/ 22 h 167"/>
                  <a:gd name="T6" fmla="*/ 22 w 79"/>
                  <a:gd name="T7" fmla="*/ 0 h 167"/>
                  <a:gd name="T8" fmla="*/ 79 w 79"/>
                  <a:gd name="T9" fmla="*/ 66 h 167"/>
                </a:gdLst>
                <a:ahLst/>
                <a:cxnLst>
                  <a:cxn ang="0">
                    <a:pos x="T0" y="T1"/>
                  </a:cxn>
                  <a:cxn ang="0">
                    <a:pos x="T2" y="T3"/>
                  </a:cxn>
                  <a:cxn ang="0">
                    <a:pos x="T4" y="T5"/>
                  </a:cxn>
                  <a:cxn ang="0">
                    <a:pos x="T6" y="T7"/>
                  </a:cxn>
                  <a:cxn ang="0">
                    <a:pos x="T8" y="T9"/>
                  </a:cxn>
                </a:cxnLst>
                <a:rect l="0" t="0" r="r" b="b"/>
                <a:pathLst>
                  <a:path w="79" h="167">
                    <a:moveTo>
                      <a:pt x="79" y="66"/>
                    </a:moveTo>
                    <a:cubicBezTo>
                      <a:pt x="48" y="96"/>
                      <a:pt x="68" y="134"/>
                      <a:pt x="60" y="167"/>
                    </a:cubicBezTo>
                    <a:cubicBezTo>
                      <a:pt x="23" y="126"/>
                      <a:pt x="64" y="52"/>
                      <a:pt x="0" y="22"/>
                    </a:cubicBezTo>
                    <a:cubicBezTo>
                      <a:pt x="8" y="15"/>
                      <a:pt x="9" y="2"/>
                      <a:pt x="22" y="0"/>
                    </a:cubicBezTo>
                    <a:cubicBezTo>
                      <a:pt x="45" y="18"/>
                      <a:pt x="71" y="35"/>
                      <a:pt x="79"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0" name="Freeform 276">
                <a:extLst>
                  <a:ext uri="{FF2B5EF4-FFF2-40B4-BE49-F238E27FC236}">
                    <a16:creationId xmlns:a16="http://schemas.microsoft.com/office/drawing/2014/main" id="{A730365B-0F20-4F85-818C-F8EFA43CBA34}"/>
                  </a:ext>
                </a:extLst>
              </p:cNvPr>
              <p:cNvSpPr>
                <a:spLocks/>
              </p:cNvSpPr>
              <p:nvPr/>
            </p:nvSpPr>
            <p:spPr bwMode="auto">
              <a:xfrm>
                <a:off x="1698" y="2671"/>
                <a:ext cx="14" cy="16"/>
              </a:xfrm>
              <a:custGeom>
                <a:avLst/>
                <a:gdLst>
                  <a:gd name="T0" fmla="*/ 28 w 86"/>
                  <a:gd name="T1" fmla="*/ 0 h 104"/>
                  <a:gd name="T2" fmla="*/ 50 w 86"/>
                  <a:gd name="T3" fmla="*/ 0 h 104"/>
                  <a:gd name="T4" fmla="*/ 21 w 86"/>
                  <a:gd name="T5" fmla="*/ 102 h 104"/>
                  <a:gd name="T6" fmla="*/ 9 w 86"/>
                  <a:gd name="T7" fmla="*/ 104 h 104"/>
                  <a:gd name="T8" fmla="*/ 28 w 86"/>
                  <a:gd name="T9" fmla="*/ 0 h 104"/>
                </a:gdLst>
                <a:ahLst/>
                <a:cxnLst>
                  <a:cxn ang="0">
                    <a:pos x="T0" y="T1"/>
                  </a:cxn>
                  <a:cxn ang="0">
                    <a:pos x="T2" y="T3"/>
                  </a:cxn>
                  <a:cxn ang="0">
                    <a:pos x="T4" y="T5"/>
                  </a:cxn>
                  <a:cxn ang="0">
                    <a:pos x="T6" y="T7"/>
                  </a:cxn>
                  <a:cxn ang="0">
                    <a:pos x="T8" y="T9"/>
                  </a:cxn>
                </a:cxnLst>
                <a:rect l="0" t="0" r="r" b="b"/>
                <a:pathLst>
                  <a:path w="86" h="104">
                    <a:moveTo>
                      <a:pt x="28" y="0"/>
                    </a:moveTo>
                    <a:cubicBezTo>
                      <a:pt x="35" y="0"/>
                      <a:pt x="43" y="0"/>
                      <a:pt x="50" y="0"/>
                    </a:cubicBezTo>
                    <a:cubicBezTo>
                      <a:pt x="86" y="47"/>
                      <a:pt x="73" y="80"/>
                      <a:pt x="21" y="102"/>
                    </a:cubicBezTo>
                    <a:cubicBezTo>
                      <a:pt x="17" y="103"/>
                      <a:pt x="13" y="103"/>
                      <a:pt x="9" y="104"/>
                    </a:cubicBezTo>
                    <a:cubicBezTo>
                      <a:pt x="0" y="66"/>
                      <a:pt x="57" y="41"/>
                      <a:pt x="2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1" name="Freeform 277">
                <a:extLst>
                  <a:ext uri="{FF2B5EF4-FFF2-40B4-BE49-F238E27FC236}">
                    <a16:creationId xmlns:a16="http://schemas.microsoft.com/office/drawing/2014/main" id="{9702687E-B356-426A-A84A-5BA9879671C6}"/>
                  </a:ext>
                </a:extLst>
              </p:cNvPr>
              <p:cNvSpPr>
                <a:spLocks/>
              </p:cNvSpPr>
              <p:nvPr/>
            </p:nvSpPr>
            <p:spPr bwMode="auto">
              <a:xfrm>
                <a:off x="1688" y="2696"/>
                <a:ext cx="8" cy="16"/>
              </a:xfrm>
              <a:custGeom>
                <a:avLst/>
                <a:gdLst>
                  <a:gd name="T0" fmla="*/ 53 w 53"/>
                  <a:gd name="T1" fmla="*/ 85 h 103"/>
                  <a:gd name="T2" fmla="*/ 10 w 53"/>
                  <a:gd name="T3" fmla="*/ 103 h 103"/>
                  <a:gd name="T4" fmla="*/ 32 w 53"/>
                  <a:gd name="T5" fmla="*/ 0 h 103"/>
                  <a:gd name="T6" fmla="*/ 53 w 53"/>
                  <a:gd name="T7" fmla="*/ 22 h 103"/>
                  <a:gd name="T8" fmla="*/ 53 w 53"/>
                  <a:gd name="T9" fmla="*/ 85 h 103"/>
                </a:gdLst>
                <a:ahLst/>
                <a:cxnLst>
                  <a:cxn ang="0">
                    <a:pos x="T0" y="T1"/>
                  </a:cxn>
                  <a:cxn ang="0">
                    <a:pos x="T2" y="T3"/>
                  </a:cxn>
                  <a:cxn ang="0">
                    <a:pos x="T4" y="T5"/>
                  </a:cxn>
                  <a:cxn ang="0">
                    <a:pos x="T6" y="T7"/>
                  </a:cxn>
                  <a:cxn ang="0">
                    <a:pos x="T8" y="T9"/>
                  </a:cxn>
                </a:cxnLst>
                <a:rect l="0" t="0" r="r" b="b"/>
                <a:pathLst>
                  <a:path w="53" h="103">
                    <a:moveTo>
                      <a:pt x="53" y="85"/>
                    </a:moveTo>
                    <a:cubicBezTo>
                      <a:pt x="39" y="91"/>
                      <a:pt x="25" y="97"/>
                      <a:pt x="10" y="103"/>
                    </a:cubicBezTo>
                    <a:cubicBezTo>
                      <a:pt x="19" y="69"/>
                      <a:pt x="0" y="29"/>
                      <a:pt x="32" y="0"/>
                    </a:cubicBezTo>
                    <a:cubicBezTo>
                      <a:pt x="45" y="1"/>
                      <a:pt x="47" y="13"/>
                      <a:pt x="53" y="22"/>
                    </a:cubicBezTo>
                    <a:cubicBezTo>
                      <a:pt x="53" y="43"/>
                      <a:pt x="53" y="64"/>
                      <a:pt x="53" y="8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2" name="Freeform 278">
                <a:extLst>
                  <a:ext uri="{FF2B5EF4-FFF2-40B4-BE49-F238E27FC236}">
                    <a16:creationId xmlns:a16="http://schemas.microsoft.com/office/drawing/2014/main" id="{8412E4D3-9D79-4CF0-93F5-CD6E5D428256}"/>
                  </a:ext>
                </a:extLst>
              </p:cNvPr>
              <p:cNvSpPr>
                <a:spLocks/>
              </p:cNvSpPr>
              <p:nvPr/>
            </p:nvSpPr>
            <p:spPr bwMode="auto">
              <a:xfrm>
                <a:off x="1693" y="2687"/>
                <a:ext cx="10" cy="12"/>
              </a:xfrm>
              <a:custGeom>
                <a:avLst/>
                <a:gdLst>
                  <a:gd name="T0" fmla="*/ 21 w 67"/>
                  <a:gd name="T1" fmla="*/ 82 h 82"/>
                  <a:gd name="T2" fmla="*/ 0 w 67"/>
                  <a:gd name="T3" fmla="*/ 60 h 82"/>
                  <a:gd name="T4" fmla="*/ 46 w 67"/>
                  <a:gd name="T5" fmla="*/ 2 h 82"/>
                  <a:gd name="T6" fmla="*/ 58 w 67"/>
                  <a:gd name="T7" fmla="*/ 0 h 82"/>
                  <a:gd name="T8" fmla="*/ 21 w 67"/>
                  <a:gd name="T9" fmla="*/ 82 h 82"/>
                </a:gdLst>
                <a:ahLst/>
                <a:cxnLst>
                  <a:cxn ang="0">
                    <a:pos x="T0" y="T1"/>
                  </a:cxn>
                  <a:cxn ang="0">
                    <a:pos x="T2" y="T3"/>
                  </a:cxn>
                  <a:cxn ang="0">
                    <a:pos x="T4" y="T5"/>
                  </a:cxn>
                  <a:cxn ang="0">
                    <a:pos x="T6" y="T7"/>
                  </a:cxn>
                  <a:cxn ang="0">
                    <a:pos x="T8" y="T9"/>
                  </a:cxn>
                </a:cxnLst>
                <a:rect l="0" t="0" r="r" b="b"/>
                <a:pathLst>
                  <a:path w="67" h="82">
                    <a:moveTo>
                      <a:pt x="21" y="82"/>
                    </a:moveTo>
                    <a:cubicBezTo>
                      <a:pt x="14" y="74"/>
                      <a:pt x="7" y="67"/>
                      <a:pt x="0" y="60"/>
                    </a:cubicBezTo>
                    <a:cubicBezTo>
                      <a:pt x="15" y="41"/>
                      <a:pt x="31" y="21"/>
                      <a:pt x="46" y="2"/>
                    </a:cubicBezTo>
                    <a:cubicBezTo>
                      <a:pt x="50" y="2"/>
                      <a:pt x="54" y="1"/>
                      <a:pt x="58" y="0"/>
                    </a:cubicBezTo>
                    <a:cubicBezTo>
                      <a:pt x="67" y="37"/>
                      <a:pt x="36" y="56"/>
                      <a:pt x="21"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3" name="Freeform 279">
                <a:extLst>
                  <a:ext uri="{FF2B5EF4-FFF2-40B4-BE49-F238E27FC236}">
                    <a16:creationId xmlns:a16="http://schemas.microsoft.com/office/drawing/2014/main" id="{F23D8259-2F69-4126-8B9E-66A39D0D581B}"/>
                  </a:ext>
                </a:extLst>
              </p:cNvPr>
              <p:cNvSpPr>
                <a:spLocks/>
              </p:cNvSpPr>
              <p:nvPr/>
            </p:nvSpPr>
            <p:spPr bwMode="auto">
              <a:xfrm>
                <a:off x="1601" y="2817"/>
                <a:ext cx="9" cy="19"/>
              </a:xfrm>
              <a:custGeom>
                <a:avLst/>
                <a:gdLst>
                  <a:gd name="T0" fmla="*/ 22 w 61"/>
                  <a:gd name="T1" fmla="*/ 101 h 123"/>
                  <a:gd name="T2" fmla="*/ 0 w 61"/>
                  <a:gd name="T3" fmla="*/ 123 h 123"/>
                  <a:gd name="T4" fmla="*/ 20 w 61"/>
                  <a:gd name="T5" fmla="*/ 0 h 123"/>
                  <a:gd name="T6" fmla="*/ 22 w 61"/>
                  <a:gd name="T7" fmla="*/ 101 h 123"/>
                </a:gdLst>
                <a:ahLst/>
                <a:cxnLst>
                  <a:cxn ang="0">
                    <a:pos x="T0" y="T1"/>
                  </a:cxn>
                  <a:cxn ang="0">
                    <a:pos x="T2" y="T3"/>
                  </a:cxn>
                  <a:cxn ang="0">
                    <a:pos x="T4" y="T5"/>
                  </a:cxn>
                  <a:cxn ang="0">
                    <a:pos x="T6" y="T7"/>
                  </a:cxn>
                </a:cxnLst>
                <a:rect l="0" t="0" r="r" b="b"/>
                <a:pathLst>
                  <a:path w="61" h="123">
                    <a:moveTo>
                      <a:pt x="22" y="101"/>
                    </a:moveTo>
                    <a:cubicBezTo>
                      <a:pt x="15" y="108"/>
                      <a:pt x="7" y="116"/>
                      <a:pt x="0" y="123"/>
                    </a:cubicBezTo>
                    <a:cubicBezTo>
                      <a:pt x="7" y="82"/>
                      <a:pt x="13" y="41"/>
                      <a:pt x="20" y="0"/>
                    </a:cubicBezTo>
                    <a:cubicBezTo>
                      <a:pt x="61" y="33"/>
                      <a:pt x="34" y="67"/>
                      <a:pt x="22" y="10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4" name="Freeform 280">
                <a:extLst>
                  <a:ext uri="{FF2B5EF4-FFF2-40B4-BE49-F238E27FC236}">
                    <a16:creationId xmlns:a16="http://schemas.microsoft.com/office/drawing/2014/main" id="{E617178C-C3D4-4BB8-BA09-7BCFC34B1BA6}"/>
                  </a:ext>
                </a:extLst>
              </p:cNvPr>
              <p:cNvSpPr>
                <a:spLocks/>
              </p:cNvSpPr>
              <p:nvPr/>
            </p:nvSpPr>
            <p:spPr bwMode="auto">
              <a:xfrm>
                <a:off x="1560" y="2922"/>
                <a:ext cx="6" cy="18"/>
              </a:xfrm>
              <a:custGeom>
                <a:avLst/>
                <a:gdLst>
                  <a:gd name="T0" fmla="*/ 26 w 44"/>
                  <a:gd name="T1" fmla="*/ 0 h 122"/>
                  <a:gd name="T2" fmla="*/ 44 w 44"/>
                  <a:gd name="T3" fmla="*/ 22 h 122"/>
                  <a:gd name="T4" fmla="*/ 2 w 44"/>
                  <a:gd name="T5" fmla="*/ 122 h 122"/>
                  <a:gd name="T6" fmla="*/ 0 w 44"/>
                  <a:gd name="T7" fmla="*/ 97 h 122"/>
                  <a:gd name="T8" fmla="*/ 26 w 44"/>
                  <a:gd name="T9" fmla="*/ 0 h 122"/>
                </a:gdLst>
                <a:ahLst/>
                <a:cxnLst>
                  <a:cxn ang="0">
                    <a:pos x="T0" y="T1"/>
                  </a:cxn>
                  <a:cxn ang="0">
                    <a:pos x="T2" y="T3"/>
                  </a:cxn>
                  <a:cxn ang="0">
                    <a:pos x="T4" y="T5"/>
                  </a:cxn>
                  <a:cxn ang="0">
                    <a:pos x="T6" y="T7"/>
                  </a:cxn>
                  <a:cxn ang="0">
                    <a:pos x="T8" y="T9"/>
                  </a:cxn>
                </a:cxnLst>
                <a:rect l="0" t="0" r="r" b="b"/>
                <a:pathLst>
                  <a:path w="44" h="122">
                    <a:moveTo>
                      <a:pt x="26" y="0"/>
                    </a:moveTo>
                    <a:cubicBezTo>
                      <a:pt x="32" y="7"/>
                      <a:pt x="38" y="15"/>
                      <a:pt x="44" y="22"/>
                    </a:cubicBezTo>
                    <a:cubicBezTo>
                      <a:pt x="44" y="61"/>
                      <a:pt x="32" y="96"/>
                      <a:pt x="2" y="122"/>
                    </a:cubicBezTo>
                    <a:cubicBezTo>
                      <a:pt x="1" y="114"/>
                      <a:pt x="1" y="105"/>
                      <a:pt x="0" y="97"/>
                    </a:cubicBezTo>
                    <a:cubicBezTo>
                      <a:pt x="8" y="65"/>
                      <a:pt x="17" y="32"/>
                      <a:pt x="2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5" name="Freeform 281">
                <a:extLst>
                  <a:ext uri="{FF2B5EF4-FFF2-40B4-BE49-F238E27FC236}">
                    <a16:creationId xmlns:a16="http://schemas.microsoft.com/office/drawing/2014/main" id="{AB910FDC-F0FA-4756-A521-F109B7ABB5EA}"/>
                  </a:ext>
                </a:extLst>
              </p:cNvPr>
              <p:cNvSpPr>
                <a:spLocks/>
              </p:cNvSpPr>
              <p:nvPr/>
            </p:nvSpPr>
            <p:spPr bwMode="auto">
              <a:xfrm>
                <a:off x="1630" y="2801"/>
                <a:ext cx="15" cy="6"/>
              </a:xfrm>
              <a:custGeom>
                <a:avLst/>
                <a:gdLst>
                  <a:gd name="T0" fmla="*/ 0 w 102"/>
                  <a:gd name="T1" fmla="*/ 18 h 41"/>
                  <a:gd name="T2" fmla="*/ 0 w 102"/>
                  <a:gd name="T3" fmla="*/ 0 h 41"/>
                  <a:gd name="T4" fmla="*/ 101 w 102"/>
                  <a:gd name="T5" fmla="*/ 6 h 41"/>
                  <a:gd name="T6" fmla="*/ 102 w 102"/>
                  <a:gd name="T7" fmla="*/ 22 h 41"/>
                  <a:gd name="T8" fmla="*/ 0 w 102"/>
                  <a:gd name="T9" fmla="*/ 18 h 41"/>
                </a:gdLst>
                <a:ahLst/>
                <a:cxnLst>
                  <a:cxn ang="0">
                    <a:pos x="T0" y="T1"/>
                  </a:cxn>
                  <a:cxn ang="0">
                    <a:pos x="T2" y="T3"/>
                  </a:cxn>
                  <a:cxn ang="0">
                    <a:pos x="T4" y="T5"/>
                  </a:cxn>
                  <a:cxn ang="0">
                    <a:pos x="T6" y="T7"/>
                  </a:cxn>
                  <a:cxn ang="0">
                    <a:pos x="T8" y="T9"/>
                  </a:cxn>
                </a:cxnLst>
                <a:rect l="0" t="0" r="r" b="b"/>
                <a:pathLst>
                  <a:path w="102" h="41">
                    <a:moveTo>
                      <a:pt x="0" y="18"/>
                    </a:moveTo>
                    <a:cubicBezTo>
                      <a:pt x="0" y="12"/>
                      <a:pt x="0" y="6"/>
                      <a:pt x="0" y="0"/>
                    </a:cubicBezTo>
                    <a:cubicBezTo>
                      <a:pt x="34" y="2"/>
                      <a:pt x="67" y="4"/>
                      <a:pt x="101" y="6"/>
                    </a:cubicBezTo>
                    <a:cubicBezTo>
                      <a:pt x="102" y="12"/>
                      <a:pt x="102" y="17"/>
                      <a:pt x="102" y="22"/>
                    </a:cubicBezTo>
                    <a:cubicBezTo>
                      <a:pt x="67" y="41"/>
                      <a:pt x="33" y="41"/>
                      <a:pt x="0"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6" name="Freeform 282">
                <a:extLst>
                  <a:ext uri="{FF2B5EF4-FFF2-40B4-BE49-F238E27FC236}">
                    <a16:creationId xmlns:a16="http://schemas.microsoft.com/office/drawing/2014/main" id="{26ABD5BA-E5E8-4E86-9C53-5529292688AB}"/>
                  </a:ext>
                </a:extLst>
              </p:cNvPr>
              <p:cNvSpPr>
                <a:spLocks/>
              </p:cNvSpPr>
              <p:nvPr/>
            </p:nvSpPr>
            <p:spPr bwMode="auto">
              <a:xfrm>
                <a:off x="1227" y="3413"/>
                <a:ext cx="10" cy="29"/>
              </a:xfrm>
              <a:custGeom>
                <a:avLst/>
                <a:gdLst>
                  <a:gd name="T0" fmla="*/ 62 w 62"/>
                  <a:gd name="T1" fmla="*/ 187 h 187"/>
                  <a:gd name="T2" fmla="*/ 60 w 62"/>
                  <a:gd name="T3" fmla="*/ 0 h 187"/>
                  <a:gd name="T4" fmla="*/ 62 w 62"/>
                  <a:gd name="T5" fmla="*/ 187 h 187"/>
                </a:gdLst>
                <a:ahLst/>
                <a:cxnLst>
                  <a:cxn ang="0">
                    <a:pos x="T0" y="T1"/>
                  </a:cxn>
                  <a:cxn ang="0">
                    <a:pos x="T2" y="T3"/>
                  </a:cxn>
                  <a:cxn ang="0">
                    <a:pos x="T4" y="T5"/>
                  </a:cxn>
                </a:cxnLst>
                <a:rect l="0" t="0" r="r" b="b"/>
                <a:pathLst>
                  <a:path w="62" h="187">
                    <a:moveTo>
                      <a:pt x="62" y="187"/>
                    </a:moveTo>
                    <a:cubicBezTo>
                      <a:pt x="1" y="128"/>
                      <a:pt x="0" y="54"/>
                      <a:pt x="60" y="0"/>
                    </a:cubicBezTo>
                    <a:cubicBezTo>
                      <a:pt x="43" y="63"/>
                      <a:pt x="28" y="125"/>
                      <a:pt x="62"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7" name="Freeform 283">
                <a:extLst>
                  <a:ext uri="{FF2B5EF4-FFF2-40B4-BE49-F238E27FC236}">
                    <a16:creationId xmlns:a16="http://schemas.microsoft.com/office/drawing/2014/main" id="{90240562-4C46-45BE-9C33-B2FA96B1B4E6}"/>
                  </a:ext>
                </a:extLst>
              </p:cNvPr>
              <p:cNvSpPr>
                <a:spLocks/>
              </p:cNvSpPr>
              <p:nvPr/>
            </p:nvSpPr>
            <p:spPr bwMode="auto">
              <a:xfrm>
                <a:off x="1250" y="3453"/>
                <a:ext cx="15" cy="30"/>
              </a:xfrm>
              <a:custGeom>
                <a:avLst/>
                <a:gdLst>
                  <a:gd name="T0" fmla="*/ 38 w 97"/>
                  <a:gd name="T1" fmla="*/ 193 h 193"/>
                  <a:gd name="T2" fmla="*/ 58 w 97"/>
                  <a:gd name="T3" fmla="*/ 23 h 193"/>
                  <a:gd name="T4" fmla="*/ 75 w 97"/>
                  <a:gd name="T5" fmla="*/ 3 h 193"/>
                  <a:gd name="T6" fmla="*/ 38 w 97"/>
                  <a:gd name="T7" fmla="*/ 193 h 193"/>
                </a:gdLst>
                <a:ahLst/>
                <a:cxnLst>
                  <a:cxn ang="0">
                    <a:pos x="T0" y="T1"/>
                  </a:cxn>
                  <a:cxn ang="0">
                    <a:pos x="T2" y="T3"/>
                  </a:cxn>
                  <a:cxn ang="0">
                    <a:pos x="T4" y="T5"/>
                  </a:cxn>
                  <a:cxn ang="0">
                    <a:pos x="T6" y="T7"/>
                  </a:cxn>
                </a:cxnLst>
                <a:rect l="0" t="0" r="r" b="b"/>
                <a:pathLst>
                  <a:path w="97" h="193">
                    <a:moveTo>
                      <a:pt x="38" y="193"/>
                    </a:moveTo>
                    <a:cubicBezTo>
                      <a:pt x="0" y="131"/>
                      <a:pt x="55" y="80"/>
                      <a:pt x="58" y="23"/>
                    </a:cubicBezTo>
                    <a:cubicBezTo>
                      <a:pt x="47" y="2"/>
                      <a:pt x="58" y="0"/>
                      <a:pt x="75" y="3"/>
                    </a:cubicBezTo>
                    <a:cubicBezTo>
                      <a:pt x="97" y="73"/>
                      <a:pt x="49" y="129"/>
                      <a:pt x="38" y="19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8" name="Freeform 284">
                <a:extLst>
                  <a:ext uri="{FF2B5EF4-FFF2-40B4-BE49-F238E27FC236}">
                    <a16:creationId xmlns:a16="http://schemas.microsoft.com/office/drawing/2014/main" id="{32B11EBA-83FD-4E91-AC2F-5FD840D25155}"/>
                  </a:ext>
                </a:extLst>
              </p:cNvPr>
              <p:cNvSpPr>
                <a:spLocks/>
              </p:cNvSpPr>
              <p:nvPr/>
            </p:nvSpPr>
            <p:spPr bwMode="auto">
              <a:xfrm>
                <a:off x="1247" y="3525"/>
                <a:ext cx="15" cy="21"/>
              </a:xfrm>
              <a:custGeom>
                <a:avLst/>
                <a:gdLst>
                  <a:gd name="T0" fmla="*/ 35 w 96"/>
                  <a:gd name="T1" fmla="*/ 135 h 135"/>
                  <a:gd name="T2" fmla="*/ 18 w 96"/>
                  <a:gd name="T3" fmla="*/ 10 h 135"/>
                  <a:gd name="T4" fmla="*/ 39 w 96"/>
                  <a:gd name="T5" fmla="*/ 10 h 135"/>
                  <a:gd name="T6" fmla="*/ 35 w 96"/>
                  <a:gd name="T7" fmla="*/ 135 h 135"/>
                </a:gdLst>
                <a:ahLst/>
                <a:cxnLst>
                  <a:cxn ang="0">
                    <a:pos x="T0" y="T1"/>
                  </a:cxn>
                  <a:cxn ang="0">
                    <a:pos x="T2" y="T3"/>
                  </a:cxn>
                  <a:cxn ang="0">
                    <a:pos x="T4" y="T5"/>
                  </a:cxn>
                  <a:cxn ang="0">
                    <a:pos x="T6" y="T7"/>
                  </a:cxn>
                </a:cxnLst>
                <a:rect l="0" t="0" r="r" b="b"/>
                <a:pathLst>
                  <a:path w="96" h="135">
                    <a:moveTo>
                      <a:pt x="35" y="135"/>
                    </a:moveTo>
                    <a:cubicBezTo>
                      <a:pt x="0" y="97"/>
                      <a:pt x="72" y="45"/>
                      <a:pt x="18" y="10"/>
                    </a:cubicBezTo>
                    <a:cubicBezTo>
                      <a:pt x="25" y="0"/>
                      <a:pt x="32" y="0"/>
                      <a:pt x="39" y="10"/>
                    </a:cubicBezTo>
                    <a:cubicBezTo>
                      <a:pt x="96" y="53"/>
                      <a:pt x="89" y="95"/>
                      <a:pt x="35" y="1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9" name="Freeform 285">
                <a:extLst>
                  <a:ext uri="{FF2B5EF4-FFF2-40B4-BE49-F238E27FC236}">
                    <a16:creationId xmlns:a16="http://schemas.microsoft.com/office/drawing/2014/main" id="{E43B6333-E382-4BBA-BE0C-8893596A3FFA}"/>
                  </a:ext>
                </a:extLst>
              </p:cNvPr>
              <p:cNvSpPr>
                <a:spLocks/>
              </p:cNvSpPr>
              <p:nvPr/>
            </p:nvSpPr>
            <p:spPr bwMode="auto">
              <a:xfrm>
                <a:off x="1256" y="3493"/>
                <a:ext cx="12" cy="18"/>
              </a:xfrm>
              <a:custGeom>
                <a:avLst/>
                <a:gdLst>
                  <a:gd name="T0" fmla="*/ 0 w 77"/>
                  <a:gd name="T1" fmla="*/ 94 h 114"/>
                  <a:gd name="T2" fmla="*/ 53 w 77"/>
                  <a:gd name="T3" fmla="*/ 9 h 114"/>
                  <a:gd name="T4" fmla="*/ 77 w 77"/>
                  <a:gd name="T5" fmla="*/ 9 h 114"/>
                  <a:gd name="T6" fmla="*/ 19 w 77"/>
                  <a:gd name="T7" fmla="*/ 114 h 114"/>
                  <a:gd name="T8" fmla="*/ 0 w 77"/>
                  <a:gd name="T9" fmla="*/ 94 h 114"/>
                </a:gdLst>
                <a:ahLst/>
                <a:cxnLst>
                  <a:cxn ang="0">
                    <a:pos x="T0" y="T1"/>
                  </a:cxn>
                  <a:cxn ang="0">
                    <a:pos x="T2" y="T3"/>
                  </a:cxn>
                  <a:cxn ang="0">
                    <a:pos x="T4" y="T5"/>
                  </a:cxn>
                  <a:cxn ang="0">
                    <a:pos x="T6" y="T7"/>
                  </a:cxn>
                  <a:cxn ang="0">
                    <a:pos x="T8" y="T9"/>
                  </a:cxn>
                </a:cxnLst>
                <a:rect l="0" t="0" r="r" b="b"/>
                <a:pathLst>
                  <a:path w="77" h="114">
                    <a:moveTo>
                      <a:pt x="0" y="94"/>
                    </a:moveTo>
                    <a:cubicBezTo>
                      <a:pt x="18" y="65"/>
                      <a:pt x="35" y="37"/>
                      <a:pt x="53" y="9"/>
                    </a:cubicBezTo>
                    <a:cubicBezTo>
                      <a:pt x="61" y="1"/>
                      <a:pt x="69" y="0"/>
                      <a:pt x="77" y="9"/>
                    </a:cubicBezTo>
                    <a:cubicBezTo>
                      <a:pt x="59" y="45"/>
                      <a:pt x="62" y="92"/>
                      <a:pt x="19" y="114"/>
                    </a:cubicBezTo>
                    <a:cubicBezTo>
                      <a:pt x="10" y="110"/>
                      <a:pt x="4" y="103"/>
                      <a:pt x="0" y="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0" name="Freeform 286">
                <a:extLst>
                  <a:ext uri="{FF2B5EF4-FFF2-40B4-BE49-F238E27FC236}">
                    <a16:creationId xmlns:a16="http://schemas.microsoft.com/office/drawing/2014/main" id="{322F1208-7376-40AD-B54F-B3053757458B}"/>
                  </a:ext>
                </a:extLst>
              </p:cNvPr>
              <p:cNvSpPr>
                <a:spLocks/>
              </p:cNvSpPr>
              <p:nvPr/>
            </p:nvSpPr>
            <p:spPr bwMode="auto">
              <a:xfrm>
                <a:off x="1205" y="3371"/>
                <a:ext cx="22" cy="8"/>
              </a:xfrm>
              <a:custGeom>
                <a:avLst/>
                <a:gdLst>
                  <a:gd name="T0" fmla="*/ 120 w 140"/>
                  <a:gd name="T1" fmla="*/ 44 h 53"/>
                  <a:gd name="T2" fmla="*/ 29 w 140"/>
                  <a:gd name="T3" fmla="*/ 42 h 53"/>
                  <a:gd name="T4" fmla="*/ 18 w 140"/>
                  <a:gd name="T5" fmla="*/ 0 h 53"/>
                  <a:gd name="T6" fmla="*/ 46 w 140"/>
                  <a:gd name="T7" fmla="*/ 22 h 53"/>
                  <a:gd name="T8" fmla="*/ 140 w 140"/>
                  <a:gd name="T9" fmla="*/ 44 h 53"/>
                  <a:gd name="T10" fmla="*/ 120 w 140"/>
                  <a:gd name="T11" fmla="*/ 44 h 53"/>
                </a:gdLst>
                <a:ahLst/>
                <a:cxnLst>
                  <a:cxn ang="0">
                    <a:pos x="T0" y="T1"/>
                  </a:cxn>
                  <a:cxn ang="0">
                    <a:pos x="T2" y="T3"/>
                  </a:cxn>
                  <a:cxn ang="0">
                    <a:pos x="T4" y="T5"/>
                  </a:cxn>
                  <a:cxn ang="0">
                    <a:pos x="T6" y="T7"/>
                  </a:cxn>
                  <a:cxn ang="0">
                    <a:pos x="T8" y="T9"/>
                  </a:cxn>
                  <a:cxn ang="0">
                    <a:pos x="T10" y="T11"/>
                  </a:cxn>
                </a:cxnLst>
                <a:rect l="0" t="0" r="r" b="b"/>
                <a:pathLst>
                  <a:path w="140" h="53">
                    <a:moveTo>
                      <a:pt x="120" y="44"/>
                    </a:moveTo>
                    <a:cubicBezTo>
                      <a:pt x="90" y="43"/>
                      <a:pt x="59" y="46"/>
                      <a:pt x="29" y="42"/>
                    </a:cubicBezTo>
                    <a:cubicBezTo>
                      <a:pt x="0" y="38"/>
                      <a:pt x="0" y="20"/>
                      <a:pt x="18" y="0"/>
                    </a:cubicBezTo>
                    <a:cubicBezTo>
                      <a:pt x="31" y="3"/>
                      <a:pt x="36" y="15"/>
                      <a:pt x="46" y="22"/>
                    </a:cubicBezTo>
                    <a:cubicBezTo>
                      <a:pt x="78" y="26"/>
                      <a:pt x="115" y="7"/>
                      <a:pt x="140" y="44"/>
                    </a:cubicBezTo>
                    <a:cubicBezTo>
                      <a:pt x="133" y="53"/>
                      <a:pt x="126" y="53"/>
                      <a:pt x="120" y="4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1" name="Freeform 287">
                <a:extLst>
                  <a:ext uri="{FF2B5EF4-FFF2-40B4-BE49-F238E27FC236}">
                    <a16:creationId xmlns:a16="http://schemas.microsoft.com/office/drawing/2014/main" id="{2657F589-8F6B-49ED-8A46-25D1D66A1D07}"/>
                  </a:ext>
                </a:extLst>
              </p:cNvPr>
              <p:cNvSpPr>
                <a:spLocks/>
              </p:cNvSpPr>
              <p:nvPr/>
            </p:nvSpPr>
            <p:spPr bwMode="auto">
              <a:xfrm>
                <a:off x="1251" y="3437"/>
                <a:ext cx="14" cy="20"/>
              </a:xfrm>
              <a:custGeom>
                <a:avLst/>
                <a:gdLst>
                  <a:gd name="T0" fmla="*/ 65 w 87"/>
                  <a:gd name="T1" fmla="*/ 107 h 127"/>
                  <a:gd name="T2" fmla="*/ 48 w 87"/>
                  <a:gd name="T3" fmla="*/ 127 h 127"/>
                  <a:gd name="T4" fmla="*/ 47 w 87"/>
                  <a:gd name="T5" fmla="*/ 0 h 127"/>
                  <a:gd name="T6" fmla="*/ 65 w 87"/>
                  <a:gd name="T7" fmla="*/ 107 h 127"/>
                </a:gdLst>
                <a:ahLst/>
                <a:cxnLst>
                  <a:cxn ang="0">
                    <a:pos x="T0" y="T1"/>
                  </a:cxn>
                  <a:cxn ang="0">
                    <a:pos x="T2" y="T3"/>
                  </a:cxn>
                  <a:cxn ang="0">
                    <a:pos x="T4" y="T5"/>
                  </a:cxn>
                  <a:cxn ang="0">
                    <a:pos x="T6" y="T7"/>
                  </a:cxn>
                </a:cxnLst>
                <a:rect l="0" t="0" r="r" b="b"/>
                <a:pathLst>
                  <a:path w="87" h="127">
                    <a:moveTo>
                      <a:pt x="65" y="107"/>
                    </a:moveTo>
                    <a:cubicBezTo>
                      <a:pt x="59" y="114"/>
                      <a:pt x="54" y="121"/>
                      <a:pt x="48" y="127"/>
                    </a:cubicBezTo>
                    <a:cubicBezTo>
                      <a:pt x="0" y="85"/>
                      <a:pt x="65" y="42"/>
                      <a:pt x="47" y="0"/>
                    </a:cubicBezTo>
                    <a:cubicBezTo>
                      <a:pt x="87" y="30"/>
                      <a:pt x="66" y="70"/>
                      <a:pt x="65" y="1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2" name="Freeform 288">
                <a:extLst>
                  <a:ext uri="{FF2B5EF4-FFF2-40B4-BE49-F238E27FC236}">
                    <a16:creationId xmlns:a16="http://schemas.microsoft.com/office/drawing/2014/main" id="{EA970071-9187-4B36-BCB2-F1DFC2E4FD09}"/>
                  </a:ext>
                </a:extLst>
              </p:cNvPr>
              <p:cNvSpPr>
                <a:spLocks/>
              </p:cNvSpPr>
              <p:nvPr/>
            </p:nvSpPr>
            <p:spPr bwMode="auto">
              <a:xfrm>
                <a:off x="1249" y="3508"/>
                <a:ext cx="11" cy="19"/>
              </a:xfrm>
              <a:custGeom>
                <a:avLst/>
                <a:gdLst>
                  <a:gd name="T0" fmla="*/ 46 w 72"/>
                  <a:gd name="T1" fmla="*/ 0 h 121"/>
                  <a:gd name="T2" fmla="*/ 65 w 72"/>
                  <a:gd name="T3" fmla="*/ 20 h 121"/>
                  <a:gd name="T4" fmla="*/ 27 w 72"/>
                  <a:gd name="T5" fmla="*/ 121 h 121"/>
                  <a:gd name="T6" fmla="*/ 6 w 72"/>
                  <a:gd name="T7" fmla="*/ 121 h 121"/>
                  <a:gd name="T8" fmla="*/ 46 w 72"/>
                  <a:gd name="T9" fmla="*/ 0 h 121"/>
                </a:gdLst>
                <a:ahLst/>
                <a:cxnLst>
                  <a:cxn ang="0">
                    <a:pos x="T0" y="T1"/>
                  </a:cxn>
                  <a:cxn ang="0">
                    <a:pos x="T2" y="T3"/>
                  </a:cxn>
                  <a:cxn ang="0">
                    <a:pos x="T4" y="T5"/>
                  </a:cxn>
                  <a:cxn ang="0">
                    <a:pos x="T6" y="T7"/>
                  </a:cxn>
                  <a:cxn ang="0">
                    <a:pos x="T8" y="T9"/>
                  </a:cxn>
                </a:cxnLst>
                <a:rect l="0" t="0" r="r" b="b"/>
                <a:pathLst>
                  <a:path w="72" h="121">
                    <a:moveTo>
                      <a:pt x="46" y="0"/>
                    </a:moveTo>
                    <a:cubicBezTo>
                      <a:pt x="53" y="7"/>
                      <a:pt x="59" y="14"/>
                      <a:pt x="65" y="20"/>
                    </a:cubicBezTo>
                    <a:cubicBezTo>
                      <a:pt x="72" y="62"/>
                      <a:pt x="43" y="89"/>
                      <a:pt x="27" y="121"/>
                    </a:cubicBezTo>
                    <a:cubicBezTo>
                      <a:pt x="20" y="121"/>
                      <a:pt x="13" y="121"/>
                      <a:pt x="6" y="121"/>
                    </a:cubicBezTo>
                    <a:cubicBezTo>
                      <a:pt x="0" y="74"/>
                      <a:pt x="55" y="48"/>
                      <a:pt x="4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3" name="Freeform 289">
                <a:extLst>
                  <a:ext uri="{FF2B5EF4-FFF2-40B4-BE49-F238E27FC236}">
                    <a16:creationId xmlns:a16="http://schemas.microsoft.com/office/drawing/2014/main" id="{5DFBCD7C-9737-4ABD-A574-7D9D334601ED}"/>
                  </a:ext>
                </a:extLst>
              </p:cNvPr>
              <p:cNvSpPr>
                <a:spLocks/>
              </p:cNvSpPr>
              <p:nvPr/>
            </p:nvSpPr>
            <p:spPr bwMode="auto">
              <a:xfrm>
                <a:off x="1216" y="3378"/>
                <a:ext cx="13" cy="19"/>
              </a:xfrm>
              <a:custGeom>
                <a:avLst/>
                <a:gdLst>
                  <a:gd name="T0" fmla="*/ 52 w 84"/>
                  <a:gd name="T1" fmla="*/ 0 h 124"/>
                  <a:gd name="T2" fmla="*/ 72 w 84"/>
                  <a:gd name="T3" fmla="*/ 0 h 124"/>
                  <a:gd name="T4" fmla="*/ 55 w 84"/>
                  <a:gd name="T5" fmla="*/ 101 h 124"/>
                  <a:gd name="T6" fmla="*/ 60 w 84"/>
                  <a:gd name="T7" fmla="*/ 117 h 124"/>
                  <a:gd name="T8" fmla="*/ 54 w 84"/>
                  <a:gd name="T9" fmla="*/ 124 h 124"/>
                  <a:gd name="T10" fmla="*/ 52 w 84"/>
                  <a:gd name="T11" fmla="*/ 0 h 124"/>
                </a:gdLst>
                <a:ahLst/>
                <a:cxnLst>
                  <a:cxn ang="0">
                    <a:pos x="T0" y="T1"/>
                  </a:cxn>
                  <a:cxn ang="0">
                    <a:pos x="T2" y="T3"/>
                  </a:cxn>
                  <a:cxn ang="0">
                    <a:pos x="T4" y="T5"/>
                  </a:cxn>
                  <a:cxn ang="0">
                    <a:pos x="T6" y="T7"/>
                  </a:cxn>
                  <a:cxn ang="0">
                    <a:pos x="T8" y="T9"/>
                  </a:cxn>
                  <a:cxn ang="0">
                    <a:pos x="T10" y="T11"/>
                  </a:cxn>
                </a:cxnLst>
                <a:rect l="0" t="0" r="r" b="b"/>
                <a:pathLst>
                  <a:path w="84" h="124">
                    <a:moveTo>
                      <a:pt x="52" y="0"/>
                    </a:moveTo>
                    <a:cubicBezTo>
                      <a:pt x="59" y="0"/>
                      <a:pt x="65" y="0"/>
                      <a:pt x="72" y="0"/>
                    </a:cubicBezTo>
                    <a:cubicBezTo>
                      <a:pt x="84" y="37"/>
                      <a:pt x="73" y="70"/>
                      <a:pt x="55" y="101"/>
                    </a:cubicBezTo>
                    <a:cubicBezTo>
                      <a:pt x="61" y="107"/>
                      <a:pt x="63" y="112"/>
                      <a:pt x="60" y="117"/>
                    </a:cubicBezTo>
                    <a:cubicBezTo>
                      <a:pt x="58" y="122"/>
                      <a:pt x="56" y="124"/>
                      <a:pt x="54" y="124"/>
                    </a:cubicBezTo>
                    <a:cubicBezTo>
                      <a:pt x="0" y="84"/>
                      <a:pt x="72" y="41"/>
                      <a:pt x="5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4" name="Freeform 290">
                <a:extLst>
                  <a:ext uri="{FF2B5EF4-FFF2-40B4-BE49-F238E27FC236}">
                    <a16:creationId xmlns:a16="http://schemas.microsoft.com/office/drawing/2014/main" id="{FB0B1A8A-C5CE-4425-85E3-6B99DAF1D9E3}"/>
                  </a:ext>
                </a:extLst>
              </p:cNvPr>
              <p:cNvSpPr>
                <a:spLocks/>
              </p:cNvSpPr>
              <p:nvPr/>
            </p:nvSpPr>
            <p:spPr bwMode="auto">
              <a:xfrm>
                <a:off x="1224" y="3393"/>
                <a:ext cx="12" cy="11"/>
              </a:xfrm>
              <a:custGeom>
                <a:avLst/>
                <a:gdLst>
                  <a:gd name="T0" fmla="*/ 0 w 78"/>
                  <a:gd name="T1" fmla="*/ 23 h 66"/>
                  <a:gd name="T2" fmla="*/ 1 w 78"/>
                  <a:gd name="T3" fmla="*/ 0 h 66"/>
                  <a:gd name="T4" fmla="*/ 62 w 78"/>
                  <a:gd name="T5" fmla="*/ 66 h 66"/>
                  <a:gd name="T6" fmla="*/ 0 w 78"/>
                  <a:gd name="T7" fmla="*/ 23 h 66"/>
                </a:gdLst>
                <a:ahLst/>
                <a:cxnLst>
                  <a:cxn ang="0">
                    <a:pos x="T0" y="T1"/>
                  </a:cxn>
                  <a:cxn ang="0">
                    <a:pos x="T2" y="T3"/>
                  </a:cxn>
                  <a:cxn ang="0">
                    <a:pos x="T4" y="T5"/>
                  </a:cxn>
                  <a:cxn ang="0">
                    <a:pos x="T6" y="T7"/>
                  </a:cxn>
                </a:cxnLst>
                <a:rect l="0" t="0" r="r" b="b"/>
                <a:pathLst>
                  <a:path w="78" h="66">
                    <a:moveTo>
                      <a:pt x="0" y="23"/>
                    </a:moveTo>
                    <a:cubicBezTo>
                      <a:pt x="0" y="16"/>
                      <a:pt x="1" y="8"/>
                      <a:pt x="1" y="0"/>
                    </a:cubicBezTo>
                    <a:cubicBezTo>
                      <a:pt x="19" y="24"/>
                      <a:pt x="78" y="10"/>
                      <a:pt x="62" y="66"/>
                    </a:cubicBezTo>
                    <a:cubicBezTo>
                      <a:pt x="41" y="52"/>
                      <a:pt x="21" y="38"/>
                      <a:pt x="0"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5" name="Freeform 291">
                <a:extLst>
                  <a:ext uri="{FF2B5EF4-FFF2-40B4-BE49-F238E27FC236}">
                    <a16:creationId xmlns:a16="http://schemas.microsoft.com/office/drawing/2014/main" id="{4A162670-F4B5-41B6-8087-84FBDEB27DC5}"/>
                  </a:ext>
                </a:extLst>
              </p:cNvPr>
              <p:cNvSpPr>
                <a:spLocks/>
              </p:cNvSpPr>
              <p:nvPr/>
            </p:nvSpPr>
            <p:spPr bwMode="auto">
              <a:xfrm>
                <a:off x="1255" y="3483"/>
                <a:ext cx="15" cy="12"/>
              </a:xfrm>
              <a:custGeom>
                <a:avLst/>
                <a:gdLst>
                  <a:gd name="T0" fmla="*/ 82 w 97"/>
                  <a:gd name="T1" fmla="*/ 73 h 73"/>
                  <a:gd name="T2" fmla="*/ 58 w 97"/>
                  <a:gd name="T3" fmla="*/ 73 h 73"/>
                  <a:gd name="T4" fmla="*/ 1 w 97"/>
                  <a:gd name="T5" fmla="*/ 6 h 73"/>
                  <a:gd name="T6" fmla="*/ 82 w 97"/>
                  <a:gd name="T7" fmla="*/ 73 h 73"/>
                </a:gdLst>
                <a:ahLst/>
                <a:cxnLst>
                  <a:cxn ang="0">
                    <a:pos x="T0" y="T1"/>
                  </a:cxn>
                  <a:cxn ang="0">
                    <a:pos x="T2" y="T3"/>
                  </a:cxn>
                  <a:cxn ang="0">
                    <a:pos x="T4" y="T5"/>
                  </a:cxn>
                  <a:cxn ang="0">
                    <a:pos x="T6" y="T7"/>
                  </a:cxn>
                </a:cxnLst>
                <a:rect l="0" t="0" r="r" b="b"/>
                <a:pathLst>
                  <a:path w="97" h="73">
                    <a:moveTo>
                      <a:pt x="82" y="73"/>
                    </a:moveTo>
                    <a:cubicBezTo>
                      <a:pt x="74" y="73"/>
                      <a:pt x="66" y="73"/>
                      <a:pt x="58" y="73"/>
                    </a:cubicBezTo>
                    <a:cubicBezTo>
                      <a:pt x="72" y="22"/>
                      <a:pt x="0" y="45"/>
                      <a:pt x="1" y="6"/>
                    </a:cubicBezTo>
                    <a:cubicBezTo>
                      <a:pt x="38" y="16"/>
                      <a:pt x="97" y="0"/>
                      <a:pt x="82" y="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6" name="Freeform 292">
                <a:extLst>
                  <a:ext uri="{FF2B5EF4-FFF2-40B4-BE49-F238E27FC236}">
                    <a16:creationId xmlns:a16="http://schemas.microsoft.com/office/drawing/2014/main" id="{F2E5DE30-819C-4DC5-AD4C-D7C0B98BCDD2}"/>
                  </a:ext>
                </a:extLst>
              </p:cNvPr>
              <p:cNvSpPr>
                <a:spLocks/>
              </p:cNvSpPr>
              <p:nvPr/>
            </p:nvSpPr>
            <p:spPr bwMode="auto">
              <a:xfrm>
                <a:off x="1189" y="3346"/>
                <a:ext cx="11" cy="13"/>
              </a:xfrm>
              <a:custGeom>
                <a:avLst/>
                <a:gdLst>
                  <a:gd name="T0" fmla="*/ 42 w 71"/>
                  <a:gd name="T1" fmla="*/ 0 h 80"/>
                  <a:gd name="T2" fmla="*/ 43 w 71"/>
                  <a:gd name="T3" fmla="*/ 41 h 80"/>
                  <a:gd name="T4" fmla="*/ 62 w 71"/>
                  <a:gd name="T5" fmla="*/ 62 h 80"/>
                  <a:gd name="T6" fmla="*/ 69 w 71"/>
                  <a:gd name="T7" fmla="*/ 74 h 80"/>
                  <a:gd name="T8" fmla="*/ 63 w 71"/>
                  <a:gd name="T9" fmla="*/ 80 h 80"/>
                  <a:gd name="T10" fmla="*/ 42 w 71"/>
                  <a:gd name="T11" fmla="*/ 0 h 80"/>
                </a:gdLst>
                <a:ahLst/>
                <a:cxnLst>
                  <a:cxn ang="0">
                    <a:pos x="T0" y="T1"/>
                  </a:cxn>
                  <a:cxn ang="0">
                    <a:pos x="T2" y="T3"/>
                  </a:cxn>
                  <a:cxn ang="0">
                    <a:pos x="T4" y="T5"/>
                  </a:cxn>
                  <a:cxn ang="0">
                    <a:pos x="T6" y="T7"/>
                  </a:cxn>
                  <a:cxn ang="0">
                    <a:pos x="T8" y="T9"/>
                  </a:cxn>
                  <a:cxn ang="0">
                    <a:pos x="T10" y="T11"/>
                  </a:cxn>
                </a:cxnLst>
                <a:rect l="0" t="0" r="r" b="b"/>
                <a:pathLst>
                  <a:path w="71" h="80">
                    <a:moveTo>
                      <a:pt x="42" y="0"/>
                    </a:moveTo>
                    <a:cubicBezTo>
                      <a:pt x="42" y="14"/>
                      <a:pt x="43" y="27"/>
                      <a:pt x="43" y="41"/>
                    </a:cubicBezTo>
                    <a:cubicBezTo>
                      <a:pt x="49" y="48"/>
                      <a:pt x="56" y="55"/>
                      <a:pt x="62" y="62"/>
                    </a:cubicBezTo>
                    <a:cubicBezTo>
                      <a:pt x="68" y="66"/>
                      <a:pt x="71" y="70"/>
                      <a:pt x="69" y="74"/>
                    </a:cubicBezTo>
                    <a:cubicBezTo>
                      <a:pt x="67" y="78"/>
                      <a:pt x="65" y="80"/>
                      <a:pt x="63" y="80"/>
                    </a:cubicBezTo>
                    <a:cubicBezTo>
                      <a:pt x="0" y="68"/>
                      <a:pt x="13" y="36"/>
                      <a:pt x="4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7" name="Freeform 293">
                <a:extLst>
                  <a:ext uri="{FF2B5EF4-FFF2-40B4-BE49-F238E27FC236}">
                    <a16:creationId xmlns:a16="http://schemas.microsoft.com/office/drawing/2014/main" id="{2CF9D765-C649-4609-9B8A-8799DFE61261}"/>
                  </a:ext>
                </a:extLst>
              </p:cNvPr>
              <p:cNvSpPr>
                <a:spLocks/>
              </p:cNvSpPr>
              <p:nvPr/>
            </p:nvSpPr>
            <p:spPr bwMode="auto">
              <a:xfrm>
                <a:off x="1199" y="3356"/>
                <a:ext cx="10" cy="9"/>
              </a:xfrm>
              <a:custGeom>
                <a:avLst/>
                <a:gdLst>
                  <a:gd name="T0" fmla="*/ 1 w 68"/>
                  <a:gd name="T1" fmla="*/ 18 h 59"/>
                  <a:gd name="T2" fmla="*/ 0 w 68"/>
                  <a:gd name="T3" fmla="*/ 0 h 59"/>
                  <a:gd name="T4" fmla="*/ 68 w 68"/>
                  <a:gd name="T5" fmla="*/ 39 h 59"/>
                  <a:gd name="T6" fmla="*/ 1 w 68"/>
                  <a:gd name="T7" fmla="*/ 18 h 59"/>
                </a:gdLst>
                <a:ahLst/>
                <a:cxnLst>
                  <a:cxn ang="0">
                    <a:pos x="T0" y="T1"/>
                  </a:cxn>
                  <a:cxn ang="0">
                    <a:pos x="T2" y="T3"/>
                  </a:cxn>
                  <a:cxn ang="0">
                    <a:pos x="T4" y="T5"/>
                  </a:cxn>
                  <a:cxn ang="0">
                    <a:pos x="T6" y="T7"/>
                  </a:cxn>
                </a:cxnLst>
                <a:rect l="0" t="0" r="r" b="b"/>
                <a:pathLst>
                  <a:path w="68" h="59">
                    <a:moveTo>
                      <a:pt x="1" y="18"/>
                    </a:moveTo>
                    <a:cubicBezTo>
                      <a:pt x="1" y="12"/>
                      <a:pt x="1" y="6"/>
                      <a:pt x="0" y="0"/>
                    </a:cubicBezTo>
                    <a:cubicBezTo>
                      <a:pt x="25" y="8"/>
                      <a:pt x="51" y="16"/>
                      <a:pt x="68" y="39"/>
                    </a:cubicBezTo>
                    <a:cubicBezTo>
                      <a:pt x="37" y="59"/>
                      <a:pt x="19" y="39"/>
                      <a:pt x="1"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8" name="Freeform 294">
                <a:extLst>
                  <a:ext uri="{FF2B5EF4-FFF2-40B4-BE49-F238E27FC236}">
                    <a16:creationId xmlns:a16="http://schemas.microsoft.com/office/drawing/2014/main" id="{3B3C5EC6-D519-4D39-9A0F-0E527ABA487B}"/>
                  </a:ext>
                </a:extLst>
              </p:cNvPr>
              <p:cNvSpPr>
                <a:spLocks/>
              </p:cNvSpPr>
              <p:nvPr/>
            </p:nvSpPr>
            <p:spPr bwMode="auto">
              <a:xfrm>
                <a:off x="1208" y="3362"/>
                <a:ext cx="9" cy="12"/>
              </a:xfrm>
              <a:custGeom>
                <a:avLst/>
                <a:gdLst>
                  <a:gd name="T0" fmla="*/ 28 w 59"/>
                  <a:gd name="T1" fmla="*/ 80 h 80"/>
                  <a:gd name="T2" fmla="*/ 0 w 59"/>
                  <a:gd name="T3" fmla="*/ 58 h 80"/>
                  <a:gd name="T4" fmla="*/ 24 w 59"/>
                  <a:gd name="T5" fmla="*/ 0 h 80"/>
                  <a:gd name="T6" fmla="*/ 28 w 59"/>
                  <a:gd name="T7" fmla="*/ 80 h 80"/>
                </a:gdLst>
                <a:ahLst/>
                <a:cxnLst>
                  <a:cxn ang="0">
                    <a:pos x="T0" y="T1"/>
                  </a:cxn>
                  <a:cxn ang="0">
                    <a:pos x="T2" y="T3"/>
                  </a:cxn>
                  <a:cxn ang="0">
                    <a:pos x="T4" y="T5"/>
                  </a:cxn>
                  <a:cxn ang="0">
                    <a:pos x="T6" y="T7"/>
                  </a:cxn>
                </a:cxnLst>
                <a:rect l="0" t="0" r="r" b="b"/>
                <a:pathLst>
                  <a:path w="59" h="80">
                    <a:moveTo>
                      <a:pt x="28" y="80"/>
                    </a:moveTo>
                    <a:cubicBezTo>
                      <a:pt x="18" y="73"/>
                      <a:pt x="9" y="66"/>
                      <a:pt x="0" y="58"/>
                    </a:cubicBezTo>
                    <a:cubicBezTo>
                      <a:pt x="8" y="39"/>
                      <a:pt x="16" y="19"/>
                      <a:pt x="24" y="0"/>
                    </a:cubicBezTo>
                    <a:cubicBezTo>
                      <a:pt x="59" y="25"/>
                      <a:pt x="35" y="53"/>
                      <a:pt x="28" y="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9" name="Freeform 295">
                <a:extLst>
                  <a:ext uri="{FF2B5EF4-FFF2-40B4-BE49-F238E27FC236}">
                    <a16:creationId xmlns:a16="http://schemas.microsoft.com/office/drawing/2014/main" id="{6DBF5CDD-7440-4940-B4BB-FDC719E73C27}"/>
                  </a:ext>
                </a:extLst>
              </p:cNvPr>
              <p:cNvSpPr>
                <a:spLocks/>
              </p:cNvSpPr>
              <p:nvPr/>
            </p:nvSpPr>
            <p:spPr bwMode="auto">
              <a:xfrm>
                <a:off x="2309" y="2392"/>
                <a:ext cx="31" cy="35"/>
              </a:xfrm>
              <a:custGeom>
                <a:avLst/>
                <a:gdLst>
                  <a:gd name="T0" fmla="*/ 29 w 199"/>
                  <a:gd name="T1" fmla="*/ 229 h 229"/>
                  <a:gd name="T2" fmla="*/ 23 w 199"/>
                  <a:gd name="T3" fmla="*/ 172 h 229"/>
                  <a:gd name="T4" fmla="*/ 132 w 199"/>
                  <a:gd name="T5" fmla="*/ 47 h 229"/>
                  <a:gd name="T6" fmla="*/ 199 w 199"/>
                  <a:gd name="T7" fmla="*/ 64 h 229"/>
                  <a:gd name="T8" fmla="*/ 55 w 199"/>
                  <a:gd name="T9" fmla="*/ 188 h 229"/>
                  <a:gd name="T10" fmla="*/ 29 w 199"/>
                  <a:gd name="T11" fmla="*/ 229 h 229"/>
                </a:gdLst>
                <a:ahLst/>
                <a:cxnLst>
                  <a:cxn ang="0">
                    <a:pos x="T0" y="T1"/>
                  </a:cxn>
                  <a:cxn ang="0">
                    <a:pos x="T2" y="T3"/>
                  </a:cxn>
                  <a:cxn ang="0">
                    <a:pos x="T4" y="T5"/>
                  </a:cxn>
                  <a:cxn ang="0">
                    <a:pos x="T6" y="T7"/>
                  </a:cxn>
                  <a:cxn ang="0">
                    <a:pos x="T8" y="T9"/>
                  </a:cxn>
                  <a:cxn ang="0">
                    <a:pos x="T10" y="T11"/>
                  </a:cxn>
                </a:cxnLst>
                <a:rect l="0" t="0" r="r" b="b"/>
                <a:pathLst>
                  <a:path w="199" h="229">
                    <a:moveTo>
                      <a:pt x="29" y="229"/>
                    </a:moveTo>
                    <a:cubicBezTo>
                      <a:pt x="4" y="212"/>
                      <a:pt x="0" y="190"/>
                      <a:pt x="23" y="172"/>
                    </a:cubicBezTo>
                    <a:cubicBezTo>
                      <a:pt x="68" y="138"/>
                      <a:pt x="98" y="91"/>
                      <a:pt x="132" y="47"/>
                    </a:cubicBezTo>
                    <a:cubicBezTo>
                      <a:pt x="168" y="0"/>
                      <a:pt x="184" y="27"/>
                      <a:pt x="199" y="64"/>
                    </a:cubicBezTo>
                    <a:cubicBezTo>
                      <a:pt x="128" y="78"/>
                      <a:pt x="107" y="151"/>
                      <a:pt x="55" y="188"/>
                    </a:cubicBezTo>
                    <a:cubicBezTo>
                      <a:pt x="35" y="194"/>
                      <a:pt x="44" y="219"/>
                      <a:pt x="29" y="2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0" name="Freeform 296">
                <a:extLst>
                  <a:ext uri="{FF2B5EF4-FFF2-40B4-BE49-F238E27FC236}">
                    <a16:creationId xmlns:a16="http://schemas.microsoft.com/office/drawing/2014/main" id="{A11675B6-FBB5-4AB7-B6E7-D37F11B861C6}"/>
                  </a:ext>
                </a:extLst>
              </p:cNvPr>
              <p:cNvSpPr>
                <a:spLocks/>
              </p:cNvSpPr>
              <p:nvPr/>
            </p:nvSpPr>
            <p:spPr bwMode="auto">
              <a:xfrm>
                <a:off x="2330" y="2287"/>
                <a:ext cx="32" cy="40"/>
              </a:xfrm>
              <a:custGeom>
                <a:avLst/>
                <a:gdLst>
                  <a:gd name="T0" fmla="*/ 200 w 204"/>
                  <a:gd name="T1" fmla="*/ 20 h 259"/>
                  <a:gd name="T2" fmla="*/ 20 w 204"/>
                  <a:gd name="T3" fmla="*/ 250 h 259"/>
                  <a:gd name="T4" fmla="*/ 0 w 204"/>
                  <a:gd name="T5" fmla="*/ 249 h 259"/>
                  <a:gd name="T6" fmla="*/ 160 w 204"/>
                  <a:gd name="T7" fmla="*/ 23 h 259"/>
                  <a:gd name="T8" fmla="*/ 189 w 204"/>
                  <a:gd name="T9" fmla="*/ 0 h 259"/>
                  <a:gd name="T10" fmla="*/ 200 w 204"/>
                  <a:gd name="T11" fmla="*/ 20 h 259"/>
                </a:gdLst>
                <a:ahLst/>
                <a:cxnLst>
                  <a:cxn ang="0">
                    <a:pos x="T0" y="T1"/>
                  </a:cxn>
                  <a:cxn ang="0">
                    <a:pos x="T2" y="T3"/>
                  </a:cxn>
                  <a:cxn ang="0">
                    <a:pos x="T4" y="T5"/>
                  </a:cxn>
                  <a:cxn ang="0">
                    <a:pos x="T6" y="T7"/>
                  </a:cxn>
                  <a:cxn ang="0">
                    <a:pos x="T8" y="T9"/>
                  </a:cxn>
                  <a:cxn ang="0">
                    <a:pos x="T10" y="T11"/>
                  </a:cxn>
                </a:cxnLst>
                <a:rect l="0" t="0" r="r" b="b"/>
                <a:pathLst>
                  <a:path w="204" h="259">
                    <a:moveTo>
                      <a:pt x="200" y="20"/>
                    </a:moveTo>
                    <a:cubicBezTo>
                      <a:pt x="169" y="120"/>
                      <a:pt x="71" y="166"/>
                      <a:pt x="20" y="250"/>
                    </a:cubicBezTo>
                    <a:cubicBezTo>
                      <a:pt x="13" y="259"/>
                      <a:pt x="6" y="259"/>
                      <a:pt x="0" y="249"/>
                    </a:cubicBezTo>
                    <a:cubicBezTo>
                      <a:pt x="31" y="158"/>
                      <a:pt x="130" y="115"/>
                      <a:pt x="160" y="23"/>
                    </a:cubicBezTo>
                    <a:cubicBezTo>
                      <a:pt x="166" y="11"/>
                      <a:pt x="175" y="0"/>
                      <a:pt x="189" y="0"/>
                    </a:cubicBezTo>
                    <a:cubicBezTo>
                      <a:pt x="200" y="0"/>
                      <a:pt x="204" y="9"/>
                      <a:pt x="200"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1" name="Freeform 297">
                <a:extLst>
                  <a:ext uri="{FF2B5EF4-FFF2-40B4-BE49-F238E27FC236}">
                    <a16:creationId xmlns:a16="http://schemas.microsoft.com/office/drawing/2014/main" id="{F8467BC7-8CAE-4E36-8135-38E4977FB3DF}"/>
                  </a:ext>
                </a:extLst>
              </p:cNvPr>
              <p:cNvSpPr>
                <a:spLocks/>
              </p:cNvSpPr>
              <p:nvPr/>
            </p:nvSpPr>
            <p:spPr bwMode="auto">
              <a:xfrm>
                <a:off x="2345" y="2367"/>
                <a:ext cx="16" cy="35"/>
              </a:xfrm>
              <a:custGeom>
                <a:avLst/>
                <a:gdLst>
                  <a:gd name="T0" fmla="*/ 0 w 104"/>
                  <a:gd name="T1" fmla="*/ 225 h 225"/>
                  <a:gd name="T2" fmla="*/ 84 w 104"/>
                  <a:gd name="T3" fmla="*/ 0 h 225"/>
                  <a:gd name="T4" fmla="*/ 104 w 104"/>
                  <a:gd name="T5" fmla="*/ 19 h 225"/>
                  <a:gd name="T6" fmla="*/ 53 w 104"/>
                  <a:gd name="T7" fmla="*/ 122 h 225"/>
                  <a:gd name="T8" fmla="*/ 0 w 104"/>
                  <a:gd name="T9" fmla="*/ 225 h 225"/>
                </a:gdLst>
                <a:ahLst/>
                <a:cxnLst>
                  <a:cxn ang="0">
                    <a:pos x="T0" y="T1"/>
                  </a:cxn>
                  <a:cxn ang="0">
                    <a:pos x="T2" y="T3"/>
                  </a:cxn>
                  <a:cxn ang="0">
                    <a:pos x="T4" y="T5"/>
                  </a:cxn>
                  <a:cxn ang="0">
                    <a:pos x="T6" y="T7"/>
                  </a:cxn>
                  <a:cxn ang="0">
                    <a:pos x="T8" y="T9"/>
                  </a:cxn>
                </a:cxnLst>
                <a:rect l="0" t="0" r="r" b="b"/>
                <a:pathLst>
                  <a:path w="104" h="225">
                    <a:moveTo>
                      <a:pt x="0" y="225"/>
                    </a:moveTo>
                    <a:cubicBezTo>
                      <a:pt x="14" y="145"/>
                      <a:pt x="3" y="55"/>
                      <a:pt x="84" y="0"/>
                    </a:cubicBezTo>
                    <a:cubicBezTo>
                      <a:pt x="94" y="3"/>
                      <a:pt x="100" y="10"/>
                      <a:pt x="104" y="19"/>
                    </a:cubicBezTo>
                    <a:cubicBezTo>
                      <a:pt x="78" y="49"/>
                      <a:pt x="55" y="74"/>
                      <a:pt x="53" y="122"/>
                    </a:cubicBezTo>
                    <a:cubicBezTo>
                      <a:pt x="52" y="154"/>
                      <a:pt x="65" y="216"/>
                      <a:pt x="0"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2" name="Freeform 298">
                <a:extLst>
                  <a:ext uri="{FF2B5EF4-FFF2-40B4-BE49-F238E27FC236}">
                    <a16:creationId xmlns:a16="http://schemas.microsoft.com/office/drawing/2014/main" id="{49A8C393-2B9D-4D8F-A3BE-937ED114D5A9}"/>
                  </a:ext>
                </a:extLst>
              </p:cNvPr>
              <p:cNvSpPr>
                <a:spLocks/>
              </p:cNvSpPr>
              <p:nvPr/>
            </p:nvSpPr>
            <p:spPr bwMode="auto">
              <a:xfrm>
                <a:off x="2304" y="2421"/>
                <a:ext cx="21" cy="41"/>
              </a:xfrm>
              <a:custGeom>
                <a:avLst/>
                <a:gdLst>
                  <a:gd name="T0" fmla="*/ 62 w 136"/>
                  <a:gd name="T1" fmla="*/ 41 h 265"/>
                  <a:gd name="T2" fmla="*/ 88 w 136"/>
                  <a:gd name="T3" fmla="*/ 0 h 265"/>
                  <a:gd name="T4" fmla="*/ 124 w 136"/>
                  <a:gd name="T5" fmla="*/ 101 h 265"/>
                  <a:gd name="T6" fmla="*/ 103 w 136"/>
                  <a:gd name="T7" fmla="*/ 139 h 265"/>
                  <a:gd name="T8" fmla="*/ 39 w 136"/>
                  <a:gd name="T9" fmla="*/ 264 h 265"/>
                  <a:gd name="T10" fmla="*/ 20 w 136"/>
                  <a:gd name="T11" fmla="*/ 223 h 265"/>
                  <a:gd name="T12" fmla="*/ 62 w 136"/>
                  <a:gd name="T13" fmla="*/ 41 h 265"/>
                </a:gdLst>
                <a:ahLst/>
                <a:cxnLst>
                  <a:cxn ang="0">
                    <a:pos x="T0" y="T1"/>
                  </a:cxn>
                  <a:cxn ang="0">
                    <a:pos x="T2" y="T3"/>
                  </a:cxn>
                  <a:cxn ang="0">
                    <a:pos x="T4" y="T5"/>
                  </a:cxn>
                  <a:cxn ang="0">
                    <a:pos x="T6" y="T7"/>
                  </a:cxn>
                  <a:cxn ang="0">
                    <a:pos x="T8" y="T9"/>
                  </a:cxn>
                  <a:cxn ang="0">
                    <a:pos x="T10" y="T11"/>
                  </a:cxn>
                  <a:cxn ang="0">
                    <a:pos x="T12" y="T13"/>
                  </a:cxn>
                </a:cxnLst>
                <a:rect l="0" t="0" r="r" b="b"/>
                <a:pathLst>
                  <a:path w="136" h="265">
                    <a:moveTo>
                      <a:pt x="62" y="41"/>
                    </a:moveTo>
                    <a:cubicBezTo>
                      <a:pt x="63" y="23"/>
                      <a:pt x="66" y="5"/>
                      <a:pt x="88" y="0"/>
                    </a:cubicBezTo>
                    <a:cubicBezTo>
                      <a:pt x="76" y="42"/>
                      <a:pt x="129" y="62"/>
                      <a:pt x="124" y="101"/>
                    </a:cubicBezTo>
                    <a:cubicBezTo>
                      <a:pt x="136" y="124"/>
                      <a:pt x="118" y="131"/>
                      <a:pt x="103" y="139"/>
                    </a:cubicBezTo>
                    <a:cubicBezTo>
                      <a:pt x="54" y="166"/>
                      <a:pt x="59" y="222"/>
                      <a:pt x="39" y="264"/>
                    </a:cubicBezTo>
                    <a:cubicBezTo>
                      <a:pt x="0" y="265"/>
                      <a:pt x="11" y="243"/>
                      <a:pt x="20" y="223"/>
                    </a:cubicBezTo>
                    <a:cubicBezTo>
                      <a:pt x="27" y="161"/>
                      <a:pt x="113" y="117"/>
                      <a:pt x="62" y="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3" name="Freeform 299">
                <a:extLst>
                  <a:ext uri="{FF2B5EF4-FFF2-40B4-BE49-F238E27FC236}">
                    <a16:creationId xmlns:a16="http://schemas.microsoft.com/office/drawing/2014/main" id="{C1FA1EA0-1459-45E0-A8A4-D38C90278EB8}"/>
                  </a:ext>
                </a:extLst>
              </p:cNvPr>
              <p:cNvSpPr>
                <a:spLocks/>
              </p:cNvSpPr>
              <p:nvPr/>
            </p:nvSpPr>
            <p:spPr bwMode="auto">
              <a:xfrm>
                <a:off x="2358" y="2347"/>
                <a:ext cx="24" cy="23"/>
              </a:xfrm>
              <a:custGeom>
                <a:avLst/>
                <a:gdLst>
                  <a:gd name="T0" fmla="*/ 20 w 151"/>
                  <a:gd name="T1" fmla="*/ 148 h 148"/>
                  <a:gd name="T2" fmla="*/ 0 w 151"/>
                  <a:gd name="T3" fmla="*/ 129 h 148"/>
                  <a:gd name="T4" fmla="*/ 125 w 151"/>
                  <a:gd name="T5" fmla="*/ 5 h 148"/>
                  <a:gd name="T6" fmla="*/ 143 w 151"/>
                  <a:gd name="T7" fmla="*/ 25 h 148"/>
                  <a:gd name="T8" fmla="*/ 20 w 151"/>
                  <a:gd name="T9" fmla="*/ 148 h 148"/>
                </a:gdLst>
                <a:ahLst/>
                <a:cxnLst>
                  <a:cxn ang="0">
                    <a:pos x="T0" y="T1"/>
                  </a:cxn>
                  <a:cxn ang="0">
                    <a:pos x="T2" y="T3"/>
                  </a:cxn>
                  <a:cxn ang="0">
                    <a:pos x="T4" y="T5"/>
                  </a:cxn>
                  <a:cxn ang="0">
                    <a:pos x="T6" y="T7"/>
                  </a:cxn>
                  <a:cxn ang="0">
                    <a:pos x="T8" y="T9"/>
                  </a:cxn>
                </a:cxnLst>
                <a:rect l="0" t="0" r="r" b="b"/>
                <a:pathLst>
                  <a:path w="151" h="148">
                    <a:moveTo>
                      <a:pt x="20" y="148"/>
                    </a:moveTo>
                    <a:cubicBezTo>
                      <a:pt x="14" y="142"/>
                      <a:pt x="7" y="135"/>
                      <a:pt x="0" y="129"/>
                    </a:cubicBezTo>
                    <a:cubicBezTo>
                      <a:pt x="1" y="46"/>
                      <a:pt x="109" y="72"/>
                      <a:pt x="125" y="5"/>
                    </a:cubicBezTo>
                    <a:cubicBezTo>
                      <a:pt x="144" y="0"/>
                      <a:pt x="151" y="7"/>
                      <a:pt x="143" y="25"/>
                    </a:cubicBezTo>
                    <a:cubicBezTo>
                      <a:pt x="132" y="96"/>
                      <a:pt x="58" y="104"/>
                      <a:pt x="20" y="1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4" name="Freeform 300">
                <a:extLst>
                  <a:ext uri="{FF2B5EF4-FFF2-40B4-BE49-F238E27FC236}">
                    <a16:creationId xmlns:a16="http://schemas.microsoft.com/office/drawing/2014/main" id="{1F997940-77FA-48C8-98E6-84FB83442225}"/>
                  </a:ext>
                </a:extLst>
              </p:cNvPr>
              <p:cNvSpPr>
                <a:spLocks/>
              </p:cNvSpPr>
              <p:nvPr/>
            </p:nvSpPr>
            <p:spPr bwMode="auto">
              <a:xfrm>
                <a:off x="2431" y="2252"/>
                <a:ext cx="32" cy="15"/>
              </a:xfrm>
              <a:custGeom>
                <a:avLst/>
                <a:gdLst>
                  <a:gd name="T0" fmla="*/ 128 w 205"/>
                  <a:gd name="T1" fmla="*/ 89 h 99"/>
                  <a:gd name="T2" fmla="*/ 154 w 205"/>
                  <a:gd name="T3" fmla="*/ 50 h 99"/>
                  <a:gd name="T4" fmla="*/ 115 w 205"/>
                  <a:gd name="T5" fmla="*/ 42 h 99"/>
                  <a:gd name="T6" fmla="*/ 0 w 205"/>
                  <a:gd name="T7" fmla="*/ 74 h 99"/>
                  <a:gd name="T8" fmla="*/ 131 w 205"/>
                  <a:gd name="T9" fmla="*/ 9 h 99"/>
                  <a:gd name="T10" fmla="*/ 198 w 205"/>
                  <a:gd name="T11" fmla="*/ 38 h 99"/>
                  <a:gd name="T12" fmla="*/ 149 w 205"/>
                  <a:gd name="T13" fmla="*/ 90 h 99"/>
                  <a:gd name="T14" fmla="*/ 128 w 205"/>
                  <a:gd name="T15" fmla="*/ 8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99">
                    <a:moveTo>
                      <a:pt x="128" y="89"/>
                    </a:moveTo>
                    <a:cubicBezTo>
                      <a:pt x="138" y="76"/>
                      <a:pt x="156" y="62"/>
                      <a:pt x="154" y="50"/>
                    </a:cubicBezTo>
                    <a:cubicBezTo>
                      <a:pt x="151" y="24"/>
                      <a:pt x="130" y="38"/>
                      <a:pt x="115" y="42"/>
                    </a:cubicBezTo>
                    <a:cubicBezTo>
                      <a:pt x="77" y="53"/>
                      <a:pt x="38" y="63"/>
                      <a:pt x="0" y="74"/>
                    </a:cubicBezTo>
                    <a:cubicBezTo>
                      <a:pt x="29" y="24"/>
                      <a:pt x="85" y="25"/>
                      <a:pt x="131" y="9"/>
                    </a:cubicBezTo>
                    <a:cubicBezTo>
                      <a:pt x="157" y="0"/>
                      <a:pt x="190" y="7"/>
                      <a:pt x="198" y="38"/>
                    </a:cubicBezTo>
                    <a:cubicBezTo>
                      <a:pt x="205" y="71"/>
                      <a:pt x="180" y="86"/>
                      <a:pt x="149" y="90"/>
                    </a:cubicBezTo>
                    <a:cubicBezTo>
                      <a:pt x="142" y="99"/>
                      <a:pt x="135" y="98"/>
                      <a:pt x="128"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5" name="Freeform 301">
                <a:extLst>
                  <a:ext uri="{FF2B5EF4-FFF2-40B4-BE49-F238E27FC236}">
                    <a16:creationId xmlns:a16="http://schemas.microsoft.com/office/drawing/2014/main" id="{72D3FF28-3FC2-434F-B6C7-769A805AADF6}"/>
                  </a:ext>
                </a:extLst>
              </p:cNvPr>
              <p:cNvSpPr>
                <a:spLocks/>
              </p:cNvSpPr>
              <p:nvPr/>
            </p:nvSpPr>
            <p:spPr bwMode="auto">
              <a:xfrm>
                <a:off x="2453" y="2280"/>
                <a:ext cx="26" cy="23"/>
              </a:xfrm>
              <a:custGeom>
                <a:avLst/>
                <a:gdLst>
                  <a:gd name="T0" fmla="*/ 45 w 168"/>
                  <a:gd name="T1" fmla="*/ 152 h 152"/>
                  <a:gd name="T2" fmla="*/ 3 w 168"/>
                  <a:gd name="T3" fmla="*/ 8 h 152"/>
                  <a:gd name="T4" fmla="*/ 28 w 168"/>
                  <a:gd name="T5" fmla="*/ 7 h 152"/>
                  <a:gd name="T6" fmla="*/ 45 w 168"/>
                  <a:gd name="T7" fmla="*/ 152 h 152"/>
                </a:gdLst>
                <a:ahLst/>
                <a:cxnLst>
                  <a:cxn ang="0">
                    <a:pos x="T0" y="T1"/>
                  </a:cxn>
                  <a:cxn ang="0">
                    <a:pos x="T2" y="T3"/>
                  </a:cxn>
                  <a:cxn ang="0">
                    <a:pos x="T4" y="T5"/>
                  </a:cxn>
                  <a:cxn ang="0">
                    <a:pos x="T6" y="T7"/>
                  </a:cxn>
                </a:cxnLst>
                <a:rect l="0" t="0" r="r" b="b"/>
                <a:pathLst>
                  <a:path w="168" h="152">
                    <a:moveTo>
                      <a:pt x="45" y="152"/>
                    </a:moveTo>
                    <a:cubicBezTo>
                      <a:pt x="70" y="92"/>
                      <a:pt x="0" y="61"/>
                      <a:pt x="3" y="8"/>
                    </a:cubicBezTo>
                    <a:cubicBezTo>
                      <a:pt x="11" y="0"/>
                      <a:pt x="19" y="0"/>
                      <a:pt x="28" y="7"/>
                    </a:cubicBezTo>
                    <a:cubicBezTo>
                      <a:pt x="64" y="52"/>
                      <a:pt x="168" y="88"/>
                      <a:pt x="45" y="1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6" name="Freeform 302">
                <a:extLst>
                  <a:ext uri="{FF2B5EF4-FFF2-40B4-BE49-F238E27FC236}">
                    <a16:creationId xmlns:a16="http://schemas.microsoft.com/office/drawing/2014/main" id="{B705CAD0-7AF5-4EA8-B0DC-293137FA19FD}"/>
                  </a:ext>
                </a:extLst>
              </p:cNvPr>
              <p:cNvSpPr>
                <a:spLocks/>
              </p:cNvSpPr>
              <p:nvPr/>
            </p:nvSpPr>
            <p:spPr bwMode="auto">
              <a:xfrm>
                <a:off x="2398" y="2317"/>
                <a:ext cx="30" cy="21"/>
              </a:xfrm>
              <a:custGeom>
                <a:avLst/>
                <a:gdLst>
                  <a:gd name="T0" fmla="*/ 8 w 196"/>
                  <a:gd name="T1" fmla="*/ 109 h 136"/>
                  <a:gd name="T2" fmla="*/ 196 w 196"/>
                  <a:gd name="T3" fmla="*/ 11 h 136"/>
                  <a:gd name="T4" fmla="*/ 11 w 196"/>
                  <a:gd name="T5" fmla="*/ 136 h 136"/>
                  <a:gd name="T6" fmla="*/ 8 w 196"/>
                  <a:gd name="T7" fmla="*/ 109 h 136"/>
                </a:gdLst>
                <a:ahLst/>
                <a:cxnLst>
                  <a:cxn ang="0">
                    <a:pos x="T0" y="T1"/>
                  </a:cxn>
                  <a:cxn ang="0">
                    <a:pos x="T2" y="T3"/>
                  </a:cxn>
                  <a:cxn ang="0">
                    <a:pos x="T4" y="T5"/>
                  </a:cxn>
                  <a:cxn ang="0">
                    <a:pos x="T6" y="T7"/>
                  </a:cxn>
                </a:cxnLst>
                <a:rect l="0" t="0" r="r" b="b"/>
                <a:pathLst>
                  <a:path w="196" h="136">
                    <a:moveTo>
                      <a:pt x="8" y="109"/>
                    </a:moveTo>
                    <a:cubicBezTo>
                      <a:pt x="53" y="41"/>
                      <a:pt x="111" y="0"/>
                      <a:pt x="196" y="11"/>
                    </a:cubicBezTo>
                    <a:cubicBezTo>
                      <a:pt x="138" y="58"/>
                      <a:pt x="54" y="67"/>
                      <a:pt x="11" y="136"/>
                    </a:cubicBezTo>
                    <a:cubicBezTo>
                      <a:pt x="1" y="128"/>
                      <a:pt x="0" y="119"/>
                      <a:pt x="8" y="1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7" name="Freeform 303">
                <a:extLst>
                  <a:ext uri="{FF2B5EF4-FFF2-40B4-BE49-F238E27FC236}">
                    <a16:creationId xmlns:a16="http://schemas.microsoft.com/office/drawing/2014/main" id="{4265CC00-227C-4FB5-A88A-B3724212F587}"/>
                  </a:ext>
                </a:extLst>
              </p:cNvPr>
              <p:cNvSpPr>
                <a:spLocks/>
              </p:cNvSpPr>
              <p:nvPr/>
            </p:nvSpPr>
            <p:spPr bwMode="auto">
              <a:xfrm>
                <a:off x="2428" y="2300"/>
                <a:ext cx="26" cy="19"/>
              </a:xfrm>
              <a:custGeom>
                <a:avLst/>
                <a:gdLst>
                  <a:gd name="T0" fmla="*/ 0 w 169"/>
                  <a:gd name="T1" fmla="*/ 128 h 128"/>
                  <a:gd name="T2" fmla="*/ 169 w 169"/>
                  <a:gd name="T3" fmla="*/ 24 h 128"/>
                  <a:gd name="T4" fmla="*/ 0 w 169"/>
                  <a:gd name="T5" fmla="*/ 128 h 128"/>
                </a:gdLst>
                <a:ahLst/>
                <a:cxnLst>
                  <a:cxn ang="0">
                    <a:pos x="T0" y="T1"/>
                  </a:cxn>
                  <a:cxn ang="0">
                    <a:pos x="T2" y="T3"/>
                  </a:cxn>
                  <a:cxn ang="0">
                    <a:pos x="T4" y="T5"/>
                  </a:cxn>
                </a:cxnLst>
                <a:rect l="0" t="0" r="r" b="b"/>
                <a:pathLst>
                  <a:path w="169" h="128">
                    <a:moveTo>
                      <a:pt x="0" y="128"/>
                    </a:moveTo>
                    <a:cubicBezTo>
                      <a:pt x="16" y="27"/>
                      <a:pt x="77" y="0"/>
                      <a:pt x="169" y="24"/>
                    </a:cubicBezTo>
                    <a:cubicBezTo>
                      <a:pt x="100" y="38"/>
                      <a:pt x="47" y="77"/>
                      <a:pt x="0"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8" name="Freeform 304">
                <a:extLst>
                  <a:ext uri="{FF2B5EF4-FFF2-40B4-BE49-F238E27FC236}">
                    <a16:creationId xmlns:a16="http://schemas.microsoft.com/office/drawing/2014/main" id="{95ACBB45-2451-4F6A-935A-3FFF77CDBD3F}"/>
                  </a:ext>
                </a:extLst>
              </p:cNvPr>
              <p:cNvSpPr>
                <a:spLocks/>
              </p:cNvSpPr>
              <p:nvPr/>
            </p:nvSpPr>
            <p:spPr bwMode="auto">
              <a:xfrm>
                <a:off x="2369" y="2274"/>
                <a:ext cx="32" cy="16"/>
              </a:xfrm>
              <a:custGeom>
                <a:avLst/>
                <a:gdLst>
                  <a:gd name="T0" fmla="*/ 194 w 202"/>
                  <a:gd name="T1" fmla="*/ 22 h 104"/>
                  <a:gd name="T2" fmla="*/ 9 w 202"/>
                  <a:gd name="T3" fmla="*/ 104 h 104"/>
                  <a:gd name="T4" fmla="*/ 3 w 202"/>
                  <a:gd name="T5" fmla="*/ 92 h 104"/>
                  <a:gd name="T6" fmla="*/ 10 w 202"/>
                  <a:gd name="T7" fmla="*/ 86 h 104"/>
                  <a:gd name="T8" fmla="*/ 194 w 202"/>
                  <a:gd name="T9" fmla="*/ 0 h 104"/>
                  <a:gd name="T10" fmla="*/ 200 w 202"/>
                  <a:gd name="T11" fmla="*/ 14 h 104"/>
                  <a:gd name="T12" fmla="*/ 194 w 202"/>
                  <a:gd name="T13" fmla="*/ 22 h 104"/>
                </a:gdLst>
                <a:ahLst/>
                <a:cxnLst>
                  <a:cxn ang="0">
                    <a:pos x="T0" y="T1"/>
                  </a:cxn>
                  <a:cxn ang="0">
                    <a:pos x="T2" y="T3"/>
                  </a:cxn>
                  <a:cxn ang="0">
                    <a:pos x="T4" y="T5"/>
                  </a:cxn>
                  <a:cxn ang="0">
                    <a:pos x="T6" y="T7"/>
                  </a:cxn>
                  <a:cxn ang="0">
                    <a:pos x="T8" y="T9"/>
                  </a:cxn>
                  <a:cxn ang="0">
                    <a:pos x="T10" y="T11"/>
                  </a:cxn>
                  <a:cxn ang="0">
                    <a:pos x="T12" y="T13"/>
                  </a:cxn>
                </a:cxnLst>
                <a:rect l="0" t="0" r="r" b="b"/>
                <a:pathLst>
                  <a:path w="202" h="104">
                    <a:moveTo>
                      <a:pt x="194" y="22"/>
                    </a:moveTo>
                    <a:cubicBezTo>
                      <a:pt x="132" y="48"/>
                      <a:pt x="77" y="91"/>
                      <a:pt x="9" y="104"/>
                    </a:cubicBezTo>
                    <a:cubicBezTo>
                      <a:pt x="2" y="100"/>
                      <a:pt x="0" y="96"/>
                      <a:pt x="3" y="92"/>
                    </a:cubicBezTo>
                    <a:cubicBezTo>
                      <a:pt x="5" y="88"/>
                      <a:pt x="7" y="86"/>
                      <a:pt x="10" y="86"/>
                    </a:cubicBezTo>
                    <a:cubicBezTo>
                      <a:pt x="73" y="63"/>
                      <a:pt x="122" y="7"/>
                      <a:pt x="194" y="0"/>
                    </a:cubicBezTo>
                    <a:cubicBezTo>
                      <a:pt x="200" y="5"/>
                      <a:pt x="202" y="10"/>
                      <a:pt x="200" y="14"/>
                    </a:cubicBezTo>
                    <a:cubicBezTo>
                      <a:pt x="198" y="19"/>
                      <a:pt x="196" y="22"/>
                      <a:pt x="194"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9" name="Freeform 305">
                <a:extLst>
                  <a:ext uri="{FF2B5EF4-FFF2-40B4-BE49-F238E27FC236}">
                    <a16:creationId xmlns:a16="http://schemas.microsoft.com/office/drawing/2014/main" id="{8AE242A9-F43E-4881-88B6-5077D3293AE4}"/>
                  </a:ext>
                </a:extLst>
              </p:cNvPr>
              <p:cNvSpPr>
                <a:spLocks/>
              </p:cNvSpPr>
              <p:nvPr/>
            </p:nvSpPr>
            <p:spPr bwMode="auto">
              <a:xfrm>
                <a:off x="2329" y="2421"/>
                <a:ext cx="18" cy="20"/>
              </a:xfrm>
              <a:custGeom>
                <a:avLst/>
                <a:gdLst>
                  <a:gd name="T0" fmla="*/ 104 w 114"/>
                  <a:gd name="T1" fmla="*/ 21 h 134"/>
                  <a:gd name="T2" fmla="*/ 27 w 114"/>
                  <a:gd name="T3" fmla="*/ 126 h 134"/>
                  <a:gd name="T4" fmla="*/ 0 w 114"/>
                  <a:gd name="T5" fmla="*/ 123 h 134"/>
                  <a:gd name="T6" fmla="*/ 105 w 114"/>
                  <a:gd name="T7" fmla="*/ 3 h 134"/>
                  <a:gd name="T8" fmla="*/ 112 w 114"/>
                  <a:gd name="T9" fmla="*/ 15 h 134"/>
                  <a:gd name="T10" fmla="*/ 104 w 114"/>
                  <a:gd name="T11" fmla="*/ 21 h 134"/>
                </a:gdLst>
                <a:ahLst/>
                <a:cxnLst>
                  <a:cxn ang="0">
                    <a:pos x="T0" y="T1"/>
                  </a:cxn>
                  <a:cxn ang="0">
                    <a:pos x="T2" y="T3"/>
                  </a:cxn>
                  <a:cxn ang="0">
                    <a:pos x="T4" y="T5"/>
                  </a:cxn>
                  <a:cxn ang="0">
                    <a:pos x="T6" y="T7"/>
                  </a:cxn>
                  <a:cxn ang="0">
                    <a:pos x="T8" y="T9"/>
                  </a:cxn>
                  <a:cxn ang="0">
                    <a:pos x="T10" y="T11"/>
                  </a:cxn>
                </a:cxnLst>
                <a:rect l="0" t="0" r="r" b="b"/>
                <a:pathLst>
                  <a:path w="114" h="134">
                    <a:moveTo>
                      <a:pt x="104" y="21"/>
                    </a:moveTo>
                    <a:cubicBezTo>
                      <a:pt x="85" y="61"/>
                      <a:pt x="67" y="102"/>
                      <a:pt x="27" y="126"/>
                    </a:cubicBezTo>
                    <a:cubicBezTo>
                      <a:pt x="17" y="134"/>
                      <a:pt x="8" y="133"/>
                      <a:pt x="0" y="123"/>
                    </a:cubicBezTo>
                    <a:cubicBezTo>
                      <a:pt x="50" y="96"/>
                      <a:pt x="21" y="0"/>
                      <a:pt x="105" y="3"/>
                    </a:cubicBezTo>
                    <a:cubicBezTo>
                      <a:pt x="112" y="7"/>
                      <a:pt x="114" y="11"/>
                      <a:pt x="112" y="15"/>
                    </a:cubicBezTo>
                    <a:cubicBezTo>
                      <a:pt x="109" y="19"/>
                      <a:pt x="107" y="21"/>
                      <a:pt x="104"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50" name="Freeform 306">
                <a:extLst>
                  <a:ext uri="{FF2B5EF4-FFF2-40B4-BE49-F238E27FC236}">
                    <a16:creationId xmlns:a16="http://schemas.microsoft.com/office/drawing/2014/main" id="{761AC1BB-F6FC-4DD1-ACD9-C619BE3018D0}"/>
                  </a:ext>
                </a:extLst>
              </p:cNvPr>
              <p:cNvSpPr>
                <a:spLocks/>
              </p:cNvSpPr>
              <p:nvPr/>
            </p:nvSpPr>
            <p:spPr bwMode="auto">
              <a:xfrm>
                <a:off x="2369" y="2406"/>
                <a:ext cx="20" cy="20"/>
              </a:xfrm>
              <a:custGeom>
                <a:avLst/>
                <a:gdLst>
                  <a:gd name="T0" fmla="*/ 108 w 130"/>
                  <a:gd name="T1" fmla="*/ 56 h 131"/>
                  <a:gd name="T2" fmla="*/ 8 w 130"/>
                  <a:gd name="T3" fmla="*/ 112 h 131"/>
                  <a:gd name="T4" fmla="*/ 3 w 130"/>
                  <a:gd name="T5" fmla="*/ 99 h 131"/>
                  <a:gd name="T6" fmla="*/ 10 w 130"/>
                  <a:gd name="T7" fmla="*/ 94 h 131"/>
                  <a:gd name="T8" fmla="*/ 130 w 130"/>
                  <a:gd name="T9" fmla="*/ 35 h 131"/>
                  <a:gd name="T10" fmla="*/ 108 w 130"/>
                  <a:gd name="T11" fmla="*/ 56 h 131"/>
                </a:gdLst>
                <a:ahLst/>
                <a:cxnLst>
                  <a:cxn ang="0">
                    <a:pos x="T0" y="T1"/>
                  </a:cxn>
                  <a:cxn ang="0">
                    <a:pos x="T2" y="T3"/>
                  </a:cxn>
                  <a:cxn ang="0">
                    <a:pos x="T4" y="T5"/>
                  </a:cxn>
                  <a:cxn ang="0">
                    <a:pos x="T6" y="T7"/>
                  </a:cxn>
                  <a:cxn ang="0">
                    <a:pos x="T8" y="T9"/>
                  </a:cxn>
                  <a:cxn ang="0">
                    <a:pos x="T10" y="T11"/>
                  </a:cxn>
                </a:cxnLst>
                <a:rect l="0" t="0" r="r" b="b"/>
                <a:pathLst>
                  <a:path w="130" h="131">
                    <a:moveTo>
                      <a:pt x="108" y="56"/>
                    </a:moveTo>
                    <a:cubicBezTo>
                      <a:pt x="74" y="73"/>
                      <a:pt x="63" y="131"/>
                      <a:pt x="8" y="112"/>
                    </a:cubicBezTo>
                    <a:cubicBezTo>
                      <a:pt x="2" y="107"/>
                      <a:pt x="0" y="103"/>
                      <a:pt x="3" y="99"/>
                    </a:cubicBezTo>
                    <a:cubicBezTo>
                      <a:pt x="5" y="95"/>
                      <a:pt x="7" y="94"/>
                      <a:pt x="10" y="94"/>
                    </a:cubicBezTo>
                    <a:cubicBezTo>
                      <a:pt x="54" y="83"/>
                      <a:pt x="63" y="0"/>
                      <a:pt x="130" y="35"/>
                    </a:cubicBezTo>
                    <a:cubicBezTo>
                      <a:pt x="123" y="42"/>
                      <a:pt x="122" y="55"/>
                      <a:pt x="108" y="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51" name="Freeform 307">
                <a:extLst>
                  <a:ext uri="{FF2B5EF4-FFF2-40B4-BE49-F238E27FC236}">
                    <a16:creationId xmlns:a16="http://schemas.microsoft.com/office/drawing/2014/main" id="{949ABE5D-3E02-4870-A5B5-7D5A795D20D8}"/>
                  </a:ext>
                </a:extLst>
              </p:cNvPr>
              <p:cNvSpPr>
                <a:spLocks/>
              </p:cNvSpPr>
              <p:nvPr/>
            </p:nvSpPr>
            <p:spPr bwMode="auto">
              <a:xfrm>
                <a:off x="2378" y="2334"/>
                <a:ext cx="21" cy="17"/>
              </a:xfrm>
              <a:custGeom>
                <a:avLst/>
                <a:gdLst>
                  <a:gd name="T0" fmla="*/ 139 w 142"/>
                  <a:gd name="T1" fmla="*/ 0 h 108"/>
                  <a:gd name="T2" fmla="*/ 142 w 142"/>
                  <a:gd name="T3" fmla="*/ 27 h 108"/>
                  <a:gd name="T4" fmla="*/ 18 w 142"/>
                  <a:gd name="T5" fmla="*/ 108 h 108"/>
                  <a:gd name="T6" fmla="*/ 0 w 142"/>
                  <a:gd name="T7" fmla="*/ 88 h 108"/>
                  <a:gd name="T8" fmla="*/ 139 w 142"/>
                  <a:gd name="T9" fmla="*/ 0 h 108"/>
                </a:gdLst>
                <a:ahLst/>
                <a:cxnLst>
                  <a:cxn ang="0">
                    <a:pos x="T0" y="T1"/>
                  </a:cxn>
                  <a:cxn ang="0">
                    <a:pos x="T2" y="T3"/>
                  </a:cxn>
                  <a:cxn ang="0">
                    <a:pos x="T4" y="T5"/>
                  </a:cxn>
                  <a:cxn ang="0">
                    <a:pos x="T6" y="T7"/>
                  </a:cxn>
                  <a:cxn ang="0">
                    <a:pos x="T8" y="T9"/>
                  </a:cxn>
                </a:cxnLst>
                <a:rect l="0" t="0" r="r" b="b"/>
                <a:pathLst>
                  <a:path w="142" h="108">
                    <a:moveTo>
                      <a:pt x="139" y="0"/>
                    </a:moveTo>
                    <a:cubicBezTo>
                      <a:pt x="140" y="9"/>
                      <a:pt x="141" y="18"/>
                      <a:pt x="142" y="27"/>
                    </a:cubicBezTo>
                    <a:cubicBezTo>
                      <a:pt x="101" y="54"/>
                      <a:pt x="60" y="81"/>
                      <a:pt x="18" y="108"/>
                    </a:cubicBezTo>
                    <a:cubicBezTo>
                      <a:pt x="12" y="102"/>
                      <a:pt x="6" y="95"/>
                      <a:pt x="0" y="88"/>
                    </a:cubicBezTo>
                    <a:cubicBezTo>
                      <a:pt x="36" y="42"/>
                      <a:pt x="96" y="35"/>
                      <a:pt x="13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52" name="Freeform 308">
                <a:extLst>
                  <a:ext uri="{FF2B5EF4-FFF2-40B4-BE49-F238E27FC236}">
                    <a16:creationId xmlns:a16="http://schemas.microsoft.com/office/drawing/2014/main" id="{7AE6BF1A-2000-4B12-AC59-6F2D4F001631}"/>
                  </a:ext>
                </a:extLst>
              </p:cNvPr>
              <p:cNvSpPr>
                <a:spLocks/>
              </p:cNvSpPr>
              <p:nvPr/>
            </p:nvSpPr>
            <p:spPr bwMode="auto">
              <a:xfrm>
                <a:off x="2257" y="2328"/>
                <a:ext cx="19" cy="10"/>
              </a:xfrm>
              <a:custGeom>
                <a:avLst/>
                <a:gdLst>
                  <a:gd name="T0" fmla="*/ 17 w 121"/>
                  <a:gd name="T1" fmla="*/ 59 h 59"/>
                  <a:gd name="T2" fmla="*/ 0 w 121"/>
                  <a:gd name="T3" fmla="*/ 45 h 59"/>
                  <a:gd name="T4" fmla="*/ 18 w 121"/>
                  <a:gd name="T5" fmla="*/ 23 h 59"/>
                  <a:gd name="T6" fmla="*/ 80 w 121"/>
                  <a:gd name="T7" fmla="*/ 3 h 59"/>
                  <a:gd name="T8" fmla="*/ 119 w 121"/>
                  <a:gd name="T9" fmla="*/ 43 h 59"/>
                  <a:gd name="T10" fmla="*/ 17 w 121"/>
                  <a:gd name="T11" fmla="*/ 59 h 59"/>
                </a:gdLst>
                <a:ahLst/>
                <a:cxnLst>
                  <a:cxn ang="0">
                    <a:pos x="T0" y="T1"/>
                  </a:cxn>
                  <a:cxn ang="0">
                    <a:pos x="T2" y="T3"/>
                  </a:cxn>
                  <a:cxn ang="0">
                    <a:pos x="T4" y="T5"/>
                  </a:cxn>
                  <a:cxn ang="0">
                    <a:pos x="T6" y="T7"/>
                  </a:cxn>
                  <a:cxn ang="0">
                    <a:pos x="T8" y="T9"/>
                  </a:cxn>
                  <a:cxn ang="0">
                    <a:pos x="T10" y="T11"/>
                  </a:cxn>
                </a:cxnLst>
                <a:rect l="0" t="0" r="r" b="b"/>
                <a:pathLst>
                  <a:path w="121" h="59">
                    <a:moveTo>
                      <a:pt x="17" y="59"/>
                    </a:moveTo>
                    <a:cubicBezTo>
                      <a:pt x="11" y="54"/>
                      <a:pt x="6" y="49"/>
                      <a:pt x="0" y="45"/>
                    </a:cubicBezTo>
                    <a:cubicBezTo>
                      <a:pt x="6" y="37"/>
                      <a:pt x="12" y="30"/>
                      <a:pt x="18" y="23"/>
                    </a:cubicBezTo>
                    <a:cubicBezTo>
                      <a:pt x="34" y="3"/>
                      <a:pt x="56" y="0"/>
                      <a:pt x="80" y="3"/>
                    </a:cubicBezTo>
                    <a:cubicBezTo>
                      <a:pt x="105" y="5"/>
                      <a:pt x="121" y="14"/>
                      <a:pt x="119" y="43"/>
                    </a:cubicBezTo>
                    <a:cubicBezTo>
                      <a:pt x="85" y="48"/>
                      <a:pt x="51" y="54"/>
                      <a:pt x="17" y="5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53" name="Freeform 309">
                <a:extLst>
                  <a:ext uri="{FF2B5EF4-FFF2-40B4-BE49-F238E27FC236}">
                    <a16:creationId xmlns:a16="http://schemas.microsoft.com/office/drawing/2014/main" id="{8FA29496-6684-44E3-B023-6C8610EBC7F4}"/>
                  </a:ext>
                </a:extLst>
              </p:cNvPr>
              <p:cNvSpPr>
                <a:spLocks/>
              </p:cNvSpPr>
              <p:nvPr/>
            </p:nvSpPr>
            <p:spPr bwMode="auto">
              <a:xfrm>
                <a:off x="2399" y="2266"/>
                <a:ext cx="17" cy="12"/>
              </a:xfrm>
              <a:custGeom>
                <a:avLst/>
                <a:gdLst>
                  <a:gd name="T0" fmla="*/ 0 w 107"/>
                  <a:gd name="T1" fmla="*/ 74 h 74"/>
                  <a:gd name="T2" fmla="*/ 0 w 107"/>
                  <a:gd name="T3" fmla="*/ 52 h 74"/>
                  <a:gd name="T4" fmla="*/ 107 w 107"/>
                  <a:gd name="T5" fmla="*/ 15 h 74"/>
                  <a:gd name="T6" fmla="*/ 0 w 107"/>
                  <a:gd name="T7" fmla="*/ 74 h 74"/>
                </a:gdLst>
                <a:ahLst/>
                <a:cxnLst>
                  <a:cxn ang="0">
                    <a:pos x="T0" y="T1"/>
                  </a:cxn>
                  <a:cxn ang="0">
                    <a:pos x="T2" y="T3"/>
                  </a:cxn>
                  <a:cxn ang="0">
                    <a:pos x="T4" y="T5"/>
                  </a:cxn>
                  <a:cxn ang="0">
                    <a:pos x="T6" y="T7"/>
                  </a:cxn>
                </a:cxnLst>
                <a:rect l="0" t="0" r="r" b="b"/>
                <a:pathLst>
                  <a:path w="107" h="74">
                    <a:moveTo>
                      <a:pt x="0" y="74"/>
                    </a:moveTo>
                    <a:cubicBezTo>
                      <a:pt x="0" y="66"/>
                      <a:pt x="0" y="59"/>
                      <a:pt x="0" y="52"/>
                    </a:cubicBezTo>
                    <a:cubicBezTo>
                      <a:pt x="27" y="14"/>
                      <a:pt x="62" y="0"/>
                      <a:pt x="107" y="15"/>
                    </a:cubicBezTo>
                    <a:cubicBezTo>
                      <a:pt x="72" y="35"/>
                      <a:pt x="36" y="54"/>
                      <a:pt x="0"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54" name="Freeform 310">
                <a:extLst>
                  <a:ext uri="{FF2B5EF4-FFF2-40B4-BE49-F238E27FC236}">
                    <a16:creationId xmlns:a16="http://schemas.microsoft.com/office/drawing/2014/main" id="{CF2C31E0-AEBD-4466-B4C1-D214F5A2044B}"/>
                  </a:ext>
                </a:extLst>
              </p:cNvPr>
              <p:cNvSpPr>
                <a:spLocks/>
              </p:cNvSpPr>
              <p:nvPr/>
            </p:nvSpPr>
            <p:spPr bwMode="auto">
              <a:xfrm>
                <a:off x="2355" y="2276"/>
                <a:ext cx="16" cy="15"/>
              </a:xfrm>
              <a:custGeom>
                <a:avLst/>
                <a:gdLst>
                  <a:gd name="T0" fmla="*/ 103 w 103"/>
                  <a:gd name="T1" fmla="*/ 75 h 96"/>
                  <a:gd name="T2" fmla="*/ 102 w 103"/>
                  <a:gd name="T3" fmla="*/ 93 h 96"/>
                  <a:gd name="T4" fmla="*/ 40 w 103"/>
                  <a:gd name="T5" fmla="*/ 93 h 96"/>
                  <a:gd name="T6" fmla="*/ 0 w 103"/>
                  <a:gd name="T7" fmla="*/ 96 h 96"/>
                  <a:gd name="T8" fmla="*/ 103 w 103"/>
                  <a:gd name="T9" fmla="*/ 75 h 96"/>
                </a:gdLst>
                <a:ahLst/>
                <a:cxnLst>
                  <a:cxn ang="0">
                    <a:pos x="T0" y="T1"/>
                  </a:cxn>
                  <a:cxn ang="0">
                    <a:pos x="T2" y="T3"/>
                  </a:cxn>
                  <a:cxn ang="0">
                    <a:pos x="T4" y="T5"/>
                  </a:cxn>
                  <a:cxn ang="0">
                    <a:pos x="T6" y="T7"/>
                  </a:cxn>
                  <a:cxn ang="0">
                    <a:pos x="T8" y="T9"/>
                  </a:cxn>
                </a:cxnLst>
                <a:rect l="0" t="0" r="r" b="b"/>
                <a:pathLst>
                  <a:path w="103" h="96">
                    <a:moveTo>
                      <a:pt x="103" y="75"/>
                    </a:moveTo>
                    <a:cubicBezTo>
                      <a:pt x="103" y="81"/>
                      <a:pt x="103" y="87"/>
                      <a:pt x="102" y="93"/>
                    </a:cubicBezTo>
                    <a:cubicBezTo>
                      <a:pt x="82" y="93"/>
                      <a:pt x="61" y="93"/>
                      <a:pt x="40" y="93"/>
                    </a:cubicBezTo>
                    <a:cubicBezTo>
                      <a:pt x="25" y="72"/>
                      <a:pt x="13" y="95"/>
                      <a:pt x="0" y="96"/>
                    </a:cubicBezTo>
                    <a:cubicBezTo>
                      <a:pt x="16" y="0"/>
                      <a:pt x="71" y="95"/>
                      <a:pt x="103" y="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55" name="Freeform 311">
                <a:extLst>
                  <a:ext uri="{FF2B5EF4-FFF2-40B4-BE49-F238E27FC236}">
                    <a16:creationId xmlns:a16="http://schemas.microsoft.com/office/drawing/2014/main" id="{3BF44DCD-8A2E-4E31-8884-10E568BA3ECC}"/>
                  </a:ext>
                </a:extLst>
              </p:cNvPr>
              <p:cNvSpPr>
                <a:spLocks/>
              </p:cNvSpPr>
              <p:nvPr/>
            </p:nvSpPr>
            <p:spPr bwMode="auto">
              <a:xfrm>
                <a:off x="2345" y="2421"/>
                <a:ext cx="26" cy="3"/>
              </a:xfrm>
              <a:custGeom>
                <a:avLst/>
                <a:gdLst>
                  <a:gd name="T0" fmla="*/ 165 w 165"/>
                  <a:gd name="T1" fmla="*/ 0 h 20"/>
                  <a:gd name="T2" fmla="*/ 163 w 165"/>
                  <a:gd name="T3" fmla="*/ 18 h 20"/>
                  <a:gd name="T4" fmla="*/ 0 w 165"/>
                  <a:gd name="T5" fmla="*/ 20 h 20"/>
                  <a:gd name="T6" fmla="*/ 1 w 165"/>
                  <a:gd name="T7" fmla="*/ 2 h 20"/>
                  <a:gd name="T8" fmla="*/ 165 w 165"/>
                  <a:gd name="T9" fmla="*/ 0 h 20"/>
                </a:gdLst>
                <a:ahLst/>
                <a:cxnLst>
                  <a:cxn ang="0">
                    <a:pos x="T0" y="T1"/>
                  </a:cxn>
                  <a:cxn ang="0">
                    <a:pos x="T2" y="T3"/>
                  </a:cxn>
                  <a:cxn ang="0">
                    <a:pos x="T4" y="T5"/>
                  </a:cxn>
                  <a:cxn ang="0">
                    <a:pos x="T6" y="T7"/>
                  </a:cxn>
                  <a:cxn ang="0">
                    <a:pos x="T8" y="T9"/>
                  </a:cxn>
                </a:cxnLst>
                <a:rect l="0" t="0" r="r" b="b"/>
                <a:pathLst>
                  <a:path w="165" h="20">
                    <a:moveTo>
                      <a:pt x="165" y="0"/>
                    </a:moveTo>
                    <a:cubicBezTo>
                      <a:pt x="164" y="6"/>
                      <a:pt x="164" y="12"/>
                      <a:pt x="163" y="18"/>
                    </a:cubicBezTo>
                    <a:cubicBezTo>
                      <a:pt x="109" y="19"/>
                      <a:pt x="55" y="19"/>
                      <a:pt x="0" y="20"/>
                    </a:cubicBezTo>
                    <a:cubicBezTo>
                      <a:pt x="0" y="14"/>
                      <a:pt x="1" y="8"/>
                      <a:pt x="1" y="2"/>
                    </a:cubicBezTo>
                    <a:cubicBezTo>
                      <a:pt x="56" y="1"/>
                      <a:pt x="110" y="0"/>
                      <a:pt x="16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56" name="Freeform 312">
                <a:extLst>
                  <a:ext uri="{FF2B5EF4-FFF2-40B4-BE49-F238E27FC236}">
                    <a16:creationId xmlns:a16="http://schemas.microsoft.com/office/drawing/2014/main" id="{ED8A08B3-C476-4B88-9274-2C802E9646E2}"/>
                  </a:ext>
                </a:extLst>
              </p:cNvPr>
              <p:cNvSpPr>
                <a:spLocks/>
              </p:cNvSpPr>
              <p:nvPr/>
            </p:nvSpPr>
            <p:spPr bwMode="auto">
              <a:xfrm>
                <a:off x="2315" y="2326"/>
                <a:ext cx="18" cy="9"/>
              </a:xfrm>
              <a:custGeom>
                <a:avLst/>
                <a:gdLst>
                  <a:gd name="T0" fmla="*/ 98 w 118"/>
                  <a:gd name="T1" fmla="*/ 0 h 63"/>
                  <a:gd name="T2" fmla="*/ 118 w 118"/>
                  <a:gd name="T3" fmla="*/ 1 h 63"/>
                  <a:gd name="T4" fmla="*/ 11 w 118"/>
                  <a:gd name="T5" fmla="*/ 57 h 63"/>
                  <a:gd name="T6" fmla="*/ 11 w 118"/>
                  <a:gd name="T7" fmla="*/ 24 h 63"/>
                  <a:gd name="T8" fmla="*/ 98 w 118"/>
                  <a:gd name="T9" fmla="*/ 0 h 63"/>
                </a:gdLst>
                <a:ahLst/>
                <a:cxnLst>
                  <a:cxn ang="0">
                    <a:pos x="T0" y="T1"/>
                  </a:cxn>
                  <a:cxn ang="0">
                    <a:pos x="T2" y="T3"/>
                  </a:cxn>
                  <a:cxn ang="0">
                    <a:pos x="T4" y="T5"/>
                  </a:cxn>
                  <a:cxn ang="0">
                    <a:pos x="T6" y="T7"/>
                  </a:cxn>
                  <a:cxn ang="0">
                    <a:pos x="T8" y="T9"/>
                  </a:cxn>
                </a:cxnLst>
                <a:rect l="0" t="0" r="r" b="b"/>
                <a:pathLst>
                  <a:path w="118" h="63">
                    <a:moveTo>
                      <a:pt x="98" y="0"/>
                    </a:moveTo>
                    <a:cubicBezTo>
                      <a:pt x="105" y="0"/>
                      <a:pt x="111" y="0"/>
                      <a:pt x="118" y="1"/>
                    </a:cubicBezTo>
                    <a:cubicBezTo>
                      <a:pt x="105" y="63"/>
                      <a:pt x="45" y="35"/>
                      <a:pt x="11" y="57"/>
                    </a:cubicBezTo>
                    <a:cubicBezTo>
                      <a:pt x="0" y="46"/>
                      <a:pt x="1" y="35"/>
                      <a:pt x="11" y="24"/>
                    </a:cubicBezTo>
                    <a:cubicBezTo>
                      <a:pt x="40" y="17"/>
                      <a:pt x="75" y="29"/>
                      <a:pt x="9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57" name="Freeform 313">
                <a:extLst>
                  <a:ext uri="{FF2B5EF4-FFF2-40B4-BE49-F238E27FC236}">
                    <a16:creationId xmlns:a16="http://schemas.microsoft.com/office/drawing/2014/main" id="{1132B522-0C76-4788-9DE7-14E2ADF1F074}"/>
                  </a:ext>
                </a:extLst>
              </p:cNvPr>
              <p:cNvSpPr>
                <a:spLocks/>
              </p:cNvSpPr>
              <p:nvPr/>
            </p:nvSpPr>
            <p:spPr bwMode="auto">
              <a:xfrm>
                <a:off x="2260" y="2324"/>
                <a:ext cx="10" cy="8"/>
              </a:xfrm>
              <a:custGeom>
                <a:avLst/>
                <a:gdLst>
                  <a:gd name="T0" fmla="*/ 62 w 62"/>
                  <a:gd name="T1" fmla="*/ 34 h 56"/>
                  <a:gd name="T2" fmla="*/ 0 w 62"/>
                  <a:gd name="T3" fmla="*/ 54 h 56"/>
                  <a:gd name="T4" fmla="*/ 27 w 62"/>
                  <a:gd name="T5" fmla="*/ 5 h 56"/>
                  <a:gd name="T6" fmla="*/ 62 w 62"/>
                  <a:gd name="T7" fmla="*/ 34 h 56"/>
                </a:gdLst>
                <a:ahLst/>
                <a:cxnLst>
                  <a:cxn ang="0">
                    <a:pos x="T0" y="T1"/>
                  </a:cxn>
                  <a:cxn ang="0">
                    <a:pos x="T2" y="T3"/>
                  </a:cxn>
                  <a:cxn ang="0">
                    <a:pos x="T4" y="T5"/>
                  </a:cxn>
                  <a:cxn ang="0">
                    <a:pos x="T6" y="T7"/>
                  </a:cxn>
                </a:cxnLst>
                <a:rect l="0" t="0" r="r" b="b"/>
                <a:pathLst>
                  <a:path w="62" h="56">
                    <a:moveTo>
                      <a:pt x="62" y="34"/>
                    </a:moveTo>
                    <a:cubicBezTo>
                      <a:pt x="46" y="56"/>
                      <a:pt x="23" y="55"/>
                      <a:pt x="0" y="54"/>
                    </a:cubicBezTo>
                    <a:cubicBezTo>
                      <a:pt x="1" y="33"/>
                      <a:pt x="4" y="10"/>
                      <a:pt x="27" y="5"/>
                    </a:cubicBezTo>
                    <a:cubicBezTo>
                      <a:pt x="46" y="0"/>
                      <a:pt x="55" y="19"/>
                      <a:pt x="62"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58" name="Freeform 314">
                <a:extLst>
                  <a:ext uri="{FF2B5EF4-FFF2-40B4-BE49-F238E27FC236}">
                    <a16:creationId xmlns:a16="http://schemas.microsoft.com/office/drawing/2014/main" id="{E1C1E250-5169-4DA6-85C5-FC1EE9BFE8EA}"/>
                  </a:ext>
                </a:extLst>
              </p:cNvPr>
              <p:cNvSpPr>
                <a:spLocks/>
              </p:cNvSpPr>
              <p:nvPr/>
            </p:nvSpPr>
            <p:spPr bwMode="auto">
              <a:xfrm>
                <a:off x="2320" y="2436"/>
                <a:ext cx="14" cy="13"/>
              </a:xfrm>
              <a:custGeom>
                <a:avLst/>
                <a:gdLst>
                  <a:gd name="T0" fmla="*/ 60 w 87"/>
                  <a:gd name="T1" fmla="*/ 20 h 79"/>
                  <a:gd name="T2" fmla="*/ 87 w 87"/>
                  <a:gd name="T3" fmla="*/ 23 h 79"/>
                  <a:gd name="T4" fmla="*/ 0 w 87"/>
                  <a:gd name="T5" fmla="*/ 38 h 79"/>
                  <a:gd name="T6" fmla="*/ 21 w 87"/>
                  <a:gd name="T7" fmla="*/ 0 h 79"/>
                  <a:gd name="T8" fmla="*/ 60 w 87"/>
                  <a:gd name="T9" fmla="*/ 20 h 79"/>
                </a:gdLst>
                <a:ahLst/>
                <a:cxnLst>
                  <a:cxn ang="0">
                    <a:pos x="T0" y="T1"/>
                  </a:cxn>
                  <a:cxn ang="0">
                    <a:pos x="T2" y="T3"/>
                  </a:cxn>
                  <a:cxn ang="0">
                    <a:pos x="T4" y="T5"/>
                  </a:cxn>
                  <a:cxn ang="0">
                    <a:pos x="T6" y="T7"/>
                  </a:cxn>
                  <a:cxn ang="0">
                    <a:pos x="T8" y="T9"/>
                  </a:cxn>
                </a:cxnLst>
                <a:rect l="0" t="0" r="r" b="b"/>
                <a:pathLst>
                  <a:path w="87" h="79">
                    <a:moveTo>
                      <a:pt x="60" y="20"/>
                    </a:moveTo>
                    <a:cubicBezTo>
                      <a:pt x="69" y="21"/>
                      <a:pt x="78" y="22"/>
                      <a:pt x="87" y="23"/>
                    </a:cubicBezTo>
                    <a:cubicBezTo>
                      <a:pt x="67" y="79"/>
                      <a:pt x="28" y="29"/>
                      <a:pt x="0" y="38"/>
                    </a:cubicBezTo>
                    <a:cubicBezTo>
                      <a:pt x="7" y="26"/>
                      <a:pt x="14" y="13"/>
                      <a:pt x="21" y="0"/>
                    </a:cubicBezTo>
                    <a:cubicBezTo>
                      <a:pt x="34" y="7"/>
                      <a:pt x="47" y="13"/>
                      <a:pt x="60"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59" name="Freeform 315">
                <a:extLst>
                  <a:ext uri="{FF2B5EF4-FFF2-40B4-BE49-F238E27FC236}">
                    <a16:creationId xmlns:a16="http://schemas.microsoft.com/office/drawing/2014/main" id="{AA2E616F-9803-44E0-A628-F7D1EEBADE75}"/>
                  </a:ext>
                </a:extLst>
              </p:cNvPr>
              <p:cNvSpPr>
                <a:spLocks/>
              </p:cNvSpPr>
              <p:nvPr/>
            </p:nvSpPr>
            <p:spPr bwMode="auto">
              <a:xfrm>
                <a:off x="2448" y="2265"/>
                <a:ext cx="9" cy="16"/>
              </a:xfrm>
              <a:custGeom>
                <a:avLst/>
                <a:gdLst>
                  <a:gd name="T0" fmla="*/ 59 w 59"/>
                  <a:gd name="T1" fmla="*/ 101 h 102"/>
                  <a:gd name="T2" fmla="*/ 34 w 59"/>
                  <a:gd name="T3" fmla="*/ 102 h 102"/>
                  <a:gd name="T4" fmla="*/ 17 w 59"/>
                  <a:gd name="T5" fmla="*/ 0 h 102"/>
                  <a:gd name="T6" fmla="*/ 38 w 59"/>
                  <a:gd name="T7" fmla="*/ 1 h 102"/>
                  <a:gd name="T8" fmla="*/ 59 w 59"/>
                  <a:gd name="T9" fmla="*/ 101 h 102"/>
                </a:gdLst>
                <a:ahLst/>
                <a:cxnLst>
                  <a:cxn ang="0">
                    <a:pos x="T0" y="T1"/>
                  </a:cxn>
                  <a:cxn ang="0">
                    <a:pos x="T2" y="T3"/>
                  </a:cxn>
                  <a:cxn ang="0">
                    <a:pos x="T4" y="T5"/>
                  </a:cxn>
                  <a:cxn ang="0">
                    <a:pos x="T6" y="T7"/>
                  </a:cxn>
                  <a:cxn ang="0">
                    <a:pos x="T8" y="T9"/>
                  </a:cxn>
                </a:cxnLst>
                <a:rect l="0" t="0" r="r" b="b"/>
                <a:pathLst>
                  <a:path w="59" h="102">
                    <a:moveTo>
                      <a:pt x="59" y="101"/>
                    </a:moveTo>
                    <a:cubicBezTo>
                      <a:pt x="50" y="101"/>
                      <a:pt x="42" y="102"/>
                      <a:pt x="34" y="102"/>
                    </a:cubicBezTo>
                    <a:cubicBezTo>
                      <a:pt x="0" y="73"/>
                      <a:pt x="13" y="36"/>
                      <a:pt x="17" y="0"/>
                    </a:cubicBezTo>
                    <a:cubicBezTo>
                      <a:pt x="24" y="1"/>
                      <a:pt x="31" y="1"/>
                      <a:pt x="38" y="1"/>
                    </a:cubicBezTo>
                    <a:cubicBezTo>
                      <a:pt x="31" y="37"/>
                      <a:pt x="35" y="71"/>
                      <a:pt x="59" y="10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0" name="Freeform 316">
                <a:extLst>
                  <a:ext uri="{FF2B5EF4-FFF2-40B4-BE49-F238E27FC236}">
                    <a16:creationId xmlns:a16="http://schemas.microsoft.com/office/drawing/2014/main" id="{C4A09B20-297C-4C19-926E-75ABB7F1D1EC}"/>
                  </a:ext>
                </a:extLst>
              </p:cNvPr>
              <p:cNvSpPr>
                <a:spLocks/>
              </p:cNvSpPr>
              <p:nvPr/>
            </p:nvSpPr>
            <p:spPr bwMode="auto">
              <a:xfrm>
                <a:off x="2301" y="2329"/>
                <a:ext cx="16" cy="6"/>
              </a:xfrm>
              <a:custGeom>
                <a:avLst/>
                <a:gdLst>
                  <a:gd name="T0" fmla="*/ 103 w 103"/>
                  <a:gd name="T1" fmla="*/ 0 h 38"/>
                  <a:gd name="T2" fmla="*/ 103 w 103"/>
                  <a:gd name="T3" fmla="*/ 33 h 38"/>
                  <a:gd name="T4" fmla="*/ 0 w 103"/>
                  <a:gd name="T5" fmla="*/ 38 h 38"/>
                  <a:gd name="T6" fmla="*/ 103 w 103"/>
                  <a:gd name="T7" fmla="*/ 0 h 38"/>
                </a:gdLst>
                <a:ahLst/>
                <a:cxnLst>
                  <a:cxn ang="0">
                    <a:pos x="T0" y="T1"/>
                  </a:cxn>
                  <a:cxn ang="0">
                    <a:pos x="T2" y="T3"/>
                  </a:cxn>
                  <a:cxn ang="0">
                    <a:pos x="T4" y="T5"/>
                  </a:cxn>
                  <a:cxn ang="0">
                    <a:pos x="T6" y="T7"/>
                  </a:cxn>
                </a:cxnLst>
                <a:rect l="0" t="0" r="r" b="b"/>
                <a:pathLst>
                  <a:path w="103" h="38">
                    <a:moveTo>
                      <a:pt x="103" y="0"/>
                    </a:moveTo>
                    <a:cubicBezTo>
                      <a:pt x="103" y="11"/>
                      <a:pt x="103" y="22"/>
                      <a:pt x="103" y="33"/>
                    </a:cubicBezTo>
                    <a:cubicBezTo>
                      <a:pt x="69" y="35"/>
                      <a:pt x="35" y="36"/>
                      <a:pt x="0" y="38"/>
                    </a:cubicBezTo>
                    <a:cubicBezTo>
                      <a:pt x="26" y="3"/>
                      <a:pt x="72" y="22"/>
                      <a:pt x="10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1" name="Freeform 317">
                <a:extLst>
                  <a:ext uri="{FF2B5EF4-FFF2-40B4-BE49-F238E27FC236}">
                    <a16:creationId xmlns:a16="http://schemas.microsoft.com/office/drawing/2014/main" id="{1EF39302-97B6-4EE6-9043-46710D162D4E}"/>
                  </a:ext>
                </a:extLst>
              </p:cNvPr>
              <p:cNvSpPr>
                <a:spLocks/>
              </p:cNvSpPr>
              <p:nvPr/>
            </p:nvSpPr>
            <p:spPr bwMode="auto">
              <a:xfrm>
                <a:off x="2284" y="2335"/>
                <a:ext cx="17" cy="6"/>
              </a:xfrm>
              <a:custGeom>
                <a:avLst/>
                <a:gdLst>
                  <a:gd name="T0" fmla="*/ 111 w 111"/>
                  <a:gd name="T1" fmla="*/ 0 h 36"/>
                  <a:gd name="T2" fmla="*/ 0 w 111"/>
                  <a:gd name="T3" fmla="*/ 0 h 36"/>
                  <a:gd name="T4" fmla="*/ 111 w 111"/>
                  <a:gd name="T5" fmla="*/ 0 h 36"/>
                </a:gdLst>
                <a:ahLst/>
                <a:cxnLst>
                  <a:cxn ang="0">
                    <a:pos x="T0" y="T1"/>
                  </a:cxn>
                  <a:cxn ang="0">
                    <a:pos x="T2" y="T3"/>
                  </a:cxn>
                  <a:cxn ang="0">
                    <a:pos x="T4" y="T5"/>
                  </a:cxn>
                </a:cxnLst>
                <a:rect l="0" t="0" r="r" b="b"/>
                <a:pathLst>
                  <a:path w="111" h="36">
                    <a:moveTo>
                      <a:pt x="111" y="0"/>
                    </a:moveTo>
                    <a:cubicBezTo>
                      <a:pt x="74" y="36"/>
                      <a:pt x="37" y="28"/>
                      <a:pt x="0" y="0"/>
                    </a:cubicBezTo>
                    <a:cubicBezTo>
                      <a:pt x="37" y="0"/>
                      <a:pt x="74" y="0"/>
                      <a:pt x="11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2" name="Freeform 318">
                <a:extLst>
                  <a:ext uri="{FF2B5EF4-FFF2-40B4-BE49-F238E27FC236}">
                    <a16:creationId xmlns:a16="http://schemas.microsoft.com/office/drawing/2014/main" id="{87067700-9E01-49B6-BAB2-EF3878C62A65}"/>
                  </a:ext>
                </a:extLst>
              </p:cNvPr>
              <p:cNvSpPr>
                <a:spLocks/>
              </p:cNvSpPr>
              <p:nvPr/>
            </p:nvSpPr>
            <p:spPr bwMode="auto">
              <a:xfrm>
                <a:off x="2386" y="2412"/>
                <a:ext cx="7" cy="12"/>
              </a:xfrm>
              <a:custGeom>
                <a:avLst/>
                <a:gdLst>
                  <a:gd name="T0" fmla="*/ 0 w 46"/>
                  <a:gd name="T1" fmla="*/ 21 h 83"/>
                  <a:gd name="T2" fmla="*/ 22 w 46"/>
                  <a:gd name="T3" fmla="*/ 0 h 83"/>
                  <a:gd name="T4" fmla="*/ 46 w 46"/>
                  <a:gd name="T5" fmla="*/ 80 h 83"/>
                  <a:gd name="T6" fmla="*/ 0 w 46"/>
                  <a:gd name="T7" fmla="*/ 21 h 83"/>
                </a:gdLst>
                <a:ahLst/>
                <a:cxnLst>
                  <a:cxn ang="0">
                    <a:pos x="T0" y="T1"/>
                  </a:cxn>
                  <a:cxn ang="0">
                    <a:pos x="T2" y="T3"/>
                  </a:cxn>
                  <a:cxn ang="0">
                    <a:pos x="T4" y="T5"/>
                  </a:cxn>
                  <a:cxn ang="0">
                    <a:pos x="T6" y="T7"/>
                  </a:cxn>
                </a:cxnLst>
                <a:rect l="0" t="0" r="r" b="b"/>
                <a:pathLst>
                  <a:path w="46" h="83">
                    <a:moveTo>
                      <a:pt x="0" y="21"/>
                    </a:moveTo>
                    <a:cubicBezTo>
                      <a:pt x="8" y="14"/>
                      <a:pt x="15" y="7"/>
                      <a:pt x="22" y="0"/>
                    </a:cubicBezTo>
                    <a:cubicBezTo>
                      <a:pt x="30" y="26"/>
                      <a:pt x="38" y="53"/>
                      <a:pt x="46" y="80"/>
                    </a:cubicBezTo>
                    <a:cubicBezTo>
                      <a:pt x="1" y="83"/>
                      <a:pt x="4" y="50"/>
                      <a:pt x="0"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3" name="Freeform 319">
                <a:extLst>
                  <a:ext uri="{FF2B5EF4-FFF2-40B4-BE49-F238E27FC236}">
                    <a16:creationId xmlns:a16="http://schemas.microsoft.com/office/drawing/2014/main" id="{DD9BD1D8-F3CC-45D5-8D2D-BDB8F6FCF023}"/>
                  </a:ext>
                </a:extLst>
              </p:cNvPr>
              <p:cNvSpPr>
                <a:spLocks/>
              </p:cNvSpPr>
              <p:nvPr/>
            </p:nvSpPr>
            <p:spPr bwMode="auto">
              <a:xfrm>
                <a:off x="1694" y="2457"/>
                <a:ext cx="286" cy="214"/>
              </a:xfrm>
              <a:custGeom>
                <a:avLst/>
                <a:gdLst>
                  <a:gd name="T0" fmla="*/ 1111 w 1849"/>
                  <a:gd name="T1" fmla="*/ 1165 h 1384"/>
                  <a:gd name="T2" fmla="*/ 1056 w 1849"/>
                  <a:gd name="T3" fmla="*/ 1384 h 1384"/>
                  <a:gd name="T4" fmla="*/ 730 w 1849"/>
                  <a:gd name="T5" fmla="*/ 1293 h 1384"/>
                  <a:gd name="T6" fmla="*/ 663 w 1849"/>
                  <a:gd name="T7" fmla="*/ 1179 h 1384"/>
                  <a:gd name="T8" fmla="*/ 365 w 1849"/>
                  <a:gd name="T9" fmla="*/ 1079 h 1384"/>
                  <a:gd name="T10" fmla="*/ 299 w 1849"/>
                  <a:gd name="T11" fmla="*/ 1099 h 1384"/>
                  <a:gd name="T12" fmla="*/ 250 w 1849"/>
                  <a:gd name="T13" fmla="*/ 736 h 1384"/>
                  <a:gd name="T14" fmla="*/ 57 w 1849"/>
                  <a:gd name="T15" fmla="*/ 504 h 1384"/>
                  <a:gd name="T16" fmla="*/ 11 w 1849"/>
                  <a:gd name="T17" fmla="*/ 462 h 1384"/>
                  <a:gd name="T18" fmla="*/ 298 w 1849"/>
                  <a:gd name="T19" fmla="*/ 358 h 1384"/>
                  <a:gd name="T20" fmla="*/ 558 w 1849"/>
                  <a:gd name="T21" fmla="*/ 418 h 1384"/>
                  <a:gd name="T22" fmla="*/ 612 w 1849"/>
                  <a:gd name="T23" fmla="*/ 389 h 1384"/>
                  <a:gd name="T24" fmla="*/ 690 w 1849"/>
                  <a:gd name="T25" fmla="*/ 377 h 1384"/>
                  <a:gd name="T26" fmla="*/ 957 w 1849"/>
                  <a:gd name="T27" fmla="*/ 274 h 1384"/>
                  <a:gd name="T28" fmla="*/ 1103 w 1849"/>
                  <a:gd name="T29" fmla="*/ 278 h 1384"/>
                  <a:gd name="T30" fmla="*/ 1200 w 1849"/>
                  <a:gd name="T31" fmla="*/ 408 h 1384"/>
                  <a:gd name="T32" fmla="*/ 1388 w 1849"/>
                  <a:gd name="T33" fmla="*/ 339 h 1384"/>
                  <a:gd name="T34" fmla="*/ 1491 w 1849"/>
                  <a:gd name="T35" fmla="*/ 231 h 1384"/>
                  <a:gd name="T36" fmla="*/ 1523 w 1849"/>
                  <a:gd name="T37" fmla="*/ 137 h 1384"/>
                  <a:gd name="T38" fmla="*/ 1644 w 1849"/>
                  <a:gd name="T39" fmla="*/ 40 h 1384"/>
                  <a:gd name="T40" fmla="*/ 1819 w 1849"/>
                  <a:gd name="T41" fmla="*/ 113 h 1384"/>
                  <a:gd name="T42" fmla="*/ 1818 w 1849"/>
                  <a:gd name="T43" fmla="*/ 217 h 1384"/>
                  <a:gd name="T44" fmla="*/ 1791 w 1849"/>
                  <a:gd name="T45" fmla="*/ 368 h 1384"/>
                  <a:gd name="T46" fmla="*/ 1575 w 1849"/>
                  <a:gd name="T47" fmla="*/ 590 h 1384"/>
                  <a:gd name="T48" fmla="*/ 1408 w 1849"/>
                  <a:gd name="T49" fmla="*/ 645 h 1384"/>
                  <a:gd name="T50" fmla="*/ 1311 w 1849"/>
                  <a:gd name="T51" fmla="*/ 698 h 1384"/>
                  <a:gd name="T52" fmla="*/ 1154 w 1849"/>
                  <a:gd name="T53" fmla="*/ 744 h 1384"/>
                  <a:gd name="T54" fmla="*/ 1059 w 1849"/>
                  <a:gd name="T55" fmla="*/ 875 h 1384"/>
                  <a:gd name="T56" fmla="*/ 1208 w 1849"/>
                  <a:gd name="T57" fmla="*/ 984 h 1384"/>
                  <a:gd name="T58" fmla="*/ 1324 w 1849"/>
                  <a:gd name="T59" fmla="*/ 1095 h 1384"/>
                  <a:gd name="T60" fmla="*/ 1428 w 1849"/>
                  <a:gd name="T61" fmla="*/ 1221 h 1384"/>
                  <a:gd name="T62" fmla="*/ 1284 w 1849"/>
                  <a:gd name="T63" fmla="*/ 1243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49" h="1384">
                    <a:moveTo>
                      <a:pt x="1284" y="1243"/>
                    </a:moveTo>
                    <a:cubicBezTo>
                      <a:pt x="1252" y="1162"/>
                      <a:pt x="1172" y="1180"/>
                      <a:pt x="1111" y="1165"/>
                    </a:cubicBezTo>
                    <a:cubicBezTo>
                      <a:pt x="1077" y="1156"/>
                      <a:pt x="1087" y="1191"/>
                      <a:pt x="1092" y="1215"/>
                    </a:cubicBezTo>
                    <a:cubicBezTo>
                      <a:pt x="1107" y="1277"/>
                      <a:pt x="1106" y="1336"/>
                      <a:pt x="1056" y="1384"/>
                    </a:cubicBezTo>
                    <a:cubicBezTo>
                      <a:pt x="978" y="1331"/>
                      <a:pt x="901" y="1279"/>
                      <a:pt x="801" y="1343"/>
                    </a:cubicBezTo>
                    <a:cubicBezTo>
                      <a:pt x="751" y="1375"/>
                      <a:pt x="716" y="1365"/>
                      <a:pt x="730" y="1293"/>
                    </a:cubicBezTo>
                    <a:cubicBezTo>
                      <a:pt x="733" y="1273"/>
                      <a:pt x="731" y="1252"/>
                      <a:pt x="732" y="1231"/>
                    </a:cubicBezTo>
                    <a:cubicBezTo>
                      <a:pt x="737" y="1177"/>
                      <a:pt x="724" y="1165"/>
                      <a:pt x="663" y="1179"/>
                    </a:cubicBezTo>
                    <a:cubicBezTo>
                      <a:pt x="557" y="1203"/>
                      <a:pt x="449" y="1246"/>
                      <a:pt x="337" y="1201"/>
                    </a:cubicBezTo>
                    <a:cubicBezTo>
                      <a:pt x="277" y="1144"/>
                      <a:pt x="340" y="1116"/>
                      <a:pt x="365" y="1079"/>
                    </a:cubicBezTo>
                    <a:cubicBezTo>
                      <a:pt x="361" y="1062"/>
                      <a:pt x="360" y="1062"/>
                      <a:pt x="340" y="1078"/>
                    </a:cubicBezTo>
                    <a:cubicBezTo>
                      <a:pt x="326" y="1085"/>
                      <a:pt x="313" y="1092"/>
                      <a:pt x="299" y="1099"/>
                    </a:cubicBezTo>
                    <a:cubicBezTo>
                      <a:pt x="284" y="1046"/>
                      <a:pt x="248" y="995"/>
                      <a:pt x="279" y="936"/>
                    </a:cubicBezTo>
                    <a:cubicBezTo>
                      <a:pt x="269" y="869"/>
                      <a:pt x="254" y="803"/>
                      <a:pt x="250" y="736"/>
                    </a:cubicBezTo>
                    <a:cubicBezTo>
                      <a:pt x="164" y="696"/>
                      <a:pt x="132" y="607"/>
                      <a:pt x="73" y="542"/>
                    </a:cubicBezTo>
                    <a:cubicBezTo>
                      <a:pt x="68" y="529"/>
                      <a:pt x="62" y="516"/>
                      <a:pt x="57" y="504"/>
                    </a:cubicBezTo>
                    <a:cubicBezTo>
                      <a:pt x="46" y="485"/>
                      <a:pt x="0" y="504"/>
                      <a:pt x="12" y="461"/>
                    </a:cubicBezTo>
                    <a:cubicBezTo>
                      <a:pt x="11" y="462"/>
                      <a:pt x="11" y="462"/>
                      <a:pt x="11" y="462"/>
                    </a:cubicBezTo>
                    <a:cubicBezTo>
                      <a:pt x="58" y="444"/>
                      <a:pt x="10" y="368"/>
                      <a:pt x="73" y="359"/>
                    </a:cubicBezTo>
                    <a:cubicBezTo>
                      <a:pt x="148" y="359"/>
                      <a:pt x="223" y="352"/>
                      <a:pt x="298" y="358"/>
                    </a:cubicBezTo>
                    <a:cubicBezTo>
                      <a:pt x="332" y="431"/>
                      <a:pt x="367" y="375"/>
                      <a:pt x="402" y="359"/>
                    </a:cubicBezTo>
                    <a:cubicBezTo>
                      <a:pt x="451" y="472"/>
                      <a:pt x="451" y="472"/>
                      <a:pt x="558" y="418"/>
                    </a:cubicBezTo>
                    <a:cubicBezTo>
                      <a:pt x="563" y="414"/>
                      <a:pt x="568" y="411"/>
                      <a:pt x="573" y="406"/>
                    </a:cubicBezTo>
                    <a:cubicBezTo>
                      <a:pt x="584" y="396"/>
                      <a:pt x="598" y="393"/>
                      <a:pt x="612" y="389"/>
                    </a:cubicBezTo>
                    <a:cubicBezTo>
                      <a:pt x="596" y="390"/>
                      <a:pt x="579" y="394"/>
                      <a:pt x="566" y="381"/>
                    </a:cubicBezTo>
                    <a:cubicBezTo>
                      <a:pt x="606" y="342"/>
                      <a:pt x="644" y="317"/>
                      <a:pt x="690" y="377"/>
                    </a:cubicBezTo>
                    <a:cubicBezTo>
                      <a:pt x="708" y="399"/>
                      <a:pt x="741" y="442"/>
                      <a:pt x="771" y="380"/>
                    </a:cubicBezTo>
                    <a:cubicBezTo>
                      <a:pt x="847" y="371"/>
                      <a:pt x="929" y="370"/>
                      <a:pt x="957" y="274"/>
                    </a:cubicBezTo>
                    <a:cubicBezTo>
                      <a:pt x="956" y="258"/>
                      <a:pt x="960" y="244"/>
                      <a:pt x="976" y="236"/>
                    </a:cubicBezTo>
                    <a:cubicBezTo>
                      <a:pt x="1010" y="276"/>
                      <a:pt x="1063" y="258"/>
                      <a:pt x="1103" y="278"/>
                    </a:cubicBezTo>
                    <a:cubicBezTo>
                      <a:pt x="1109" y="283"/>
                      <a:pt x="1114" y="288"/>
                      <a:pt x="1119" y="293"/>
                    </a:cubicBezTo>
                    <a:cubicBezTo>
                      <a:pt x="1124" y="347"/>
                      <a:pt x="1198" y="352"/>
                      <a:pt x="1200" y="408"/>
                    </a:cubicBezTo>
                    <a:cubicBezTo>
                      <a:pt x="1248" y="452"/>
                      <a:pt x="1258" y="409"/>
                      <a:pt x="1274" y="377"/>
                    </a:cubicBezTo>
                    <a:cubicBezTo>
                      <a:pt x="1296" y="316"/>
                      <a:pt x="1358" y="377"/>
                      <a:pt x="1388" y="339"/>
                    </a:cubicBezTo>
                    <a:cubicBezTo>
                      <a:pt x="1408" y="338"/>
                      <a:pt x="1430" y="343"/>
                      <a:pt x="1447" y="325"/>
                    </a:cubicBezTo>
                    <a:cubicBezTo>
                      <a:pt x="1483" y="304"/>
                      <a:pt x="1475" y="262"/>
                      <a:pt x="1491" y="231"/>
                    </a:cubicBezTo>
                    <a:cubicBezTo>
                      <a:pt x="1490" y="226"/>
                      <a:pt x="1490" y="221"/>
                      <a:pt x="1489" y="216"/>
                    </a:cubicBezTo>
                    <a:cubicBezTo>
                      <a:pt x="1525" y="200"/>
                      <a:pt x="1520" y="167"/>
                      <a:pt x="1523" y="137"/>
                    </a:cubicBezTo>
                    <a:cubicBezTo>
                      <a:pt x="1543" y="120"/>
                      <a:pt x="1569" y="110"/>
                      <a:pt x="1580" y="84"/>
                    </a:cubicBezTo>
                    <a:cubicBezTo>
                      <a:pt x="1594" y="58"/>
                      <a:pt x="1626" y="60"/>
                      <a:pt x="1644" y="40"/>
                    </a:cubicBezTo>
                    <a:cubicBezTo>
                      <a:pt x="1658" y="24"/>
                      <a:pt x="1667" y="0"/>
                      <a:pt x="1696" y="5"/>
                    </a:cubicBezTo>
                    <a:cubicBezTo>
                      <a:pt x="1749" y="28"/>
                      <a:pt x="1789" y="64"/>
                      <a:pt x="1819" y="113"/>
                    </a:cubicBezTo>
                    <a:cubicBezTo>
                      <a:pt x="1818" y="112"/>
                      <a:pt x="1818" y="112"/>
                      <a:pt x="1818" y="112"/>
                    </a:cubicBezTo>
                    <a:cubicBezTo>
                      <a:pt x="1849" y="147"/>
                      <a:pt x="1803" y="182"/>
                      <a:pt x="1818" y="217"/>
                    </a:cubicBezTo>
                    <a:cubicBezTo>
                      <a:pt x="1818" y="222"/>
                      <a:pt x="1818" y="226"/>
                      <a:pt x="1817" y="230"/>
                    </a:cubicBezTo>
                    <a:cubicBezTo>
                      <a:pt x="1847" y="284"/>
                      <a:pt x="1768" y="316"/>
                      <a:pt x="1791" y="368"/>
                    </a:cubicBezTo>
                    <a:cubicBezTo>
                      <a:pt x="1779" y="436"/>
                      <a:pt x="1707" y="460"/>
                      <a:pt x="1683" y="519"/>
                    </a:cubicBezTo>
                    <a:cubicBezTo>
                      <a:pt x="1632" y="521"/>
                      <a:pt x="1593" y="539"/>
                      <a:pt x="1575" y="590"/>
                    </a:cubicBezTo>
                    <a:cubicBezTo>
                      <a:pt x="1557" y="604"/>
                      <a:pt x="1536" y="610"/>
                      <a:pt x="1514" y="612"/>
                    </a:cubicBezTo>
                    <a:cubicBezTo>
                      <a:pt x="1470" y="596"/>
                      <a:pt x="1442" y="629"/>
                      <a:pt x="1408" y="645"/>
                    </a:cubicBezTo>
                    <a:cubicBezTo>
                      <a:pt x="1408" y="652"/>
                      <a:pt x="1408" y="660"/>
                      <a:pt x="1408" y="667"/>
                    </a:cubicBezTo>
                    <a:cubicBezTo>
                      <a:pt x="1378" y="684"/>
                      <a:pt x="1343" y="685"/>
                      <a:pt x="1311" y="698"/>
                    </a:cubicBezTo>
                    <a:cubicBezTo>
                      <a:pt x="1296" y="704"/>
                      <a:pt x="1285" y="718"/>
                      <a:pt x="1273" y="729"/>
                    </a:cubicBezTo>
                    <a:cubicBezTo>
                      <a:pt x="1238" y="764"/>
                      <a:pt x="1205" y="809"/>
                      <a:pt x="1154" y="744"/>
                    </a:cubicBezTo>
                    <a:cubicBezTo>
                      <a:pt x="1142" y="729"/>
                      <a:pt x="1117" y="743"/>
                      <a:pt x="1103" y="759"/>
                    </a:cubicBezTo>
                    <a:cubicBezTo>
                      <a:pt x="1054" y="785"/>
                      <a:pt x="1039" y="823"/>
                      <a:pt x="1059" y="875"/>
                    </a:cubicBezTo>
                    <a:cubicBezTo>
                      <a:pt x="1065" y="881"/>
                      <a:pt x="1071" y="887"/>
                      <a:pt x="1076" y="892"/>
                    </a:cubicBezTo>
                    <a:cubicBezTo>
                      <a:pt x="1116" y="928"/>
                      <a:pt x="1165" y="952"/>
                      <a:pt x="1208" y="984"/>
                    </a:cubicBezTo>
                    <a:cubicBezTo>
                      <a:pt x="1269" y="970"/>
                      <a:pt x="1294" y="1004"/>
                      <a:pt x="1305" y="1057"/>
                    </a:cubicBezTo>
                    <a:cubicBezTo>
                      <a:pt x="1311" y="1070"/>
                      <a:pt x="1318" y="1082"/>
                      <a:pt x="1324" y="1095"/>
                    </a:cubicBezTo>
                    <a:cubicBezTo>
                      <a:pt x="1365" y="1133"/>
                      <a:pt x="1412" y="1165"/>
                      <a:pt x="1428" y="1222"/>
                    </a:cubicBezTo>
                    <a:cubicBezTo>
                      <a:pt x="1428" y="1221"/>
                      <a:pt x="1428" y="1221"/>
                      <a:pt x="1428" y="1221"/>
                    </a:cubicBezTo>
                    <a:cubicBezTo>
                      <a:pt x="1421" y="1242"/>
                      <a:pt x="1440" y="1297"/>
                      <a:pt x="1388" y="1261"/>
                    </a:cubicBezTo>
                    <a:cubicBezTo>
                      <a:pt x="1352" y="1236"/>
                      <a:pt x="1320" y="1243"/>
                      <a:pt x="1284" y="1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4" name="Freeform 320">
                <a:extLst>
                  <a:ext uri="{FF2B5EF4-FFF2-40B4-BE49-F238E27FC236}">
                    <a16:creationId xmlns:a16="http://schemas.microsoft.com/office/drawing/2014/main" id="{4D31C219-0A5D-4FE5-A94B-5D68CA825413}"/>
                  </a:ext>
                </a:extLst>
              </p:cNvPr>
              <p:cNvSpPr>
                <a:spLocks/>
              </p:cNvSpPr>
              <p:nvPr/>
            </p:nvSpPr>
            <p:spPr bwMode="auto">
              <a:xfrm>
                <a:off x="1705" y="2489"/>
                <a:ext cx="26" cy="30"/>
              </a:xfrm>
              <a:custGeom>
                <a:avLst/>
                <a:gdLst>
                  <a:gd name="T0" fmla="*/ 2 w 165"/>
                  <a:gd name="T1" fmla="*/ 130 h 195"/>
                  <a:gd name="T2" fmla="*/ 0 w 165"/>
                  <a:gd name="T3" fmla="*/ 32 h 195"/>
                  <a:gd name="T4" fmla="*/ 51 w 165"/>
                  <a:gd name="T5" fmla="*/ 48 h 195"/>
                  <a:gd name="T6" fmla="*/ 165 w 165"/>
                  <a:gd name="T7" fmla="*/ 133 h 195"/>
                  <a:gd name="T8" fmla="*/ 2 w 165"/>
                  <a:gd name="T9" fmla="*/ 130 h 195"/>
                </a:gdLst>
                <a:ahLst/>
                <a:cxnLst>
                  <a:cxn ang="0">
                    <a:pos x="T0" y="T1"/>
                  </a:cxn>
                  <a:cxn ang="0">
                    <a:pos x="T2" y="T3"/>
                  </a:cxn>
                  <a:cxn ang="0">
                    <a:pos x="T4" y="T5"/>
                  </a:cxn>
                  <a:cxn ang="0">
                    <a:pos x="T6" y="T7"/>
                  </a:cxn>
                  <a:cxn ang="0">
                    <a:pos x="T8" y="T9"/>
                  </a:cxn>
                </a:cxnLst>
                <a:rect l="0" t="0" r="r" b="b"/>
                <a:pathLst>
                  <a:path w="165" h="195">
                    <a:moveTo>
                      <a:pt x="2" y="130"/>
                    </a:moveTo>
                    <a:cubicBezTo>
                      <a:pt x="13" y="97"/>
                      <a:pt x="11" y="65"/>
                      <a:pt x="0" y="32"/>
                    </a:cubicBezTo>
                    <a:cubicBezTo>
                      <a:pt x="29" y="0"/>
                      <a:pt x="51" y="14"/>
                      <a:pt x="51" y="48"/>
                    </a:cubicBezTo>
                    <a:cubicBezTo>
                      <a:pt x="52" y="130"/>
                      <a:pt x="100" y="140"/>
                      <a:pt x="165" y="133"/>
                    </a:cubicBezTo>
                    <a:cubicBezTo>
                      <a:pt x="110" y="195"/>
                      <a:pt x="56" y="165"/>
                      <a:pt x="2" y="1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5" name="Freeform 321">
                <a:extLst>
                  <a:ext uri="{FF2B5EF4-FFF2-40B4-BE49-F238E27FC236}">
                    <a16:creationId xmlns:a16="http://schemas.microsoft.com/office/drawing/2014/main" id="{59786CB4-B8BF-4F78-AD7D-9C6FA3291744}"/>
                  </a:ext>
                </a:extLst>
              </p:cNvPr>
              <p:cNvSpPr>
                <a:spLocks/>
              </p:cNvSpPr>
              <p:nvPr/>
            </p:nvSpPr>
            <p:spPr bwMode="auto">
              <a:xfrm>
                <a:off x="1954" y="2452"/>
                <a:ext cx="27" cy="23"/>
              </a:xfrm>
              <a:custGeom>
                <a:avLst/>
                <a:gdLst>
                  <a:gd name="T0" fmla="*/ 133 w 174"/>
                  <a:gd name="T1" fmla="*/ 145 h 145"/>
                  <a:gd name="T2" fmla="*/ 9 w 174"/>
                  <a:gd name="T3" fmla="*/ 41 h 145"/>
                  <a:gd name="T4" fmla="*/ 2 w 174"/>
                  <a:gd name="T5" fmla="*/ 31 h 145"/>
                  <a:gd name="T6" fmla="*/ 8 w 174"/>
                  <a:gd name="T7" fmla="*/ 25 h 145"/>
                  <a:gd name="T8" fmla="*/ 84 w 174"/>
                  <a:gd name="T9" fmla="*/ 0 h 145"/>
                  <a:gd name="T10" fmla="*/ 133 w 174"/>
                  <a:gd name="T11" fmla="*/ 145 h 145"/>
                </a:gdLst>
                <a:ahLst/>
                <a:cxnLst>
                  <a:cxn ang="0">
                    <a:pos x="T0" y="T1"/>
                  </a:cxn>
                  <a:cxn ang="0">
                    <a:pos x="T2" y="T3"/>
                  </a:cxn>
                  <a:cxn ang="0">
                    <a:pos x="T4" y="T5"/>
                  </a:cxn>
                  <a:cxn ang="0">
                    <a:pos x="T6" y="T7"/>
                  </a:cxn>
                  <a:cxn ang="0">
                    <a:pos x="T8" y="T9"/>
                  </a:cxn>
                  <a:cxn ang="0">
                    <a:pos x="T10" y="T11"/>
                  </a:cxn>
                </a:cxnLst>
                <a:rect l="0" t="0" r="r" b="b"/>
                <a:pathLst>
                  <a:path w="174" h="145">
                    <a:moveTo>
                      <a:pt x="133" y="145"/>
                    </a:moveTo>
                    <a:cubicBezTo>
                      <a:pt x="91" y="110"/>
                      <a:pt x="50" y="76"/>
                      <a:pt x="9" y="41"/>
                    </a:cubicBezTo>
                    <a:cubicBezTo>
                      <a:pt x="2" y="38"/>
                      <a:pt x="0" y="34"/>
                      <a:pt x="2" y="31"/>
                    </a:cubicBezTo>
                    <a:cubicBezTo>
                      <a:pt x="4" y="27"/>
                      <a:pt x="6" y="25"/>
                      <a:pt x="8" y="25"/>
                    </a:cubicBezTo>
                    <a:cubicBezTo>
                      <a:pt x="29" y="4"/>
                      <a:pt x="96" y="119"/>
                      <a:pt x="84" y="0"/>
                    </a:cubicBezTo>
                    <a:cubicBezTo>
                      <a:pt x="174" y="24"/>
                      <a:pt x="85" y="107"/>
                      <a:pt x="133" y="1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6" name="Freeform 322">
                <a:extLst>
                  <a:ext uri="{FF2B5EF4-FFF2-40B4-BE49-F238E27FC236}">
                    <a16:creationId xmlns:a16="http://schemas.microsoft.com/office/drawing/2014/main" id="{BCC351C8-6FFD-4E96-98E3-EF8ACA899018}"/>
                  </a:ext>
                </a:extLst>
              </p:cNvPr>
              <p:cNvSpPr>
                <a:spLocks/>
              </p:cNvSpPr>
              <p:nvPr/>
            </p:nvSpPr>
            <p:spPr bwMode="auto">
              <a:xfrm>
                <a:off x="1706" y="2503"/>
                <a:ext cx="34" cy="16"/>
              </a:xfrm>
              <a:custGeom>
                <a:avLst/>
                <a:gdLst>
                  <a:gd name="T0" fmla="*/ 1 w 225"/>
                  <a:gd name="T1" fmla="*/ 36 h 103"/>
                  <a:gd name="T2" fmla="*/ 164 w 225"/>
                  <a:gd name="T3" fmla="*/ 39 h 103"/>
                  <a:gd name="T4" fmla="*/ 225 w 225"/>
                  <a:gd name="T5" fmla="*/ 58 h 103"/>
                  <a:gd name="T6" fmla="*/ 0 w 225"/>
                  <a:gd name="T7" fmla="*/ 59 h 103"/>
                  <a:gd name="T8" fmla="*/ 1 w 225"/>
                  <a:gd name="T9" fmla="*/ 36 h 103"/>
                </a:gdLst>
                <a:ahLst/>
                <a:cxnLst>
                  <a:cxn ang="0">
                    <a:pos x="T0" y="T1"/>
                  </a:cxn>
                  <a:cxn ang="0">
                    <a:pos x="T2" y="T3"/>
                  </a:cxn>
                  <a:cxn ang="0">
                    <a:pos x="T4" y="T5"/>
                  </a:cxn>
                  <a:cxn ang="0">
                    <a:pos x="T6" y="T7"/>
                  </a:cxn>
                  <a:cxn ang="0">
                    <a:pos x="T8" y="T9"/>
                  </a:cxn>
                </a:cxnLst>
                <a:rect l="0" t="0" r="r" b="b"/>
                <a:pathLst>
                  <a:path w="225" h="103">
                    <a:moveTo>
                      <a:pt x="1" y="36"/>
                    </a:moveTo>
                    <a:cubicBezTo>
                      <a:pt x="55" y="50"/>
                      <a:pt x="109" y="80"/>
                      <a:pt x="164" y="39"/>
                    </a:cubicBezTo>
                    <a:cubicBezTo>
                      <a:pt x="190" y="27"/>
                      <a:pt x="221" y="0"/>
                      <a:pt x="225" y="58"/>
                    </a:cubicBezTo>
                    <a:cubicBezTo>
                      <a:pt x="150" y="76"/>
                      <a:pt x="75" y="103"/>
                      <a:pt x="0" y="59"/>
                    </a:cubicBezTo>
                    <a:cubicBezTo>
                      <a:pt x="0" y="52"/>
                      <a:pt x="1" y="44"/>
                      <a:pt x="1"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7" name="Freeform 323">
                <a:extLst>
                  <a:ext uri="{FF2B5EF4-FFF2-40B4-BE49-F238E27FC236}">
                    <a16:creationId xmlns:a16="http://schemas.microsoft.com/office/drawing/2014/main" id="{F0AC306C-8962-4387-B1DE-A4C6A92647F2}"/>
                  </a:ext>
                </a:extLst>
              </p:cNvPr>
              <p:cNvSpPr>
                <a:spLocks/>
              </p:cNvSpPr>
              <p:nvPr/>
            </p:nvSpPr>
            <p:spPr bwMode="auto">
              <a:xfrm>
                <a:off x="1756" y="2513"/>
                <a:ext cx="27" cy="21"/>
              </a:xfrm>
              <a:custGeom>
                <a:avLst/>
                <a:gdLst>
                  <a:gd name="T0" fmla="*/ 164 w 172"/>
                  <a:gd name="T1" fmla="*/ 62 h 136"/>
                  <a:gd name="T2" fmla="*/ 0 w 172"/>
                  <a:gd name="T3" fmla="*/ 0 h 136"/>
                  <a:gd name="T4" fmla="*/ 163 w 172"/>
                  <a:gd name="T5" fmla="*/ 40 h 136"/>
                  <a:gd name="T6" fmla="*/ 170 w 172"/>
                  <a:gd name="T7" fmla="*/ 54 h 136"/>
                  <a:gd name="T8" fmla="*/ 164 w 172"/>
                  <a:gd name="T9" fmla="*/ 62 h 136"/>
                </a:gdLst>
                <a:ahLst/>
                <a:cxnLst>
                  <a:cxn ang="0">
                    <a:pos x="T0" y="T1"/>
                  </a:cxn>
                  <a:cxn ang="0">
                    <a:pos x="T2" y="T3"/>
                  </a:cxn>
                  <a:cxn ang="0">
                    <a:pos x="T4" y="T5"/>
                  </a:cxn>
                  <a:cxn ang="0">
                    <a:pos x="T6" y="T7"/>
                  </a:cxn>
                  <a:cxn ang="0">
                    <a:pos x="T8" y="T9"/>
                  </a:cxn>
                </a:cxnLst>
                <a:rect l="0" t="0" r="r" b="b"/>
                <a:pathLst>
                  <a:path w="172" h="136">
                    <a:moveTo>
                      <a:pt x="164" y="62"/>
                    </a:moveTo>
                    <a:cubicBezTo>
                      <a:pt x="58" y="136"/>
                      <a:pt x="22" y="123"/>
                      <a:pt x="0" y="0"/>
                    </a:cubicBezTo>
                    <a:cubicBezTo>
                      <a:pt x="41" y="67"/>
                      <a:pt x="90" y="106"/>
                      <a:pt x="163" y="40"/>
                    </a:cubicBezTo>
                    <a:cubicBezTo>
                      <a:pt x="170" y="45"/>
                      <a:pt x="172" y="49"/>
                      <a:pt x="170" y="54"/>
                    </a:cubicBezTo>
                    <a:cubicBezTo>
                      <a:pt x="168" y="59"/>
                      <a:pt x="166" y="62"/>
                      <a:pt x="164" y="6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8" name="Freeform 324">
                <a:extLst>
                  <a:ext uri="{FF2B5EF4-FFF2-40B4-BE49-F238E27FC236}">
                    <a16:creationId xmlns:a16="http://schemas.microsoft.com/office/drawing/2014/main" id="{9B9475CB-90F5-4BF4-A2EA-0E2B9774AE9A}"/>
                  </a:ext>
                </a:extLst>
              </p:cNvPr>
              <p:cNvSpPr>
                <a:spLocks/>
              </p:cNvSpPr>
              <p:nvPr/>
            </p:nvSpPr>
            <p:spPr bwMode="auto">
              <a:xfrm>
                <a:off x="1813" y="2499"/>
                <a:ext cx="29" cy="18"/>
              </a:xfrm>
              <a:custGeom>
                <a:avLst/>
                <a:gdLst>
                  <a:gd name="T0" fmla="*/ 186 w 186"/>
                  <a:gd name="T1" fmla="*/ 0 h 115"/>
                  <a:gd name="T2" fmla="*/ 0 w 186"/>
                  <a:gd name="T3" fmla="*/ 106 h 115"/>
                  <a:gd name="T4" fmla="*/ 186 w 186"/>
                  <a:gd name="T5" fmla="*/ 0 h 115"/>
                </a:gdLst>
                <a:ahLst/>
                <a:cxnLst>
                  <a:cxn ang="0">
                    <a:pos x="T0" y="T1"/>
                  </a:cxn>
                  <a:cxn ang="0">
                    <a:pos x="T2" y="T3"/>
                  </a:cxn>
                  <a:cxn ang="0">
                    <a:pos x="T4" y="T5"/>
                  </a:cxn>
                </a:cxnLst>
                <a:rect l="0" t="0" r="r" b="b"/>
                <a:pathLst>
                  <a:path w="186" h="115">
                    <a:moveTo>
                      <a:pt x="186" y="0"/>
                    </a:moveTo>
                    <a:cubicBezTo>
                      <a:pt x="168" y="114"/>
                      <a:pt x="87" y="115"/>
                      <a:pt x="0" y="106"/>
                    </a:cubicBezTo>
                    <a:cubicBezTo>
                      <a:pt x="68" y="82"/>
                      <a:pt x="144" y="71"/>
                      <a:pt x="18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9" name="Freeform 325">
                <a:extLst>
                  <a:ext uri="{FF2B5EF4-FFF2-40B4-BE49-F238E27FC236}">
                    <a16:creationId xmlns:a16="http://schemas.microsoft.com/office/drawing/2014/main" id="{164C757A-AC79-42FE-B705-54D7293CE458}"/>
                  </a:ext>
                </a:extLst>
              </p:cNvPr>
              <p:cNvSpPr>
                <a:spLocks/>
              </p:cNvSpPr>
              <p:nvPr/>
            </p:nvSpPr>
            <p:spPr bwMode="auto">
              <a:xfrm>
                <a:off x="1965" y="2430"/>
                <a:ext cx="24" cy="19"/>
              </a:xfrm>
              <a:custGeom>
                <a:avLst/>
                <a:gdLst>
                  <a:gd name="T0" fmla="*/ 21 w 150"/>
                  <a:gd name="T1" fmla="*/ 82 h 123"/>
                  <a:gd name="T2" fmla="*/ 126 w 150"/>
                  <a:gd name="T3" fmla="*/ 48 h 123"/>
                  <a:gd name="T4" fmla="*/ 38 w 150"/>
                  <a:gd name="T5" fmla="*/ 117 h 123"/>
                  <a:gd name="T6" fmla="*/ 0 w 150"/>
                  <a:gd name="T7" fmla="*/ 121 h 123"/>
                  <a:gd name="T8" fmla="*/ 21 w 150"/>
                  <a:gd name="T9" fmla="*/ 82 h 123"/>
                </a:gdLst>
                <a:ahLst/>
                <a:cxnLst>
                  <a:cxn ang="0">
                    <a:pos x="T0" y="T1"/>
                  </a:cxn>
                  <a:cxn ang="0">
                    <a:pos x="T2" y="T3"/>
                  </a:cxn>
                  <a:cxn ang="0">
                    <a:pos x="T4" y="T5"/>
                  </a:cxn>
                  <a:cxn ang="0">
                    <a:pos x="T6" y="T7"/>
                  </a:cxn>
                  <a:cxn ang="0">
                    <a:pos x="T8" y="T9"/>
                  </a:cxn>
                </a:cxnLst>
                <a:rect l="0" t="0" r="r" b="b"/>
                <a:pathLst>
                  <a:path w="150" h="123">
                    <a:moveTo>
                      <a:pt x="21" y="82"/>
                    </a:moveTo>
                    <a:cubicBezTo>
                      <a:pt x="60" y="78"/>
                      <a:pt x="99" y="0"/>
                      <a:pt x="126" y="48"/>
                    </a:cubicBezTo>
                    <a:cubicBezTo>
                      <a:pt x="150" y="91"/>
                      <a:pt x="56" y="74"/>
                      <a:pt x="38" y="117"/>
                    </a:cubicBezTo>
                    <a:cubicBezTo>
                      <a:pt x="36" y="123"/>
                      <a:pt x="13" y="120"/>
                      <a:pt x="0" y="121"/>
                    </a:cubicBezTo>
                    <a:cubicBezTo>
                      <a:pt x="7" y="108"/>
                      <a:pt x="14" y="95"/>
                      <a:pt x="21"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70" name="Freeform 326">
                <a:extLst>
                  <a:ext uri="{FF2B5EF4-FFF2-40B4-BE49-F238E27FC236}">
                    <a16:creationId xmlns:a16="http://schemas.microsoft.com/office/drawing/2014/main" id="{9AC00111-4935-4C41-AD1B-BE827416AAA1}"/>
                  </a:ext>
                </a:extLst>
              </p:cNvPr>
              <p:cNvSpPr>
                <a:spLocks/>
              </p:cNvSpPr>
              <p:nvPr/>
            </p:nvSpPr>
            <p:spPr bwMode="auto">
              <a:xfrm>
                <a:off x="1958" y="2411"/>
                <a:ext cx="22" cy="17"/>
              </a:xfrm>
              <a:custGeom>
                <a:avLst/>
                <a:gdLst>
                  <a:gd name="T0" fmla="*/ 91 w 146"/>
                  <a:gd name="T1" fmla="*/ 0 h 106"/>
                  <a:gd name="T2" fmla="*/ 135 w 146"/>
                  <a:gd name="T3" fmla="*/ 85 h 106"/>
                  <a:gd name="T4" fmla="*/ 112 w 146"/>
                  <a:gd name="T5" fmla="*/ 106 h 106"/>
                  <a:gd name="T6" fmla="*/ 91 w 146"/>
                  <a:gd name="T7" fmla="*/ 0 h 106"/>
                </a:gdLst>
                <a:ahLst/>
                <a:cxnLst>
                  <a:cxn ang="0">
                    <a:pos x="T0" y="T1"/>
                  </a:cxn>
                  <a:cxn ang="0">
                    <a:pos x="T2" y="T3"/>
                  </a:cxn>
                  <a:cxn ang="0">
                    <a:pos x="T4" y="T5"/>
                  </a:cxn>
                  <a:cxn ang="0">
                    <a:pos x="T6" y="T7"/>
                  </a:cxn>
                </a:cxnLst>
                <a:rect l="0" t="0" r="r" b="b"/>
                <a:pathLst>
                  <a:path w="146" h="106">
                    <a:moveTo>
                      <a:pt x="91" y="0"/>
                    </a:moveTo>
                    <a:cubicBezTo>
                      <a:pt x="87" y="38"/>
                      <a:pt x="101" y="66"/>
                      <a:pt x="135" y="85"/>
                    </a:cubicBezTo>
                    <a:cubicBezTo>
                      <a:pt x="146" y="90"/>
                      <a:pt x="144" y="94"/>
                      <a:pt x="112" y="106"/>
                    </a:cubicBezTo>
                    <a:cubicBezTo>
                      <a:pt x="90" y="74"/>
                      <a:pt x="0" y="55"/>
                      <a:pt x="9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71" name="Freeform 327">
                <a:extLst>
                  <a:ext uri="{FF2B5EF4-FFF2-40B4-BE49-F238E27FC236}">
                    <a16:creationId xmlns:a16="http://schemas.microsoft.com/office/drawing/2014/main" id="{2F11039D-0278-49CA-907E-0D39D142A3D1}"/>
                  </a:ext>
                </a:extLst>
              </p:cNvPr>
              <p:cNvSpPr>
                <a:spLocks/>
              </p:cNvSpPr>
              <p:nvPr/>
            </p:nvSpPr>
            <p:spPr bwMode="auto">
              <a:xfrm>
                <a:off x="1890" y="2500"/>
                <a:ext cx="18" cy="18"/>
              </a:xfrm>
              <a:custGeom>
                <a:avLst/>
                <a:gdLst>
                  <a:gd name="T0" fmla="*/ 121 w 121"/>
                  <a:gd name="T1" fmla="*/ 63 h 116"/>
                  <a:gd name="T2" fmla="*/ 12 w 121"/>
                  <a:gd name="T3" fmla="*/ 105 h 116"/>
                  <a:gd name="T4" fmla="*/ 0 w 121"/>
                  <a:gd name="T5" fmla="*/ 105 h 116"/>
                  <a:gd name="T6" fmla="*/ 121 w 121"/>
                  <a:gd name="T7" fmla="*/ 63 h 116"/>
                </a:gdLst>
                <a:ahLst/>
                <a:cxnLst>
                  <a:cxn ang="0">
                    <a:pos x="T0" y="T1"/>
                  </a:cxn>
                  <a:cxn ang="0">
                    <a:pos x="T2" y="T3"/>
                  </a:cxn>
                  <a:cxn ang="0">
                    <a:pos x="T4" y="T5"/>
                  </a:cxn>
                  <a:cxn ang="0">
                    <a:pos x="T6" y="T7"/>
                  </a:cxn>
                </a:cxnLst>
                <a:rect l="0" t="0" r="r" b="b"/>
                <a:pathLst>
                  <a:path w="121" h="116">
                    <a:moveTo>
                      <a:pt x="121" y="63"/>
                    </a:moveTo>
                    <a:cubicBezTo>
                      <a:pt x="100" y="116"/>
                      <a:pt x="40" y="71"/>
                      <a:pt x="12" y="105"/>
                    </a:cubicBezTo>
                    <a:cubicBezTo>
                      <a:pt x="8" y="105"/>
                      <a:pt x="4" y="105"/>
                      <a:pt x="0" y="105"/>
                    </a:cubicBezTo>
                    <a:cubicBezTo>
                      <a:pt x="8" y="0"/>
                      <a:pt x="80" y="76"/>
                      <a:pt x="121" y="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72" name="Freeform 328">
                <a:extLst>
                  <a:ext uri="{FF2B5EF4-FFF2-40B4-BE49-F238E27FC236}">
                    <a16:creationId xmlns:a16="http://schemas.microsoft.com/office/drawing/2014/main" id="{425CF973-EAAD-455C-A25A-A9DFA1F9ACC5}"/>
                  </a:ext>
                </a:extLst>
              </p:cNvPr>
              <p:cNvSpPr>
                <a:spLocks/>
              </p:cNvSpPr>
              <p:nvPr/>
            </p:nvSpPr>
            <p:spPr bwMode="auto">
              <a:xfrm>
                <a:off x="1865" y="2502"/>
                <a:ext cx="17" cy="20"/>
              </a:xfrm>
              <a:custGeom>
                <a:avLst/>
                <a:gdLst>
                  <a:gd name="T0" fmla="*/ 96 w 109"/>
                  <a:gd name="T1" fmla="*/ 127 h 127"/>
                  <a:gd name="T2" fmla="*/ 13 w 109"/>
                  <a:gd name="T3" fmla="*/ 0 h 127"/>
                  <a:gd name="T4" fmla="*/ 96 w 109"/>
                  <a:gd name="T5" fmla="*/ 107 h 127"/>
                  <a:gd name="T6" fmla="*/ 102 w 109"/>
                  <a:gd name="T7" fmla="*/ 120 h 127"/>
                  <a:gd name="T8" fmla="*/ 96 w 109"/>
                  <a:gd name="T9" fmla="*/ 127 h 127"/>
                </a:gdLst>
                <a:ahLst/>
                <a:cxnLst>
                  <a:cxn ang="0">
                    <a:pos x="T0" y="T1"/>
                  </a:cxn>
                  <a:cxn ang="0">
                    <a:pos x="T2" y="T3"/>
                  </a:cxn>
                  <a:cxn ang="0">
                    <a:pos x="T4" y="T5"/>
                  </a:cxn>
                  <a:cxn ang="0">
                    <a:pos x="T6" y="T7"/>
                  </a:cxn>
                  <a:cxn ang="0">
                    <a:pos x="T8" y="T9"/>
                  </a:cxn>
                </a:cxnLst>
                <a:rect l="0" t="0" r="r" b="b"/>
                <a:pathLst>
                  <a:path w="109" h="127">
                    <a:moveTo>
                      <a:pt x="96" y="127"/>
                    </a:moveTo>
                    <a:cubicBezTo>
                      <a:pt x="84" y="74"/>
                      <a:pt x="0" y="70"/>
                      <a:pt x="13" y="0"/>
                    </a:cubicBezTo>
                    <a:cubicBezTo>
                      <a:pt x="31" y="44"/>
                      <a:pt x="109" y="40"/>
                      <a:pt x="96" y="107"/>
                    </a:cubicBezTo>
                    <a:cubicBezTo>
                      <a:pt x="102" y="111"/>
                      <a:pt x="104" y="116"/>
                      <a:pt x="102" y="120"/>
                    </a:cubicBezTo>
                    <a:cubicBezTo>
                      <a:pt x="100" y="124"/>
                      <a:pt x="98" y="127"/>
                      <a:pt x="96" y="1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73" name="Freeform 329">
                <a:extLst>
                  <a:ext uri="{FF2B5EF4-FFF2-40B4-BE49-F238E27FC236}">
                    <a16:creationId xmlns:a16="http://schemas.microsoft.com/office/drawing/2014/main" id="{A54FE0CC-326C-4BDC-AAF1-085DC255B1CC}"/>
                  </a:ext>
                </a:extLst>
              </p:cNvPr>
              <p:cNvSpPr>
                <a:spLocks/>
              </p:cNvSpPr>
              <p:nvPr/>
            </p:nvSpPr>
            <p:spPr bwMode="auto">
              <a:xfrm>
                <a:off x="1880" y="2516"/>
                <a:ext cx="12" cy="13"/>
              </a:xfrm>
              <a:custGeom>
                <a:avLst/>
                <a:gdLst>
                  <a:gd name="T0" fmla="*/ 0 w 77"/>
                  <a:gd name="T1" fmla="*/ 39 h 83"/>
                  <a:gd name="T2" fmla="*/ 0 w 77"/>
                  <a:gd name="T3" fmla="*/ 19 h 83"/>
                  <a:gd name="T4" fmla="*/ 65 w 77"/>
                  <a:gd name="T5" fmla="*/ 0 h 83"/>
                  <a:gd name="T6" fmla="*/ 77 w 77"/>
                  <a:gd name="T7" fmla="*/ 0 h 83"/>
                  <a:gd name="T8" fmla="*/ 0 w 77"/>
                  <a:gd name="T9" fmla="*/ 39 h 83"/>
                </a:gdLst>
                <a:ahLst/>
                <a:cxnLst>
                  <a:cxn ang="0">
                    <a:pos x="T0" y="T1"/>
                  </a:cxn>
                  <a:cxn ang="0">
                    <a:pos x="T2" y="T3"/>
                  </a:cxn>
                  <a:cxn ang="0">
                    <a:pos x="T4" y="T5"/>
                  </a:cxn>
                  <a:cxn ang="0">
                    <a:pos x="T6" y="T7"/>
                  </a:cxn>
                  <a:cxn ang="0">
                    <a:pos x="T8" y="T9"/>
                  </a:cxn>
                </a:cxnLst>
                <a:rect l="0" t="0" r="r" b="b"/>
                <a:pathLst>
                  <a:path w="77" h="83">
                    <a:moveTo>
                      <a:pt x="0" y="39"/>
                    </a:moveTo>
                    <a:cubicBezTo>
                      <a:pt x="0" y="32"/>
                      <a:pt x="0" y="25"/>
                      <a:pt x="0" y="19"/>
                    </a:cubicBezTo>
                    <a:cubicBezTo>
                      <a:pt x="32" y="47"/>
                      <a:pt x="44" y="8"/>
                      <a:pt x="65" y="0"/>
                    </a:cubicBezTo>
                    <a:cubicBezTo>
                      <a:pt x="69" y="0"/>
                      <a:pt x="73" y="0"/>
                      <a:pt x="77" y="0"/>
                    </a:cubicBezTo>
                    <a:cubicBezTo>
                      <a:pt x="72" y="53"/>
                      <a:pt x="55" y="83"/>
                      <a:pt x="0"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74" name="Freeform 330">
                <a:extLst>
                  <a:ext uri="{FF2B5EF4-FFF2-40B4-BE49-F238E27FC236}">
                    <a16:creationId xmlns:a16="http://schemas.microsoft.com/office/drawing/2014/main" id="{0B6B45C6-673F-4BE9-AAD8-39ADE024D6F2}"/>
                  </a:ext>
                </a:extLst>
              </p:cNvPr>
              <p:cNvSpPr>
                <a:spLocks/>
              </p:cNvSpPr>
              <p:nvPr/>
            </p:nvSpPr>
            <p:spPr bwMode="auto">
              <a:xfrm>
                <a:off x="1845" y="2494"/>
                <a:ext cx="19" cy="8"/>
              </a:xfrm>
              <a:custGeom>
                <a:avLst/>
                <a:gdLst>
                  <a:gd name="T0" fmla="*/ 127 w 127"/>
                  <a:gd name="T1" fmla="*/ 42 h 58"/>
                  <a:gd name="T2" fmla="*/ 0 w 127"/>
                  <a:gd name="T3" fmla="*/ 0 h 58"/>
                  <a:gd name="T4" fmla="*/ 127 w 127"/>
                  <a:gd name="T5" fmla="*/ 42 h 58"/>
                </a:gdLst>
                <a:ahLst/>
                <a:cxnLst>
                  <a:cxn ang="0">
                    <a:pos x="T0" y="T1"/>
                  </a:cxn>
                  <a:cxn ang="0">
                    <a:pos x="T2" y="T3"/>
                  </a:cxn>
                  <a:cxn ang="0">
                    <a:pos x="T4" y="T5"/>
                  </a:cxn>
                </a:cxnLst>
                <a:rect l="0" t="0" r="r" b="b"/>
                <a:pathLst>
                  <a:path w="127" h="58">
                    <a:moveTo>
                      <a:pt x="127" y="42"/>
                    </a:moveTo>
                    <a:cubicBezTo>
                      <a:pt x="82" y="37"/>
                      <a:pt x="28" y="58"/>
                      <a:pt x="0" y="0"/>
                    </a:cubicBezTo>
                    <a:cubicBezTo>
                      <a:pt x="42" y="15"/>
                      <a:pt x="91" y="8"/>
                      <a:pt x="127" y="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75" name="Freeform 331">
                <a:extLst>
                  <a:ext uri="{FF2B5EF4-FFF2-40B4-BE49-F238E27FC236}">
                    <a16:creationId xmlns:a16="http://schemas.microsoft.com/office/drawing/2014/main" id="{E0D2331E-39DD-4FE6-B462-1B191790BD81}"/>
                  </a:ext>
                </a:extLst>
              </p:cNvPr>
              <p:cNvSpPr>
                <a:spLocks/>
              </p:cNvSpPr>
              <p:nvPr/>
            </p:nvSpPr>
            <p:spPr bwMode="auto">
              <a:xfrm>
                <a:off x="1946" y="2455"/>
                <a:ext cx="10" cy="12"/>
              </a:xfrm>
              <a:custGeom>
                <a:avLst/>
                <a:gdLst>
                  <a:gd name="T0" fmla="*/ 64 w 65"/>
                  <a:gd name="T1" fmla="*/ 6 h 75"/>
                  <a:gd name="T2" fmla="*/ 65 w 65"/>
                  <a:gd name="T3" fmla="*/ 22 h 75"/>
                  <a:gd name="T4" fmla="*/ 26 w 65"/>
                  <a:gd name="T5" fmla="*/ 65 h 75"/>
                  <a:gd name="T6" fmla="*/ 4 w 65"/>
                  <a:gd name="T7" fmla="*/ 45 h 75"/>
                  <a:gd name="T8" fmla="*/ 64 w 65"/>
                  <a:gd name="T9" fmla="*/ 6 h 75"/>
                </a:gdLst>
                <a:ahLst/>
                <a:cxnLst>
                  <a:cxn ang="0">
                    <a:pos x="T0" y="T1"/>
                  </a:cxn>
                  <a:cxn ang="0">
                    <a:pos x="T2" y="T3"/>
                  </a:cxn>
                  <a:cxn ang="0">
                    <a:pos x="T4" y="T5"/>
                  </a:cxn>
                  <a:cxn ang="0">
                    <a:pos x="T6" y="T7"/>
                  </a:cxn>
                  <a:cxn ang="0">
                    <a:pos x="T8" y="T9"/>
                  </a:cxn>
                </a:cxnLst>
                <a:rect l="0" t="0" r="r" b="b"/>
                <a:pathLst>
                  <a:path w="65" h="75">
                    <a:moveTo>
                      <a:pt x="64" y="6"/>
                    </a:moveTo>
                    <a:cubicBezTo>
                      <a:pt x="65" y="11"/>
                      <a:pt x="65" y="17"/>
                      <a:pt x="65" y="22"/>
                    </a:cubicBezTo>
                    <a:cubicBezTo>
                      <a:pt x="52" y="36"/>
                      <a:pt x="39" y="51"/>
                      <a:pt x="26" y="65"/>
                    </a:cubicBezTo>
                    <a:cubicBezTo>
                      <a:pt x="4" y="75"/>
                      <a:pt x="0" y="64"/>
                      <a:pt x="4" y="45"/>
                    </a:cubicBezTo>
                    <a:cubicBezTo>
                      <a:pt x="4" y="1"/>
                      <a:pt x="32" y="0"/>
                      <a:pt x="64"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76" name="Freeform 332">
                <a:extLst>
                  <a:ext uri="{FF2B5EF4-FFF2-40B4-BE49-F238E27FC236}">
                    <a16:creationId xmlns:a16="http://schemas.microsoft.com/office/drawing/2014/main" id="{B24FDCCB-1656-4E5E-A6EB-2754E2989431}"/>
                  </a:ext>
                </a:extLst>
              </p:cNvPr>
              <p:cNvSpPr>
                <a:spLocks/>
              </p:cNvSpPr>
              <p:nvPr/>
            </p:nvSpPr>
            <p:spPr bwMode="auto">
              <a:xfrm>
                <a:off x="1975" y="2393"/>
                <a:ext cx="13" cy="12"/>
              </a:xfrm>
              <a:custGeom>
                <a:avLst/>
                <a:gdLst>
                  <a:gd name="T0" fmla="*/ 62 w 87"/>
                  <a:gd name="T1" fmla="*/ 0 h 78"/>
                  <a:gd name="T2" fmla="*/ 0 w 87"/>
                  <a:gd name="T3" fmla="*/ 78 h 78"/>
                  <a:gd name="T4" fmla="*/ 62 w 87"/>
                  <a:gd name="T5" fmla="*/ 0 h 78"/>
                </a:gdLst>
                <a:ahLst/>
                <a:cxnLst>
                  <a:cxn ang="0">
                    <a:pos x="T0" y="T1"/>
                  </a:cxn>
                  <a:cxn ang="0">
                    <a:pos x="T2" y="T3"/>
                  </a:cxn>
                  <a:cxn ang="0">
                    <a:pos x="T4" y="T5"/>
                  </a:cxn>
                </a:cxnLst>
                <a:rect l="0" t="0" r="r" b="b"/>
                <a:pathLst>
                  <a:path w="87" h="78">
                    <a:moveTo>
                      <a:pt x="62" y="0"/>
                    </a:moveTo>
                    <a:cubicBezTo>
                      <a:pt x="87" y="62"/>
                      <a:pt x="43" y="70"/>
                      <a:pt x="0" y="78"/>
                    </a:cubicBezTo>
                    <a:cubicBezTo>
                      <a:pt x="21" y="52"/>
                      <a:pt x="41" y="26"/>
                      <a:pt x="6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77" name="Freeform 333">
                <a:extLst>
                  <a:ext uri="{FF2B5EF4-FFF2-40B4-BE49-F238E27FC236}">
                    <a16:creationId xmlns:a16="http://schemas.microsoft.com/office/drawing/2014/main" id="{ADC67EBE-BEEB-4968-8D2D-C091299986E7}"/>
                  </a:ext>
                </a:extLst>
              </p:cNvPr>
              <p:cNvSpPr>
                <a:spLocks/>
              </p:cNvSpPr>
              <p:nvPr/>
            </p:nvSpPr>
            <p:spPr bwMode="auto">
              <a:xfrm>
                <a:off x="1781" y="2515"/>
                <a:ext cx="14" cy="7"/>
              </a:xfrm>
              <a:custGeom>
                <a:avLst/>
                <a:gdLst>
                  <a:gd name="T0" fmla="*/ 1 w 86"/>
                  <a:gd name="T1" fmla="*/ 48 h 48"/>
                  <a:gd name="T2" fmla="*/ 0 w 86"/>
                  <a:gd name="T3" fmla="*/ 26 h 48"/>
                  <a:gd name="T4" fmla="*/ 1 w 86"/>
                  <a:gd name="T5" fmla="*/ 8 h 48"/>
                  <a:gd name="T6" fmla="*/ 86 w 86"/>
                  <a:gd name="T7" fmla="*/ 29 h 48"/>
                  <a:gd name="T8" fmla="*/ 1 w 86"/>
                  <a:gd name="T9" fmla="*/ 48 h 48"/>
                </a:gdLst>
                <a:ahLst/>
                <a:cxnLst>
                  <a:cxn ang="0">
                    <a:pos x="T0" y="T1"/>
                  </a:cxn>
                  <a:cxn ang="0">
                    <a:pos x="T2" y="T3"/>
                  </a:cxn>
                  <a:cxn ang="0">
                    <a:pos x="T4" y="T5"/>
                  </a:cxn>
                  <a:cxn ang="0">
                    <a:pos x="T6" y="T7"/>
                  </a:cxn>
                  <a:cxn ang="0">
                    <a:pos x="T8" y="T9"/>
                  </a:cxn>
                </a:cxnLst>
                <a:rect l="0" t="0" r="r" b="b"/>
                <a:pathLst>
                  <a:path w="86" h="48">
                    <a:moveTo>
                      <a:pt x="1" y="48"/>
                    </a:moveTo>
                    <a:cubicBezTo>
                      <a:pt x="1" y="40"/>
                      <a:pt x="0" y="33"/>
                      <a:pt x="0" y="26"/>
                    </a:cubicBezTo>
                    <a:cubicBezTo>
                      <a:pt x="0" y="20"/>
                      <a:pt x="1" y="14"/>
                      <a:pt x="1" y="8"/>
                    </a:cubicBezTo>
                    <a:cubicBezTo>
                      <a:pt x="27" y="6"/>
                      <a:pt x="54" y="0"/>
                      <a:pt x="86" y="29"/>
                    </a:cubicBezTo>
                    <a:cubicBezTo>
                      <a:pt x="53" y="39"/>
                      <a:pt x="21" y="26"/>
                      <a:pt x="1"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78" name="Freeform 334">
                <a:extLst>
                  <a:ext uri="{FF2B5EF4-FFF2-40B4-BE49-F238E27FC236}">
                    <a16:creationId xmlns:a16="http://schemas.microsoft.com/office/drawing/2014/main" id="{0A6C0E98-CE84-48EB-A067-561AB1E1BB35}"/>
                  </a:ext>
                </a:extLst>
              </p:cNvPr>
              <p:cNvSpPr>
                <a:spLocks/>
              </p:cNvSpPr>
              <p:nvPr/>
            </p:nvSpPr>
            <p:spPr bwMode="auto">
              <a:xfrm>
                <a:off x="1928" y="2468"/>
                <a:ext cx="11" cy="11"/>
              </a:xfrm>
              <a:custGeom>
                <a:avLst/>
                <a:gdLst>
                  <a:gd name="T0" fmla="*/ 76 w 76"/>
                  <a:gd name="T1" fmla="*/ 18 h 72"/>
                  <a:gd name="T2" fmla="*/ 22 w 76"/>
                  <a:gd name="T3" fmla="*/ 63 h 72"/>
                  <a:gd name="T4" fmla="*/ 0 w 76"/>
                  <a:gd name="T5" fmla="*/ 63 h 72"/>
                  <a:gd name="T6" fmla="*/ 59 w 76"/>
                  <a:gd name="T7" fmla="*/ 0 h 72"/>
                  <a:gd name="T8" fmla="*/ 76 w 76"/>
                  <a:gd name="T9" fmla="*/ 18 h 72"/>
                </a:gdLst>
                <a:ahLst/>
                <a:cxnLst>
                  <a:cxn ang="0">
                    <a:pos x="T0" y="T1"/>
                  </a:cxn>
                  <a:cxn ang="0">
                    <a:pos x="T2" y="T3"/>
                  </a:cxn>
                  <a:cxn ang="0">
                    <a:pos x="T4" y="T5"/>
                  </a:cxn>
                  <a:cxn ang="0">
                    <a:pos x="T6" y="T7"/>
                  </a:cxn>
                  <a:cxn ang="0">
                    <a:pos x="T8" y="T9"/>
                  </a:cxn>
                </a:cxnLst>
                <a:rect l="0" t="0" r="r" b="b"/>
                <a:pathLst>
                  <a:path w="76" h="72">
                    <a:moveTo>
                      <a:pt x="76" y="18"/>
                    </a:moveTo>
                    <a:cubicBezTo>
                      <a:pt x="70" y="47"/>
                      <a:pt x="52" y="62"/>
                      <a:pt x="22" y="63"/>
                    </a:cubicBezTo>
                    <a:cubicBezTo>
                      <a:pt x="15" y="72"/>
                      <a:pt x="8" y="72"/>
                      <a:pt x="0" y="63"/>
                    </a:cubicBezTo>
                    <a:cubicBezTo>
                      <a:pt x="20" y="42"/>
                      <a:pt x="40" y="21"/>
                      <a:pt x="59" y="0"/>
                    </a:cubicBezTo>
                    <a:cubicBezTo>
                      <a:pt x="68" y="3"/>
                      <a:pt x="73" y="9"/>
                      <a:pt x="76"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79" name="Freeform 335">
                <a:extLst>
                  <a:ext uri="{FF2B5EF4-FFF2-40B4-BE49-F238E27FC236}">
                    <a16:creationId xmlns:a16="http://schemas.microsoft.com/office/drawing/2014/main" id="{0C94C17D-567C-45AB-BE9E-7D6DF83B6700}"/>
                  </a:ext>
                </a:extLst>
              </p:cNvPr>
              <p:cNvSpPr>
                <a:spLocks/>
              </p:cNvSpPr>
              <p:nvPr/>
            </p:nvSpPr>
            <p:spPr bwMode="auto">
              <a:xfrm>
                <a:off x="1937" y="2462"/>
                <a:ext cx="13" cy="9"/>
              </a:xfrm>
              <a:custGeom>
                <a:avLst/>
                <a:gdLst>
                  <a:gd name="T0" fmla="*/ 17 w 85"/>
                  <a:gd name="T1" fmla="*/ 57 h 57"/>
                  <a:gd name="T2" fmla="*/ 0 w 85"/>
                  <a:gd name="T3" fmla="*/ 39 h 57"/>
                  <a:gd name="T4" fmla="*/ 63 w 85"/>
                  <a:gd name="T5" fmla="*/ 0 h 57"/>
                  <a:gd name="T6" fmla="*/ 85 w 85"/>
                  <a:gd name="T7" fmla="*/ 20 h 57"/>
                  <a:gd name="T8" fmla="*/ 17 w 85"/>
                  <a:gd name="T9" fmla="*/ 57 h 57"/>
                </a:gdLst>
                <a:ahLst/>
                <a:cxnLst>
                  <a:cxn ang="0">
                    <a:pos x="T0" y="T1"/>
                  </a:cxn>
                  <a:cxn ang="0">
                    <a:pos x="T2" y="T3"/>
                  </a:cxn>
                  <a:cxn ang="0">
                    <a:pos x="T4" y="T5"/>
                  </a:cxn>
                  <a:cxn ang="0">
                    <a:pos x="T6" y="T7"/>
                  </a:cxn>
                  <a:cxn ang="0">
                    <a:pos x="T8" y="T9"/>
                  </a:cxn>
                </a:cxnLst>
                <a:rect l="0" t="0" r="r" b="b"/>
                <a:pathLst>
                  <a:path w="85" h="57">
                    <a:moveTo>
                      <a:pt x="17" y="57"/>
                    </a:moveTo>
                    <a:cubicBezTo>
                      <a:pt x="11" y="51"/>
                      <a:pt x="6" y="45"/>
                      <a:pt x="0" y="39"/>
                    </a:cubicBezTo>
                    <a:cubicBezTo>
                      <a:pt x="21" y="26"/>
                      <a:pt x="42" y="13"/>
                      <a:pt x="63" y="0"/>
                    </a:cubicBezTo>
                    <a:cubicBezTo>
                      <a:pt x="70" y="7"/>
                      <a:pt x="78" y="14"/>
                      <a:pt x="85" y="20"/>
                    </a:cubicBezTo>
                    <a:cubicBezTo>
                      <a:pt x="71" y="50"/>
                      <a:pt x="33" y="32"/>
                      <a:pt x="17"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0" name="Freeform 336">
                <a:extLst>
                  <a:ext uri="{FF2B5EF4-FFF2-40B4-BE49-F238E27FC236}">
                    <a16:creationId xmlns:a16="http://schemas.microsoft.com/office/drawing/2014/main" id="{EE1F00F4-6827-463F-9296-7FE85D87B3EB}"/>
                  </a:ext>
                </a:extLst>
              </p:cNvPr>
              <p:cNvSpPr>
                <a:spLocks/>
              </p:cNvSpPr>
              <p:nvPr/>
            </p:nvSpPr>
            <p:spPr bwMode="auto">
              <a:xfrm>
                <a:off x="1924" y="2478"/>
                <a:ext cx="9" cy="12"/>
              </a:xfrm>
              <a:custGeom>
                <a:avLst/>
                <a:gdLst>
                  <a:gd name="T0" fmla="*/ 23 w 56"/>
                  <a:gd name="T1" fmla="*/ 0 h 82"/>
                  <a:gd name="T2" fmla="*/ 45 w 56"/>
                  <a:gd name="T3" fmla="*/ 0 h 82"/>
                  <a:gd name="T4" fmla="*/ 0 w 56"/>
                  <a:gd name="T5" fmla="*/ 82 h 82"/>
                  <a:gd name="T6" fmla="*/ 23 w 56"/>
                  <a:gd name="T7" fmla="*/ 0 h 82"/>
                </a:gdLst>
                <a:ahLst/>
                <a:cxnLst>
                  <a:cxn ang="0">
                    <a:pos x="T0" y="T1"/>
                  </a:cxn>
                  <a:cxn ang="0">
                    <a:pos x="T2" y="T3"/>
                  </a:cxn>
                  <a:cxn ang="0">
                    <a:pos x="T4" y="T5"/>
                  </a:cxn>
                  <a:cxn ang="0">
                    <a:pos x="T6" y="T7"/>
                  </a:cxn>
                </a:cxnLst>
                <a:rect l="0" t="0" r="r" b="b"/>
                <a:pathLst>
                  <a:path w="56" h="82">
                    <a:moveTo>
                      <a:pt x="23" y="0"/>
                    </a:moveTo>
                    <a:cubicBezTo>
                      <a:pt x="31" y="0"/>
                      <a:pt x="38" y="0"/>
                      <a:pt x="45" y="0"/>
                    </a:cubicBezTo>
                    <a:cubicBezTo>
                      <a:pt x="36" y="30"/>
                      <a:pt x="56" y="77"/>
                      <a:pt x="0" y="82"/>
                    </a:cubicBezTo>
                    <a:cubicBezTo>
                      <a:pt x="8" y="55"/>
                      <a:pt x="16" y="28"/>
                      <a:pt x="2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1" name="Freeform 337">
                <a:extLst>
                  <a:ext uri="{FF2B5EF4-FFF2-40B4-BE49-F238E27FC236}">
                    <a16:creationId xmlns:a16="http://schemas.microsoft.com/office/drawing/2014/main" id="{1E942F3C-8C9B-4227-99B8-458B07046039}"/>
                  </a:ext>
                </a:extLst>
              </p:cNvPr>
              <p:cNvSpPr>
                <a:spLocks/>
              </p:cNvSpPr>
              <p:nvPr/>
            </p:nvSpPr>
            <p:spPr bwMode="auto">
              <a:xfrm>
                <a:off x="1918" y="2493"/>
                <a:ext cx="8" cy="14"/>
              </a:xfrm>
              <a:custGeom>
                <a:avLst/>
                <a:gdLst>
                  <a:gd name="T0" fmla="*/ 44 w 55"/>
                  <a:gd name="T1" fmla="*/ 0 h 94"/>
                  <a:gd name="T2" fmla="*/ 0 w 55"/>
                  <a:gd name="T3" fmla="*/ 94 h 94"/>
                  <a:gd name="T4" fmla="*/ 44 w 55"/>
                  <a:gd name="T5" fmla="*/ 0 h 94"/>
                </a:gdLst>
                <a:ahLst/>
                <a:cxnLst>
                  <a:cxn ang="0">
                    <a:pos x="T0" y="T1"/>
                  </a:cxn>
                  <a:cxn ang="0">
                    <a:pos x="T2" y="T3"/>
                  </a:cxn>
                  <a:cxn ang="0">
                    <a:pos x="T4" y="T5"/>
                  </a:cxn>
                </a:cxnLst>
                <a:rect l="0" t="0" r="r" b="b"/>
                <a:pathLst>
                  <a:path w="55" h="94">
                    <a:moveTo>
                      <a:pt x="44" y="0"/>
                    </a:moveTo>
                    <a:cubicBezTo>
                      <a:pt x="43" y="37"/>
                      <a:pt x="55" y="81"/>
                      <a:pt x="0" y="94"/>
                    </a:cubicBezTo>
                    <a:cubicBezTo>
                      <a:pt x="15" y="62"/>
                      <a:pt x="29" y="31"/>
                      <a:pt x="4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2" name="Freeform 338">
                <a:extLst>
                  <a:ext uri="{FF2B5EF4-FFF2-40B4-BE49-F238E27FC236}">
                    <a16:creationId xmlns:a16="http://schemas.microsoft.com/office/drawing/2014/main" id="{64B1F023-4CAE-400E-8300-31ED752F7447}"/>
                  </a:ext>
                </a:extLst>
              </p:cNvPr>
              <p:cNvSpPr>
                <a:spLocks/>
              </p:cNvSpPr>
              <p:nvPr/>
            </p:nvSpPr>
            <p:spPr bwMode="auto">
              <a:xfrm>
                <a:off x="2207" y="2394"/>
                <a:ext cx="43" cy="18"/>
              </a:xfrm>
              <a:custGeom>
                <a:avLst/>
                <a:gdLst>
                  <a:gd name="T0" fmla="*/ 216 w 276"/>
                  <a:gd name="T1" fmla="*/ 89 h 112"/>
                  <a:gd name="T2" fmla="*/ 66 w 276"/>
                  <a:gd name="T3" fmla="*/ 82 h 112"/>
                  <a:gd name="T4" fmla="*/ 10 w 276"/>
                  <a:gd name="T5" fmla="*/ 72 h 112"/>
                  <a:gd name="T6" fmla="*/ 11 w 276"/>
                  <a:gd name="T7" fmla="*/ 49 h 112"/>
                  <a:gd name="T8" fmla="*/ 217 w 276"/>
                  <a:gd name="T9" fmla="*/ 9 h 112"/>
                  <a:gd name="T10" fmla="*/ 234 w 276"/>
                  <a:gd name="T11" fmla="*/ 68 h 112"/>
                  <a:gd name="T12" fmla="*/ 216 w 276"/>
                  <a:gd name="T13" fmla="*/ 89 h 112"/>
                </a:gdLst>
                <a:ahLst/>
                <a:cxnLst>
                  <a:cxn ang="0">
                    <a:pos x="T0" y="T1"/>
                  </a:cxn>
                  <a:cxn ang="0">
                    <a:pos x="T2" y="T3"/>
                  </a:cxn>
                  <a:cxn ang="0">
                    <a:pos x="T4" y="T5"/>
                  </a:cxn>
                  <a:cxn ang="0">
                    <a:pos x="T6" y="T7"/>
                  </a:cxn>
                  <a:cxn ang="0">
                    <a:pos x="T8" y="T9"/>
                  </a:cxn>
                  <a:cxn ang="0">
                    <a:pos x="T10" y="T11"/>
                  </a:cxn>
                  <a:cxn ang="0">
                    <a:pos x="T12" y="T13"/>
                  </a:cxn>
                </a:cxnLst>
                <a:rect l="0" t="0" r="r" b="b"/>
                <a:pathLst>
                  <a:path w="276" h="112">
                    <a:moveTo>
                      <a:pt x="216" y="89"/>
                    </a:moveTo>
                    <a:cubicBezTo>
                      <a:pt x="168" y="38"/>
                      <a:pt x="118" y="23"/>
                      <a:pt x="66" y="82"/>
                    </a:cubicBezTo>
                    <a:cubicBezTo>
                      <a:pt x="40" y="112"/>
                      <a:pt x="22" y="112"/>
                      <a:pt x="10" y="72"/>
                    </a:cubicBezTo>
                    <a:cubicBezTo>
                      <a:pt x="0" y="64"/>
                      <a:pt x="0" y="56"/>
                      <a:pt x="11" y="49"/>
                    </a:cubicBezTo>
                    <a:cubicBezTo>
                      <a:pt x="72" y="0"/>
                      <a:pt x="147" y="12"/>
                      <a:pt x="217" y="9"/>
                    </a:cubicBezTo>
                    <a:cubicBezTo>
                      <a:pt x="276" y="6"/>
                      <a:pt x="246" y="43"/>
                      <a:pt x="234" y="68"/>
                    </a:cubicBezTo>
                    <a:cubicBezTo>
                      <a:pt x="230" y="78"/>
                      <a:pt x="225" y="85"/>
                      <a:pt x="216"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3" name="Freeform 339">
                <a:extLst>
                  <a:ext uri="{FF2B5EF4-FFF2-40B4-BE49-F238E27FC236}">
                    <a16:creationId xmlns:a16="http://schemas.microsoft.com/office/drawing/2014/main" id="{FB2E2496-A25B-46BC-9440-2163B081915E}"/>
                  </a:ext>
                </a:extLst>
              </p:cNvPr>
              <p:cNvSpPr>
                <a:spLocks/>
              </p:cNvSpPr>
              <p:nvPr/>
            </p:nvSpPr>
            <p:spPr bwMode="auto">
              <a:xfrm>
                <a:off x="2247" y="2413"/>
                <a:ext cx="26" cy="22"/>
              </a:xfrm>
              <a:custGeom>
                <a:avLst/>
                <a:gdLst>
                  <a:gd name="T0" fmla="*/ 141 w 165"/>
                  <a:gd name="T1" fmla="*/ 134 h 145"/>
                  <a:gd name="T2" fmla="*/ 21 w 165"/>
                  <a:gd name="T3" fmla="*/ 49 h 145"/>
                  <a:gd name="T4" fmla="*/ 0 w 165"/>
                  <a:gd name="T5" fmla="*/ 29 h 145"/>
                  <a:gd name="T6" fmla="*/ 165 w 165"/>
                  <a:gd name="T7" fmla="*/ 133 h 145"/>
                  <a:gd name="T8" fmla="*/ 141 w 165"/>
                  <a:gd name="T9" fmla="*/ 134 h 145"/>
                </a:gdLst>
                <a:ahLst/>
                <a:cxnLst>
                  <a:cxn ang="0">
                    <a:pos x="T0" y="T1"/>
                  </a:cxn>
                  <a:cxn ang="0">
                    <a:pos x="T2" y="T3"/>
                  </a:cxn>
                  <a:cxn ang="0">
                    <a:pos x="T4" y="T5"/>
                  </a:cxn>
                  <a:cxn ang="0">
                    <a:pos x="T6" y="T7"/>
                  </a:cxn>
                  <a:cxn ang="0">
                    <a:pos x="T8" y="T9"/>
                  </a:cxn>
                </a:cxnLst>
                <a:rect l="0" t="0" r="r" b="b"/>
                <a:pathLst>
                  <a:path w="165" h="145">
                    <a:moveTo>
                      <a:pt x="141" y="134"/>
                    </a:moveTo>
                    <a:cubicBezTo>
                      <a:pt x="112" y="90"/>
                      <a:pt x="85" y="43"/>
                      <a:pt x="21" y="49"/>
                    </a:cubicBezTo>
                    <a:cubicBezTo>
                      <a:pt x="13" y="44"/>
                      <a:pt x="1" y="42"/>
                      <a:pt x="0" y="29"/>
                    </a:cubicBezTo>
                    <a:cubicBezTo>
                      <a:pt x="92" y="0"/>
                      <a:pt x="157" y="41"/>
                      <a:pt x="165" y="133"/>
                    </a:cubicBezTo>
                    <a:cubicBezTo>
                      <a:pt x="157" y="145"/>
                      <a:pt x="149" y="145"/>
                      <a:pt x="141"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4" name="Freeform 340">
                <a:extLst>
                  <a:ext uri="{FF2B5EF4-FFF2-40B4-BE49-F238E27FC236}">
                    <a16:creationId xmlns:a16="http://schemas.microsoft.com/office/drawing/2014/main" id="{189B0343-14C9-4070-91D1-F55EEB8BF94A}"/>
                  </a:ext>
                </a:extLst>
              </p:cNvPr>
              <p:cNvSpPr>
                <a:spLocks/>
              </p:cNvSpPr>
              <p:nvPr/>
            </p:nvSpPr>
            <p:spPr bwMode="auto">
              <a:xfrm>
                <a:off x="2285" y="2469"/>
                <a:ext cx="18" cy="41"/>
              </a:xfrm>
              <a:custGeom>
                <a:avLst/>
                <a:gdLst>
                  <a:gd name="T0" fmla="*/ 104 w 115"/>
                  <a:gd name="T1" fmla="*/ 40 h 267"/>
                  <a:gd name="T2" fmla="*/ 79 w 115"/>
                  <a:gd name="T3" fmla="*/ 263 h 267"/>
                  <a:gd name="T4" fmla="*/ 60 w 115"/>
                  <a:gd name="T5" fmla="*/ 241 h 267"/>
                  <a:gd name="T6" fmla="*/ 0 w 115"/>
                  <a:gd name="T7" fmla="*/ 204 h 267"/>
                  <a:gd name="T8" fmla="*/ 80 w 115"/>
                  <a:gd name="T9" fmla="*/ 70 h 267"/>
                  <a:gd name="T10" fmla="*/ 102 w 115"/>
                  <a:gd name="T11" fmla="*/ 0 h 267"/>
                  <a:gd name="T12" fmla="*/ 104 w 115"/>
                  <a:gd name="T13" fmla="*/ 40 h 267"/>
                </a:gdLst>
                <a:ahLst/>
                <a:cxnLst>
                  <a:cxn ang="0">
                    <a:pos x="T0" y="T1"/>
                  </a:cxn>
                  <a:cxn ang="0">
                    <a:pos x="T2" y="T3"/>
                  </a:cxn>
                  <a:cxn ang="0">
                    <a:pos x="T4" y="T5"/>
                  </a:cxn>
                  <a:cxn ang="0">
                    <a:pos x="T6" y="T7"/>
                  </a:cxn>
                  <a:cxn ang="0">
                    <a:pos x="T8" y="T9"/>
                  </a:cxn>
                  <a:cxn ang="0">
                    <a:pos x="T10" y="T11"/>
                  </a:cxn>
                  <a:cxn ang="0">
                    <a:pos x="T12" y="T13"/>
                  </a:cxn>
                </a:cxnLst>
                <a:rect l="0" t="0" r="r" b="b"/>
                <a:pathLst>
                  <a:path w="115" h="267">
                    <a:moveTo>
                      <a:pt x="104" y="40"/>
                    </a:moveTo>
                    <a:cubicBezTo>
                      <a:pt x="96" y="115"/>
                      <a:pt x="88" y="189"/>
                      <a:pt x="79" y="263"/>
                    </a:cubicBezTo>
                    <a:cubicBezTo>
                      <a:pt x="61" y="267"/>
                      <a:pt x="50" y="263"/>
                      <a:pt x="60" y="241"/>
                    </a:cubicBezTo>
                    <a:cubicBezTo>
                      <a:pt x="59" y="198"/>
                      <a:pt x="27" y="205"/>
                      <a:pt x="0" y="204"/>
                    </a:cubicBezTo>
                    <a:cubicBezTo>
                      <a:pt x="54" y="176"/>
                      <a:pt x="79" y="131"/>
                      <a:pt x="80" y="70"/>
                    </a:cubicBezTo>
                    <a:cubicBezTo>
                      <a:pt x="81" y="46"/>
                      <a:pt x="71" y="16"/>
                      <a:pt x="102" y="0"/>
                    </a:cubicBezTo>
                    <a:cubicBezTo>
                      <a:pt x="115" y="13"/>
                      <a:pt x="115" y="27"/>
                      <a:pt x="104" y="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5" name="Freeform 341">
                <a:extLst>
                  <a:ext uri="{FF2B5EF4-FFF2-40B4-BE49-F238E27FC236}">
                    <a16:creationId xmlns:a16="http://schemas.microsoft.com/office/drawing/2014/main" id="{8174732B-6AD0-47FC-8DBA-B9024D53D703}"/>
                  </a:ext>
                </a:extLst>
              </p:cNvPr>
              <p:cNvSpPr>
                <a:spLocks/>
              </p:cNvSpPr>
              <p:nvPr/>
            </p:nvSpPr>
            <p:spPr bwMode="auto">
              <a:xfrm>
                <a:off x="2181" y="2412"/>
                <a:ext cx="19" cy="13"/>
              </a:xfrm>
              <a:custGeom>
                <a:avLst/>
                <a:gdLst>
                  <a:gd name="T0" fmla="*/ 127 w 127"/>
                  <a:gd name="T1" fmla="*/ 18 h 85"/>
                  <a:gd name="T2" fmla="*/ 0 w 127"/>
                  <a:gd name="T3" fmla="*/ 33 h 85"/>
                  <a:gd name="T4" fmla="*/ 85 w 127"/>
                  <a:gd name="T5" fmla="*/ 0 h 85"/>
                  <a:gd name="T6" fmla="*/ 127 w 127"/>
                  <a:gd name="T7" fmla="*/ 18 h 85"/>
                </a:gdLst>
                <a:ahLst/>
                <a:cxnLst>
                  <a:cxn ang="0">
                    <a:pos x="T0" y="T1"/>
                  </a:cxn>
                  <a:cxn ang="0">
                    <a:pos x="T2" y="T3"/>
                  </a:cxn>
                  <a:cxn ang="0">
                    <a:pos x="T4" y="T5"/>
                  </a:cxn>
                  <a:cxn ang="0">
                    <a:pos x="T6" y="T7"/>
                  </a:cxn>
                </a:cxnLst>
                <a:rect l="0" t="0" r="r" b="b"/>
                <a:pathLst>
                  <a:path w="127" h="85">
                    <a:moveTo>
                      <a:pt x="127" y="18"/>
                    </a:moveTo>
                    <a:cubicBezTo>
                      <a:pt x="33" y="85"/>
                      <a:pt x="33" y="85"/>
                      <a:pt x="0" y="33"/>
                    </a:cubicBezTo>
                    <a:cubicBezTo>
                      <a:pt x="37" y="45"/>
                      <a:pt x="54" y="5"/>
                      <a:pt x="85" y="0"/>
                    </a:cubicBezTo>
                    <a:cubicBezTo>
                      <a:pt x="97" y="11"/>
                      <a:pt x="118" y="1"/>
                      <a:pt x="127"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6" name="Freeform 342">
                <a:extLst>
                  <a:ext uri="{FF2B5EF4-FFF2-40B4-BE49-F238E27FC236}">
                    <a16:creationId xmlns:a16="http://schemas.microsoft.com/office/drawing/2014/main" id="{93CAA194-8E9E-4811-955E-CB1A171E5FA6}"/>
                  </a:ext>
                </a:extLst>
              </p:cNvPr>
              <p:cNvSpPr>
                <a:spLocks/>
              </p:cNvSpPr>
              <p:nvPr/>
            </p:nvSpPr>
            <p:spPr bwMode="auto">
              <a:xfrm>
                <a:off x="2301" y="2455"/>
                <a:ext cx="9" cy="20"/>
              </a:xfrm>
              <a:custGeom>
                <a:avLst/>
                <a:gdLst>
                  <a:gd name="T0" fmla="*/ 2 w 60"/>
                  <a:gd name="T1" fmla="*/ 126 h 126"/>
                  <a:gd name="T2" fmla="*/ 0 w 60"/>
                  <a:gd name="T3" fmla="*/ 86 h 126"/>
                  <a:gd name="T4" fmla="*/ 41 w 60"/>
                  <a:gd name="T5" fmla="*/ 0 h 126"/>
                  <a:gd name="T6" fmla="*/ 60 w 60"/>
                  <a:gd name="T7" fmla="*/ 41 h 126"/>
                  <a:gd name="T8" fmla="*/ 2 w 60"/>
                  <a:gd name="T9" fmla="*/ 126 h 126"/>
                </a:gdLst>
                <a:ahLst/>
                <a:cxnLst>
                  <a:cxn ang="0">
                    <a:pos x="T0" y="T1"/>
                  </a:cxn>
                  <a:cxn ang="0">
                    <a:pos x="T2" y="T3"/>
                  </a:cxn>
                  <a:cxn ang="0">
                    <a:pos x="T4" y="T5"/>
                  </a:cxn>
                  <a:cxn ang="0">
                    <a:pos x="T6" y="T7"/>
                  </a:cxn>
                  <a:cxn ang="0">
                    <a:pos x="T8" y="T9"/>
                  </a:cxn>
                </a:cxnLst>
                <a:rect l="0" t="0" r="r" b="b"/>
                <a:pathLst>
                  <a:path w="60" h="126">
                    <a:moveTo>
                      <a:pt x="2" y="126"/>
                    </a:moveTo>
                    <a:cubicBezTo>
                      <a:pt x="1" y="113"/>
                      <a:pt x="1" y="100"/>
                      <a:pt x="0" y="86"/>
                    </a:cubicBezTo>
                    <a:cubicBezTo>
                      <a:pt x="34" y="67"/>
                      <a:pt x="10" y="20"/>
                      <a:pt x="41" y="0"/>
                    </a:cubicBezTo>
                    <a:cubicBezTo>
                      <a:pt x="47" y="13"/>
                      <a:pt x="53" y="27"/>
                      <a:pt x="60" y="41"/>
                    </a:cubicBezTo>
                    <a:cubicBezTo>
                      <a:pt x="56" y="80"/>
                      <a:pt x="51" y="118"/>
                      <a:pt x="2" y="12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7" name="Freeform 343">
                <a:extLst>
                  <a:ext uri="{FF2B5EF4-FFF2-40B4-BE49-F238E27FC236}">
                    <a16:creationId xmlns:a16="http://schemas.microsoft.com/office/drawing/2014/main" id="{F2C80B19-F4F7-497D-88D7-609830C07595}"/>
                  </a:ext>
                </a:extLst>
              </p:cNvPr>
              <p:cNvSpPr>
                <a:spLocks/>
              </p:cNvSpPr>
              <p:nvPr/>
            </p:nvSpPr>
            <p:spPr bwMode="auto">
              <a:xfrm>
                <a:off x="2234" y="2405"/>
                <a:ext cx="16" cy="21"/>
              </a:xfrm>
              <a:custGeom>
                <a:avLst/>
                <a:gdLst>
                  <a:gd name="T0" fmla="*/ 83 w 104"/>
                  <a:gd name="T1" fmla="*/ 80 h 139"/>
                  <a:gd name="T2" fmla="*/ 104 w 104"/>
                  <a:gd name="T3" fmla="*/ 100 h 139"/>
                  <a:gd name="T4" fmla="*/ 42 w 104"/>
                  <a:gd name="T5" fmla="*/ 21 h 139"/>
                  <a:gd name="T6" fmla="*/ 60 w 104"/>
                  <a:gd name="T7" fmla="*/ 0 h 139"/>
                  <a:gd name="T8" fmla="*/ 83 w 104"/>
                  <a:gd name="T9" fmla="*/ 80 h 139"/>
                </a:gdLst>
                <a:ahLst/>
                <a:cxnLst>
                  <a:cxn ang="0">
                    <a:pos x="T0" y="T1"/>
                  </a:cxn>
                  <a:cxn ang="0">
                    <a:pos x="T2" y="T3"/>
                  </a:cxn>
                  <a:cxn ang="0">
                    <a:pos x="T4" y="T5"/>
                  </a:cxn>
                  <a:cxn ang="0">
                    <a:pos x="T6" y="T7"/>
                  </a:cxn>
                  <a:cxn ang="0">
                    <a:pos x="T8" y="T9"/>
                  </a:cxn>
                </a:cxnLst>
                <a:rect l="0" t="0" r="r" b="b"/>
                <a:pathLst>
                  <a:path w="104" h="139">
                    <a:moveTo>
                      <a:pt x="83" y="80"/>
                    </a:moveTo>
                    <a:cubicBezTo>
                      <a:pt x="90" y="87"/>
                      <a:pt x="97" y="94"/>
                      <a:pt x="104" y="100"/>
                    </a:cubicBezTo>
                    <a:cubicBezTo>
                      <a:pt x="0" y="139"/>
                      <a:pt x="60" y="50"/>
                      <a:pt x="42" y="21"/>
                    </a:cubicBezTo>
                    <a:cubicBezTo>
                      <a:pt x="48" y="14"/>
                      <a:pt x="54" y="7"/>
                      <a:pt x="60" y="0"/>
                    </a:cubicBezTo>
                    <a:cubicBezTo>
                      <a:pt x="71" y="26"/>
                      <a:pt x="52" y="60"/>
                      <a:pt x="83" y="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8" name="Freeform 344">
                <a:extLst>
                  <a:ext uri="{FF2B5EF4-FFF2-40B4-BE49-F238E27FC236}">
                    <a16:creationId xmlns:a16="http://schemas.microsoft.com/office/drawing/2014/main" id="{DA75B045-FF16-4DDC-B96D-170E3F12DEE2}"/>
                  </a:ext>
                </a:extLst>
              </p:cNvPr>
              <p:cNvSpPr>
                <a:spLocks/>
              </p:cNvSpPr>
              <p:nvPr/>
            </p:nvSpPr>
            <p:spPr bwMode="auto">
              <a:xfrm>
                <a:off x="2269" y="2433"/>
                <a:ext cx="22" cy="17"/>
              </a:xfrm>
              <a:custGeom>
                <a:avLst/>
                <a:gdLst>
                  <a:gd name="T0" fmla="*/ 1 w 147"/>
                  <a:gd name="T1" fmla="*/ 1 h 109"/>
                  <a:gd name="T2" fmla="*/ 25 w 147"/>
                  <a:gd name="T3" fmla="*/ 0 h 109"/>
                  <a:gd name="T4" fmla="*/ 45 w 147"/>
                  <a:gd name="T5" fmla="*/ 109 h 109"/>
                  <a:gd name="T6" fmla="*/ 1 w 147"/>
                  <a:gd name="T7" fmla="*/ 1 h 109"/>
                </a:gdLst>
                <a:ahLst/>
                <a:cxnLst>
                  <a:cxn ang="0">
                    <a:pos x="T0" y="T1"/>
                  </a:cxn>
                  <a:cxn ang="0">
                    <a:pos x="T2" y="T3"/>
                  </a:cxn>
                  <a:cxn ang="0">
                    <a:pos x="T4" y="T5"/>
                  </a:cxn>
                  <a:cxn ang="0">
                    <a:pos x="T6" y="T7"/>
                  </a:cxn>
                </a:cxnLst>
                <a:rect l="0" t="0" r="r" b="b"/>
                <a:pathLst>
                  <a:path w="147" h="109">
                    <a:moveTo>
                      <a:pt x="1" y="1"/>
                    </a:moveTo>
                    <a:cubicBezTo>
                      <a:pt x="9" y="1"/>
                      <a:pt x="17" y="0"/>
                      <a:pt x="25" y="0"/>
                    </a:cubicBezTo>
                    <a:cubicBezTo>
                      <a:pt x="48" y="33"/>
                      <a:pt x="147" y="53"/>
                      <a:pt x="45" y="109"/>
                    </a:cubicBezTo>
                    <a:cubicBezTo>
                      <a:pt x="84" y="51"/>
                      <a:pt x="0" y="43"/>
                      <a:pt x="1"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9" name="Freeform 345">
                <a:extLst>
                  <a:ext uri="{FF2B5EF4-FFF2-40B4-BE49-F238E27FC236}">
                    <a16:creationId xmlns:a16="http://schemas.microsoft.com/office/drawing/2014/main" id="{32BFE64E-5DD4-4257-9445-59E7BF6FA749}"/>
                  </a:ext>
                </a:extLst>
              </p:cNvPr>
              <p:cNvSpPr>
                <a:spLocks/>
              </p:cNvSpPr>
              <p:nvPr/>
            </p:nvSpPr>
            <p:spPr bwMode="auto">
              <a:xfrm>
                <a:off x="2194" y="2400"/>
                <a:ext cx="15" cy="15"/>
              </a:xfrm>
              <a:custGeom>
                <a:avLst/>
                <a:gdLst>
                  <a:gd name="T0" fmla="*/ 42 w 100"/>
                  <a:gd name="T1" fmla="*/ 97 h 97"/>
                  <a:gd name="T2" fmla="*/ 0 w 100"/>
                  <a:gd name="T3" fmla="*/ 79 h 97"/>
                  <a:gd name="T4" fmla="*/ 100 w 100"/>
                  <a:gd name="T5" fmla="*/ 16 h 97"/>
                  <a:gd name="T6" fmla="*/ 99 w 100"/>
                  <a:gd name="T7" fmla="*/ 39 h 97"/>
                  <a:gd name="T8" fmla="*/ 42 w 100"/>
                  <a:gd name="T9" fmla="*/ 97 h 97"/>
                </a:gdLst>
                <a:ahLst/>
                <a:cxnLst>
                  <a:cxn ang="0">
                    <a:pos x="T0" y="T1"/>
                  </a:cxn>
                  <a:cxn ang="0">
                    <a:pos x="T2" y="T3"/>
                  </a:cxn>
                  <a:cxn ang="0">
                    <a:pos x="T4" y="T5"/>
                  </a:cxn>
                  <a:cxn ang="0">
                    <a:pos x="T6" y="T7"/>
                  </a:cxn>
                  <a:cxn ang="0">
                    <a:pos x="T8" y="T9"/>
                  </a:cxn>
                </a:cxnLst>
                <a:rect l="0" t="0" r="r" b="b"/>
                <a:pathLst>
                  <a:path w="100" h="97">
                    <a:moveTo>
                      <a:pt x="42" y="97"/>
                    </a:moveTo>
                    <a:cubicBezTo>
                      <a:pt x="28" y="91"/>
                      <a:pt x="14" y="85"/>
                      <a:pt x="0" y="79"/>
                    </a:cubicBezTo>
                    <a:cubicBezTo>
                      <a:pt x="45" y="76"/>
                      <a:pt x="44" y="0"/>
                      <a:pt x="100" y="16"/>
                    </a:cubicBezTo>
                    <a:cubicBezTo>
                      <a:pt x="100" y="24"/>
                      <a:pt x="100" y="31"/>
                      <a:pt x="99" y="39"/>
                    </a:cubicBezTo>
                    <a:cubicBezTo>
                      <a:pt x="63" y="42"/>
                      <a:pt x="66" y="83"/>
                      <a:pt x="42" y="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0" name="Freeform 346">
                <a:extLst>
                  <a:ext uri="{FF2B5EF4-FFF2-40B4-BE49-F238E27FC236}">
                    <a16:creationId xmlns:a16="http://schemas.microsoft.com/office/drawing/2014/main" id="{43C3BB25-D214-46C0-9D83-CDF55994E1EC}"/>
                  </a:ext>
                </a:extLst>
              </p:cNvPr>
              <p:cNvSpPr>
                <a:spLocks/>
              </p:cNvSpPr>
              <p:nvPr/>
            </p:nvSpPr>
            <p:spPr bwMode="auto">
              <a:xfrm>
                <a:off x="2273" y="2486"/>
                <a:ext cx="12" cy="20"/>
              </a:xfrm>
              <a:custGeom>
                <a:avLst/>
                <a:gdLst>
                  <a:gd name="T0" fmla="*/ 83 w 83"/>
                  <a:gd name="T1" fmla="*/ 89 h 126"/>
                  <a:gd name="T2" fmla="*/ 0 w 83"/>
                  <a:gd name="T3" fmla="*/ 110 h 126"/>
                  <a:gd name="T4" fmla="*/ 83 w 83"/>
                  <a:gd name="T5" fmla="*/ 89 h 126"/>
                </a:gdLst>
                <a:ahLst/>
                <a:cxnLst>
                  <a:cxn ang="0">
                    <a:pos x="T0" y="T1"/>
                  </a:cxn>
                  <a:cxn ang="0">
                    <a:pos x="T2" y="T3"/>
                  </a:cxn>
                  <a:cxn ang="0">
                    <a:pos x="T4" y="T5"/>
                  </a:cxn>
                </a:cxnLst>
                <a:rect l="0" t="0" r="r" b="b"/>
                <a:pathLst>
                  <a:path w="83" h="126">
                    <a:moveTo>
                      <a:pt x="83" y="89"/>
                    </a:moveTo>
                    <a:cubicBezTo>
                      <a:pt x="63" y="126"/>
                      <a:pt x="22" y="81"/>
                      <a:pt x="0" y="110"/>
                    </a:cubicBezTo>
                    <a:cubicBezTo>
                      <a:pt x="1" y="0"/>
                      <a:pt x="49" y="73"/>
                      <a:pt x="83"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1" name="Freeform 347">
                <a:extLst>
                  <a:ext uri="{FF2B5EF4-FFF2-40B4-BE49-F238E27FC236}">
                    <a16:creationId xmlns:a16="http://schemas.microsoft.com/office/drawing/2014/main" id="{302D7F98-4C7E-4606-936E-5DEE1B117B4A}"/>
                  </a:ext>
                </a:extLst>
              </p:cNvPr>
              <p:cNvSpPr>
                <a:spLocks/>
              </p:cNvSpPr>
              <p:nvPr/>
            </p:nvSpPr>
            <p:spPr bwMode="auto">
              <a:xfrm>
                <a:off x="2263" y="2503"/>
                <a:ext cx="10" cy="13"/>
              </a:xfrm>
              <a:custGeom>
                <a:avLst/>
                <a:gdLst>
                  <a:gd name="T0" fmla="*/ 63 w 63"/>
                  <a:gd name="T1" fmla="*/ 0 h 83"/>
                  <a:gd name="T2" fmla="*/ 0 w 63"/>
                  <a:gd name="T3" fmla="*/ 83 h 83"/>
                  <a:gd name="T4" fmla="*/ 63 w 63"/>
                  <a:gd name="T5" fmla="*/ 0 h 83"/>
                </a:gdLst>
                <a:ahLst/>
                <a:cxnLst>
                  <a:cxn ang="0">
                    <a:pos x="T0" y="T1"/>
                  </a:cxn>
                  <a:cxn ang="0">
                    <a:pos x="T2" y="T3"/>
                  </a:cxn>
                  <a:cxn ang="0">
                    <a:pos x="T4" y="T5"/>
                  </a:cxn>
                </a:cxnLst>
                <a:rect l="0" t="0" r="r" b="b"/>
                <a:pathLst>
                  <a:path w="63" h="83">
                    <a:moveTo>
                      <a:pt x="63" y="0"/>
                    </a:moveTo>
                    <a:cubicBezTo>
                      <a:pt x="63" y="43"/>
                      <a:pt x="34" y="65"/>
                      <a:pt x="0" y="83"/>
                    </a:cubicBezTo>
                    <a:cubicBezTo>
                      <a:pt x="1" y="41"/>
                      <a:pt x="27" y="17"/>
                      <a:pt x="6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2" name="Freeform 348">
                <a:extLst>
                  <a:ext uri="{FF2B5EF4-FFF2-40B4-BE49-F238E27FC236}">
                    <a16:creationId xmlns:a16="http://schemas.microsoft.com/office/drawing/2014/main" id="{338E0C10-1DF6-44D7-A69C-55CD47527E58}"/>
                  </a:ext>
                </a:extLst>
              </p:cNvPr>
              <p:cNvSpPr>
                <a:spLocks/>
              </p:cNvSpPr>
              <p:nvPr/>
            </p:nvSpPr>
            <p:spPr bwMode="auto">
              <a:xfrm>
                <a:off x="2260" y="2452"/>
                <a:ext cx="14" cy="8"/>
              </a:xfrm>
              <a:custGeom>
                <a:avLst/>
                <a:gdLst>
                  <a:gd name="T0" fmla="*/ 0 w 90"/>
                  <a:gd name="T1" fmla="*/ 49 h 49"/>
                  <a:gd name="T2" fmla="*/ 90 w 90"/>
                  <a:gd name="T3" fmla="*/ 0 h 49"/>
                  <a:gd name="T4" fmla="*/ 0 w 90"/>
                  <a:gd name="T5" fmla="*/ 49 h 49"/>
                </a:gdLst>
                <a:ahLst/>
                <a:cxnLst>
                  <a:cxn ang="0">
                    <a:pos x="T0" y="T1"/>
                  </a:cxn>
                  <a:cxn ang="0">
                    <a:pos x="T2" y="T3"/>
                  </a:cxn>
                  <a:cxn ang="0">
                    <a:pos x="T4" y="T5"/>
                  </a:cxn>
                </a:cxnLst>
                <a:rect l="0" t="0" r="r" b="b"/>
                <a:pathLst>
                  <a:path w="90" h="49">
                    <a:moveTo>
                      <a:pt x="0" y="49"/>
                    </a:moveTo>
                    <a:cubicBezTo>
                      <a:pt x="18" y="11"/>
                      <a:pt x="53" y="4"/>
                      <a:pt x="90" y="0"/>
                    </a:cubicBezTo>
                    <a:cubicBezTo>
                      <a:pt x="71" y="36"/>
                      <a:pt x="35" y="43"/>
                      <a:pt x="0"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3" name="Freeform 349">
                <a:extLst>
                  <a:ext uri="{FF2B5EF4-FFF2-40B4-BE49-F238E27FC236}">
                    <a16:creationId xmlns:a16="http://schemas.microsoft.com/office/drawing/2014/main" id="{DA8089EA-6212-4555-80AE-3A7E95853F6F}"/>
                  </a:ext>
                </a:extLst>
              </p:cNvPr>
              <p:cNvSpPr>
                <a:spLocks/>
              </p:cNvSpPr>
              <p:nvPr/>
            </p:nvSpPr>
            <p:spPr bwMode="auto">
              <a:xfrm>
                <a:off x="1863" y="2564"/>
                <a:ext cx="35" cy="16"/>
              </a:xfrm>
              <a:custGeom>
                <a:avLst/>
                <a:gdLst>
                  <a:gd name="T0" fmla="*/ 4 w 225"/>
                  <a:gd name="T1" fmla="*/ 56 h 109"/>
                  <a:gd name="T2" fmla="*/ 37 w 225"/>
                  <a:gd name="T3" fmla="*/ 39 h 109"/>
                  <a:gd name="T4" fmla="*/ 212 w 225"/>
                  <a:gd name="T5" fmla="*/ 0 h 109"/>
                  <a:gd name="T6" fmla="*/ 214 w 225"/>
                  <a:gd name="T7" fmla="*/ 25 h 109"/>
                  <a:gd name="T8" fmla="*/ 27 w 225"/>
                  <a:gd name="T9" fmla="*/ 80 h 109"/>
                  <a:gd name="T10" fmla="*/ 4 w 225"/>
                  <a:gd name="T11" fmla="*/ 56 h 109"/>
                </a:gdLst>
                <a:ahLst/>
                <a:cxnLst>
                  <a:cxn ang="0">
                    <a:pos x="T0" y="T1"/>
                  </a:cxn>
                  <a:cxn ang="0">
                    <a:pos x="T2" y="T3"/>
                  </a:cxn>
                  <a:cxn ang="0">
                    <a:pos x="T4" y="T5"/>
                  </a:cxn>
                  <a:cxn ang="0">
                    <a:pos x="T6" y="T7"/>
                  </a:cxn>
                  <a:cxn ang="0">
                    <a:pos x="T8" y="T9"/>
                  </a:cxn>
                  <a:cxn ang="0">
                    <a:pos x="T10" y="T11"/>
                  </a:cxn>
                </a:cxnLst>
                <a:rect l="0" t="0" r="r" b="b"/>
                <a:pathLst>
                  <a:path w="225" h="109">
                    <a:moveTo>
                      <a:pt x="4" y="56"/>
                    </a:moveTo>
                    <a:cubicBezTo>
                      <a:pt x="16" y="50"/>
                      <a:pt x="33" y="36"/>
                      <a:pt x="37" y="39"/>
                    </a:cubicBezTo>
                    <a:cubicBezTo>
                      <a:pt x="111" y="91"/>
                      <a:pt x="160" y="42"/>
                      <a:pt x="212" y="0"/>
                    </a:cubicBezTo>
                    <a:cubicBezTo>
                      <a:pt x="224" y="7"/>
                      <a:pt x="225" y="15"/>
                      <a:pt x="214" y="25"/>
                    </a:cubicBezTo>
                    <a:cubicBezTo>
                      <a:pt x="169" y="102"/>
                      <a:pt x="103" y="109"/>
                      <a:pt x="27" y="80"/>
                    </a:cubicBezTo>
                    <a:cubicBezTo>
                      <a:pt x="6" y="86"/>
                      <a:pt x="0" y="76"/>
                      <a:pt x="4" y="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4" name="Freeform 350">
                <a:extLst>
                  <a:ext uri="{FF2B5EF4-FFF2-40B4-BE49-F238E27FC236}">
                    <a16:creationId xmlns:a16="http://schemas.microsoft.com/office/drawing/2014/main" id="{2A6E9AD6-8E20-4EC0-9E7D-0B2FA31E5766}"/>
                  </a:ext>
                </a:extLst>
              </p:cNvPr>
              <p:cNvSpPr>
                <a:spLocks/>
              </p:cNvSpPr>
              <p:nvPr/>
            </p:nvSpPr>
            <p:spPr bwMode="auto">
              <a:xfrm>
                <a:off x="1937" y="2530"/>
                <a:ext cx="19" cy="19"/>
              </a:xfrm>
              <a:custGeom>
                <a:avLst/>
                <a:gdLst>
                  <a:gd name="T0" fmla="*/ 0 w 126"/>
                  <a:gd name="T1" fmla="*/ 110 h 123"/>
                  <a:gd name="T2" fmla="*/ 100 w 126"/>
                  <a:gd name="T3" fmla="*/ 48 h 123"/>
                  <a:gd name="T4" fmla="*/ 123 w 126"/>
                  <a:gd name="T5" fmla="*/ 49 h 123"/>
                  <a:gd name="T6" fmla="*/ 27 w 126"/>
                  <a:gd name="T7" fmla="*/ 112 h 123"/>
                  <a:gd name="T8" fmla="*/ 0 w 126"/>
                  <a:gd name="T9" fmla="*/ 110 h 123"/>
                </a:gdLst>
                <a:ahLst/>
                <a:cxnLst>
                  <a:cxn ang="0">
                    <a:pos x="T0" y="T1"/>
                  </a:cxn>
                  <a:cxn ang="0">
                    <a:pos x="T2" y="T3"/>
                  </a:cxn>
                  <a:cxn ang="0">
                    <a:pos x="T4" y="T5"/>
                  </a:cxn>
                  <a:cxn ang="0">
                    <a:pos x="T6" y="T7"/>
                  </a:cxn>
                  <a:cxn ang="0">
                    <a:pos x="T8" y="T9"/>
                  </a:cxn>
                </a:cxnLst>
                <a:rect l="0" t="0" r="r" b="b"/>
                <a:pathLst>
                  <a:path w="126" h="123">
                    <a:moveTo>
                      <a:pt x="0" y="110"/>
                    </a:moveTo>
                    <a:cubicBezTo>
                      <a:pt x="12" y="55"/>
                      <a:pt x="23" y="0"/>
                      <a:pt x="100" y="48"/>
                    </a:cubicBezTo>
                    <a:cubicBezTo>
                      <a:pt x="108" y="37"/>
                      <a:pt x="116" y="37"/>
                      <a:pt x="123" y="49"/>
                    </a:cubicBezTo>
                    <a:cubicBezTo>
                      <a:pt x="126" y="123"/>
                      <a:pt x="26" y="42"/>
                      <a:pt x="27" y="112"/>
                    </a:cubicBezTo>
                    <a:cubicBezTo>
                      <a:pt x="17" y="121"/>
                      <a:pt x="8" y="121"/>
                      <a:pt x="0" y="1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5" name="Freeform 351">
                <a:extLst>
                  <a:ext uri="{FF2B5EF4-FFF2-40B4-BE49-F238E27FC236}">
                    <a16:creationId xmlns:a16="http://schemas.microsoft.com/office/drawing/2014/main" id="{43E7F24D-8790-452C-95B3-98822581BD64}"/>
                  </a:ext>
                </a:extLst>
              </p:cNvPr>
              <p:cNvSpPr>
                <a:spLocks/>
              </p:cNvSpPr>
              <p:nvPr/>
            </p:nvSpPr>
            <p:spPr bwMode="auto">
              <a:xfrm>
                <a:off x="1952" y="2516"/>
                <a:ext cx="19" cy="22"/>
              </a:xfrm>
              <a:custGeom>
                <a:avLst/>
                <a:gdLst>
                  <a:gd name="T0" fmla="*/ 23 w 123"/>
                  <a:gd name="T1" fmla="*/ 144 h 144"/>
                  <a:gd name="T2" fmla="*/ 0 w 123"/>
                  <a:gd name="T3" fmla="*/ 143 h 144"/>
                  <a:gd name="T4" fmla="*/ 113 w 123"/>
                  <a:gd name="T5" fmla="*/ 1 h 144"/>
                  <a:gd name="T6" fmla="*/ 123 w 123"/>
                  <a:gd name="T7" fmla="*/ 0 h 144"/>
                  <a:gd name="T8" fmla="*/ 23 w 123"/>
                  <a:gd name="T9" fmla="*/ 144 h 144"/>
                </a:gdLst>
                <a:ahLst/>
                <a:cxnLst>
                  <a:cxn ang="0">
                    <a:pos x="T0" y="T1"/>
                  </a:cxn>
                  <a:cxn ang="0">
                    <a:pos x="T2" y="T3"/>
                  </a:cxn>
                  <a:cxn ang="0">
                    <a:pos x="T4" y="T5"/>
                  </a:cxn>
                  <a:cxn ang="0">
                    <a:pos x="T6" y="T7"/>
                  </a:cxn>
                  <a:cxn ang="0">
                    <a:pos x="T8" y="T9"/>
                  </a:cxn>
                </a:cxnLst>
                <a:rect l="0" t="0" r="r" b="b"/>
                <a:pathLst>
                  <a:path w="123" h="144">
                    <a:moveTo>
                      <a:pt x="23" y="144"/>
                    </a:moveTo>
                    <a:cubicBezTo>
                      <a:pt x="15" y="144"/>
                      <a:pt x="7" y="143"/>
                      <a:pt x="0" y="143"/>
                    </a:cubicBezTo>
                    <a:cubicBezTo>
                      <a:pt x="17" y="79"/>
                      <a:pt x="80" y="51"/>
                      <a:pt x="113" y="1"/>
                    </a:cubicBezTo>
                    <a:cubicBezTo>
                      <a:pt x="123" y="0"/>
                      <a:pt x="123" y="0"/>
                      <a:pt x="123" y="0"/>
                    </a:cubicBezTo>
                    <a:cubicBezTo>
                      <a:pt x="121" y="70"/>
                      <a:pt x="62" y="100"/>
                      <a:pt x="23" y="14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6" name="Freeform 352">
                <a:extLst>
                  <a:ext uri="{FF2B5EF4-FFF2-40B4-BE49-F238E27FC236}">
                    <a16:creationId xmlns:a16="http://schemas.microsoft.com/office/drawing/2014/main" id="{8223C423-CECA-46AC-8009-43E25921B240}"/>
                  </a:ext>
                </a:extLst>
              </p:cNvPr>
              <p:cNvSpPr>
                <a:spLocks/>
              </p:cNvSpPr>
              <p:nvPr/>
            </p:nvSpPr>
            <p:spPr bwMode="auto">
              <a:xfrm>
                <a:off x="1849" y="2572"/>
                <a:ext cx="18" cy="20"/>
              </a:xfrm>
              <a:custGeom>
                <a:avLst/>
                <a:gdLst>
                  <a:gd name="T0" fmla="*/ 96 w 119"/>
                  <a:gd name="T1" fmla="*/ 0 h 129"/>
                  <a:gd name="T2" fmla="*/ 119 w 119"/>
                  <a:gd name="T3" fmla="*/ 24 h 129"/>
                  <a:gd name="T4" fmla="*/ 58 w 119"/>
                  <a:gd name="T5" fmla="*/ 129 h 129"/>
                  <a:gd name="T6" fmla="*/ 96 w 119"/>
                  <a:gd name="T7" fmla="*/ 0 h 129"/>
                </a:gdLst>
                <a:ahLst/>
                <a:cxnLst>
                  <a:cxn ang="0">
                    <a:pos x="T0" y="T1"/>
                  </a:cxn>
                  <a:cxn ang="0">
                    <a:pos x="T2" y="T3"/>
                  </a:cxn>
                  <a:cxn ang="0">
                    <a:pos x="T4" y="T5"/>
                  </a:cxn>
                  <a:cxn ang="0">
                    <a:pos x="T6" y="T7"/>
                  </a:cxn>
                </a:cxnLst>
                <a:rect l="0" t="0" r="r" b="b"/>
                <a:pathLst>
                  <a:path w="119" h="129">
                    <a:moveTo>
                      <a:pt x="96" y="0"/>
                    </a:moveTo>
                    <a:cubicBezTo>
                      <a:pt x="104" y="8"/>
                      <a:pt x="111" y="16"/>
                      <a:pt x="119" y="24"/>
                    </a:cubicBezTo>
                    <a:cubicBezTo>
                      <a:pt x="89" y="53"/>
                      <a:pt x="57" y="82"/>
                      <a:pt x="58" y="129"/>
                    </a:cubicBezTo>
                    <a:cubicBezTo>
                      <a:pt x="35" y="76"/>
                      <a:pt x="0" y="19"/>
                      <a:pt x="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7" name="Freeform 353">
                <a:extLst>
                  <a:ext uri="{FF2B5EF4-FFF2-40B4-BE49-F238E27FC236}">
                    <a16:creationId xmlns:a16="http://schemas.microsoft.com/office/drawing/2014/main" id="{60AC9C7E-4F56-44BB-80E1-46D93383BDC5}"/>
                  </a:ext>
                </a:extLst>
              </p:cNvPr>
              <p:cNvSpPr>
                <a:spLocks/>
              </p:cNvSpPr>
              <p:nvPr/>
            </p:nvSpPr>
            <p:spPr bwMode="auto">
              <a:xfrm>
                <a:off x="1879" y="2603"/>
                <a:ext cx="23" cy="17"/>
              </a:xfrm>
              <a:custGeom>
                <a:avLst/>
                <a:gdLst>
                  <a:gd name="T0" fmla="*/ 110 w 149"/>
                  <a:gd name="T1" fmla="*/ 115 h 115"/>
                  <a:gd name="T2" fmla="*/ 7 w 149"/>
                  <a:gd name="T3" fmla="*/ 52 h 115"/>
                  <a:gd name="T4" fmla="*/ 2 w 149"/>
                  <a:gd name="T5" fmla="*/ 37 h 115"/>
                  <a:gd name="T6" fmla="*/ 8 w 149"/>
                  <a:gd name="T7" fmla="*/ 30 h 115"/>
                  <a:gd name="T8" fmla="*/ 110 w 149"/>
                  <a:gd name="T9" fmla="*/ 115 h 115"/>
                </a:gdLst>
                <a:ahLst/>
                <a:cxnLst>
                  <a:cxn ang="0">
                    <a:pos x="T0" y="T1"/>
                  </a:cxn>
                  <a:cxn ang="0">
                    <a:pos x="T2" y="T3"/>
                  </a:cxn>
                  <a:cxn ang="0">
                    <a:pos x="T4" y="T5"/>
                  </a:cxn>
                  <a:cxn ang="0">
                    <a:pos x="T6" y="T7"/>
                  </a:cxn>
                  <a:cxn ang="0">
                    <a:pos x="T8" y="T9"/>
                  </a:cxn>
                </a:cxnLst>
                <a:rect l="0" t="0" r="r" b="b"/>
                <a:pathLst>
                  <a:path w="149" h="115">
                    <a:moveTo>
                      <a:pt x="110" y="115"/>
                    </a:moveTo>
                    <a:cubicBezTo>
                      <a:pt x="63" y="115"/>
                      <a:pt x="75" y="19"/>
                      <a:pt x="7" y="52"/>
                    </a:cubicBezTo>
                    <a:cubicBezTo>
                      <a:pt x="2" y="46"/>
                      <a:pt x="0" y="42"/>
                      <a:pt x="2" y="37"/>
                    </a:cubicBezTo>
                    <a:cubicBezTo>
                      <a:pt x="4" y="32"/>
                      <a:pt x="6" y="30"/>
                      <a:pt x="8" y="30"/>
                    </a:cubicBezTo>
                    <a:cubicBezTo>
                      <a:pt x="66" y="30"/>
                      <a:pt x="149" y="0"/>
                      <a:pt x="110" y="1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8" name="Freeform 354">
                <a:extLst>
                  <a:ext uri="{FF2B5EF4-FFF2-40B4-BE49-F238E27FC236}">
                    <a16:creationId xmlns:a16="http://schemas.microsoft.com/office/drawing/2014/main" id="{24ED198A-6E77-485F-A7C5-FD639D1D0F21}"/>
                  </a:ext>
                </a:extLst>
              </p:cNvPr>
              <p:cNvSpPr>
                <a:spLocks/>
              </p:cNvSpPr>
              <p:nvPr/>
            </p:nvSpPr>
            <p:spPr bwMode="auto">
              <a:xfrm>
                <a:off x="1965" y="2493"/>
                <a:ext cx="17" cy="23"/>
              </a:xfrm>
              <a:custGeom>
                <a:avLst/>
                <a:gdLst>
                  <a:gd name="T0" fmla="*/ 41 w 114"/>
                  <a:gd name="T1" fmla="*/ 149 h 150"/>
                  <a:gd name="T2" fmla="*/ 31 w 114"/>
                  <a:gd name="T3" fmla="*/ 150 h 150"/>
                  <a:gd name="T4" fmla="*/ 65 w 114"/>
                  <a:gd name="T5" fmla="*/ 0 h 150"/>
                  <a:gd name="T6" fmla="*/ 41 w 114"/>
                  <a:gd name="T7" fmla="*/ 149 h 150"/>
                </a:gdLst>
                <a:ahLst/>
                <a:cxnLst>
                  <a:cxn ang="0">
                    <a:pos x="T0" y="T1"/>
                  </a:cxn>
                  <a:cxn ang="0">
                    <a:pos x="T2" y="T3"/>
                  </a:cxn>
                  <a:cxn ang="0">
                    <a:pos x="T4" y="T5"/>
                  </a:cxn>
                  <a:cxn ang="0">
                    <a:pos x="T6" y="T7"/>
                  </a:cxn>
                </a:cxnLst>
                <a:rect l="0" t="0" r="r" b="b"/>
                <a:pathLst>
                  <a:path w="114" h="150">
                    <a:moveTo>
                      <a:pt x="41" y="149"/>
                    </a:moveTo>
                    <a:cubicBezTo>
                      <a:pt x="41" y="149"/>
                      <a:pt x="31" y="150"/>
                      <a:pt x="31" y="150"/>
                    </a:cubicBezTo>
                    <a:cubicBezTo>
                      <a:pt x="0" y="90"/>
                      <a:pt x="56" y="51"/>
                      <a:pt x="65" y="0"/>
                    </a:cubicBezTo>
                    <a:cubicBezTo>
                      <a:pt x="114" y="59"/>
                      <a:pt x="50" y="100"/>
                      <a:pt x="41"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9" name="Freeform 355">
                <a:extLst>
                  <a:ext uri="{FF2B5EF4-FFF2-40B4-BE49-F238E27FC236}">
                    <a16:creationId xmlns:a16="http://schemas.microsoft.com/office/drawing/2014/main" id="{CB77270D-74A2-4C9A-87E5-D14268A7ED2E}"/>
                  </a:ext>
                </a:extLst>
              </p:cNvPr>
              <p:cNvSpPr>
                <a:spLocks/>
              </p:cNvSpPr>
              <p:nvPr/>
            </p:nvSpPr>
            <p:spPr bwMode="auto">
              <a:xfrm>
                <a:off x="1860" y="2595"/>
                <a:ext cx="20" cy="16"/>
              </a:xfrm>
              <a:custGeom>
                <a:avLst/>
                <a:gdLst>
                  <a:gd name="T0" fmla="*/ 127 w 127"/>
                  <a:gd name="T1" fmla="*/ 80 h 102"/>
                  <a:gd name="T2" fmla="*/ 126 w 127"/>
                  <a:gd name="T3" fmla="*/ 102 h 102"/>
                  <a:gd name="T4" fmla="*/ 0 w 127"/>
                  <a:gd name="T5" fmla="*/ 0 h 102"/>
                  <a:gd name="T6" fmla="*/ 127 w 127"/>
                  <a:gd name="T7" fmla="*/ 80 h 102"/>
                </a:gdLst>
                <a:ahLst/>
                <a:cxnLst>
                  <a:cxn ang="0">
                    <a:pos x="T0" y="T1"/>
                  </a:cxn>
                  <a:cxn ang="0">
                    <a:pos x="T2" y="T3"/>
                  </a:cxn>
                  <a:cxn ang="0">
                    <a:pos x="T4" y="T5"/>
                  </a:cxn>
                  <a:cxn ang="0">
                    <a:pos x="T6" y="T7"/>
                  </a:cxn>
                </a:cxnLst>
                <a:rect l="0" t="0" r="r" b="b"/>
                <a:pathLst>
                  <a:path w="127" h="102">
                    <a:moveTo>
                      <a:pt x="127" y="80"/>
                    </a:moveTo>
                    <a:cubicBezTo>
                      <a:pt x="127" y="87"/>
                      <a:pt x="127" y="94"/>
                      <a:pt x="126" y="102"/>
                    </a:cubicBezTo>
                    <a:cubicBezTo>
                      <a:pt x="87" y="64"/>
                      <a:pt x="19" y="63"/>
                      <a:pt x="0" y="0"/>
                    </a:cubicBezTo>
                    <a:cubicBezTo>
                      <a:pt x="52" y="12"/>
                      <a:pt x="93" y="40"/>
                      <a:pt x="127" y="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0" name="Freeform 356">
                <a:extLst>
                  <a:ext uri="{FF2B5EF4-FFF2-40B4-BE49-F238E27FC236}">
                    <a16:creationId xmlns:a16="http://schemas.microsoft.com/office/drawing/2014/main" id="{3FC04BF1-18BC-45FC-9363-0D87B5BC3183}"/>
                  </a:ext>
                </a:extLst>
              </p:cNvPr>
              <p:cNvSpPr>
                <a:spLocks/>
              </p:cNvSpPr>
              <p:nvPr/>
            </p:nvSpPr>
            <p:spPr bwMode="auto">
              <a:xfrm>
                <a:off x="1899" y="2626"/>
                <a:ext cx="16" cy="20"/>
              </a:xfrm>
              <a:custGeom>
                <a:avLst/>
                <a:gdLst>
                  <a:gd name="T0" fmla="*/ 104 w 109"/>
                  <a:gd name="T1" fmla="*/ 127 h 127"/>
                  <a:gd name="T2" fmla="*/ 0 w 109"/>
                  <a:gd name="T3" fmla="*/ 0 h 127"/>
                  <a:gd name="T4" fmla="*/ 104 w 109"/>
                  <a:gd name="T5" fmla="*/ 127 h 127"/>
                </a:gdLst>
                <a:ahLst/>
                <a:cxnLst>
                  <a:cxn ang="0">
                    <a:pos x="T0" y="T1"/>
                  </a:cxn>
                  <a:cxn ang="0">
                    <a:pos x="T2" y="T3"/>
                  </a:cxn>
                  <a:cxn ang="0">
                    <a:pos x="T4" y="T5"/>
                  </a:cxn>
                </a:cxnLst>
                <a:rect l="0" t="0" r="r" b="b"/>
                <a:pathLst>
                  <a:path w="109" h="127">
                    <a:moveTo>
                      <a:pt x="104" y="127"/>
                    </a:moveTo>
                    <a:cubicBezTo>
                      <a:pt x="72" y="82"/>
                      <a:pt x="18" y="56"/>
                      <a:pt x="0" y="0"/>
                    </a:cubicBezTo>
                    <a:cubicBezTo>
                      <a:pt x="61" y="21"/>
                      <a:pt x="109" y="53"/>
                      <a:pt x="104" y="1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1" name="Freeform 357">
                <a:extLst>
                  <a:ext uri="{FF2B5EF4-FFF2-40B4-BE49-F238E27FC236}">
                    <a16:creationId xmlns:a16="http://schemas.microsoft.com/office/drawing/2014/main" id="{F252DCD8-AE71-436D-BA95-28A5E7D24D48}"/>
                  </a:ext>
                </a:extLst>
              </p:cNvPr>
              <p:cNvSpPr>
                <a:spLocks/>
              </p:cNvSpPr>
              <p:nvPr/>
            </p:nvSpPr>
            <p:spPr bwMode="auto">
              <a:xfrm>
                <a:off x="1912" y="2544"/>
                <a:ext cx="16" cy="14"/>
              </a:xfrm>
              <a:custGeom>
                <a:avLst/>
                <a:gdLst>
                  <a:gd name="T0" fmla="*/ 0 w 105"/>
                  <a:gd name="T1" fmla="*/ 85 h 91"/>
                  <a:gd name="T2" fmla="*/ 105 w 105"/>
                  <a:gd name="T3" fmla="*/ 43 h 91"/>
                  <a:gd name="T4" fmla="*/ 83 w 105"/>
                  <a:gd name="T5" fmla="*/ 64 h 91"/>
                  <a:gd name="T6" fmla="*/ 0 w 105"/>
                  <a:gd name="T7" fmla="*/ 85 h 91"/>
                </a:gdLst>
                <a:ahLst/>
                <a:cxnLst>
                  <a:cxn ang="0">
                    <a:pos x="T0" y="T1"/>
                  </a:cxn>
                  <a:cxn ang="0">
                    <a:pos x="T2" y="T3"/>
                  </a:cxn>
                  <a:cxn ang="0">
                    <a:pos x="T4" y="T5"/>
                  </a:cxn>
                  <a:cxn ang="0">
                    <a:pos x="T6" y="T7"/>
                  </a:cxn>
                </a:cxnLst>
                <a:rect l="0" t="0" r="r" b="b"/>
                <a:pathLst>
                  <a:path w="105" h="91">
                    <a:moveTo>
                      <a:pt x="0" y="85"/>
                    </a:moveTo>
                    <a:cubicBezTo>
                      <a:pt x="26" y="49"/>
                      <a:pt x="47" y="0"/>
                      <a:pt x="105" y="43"/>
                    </a:cubicBezTo>
                    <a:cubicBezTo>
                      <a:pt x="103" y="56"/>
                      <a:pt x="90" y="57"/>
                      <a:pt x="83" y="64"/>
                    </a:cubicBezTo>
                    <a:cubicBezTo>
                      <a:pt x="57" y="77"/>
                      <a:pt x="31" y="91"/>
                      <a:pt x="0" y="8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2" name="Freeform 358">
                <a:extLst>
                  <a:ext uri="{FF2B5EF4-FFF2-40B4-BE49-F238E27FC236}">
                    <a16:creationId xmlns:a16="http://schemas.microsoft.com/office/drawing/2014/main" id="{B77F49A5-AE7C-4553-95D6-3E6955126766}"/>
                  </a:ext>
                </a:extLst>
              </p:cNvPr>
              <p:cNvSpPr>
                <a:spLocks/>
              </p:cNvSpPr>
              <p:nvPr/>
            </p:nvSpPr>
            <p:spPr bwMode="auto">
              <a:xfrm>
                <a:off x="1896" y="2560"/>
                <a:ext cx="16" cy="7"/>
              </a:xfrm>
              <a:custGeom>
                <a:avLst/>
                <a:gdLst>
                  <a:gd name="T0" fmla="*/ 2 w 103"/>
                  <a:gd name="T1" fmla="*/ 51 h 51"/>
                  <a:gd name="T2" fmla="*/ 0 w 103"/>
                  <a:gd name="T3" fmla="*/ 26 h 51"/>
                  <a:gd name="T4" fmla="*/ 103 w 103"/>
                  <a:gd name="T5" fmla="*/ 3 h 51"/>
                  <a:gd name="T6" fmla="*/ 2 w 103"/>
                  <a:gd name="T7" fmla="*/ 51 h 51"/>
                </a:gdLst>
                <a:ahLst/>
                <a:cxnLst>
                  <a:cxn ang="0">
                    <a:pos x="T0" y="T1"/>
                  </a:cxn>
                  <a:cxn ang="0">
                    <a:pos x="T2" y="T3"/>
                  </a:cxn>
                  <a:cxn ang="0">
                    <a:pos x="T4" y="T5"/>
                  </a:cxn>
                  <a:cxn ang="0">
                    <a:pos x="T6" y="T7"/>
                  </a:cxn>
                </a:cxnLst>
                <a:rect l="0" t="0" r="r" b="b"/>
                <a:pathLst>
                  <a:path w="103" h="51">
                    <a:moveTo>
                      <a:pt x="2" y="51"/>
                    </a:moveTo>
                    <a:cubicBezTo>
                      <a:pt x="2" y="42"/>
                      <a:pt x="1" y="34"/>
                      <a:pt x="0" y="26"/>
                    </a:cubicBezTo>
                    <a:cubicBezTo>
                      <a:pt x="32" y="7"/>
                      <a:pt x="66" y="0"/>
                      <a:pt x="103" y="3"/>
                    </a:cubicBezTo>
                    <a:cubicBezTo>
                      <a:pt x="79" y="38"/>
                      <a:pt x="38" y="39"/>
                      <a:pt x="2" y="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3" name="Freeform 359">
                <a:extLst>
                  <a:ext uri="{FF2B5EF4-FFF2-40B4-BE49-F238E27FC236}">
                    <a16:creationId xmlns:a16="http://schemas.microsoft.com/office/drawing/2014/main" id="{64596E0C-B1D1-4267-B631-ED7751D88364}"/>
                  </a:ext>
                </a:extLst>
              </p:cNvPr>
              <p:cNvSpPr>
                <a:spLocks/>
              </p:cNvSpPr>
              <p:nvPr/>
            </p:nvSpPr>
            <p:spPr bwMode="auto">
              <a:xfrm>
                <a:off x="1924" y="2547"/>
                <a:ext cx="17" cy="8"/>
              </a:xfrm>
              <a:custGeom>
                <a:avLst/>
                <a:gdLst>
                  <a:gd name="T0" fmla="*/ 0 w 106"/>
                  <a:gd name="T1" fmla="*/ 40 h 48"/>
                  <a:gd name="T2" fmla="*/ 22 w 106"/>
                  <a:gd name="T3" fmla="*/ 19 h 48"/>
                  <a:gd name="T4" fmla="*/ 79 w 106"/>
                  <a:gd name="T5" fmla="*/ 0 h 48"/>
                  <a:gd name="T6" fmla="*/ 106 w 106"/>
                  <a:gd name="T7" fmla="*/ 2 h 48"/>
                  <a:gd name="T8" fmla="*/ 0 w 106"/>
                  <a:gd name="T9" fmla="*/ 40 h 48"/>
                </a:gdLst>
                <a:ahLst/>
                <a:cxnLst>
                  <a:cxn ang="0">
                    <a:pos x="T0" y="T1"/>
                  </a:cxn>
                  <a:cxn ang="0">
                    <a:pos x="T2" y="T3"/>
                  </a:cxn>
                  <a:cxn ang="0">
                    <a:pos x="T4" y="T5"/>
                  </a:cxn>
                  <a:cxn ang="0">
                    <a:pos x="T6" y="T7"/>
                  </a:cxn>
                  <a:cxn ang="0">
                    <a:pos x="T8" y="T9"/>
                  </a:cxn>
                </a:cxnLst>
                <a:rect l="0" t="0" r="r" b="b"/>
                <a:pathLst>
                  <a:path w="106" h="48">
                    <a:moveTo>
                      <a:pt x="0" y="40"/>
                    </a:moveTo>
                    <a:cubicBezTo>
                      <a:pt x="7" y="33"/>
                      <a:pt x="14" y="26"/>
                      <a:pt x="22" y="19"/>
                    </a:cubicBezTo>
                    <a:cubicBezTo>
                      <a:pt x="41" y="13"/>
                      <a:pt x="60" y="7"/>
                      <a:pt x="79" y="0"/>
                    </a:cubicBezTo>
                    <a:cubicBezTo>
                      <a:pt x="88" y="1"/>
                      <a:pt x="97" y="2"/>
                      <a:pt x="106" y="2"/>
                    </a:cubicBezTo>
                    <a:cubicBezTo>
                      <a:pt x="82" y="48"/>
                      <a:pt x="42" y="48"/>
                      <a:pt x="0" y="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4" name="Freeform 360">
                <a:extLst>
                  <a:ext uri="{FF2B5EF4-FFF2-40B4-BE49-F238E27FC236}">
                    <a16:creationId xmlns:a16="http://schemas.microsoft.com/office/drawing/2014/main" id="{8884DC82-83B8-4F07-8FDC-B0DA009393A0}"/>
                  </a:ext>
                </a:extLst>
              </p:cNvPr>
              <p:cNvSpPr>
                <a:spLocks/>
              </p:cNvSpPr>
              <p:nvPr/>
            </p:nvSpPr>
            <p:spPr bwMode="auto">
              <a:xfrm>
                <a:off x="1970" y="2474"/>
                <a:ext cx="11" cy="17"/>
              </a:xfrm>
              <a:custGeom>
                <a:avLst/>
                <a:gdLst>
                  <a:gd name="T0" fmla="*/ 34 w 76"/>
                  <a:gd name="T1" fmla="*/ 105 h 105"/>
                  <a:gd name="T2" fmla="*/ 34 w 76"/>
                  <a:gd name="T3" fmla="*/ 0 h 105"/>
                  <a:gd name="T4" fmla="*/ 34 w 76"/>
                  <a:gd name="T5" fmla="*/ 105 h 105"/>
                </a:gdLst>
                <a:ahLst/>
                <a:cxnLst>
                  <a:cxn ang="0">
                    <a:pos x="T0" y="T1"/>
                  </a:cxn>
                  <a:cxn ang="0">
                    <a:pos x="T2" y="T3"/>
                  </a:cxn>
                  <a:cxn ang="0">
                    <a:pos x="T4" y="T5"/>
                  </a:cxn>
                </a:cxnLst>
                <a:rect l="0" t="0" r="r" b="b"/>
                <a:pathLst>
                  <a:path w="76" h="105">
                    <a:moveTo>
                      <a:pt x="34" y="105"/>
                    </a:moveTo>
                    <a:cubicBezTo>
                      <a:pt x="0" y="70"/>
                      <a:pt x="44" y="35"/>
                      <a:pt x="34" y="0"/>
                    </a:cubicBezTo>
                    <a:cubicBezTo>
                      <a:pt x="76" y="35"/>
                      <a:pt x="47" y="70"/>
                      <a:pt x="34" y="10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5" name="Freeform 361">
                <a:extLst>
                  <a:ext uri="{FF2B5EF4-FFF2-40B4-BE49-F238E27FC236}">
                    <a16:creationId xmlns:a16="http://schemas.microsoft.com/office/drawing/2014/main" id="{00EAB2B5-2480-458E-BC98-9A39CDF8AB31}"/>
                  </a:ext>
                </a:extLst>
              </p:cNvPr>
              <p:cNvSpPr>
                <a:spLocks/>
              </p:cNvSpPr>
              <p:nvPr/>
            </p:nvSpPr>
            <p:spPr bwMode="auto">
              <a:xfrm>
                <a:off x="1284" y="2039"/>
                <a:ext cx="29" cy="46"/>
              </a:xfrm>
              <a:custGeom>
                <a:avLst/>
                <a:gdLst>
                  <a:gd name="T0" fmla="*/ 148 w 194"/>
                  <a:gd name="T1" fmla="*/ 253 h 299"/>
                  <a:gd name="T2" fmla="*/ 129 w 194"/>
                  <a:gd name="T3" fmla="*/ 273 h 299"/>
                  <a:gd name="T4" fmla="*/ 109 w 194"/>
                  <a:gd name="T5" fmla="*/ 294 h 299"/>
                  <a:gd name="T6" fmla="*/ 41 w 194"/>
                  <a:gd name="T7" fmla="*/ 56 h 299"/>
                  <a:gd name="T8" fmla="*/ 6 w 194"/>
                  <a:gd name="T9" fmla="*/ 26 h 299"/>
                  <a:gd name="T10" fmla="*/ 26 w 194"/>
                  <a:gd name="T11" fmla="*/ 7 h 299"/>
                  <a:gd name="T12" fmla="*/ 44 w 194"/>
                  <a:gd name="T13" fmla="*/ 12 h 299"/>
                  <a:gd name="T14" fmla="*/ 194 w 194"/>
                  <a:gd name="T15" fmla="*/ 233 h 299"/>
                  <a:gd name="T16" fmla="*/ 148 w 194"/>
                  <a:gd name="T17" fmla="*/ 2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299">
                    <a:moveTo>
                      <a:pt x="148" y="253"/>
                    </a:moveTo>
                    <a:cubicBezTo>
                      <a:pt x="141" y="260"/>
                      <a:pt x="135" y="266"/>
                      <a:pt x="129" y="273"/>
                    </a:cubicBezTo>
                    <a:cubicBezTo>
                      <a:pt x="137" y="295"/>
                      <a:pt x="127" y="299"/>
                      <a:pt x="109" y="294"/>
                    </a:cubicBezTo>
                    <a:cubicBezTo>
                      <a:pt x="120" y="205"/>
                      <a:pt x="37" y="143"/>
                      <a:pt x="41" y="56"/>
                    </a:cubicBezTo>
                    <a:cubicBezTo>
                      <a:pt x="42" y="37"/>
                      <a:pt x="22" y="31"/>
                      <a:pt x="6" y="26"/>
                    </a:cubicBezTo>
                    <a:cubicBezTo>
                      <a:pt x="0" y="6"/>
                      <a:pt x="7" y="0"/>
                      <a:pt x="26" y="7"/>
                    </a:cubicBezTo>
                    <a:cubicBezTo>
                      <a:pt x="32" y="9"/>
                      <a:pt x="44" y="9"/>
                      <a:pt x="44" y="12"/>
                    </a:cubicBezTo>
                    <a:cubicBezTo>
                      <a:pt x="58" y="110"/>
                      <a:pt x="142" y="161"/>
                      <a:pt x="194" y="233"/>
                    </a:cubicBezTo>
                    <a:cubicBezTo>
                      <a:pt x="181" y="245"/>
                      <a:pt x="159" y="236"/>
                      <a:pt x="148" y="2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6" name="Freeform 362">
                <a:extLst>
                  <a:ext uri="{FF2B5EF4-FFF2-40B4-BE49-F238E27FC236}">
                    <a16:creationId xmlns:a16="http://schemas.microsoft.com/office/drawing/2014/main" id="{F3B3FC3E-4215-439E-B1C6-2643E62C8C2D}"/>
                  </a:ext>
                </a:extLst>
              </p:cNvPr>
              <p:cNvSpPr>
                <a:spLocks/>
              </p:cNvSpPr>
              <p:nvPr/>
            </p:nvSpPr>
            <p:spPr bwMode="auto">
              <a:xfrm>
                <a:off x="1235" y="1974"/>
                <a:ext cx="24" cy="30"/>
              </a:xfrm>
              <a:custGeom>
                <a:avLst/>
                <a:gdLst>
                  <a:gd name="T0" fmla="*/ 98 w 153"/>
                  <a:gd name="T1" fmla="*/ 1 h 192"/>
                  <a:gd name="T2" fmla="*/ 114 w 153"/>
                  <a:gd name="T3" fmla="*/ 0 h 192"/>
                  <a:gd name="T4" fmla="*/ 153 w 153"/>
                  <a:gd name="T5" fmla="*/ 183 h 192"/>
                  <a:gd name="T6" fmla="*/ 74 w 153"/>
                  <a:gd name="T7" fmla="*/ 145 h 192"/>
                  <a:gd name="T8" fmla="*/ 0 w 153"/>
                  <a:gd name="T9" fmla="*/ 114 h 192"/>
                  <a:gd name="T10" fmla="*/ 98 w 153"/>
                  <a:gd name="T11" fmla="*/ 1 h 192"/>
                </a:gdLst>
                <a:ahLst/>
                <a:cxnLst>
                  <a:cxn ang="0">
                    <a:pos x="T0" y="T1"/>
                  </a:cxn>
                  <a:cxn ang="0">
                    <a:pos x="T2" y="T3"/>
                  </a:cxn>
                  <a:cxn ang="0">
                    <a:pos x="T4" y="T5"/>
                  </a:cxn>
                  <a:cxn ang="0">
                    <a:pos x="T6" y="T7"/>
                  </a:cxn>
                  <a:cxn ang="0">
                    <a:pos x="T8" y="T9"/>
                  </a:cxn>
                  <a:cxn ang="0">
                    <a:pos x="T10" y="T11"/>
                  </a:cxn>
                </a:cxnLst>
                <a:rect l="0" t="0" r="r" b="b"/>
                <a:pathLst>
                  <a:path w="153" h="192">
                    <a:moveTo>
                      <a:pt x="98" y="1"/>
                    </a:moveTo>
                    <a:cubicBezTo>
                      <a:pt x="104" y="0"/>
                      <a:pt x="109" y="0"/>
                      <a:pt x="114" y="0"/>
                    </a:cubicBezTo>
                    <a:cubicBezTo>
                      <a:pt x="19" y="84"/>
                      <a:pt x="101" y="130"/>
                      <a:pt x="153" y="183"/>
                    </a:cubicBezTo>
                    <a:cubicBezTo>
                      <a:pt x="116" y="192"/>
                      <a:pt x="101" y="157"/>
                      <a:pt x="74" y="145"/>
                    </a:cubicBezTo>
                    <a:cubicBezTo>
                      <a:pt x="49" y="135"/>
                      <a:pt x="25" y="124"/>
                      <a:pt x="0" y="114"/>
                    </a:cubicBezTo>
                    <a:cubicBezTo>
                      <a:pt x="25" y="67"/>
                      <a:pt x="44" y="18"/>
                      <a:pt x="98"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7" name="Freeform 363">
                <a:extLst>
                  <a:ext uri="{FF2B5EF4-FFF2-40B4-BE49-F238E27FC236}">
                    <a16:creationId xmlns:a16="http://schemas.microsoft.com/office/drawing/2014/main" id="{EF1B8EAD-8AD9-4254-8203-C2B2A39C650B}"/>
                  </a:ext>
                </a:extLst>
              </p:cNvPr>
              <p:cNvSpPr>
                <a:spLocks/>
              </p:cNvSpPr>
              <p:nvPr/>
            </p:nvSpPr>
            <p:spPr bwMode="auto">
              <a:xfrm>
                <a:off x="1358" y="2061"/>
                <a:ext cx="15" cy="32"/>
              </a:xfrm>
              <a:custGeom>
                <a:avLst/>
                <a:gdLst>
                  <a:gd name="T0" fmla="*/ 99 w 99"/>
                  <a:gd name="T1" fmla="*/ 8 h 203"/>
                  <a:gd name="T2" fmla="*/ 33 w 99"/>
                  <a:gd name="T3" fmla="*/ 193 h 203"/>
                  <a:gd name="T4" fmla="*/ 11 w 99"/>
                  <a:gd name="T5" fmla="*/ 194 h 203"/>
                  <a:gd name="T6" fmla="*/ 82 w 99"/>
                  <a:gd name="T7" fmla="*/ 9 h 203"/>
                  <a:gd name="T8" fmla="*/ 99 w 99"/>
                  <a:gd name="T9" fmla="*/ 8 h 203"/>
                </a:gdLst>
                <a:ahLst/>
                <a:cxnLst>
                  <a:cxn ang="0">
                    <a:pos x="T0" y="T1"/>
                  </a:cxn>
                  <a:cxn ang="0">
                    <a:pos x="T2" y="T3"/>
                  </a:cxn>
                  <a:cxn ang="0">
                    <a:pos x="T4" y="T5"/>
                  </a:cxn>
                  <a:cxn ang="0">
                    <a:pos x="T6" y="T7"/>
                  </a:cxn>
                  <a:cxn ang="0">
                    <a:pos x="T8" y="T9"/>
                  </a:cxn>
                </a:cxnLst>
                <a:rect l="0" t="0" r="r" b="b"/>
                <a:pathLst>
                  <a:path w="99" h="203">
                    <a:moveTo>
                      <a:pt x="99" y="8"/>
                    </a:moveTo>
                    <a:cubicBezTo>
                      <a:pt x="82" y="71"/>
                      <a:pt x="39" y="125"/>
                      <a:pt x="33" y="193"/>
                    </a:cubicBezTo>
                    <a:cubicBezTo>
                      <a:pt x="26" y="203"/>
                      <a:pt x="19" y="203"/>
                      <a:pt x="11" y="194"/>
                    </a:cubicBezTo>
                    <a:cubicBezTo>
                      <a:pt x="0" y="119"/>
                      <a:pt x="27" y="58"/>
                      <a:pt x="82" y="9"/>
                    </a:cubicBezTo>
                    <a:cubicBezTo>
                      <a:pt x="87" y="0"/>
                      <a:pt x="93" y="0"/>
                      <a:pt x="99"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8" name="Freeform 364">
                <a:extLst>
                  <a:ext uri="{FF2B5EF4-FFF2-40B4-BE49-F238E27FC236}">
                    <a16:creationId xmlns:a16="http://schemas.microsoft.com/office/drawing/2014/main" id="{FC7899DF-CDB4-4BE8-9147-E18ED02B6B5C}"/>
                  </a:ext>
                </a:extLst>
              </p:cNvPr>
              <p:cNvSpPr>
                <a:spLocks/>
              </p:cNvSpPr>
              <p:nvPr/>
            </p:nvSpPr>
            <p:spPr bwMode="auto">
              <a:xfrm>
                <a:off x="1370" y="2054"/>
                <a:ext cx="25" cy="17"/>
              </a:xfrm>
              <a:custGeom>
                <a:avLst/>
                <a:gdLst>
                  <a:gd name="T0" fmla="*/ 17 w 162"/>
                  <a:gd name="T1" fmla="*/ 53 h 105"/>
                  <a:gd name="T2" fmla="*/ 0 w 162"/>
                  <a:gd name="T3" fmla="*/ 54 h 105"/>
                  <a:gd name="T4" fmla="*/ 137 w 162"/>
                  <a:gd name="T5" fmla="*/ 10 h 105"/>
                  <a:gd name="T6" fmla="*/ 159 w 162"/>
                  <a:gd name="T7" fmla="*/ 29 h 105"/>
                  <a:gd name="T8" fmla="*/ 17 w 162"/>
                  <a:gd name="T9" fmla="*/ 53 h 105"/>
                </a:gdLst>
                <a:ahLst/>
                <a:cxnLst>
                  <a:cxn ang="0">
                    <a:pos x="T0" y="T1"/>
                  </a:cxn>
                  <a:cxn ang="0">
                    <a:pos x="T2" y="T3"/>
                  </a:cxn>
                  <a:cxn ang="0">
                    <a:pos x="T4" y="T5"/>
                  </a:cxn>
                  <a:cxn ang="0">
                    <a:pos x="T6" y="T7"/>
                  </a:cxn>
                  <a:cxn ang="0">
                    <a:pos x="T8" y="T9"/>
                  </a:cxn>
                </a:cxnLst>
                <a:rect l="0" t="0" r="r" b="b"/>
                <a:pathLst>
                  <a:path w="162" h="105">
                    <a:moveTo>
                      <a:pt x="17" y="53"/>
                    </a:moveTo>
                    <a:cubicBezTo>
                      <a:pt x="11" y="53"/>
                      <a:pt x="6" y="53"/>
                      <a:pt x="0" y="54"/>
                    </a:cubicBezTo>
                    <a:cubicBezTo>
                      <a:pt x="42" y="26"/>
                      <a:pt x="91" y="24"/>
                      <a:pt x="137" y="10"/>
                    </a:cubicBezTo>
                    <a:cubicBezTo>
                      <a:pt x="159" y="0"/>
                      <a:pt x="162" y="11"/>
                      <a:pt x="159" y="29"/>
                    </a:cubicBezTo>
                    <a:cubicBezTo>
                      <a:pt x="109" y="23"/>
                      <a:pt x="74" y="105"/>
                      <a:pt x="17" y="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9" name="Freeform 365">
                <a:extLst>
                  <a:ext uri="{FF2B5EF4-FFF2-40B4-BE49-F238E27FC236}">
                    <a16:creationId xmlns:a16="http://schemas.microsoft.com/office/drawing/2014/main" id="{9E015FCF-30F7-418C-9BCD-81A1D1FBCD5D}"/>
                  </a:ext>
                </a:extLst>
              </p:cNvPr>
              <p:cNvSpPr>
                <a:spLocks/>
              </p:cNvSpPr>
              <p:nvPr/>
            </p:nvSpPr>
            <p:spPr bwMode="auto">
              <a:xfrm>
                <a:off x="1306" y="2072"/>
                <a:ext cx="22" cy="16"/>
              </a:xfrm>
              <a:custGeom>
                <a:avLst/>
                <a:gdLst>
                  <a:gd name="T0" fmla="*/ 0 w 141"/>
                  <a:gd name="T1" fmla="*/ 41 h 106"/>
                  <a:gd name="T2" fmla="*/ 46 w 141"/>
                  <a:gd name="T3" fmla="*/ 21 h 106"/>
                  <a:gd name="T4" fmla="*/ 141 w 141"/>
                  <a:gd name="T5" fmla="*/ 104 h 106"/>
                  <a:gd name="T6" fmla="*/ 117 w 141"/>
                  <a:gd name="T7" fmla="*/ 106 h 106"/>
                  <a:gd name="T8" fmla="*/ 0 w 141"/>
                  <a:gd name="T9" fmla="*/ 41 h 106"/>
                </a:gdLst>
                <a:ahLst/>
                <a:cxnLst>
                  <a:cxn ang="0">
                    <a:pos x="T0" y="T1"/>
                  </a:cxn>
                  <a:cxn ang="0">
                    <a:pos x="T2" y="T3"/>
                  </a:cxn>
                  <a:cxn ang="0">
                    <a:pos x="T4" y="T5"/>
                  </a:cxn>
                  <a:cxn ang="0">
                    <a:pos x="T6" y="T7"/>
                  </a:cxn>
                  <a:cxn ang="0">
                    <a:pos x="T8" y="T9"/>
                  </a:cxn>
                </a:cxnLst>
                <a:rect l="0" t="0" r="r" b="b"/>
                <a:pathLst>
                  <a:path w="141" h="106">
                    <a:moveTo>
                      <a:pt x="0" y="41"/>
                    </a:moveTo>
                    <a:cubicBezTo>
                      <a:pt x="0" y="0"/>
                      <a:pt x="26" y="17"/>
                      <a:pt x="46" y="21"/>
                    </a:cubicBezTo>
                    <a:cubicBezTo>
                      <a:pt x="78" y="49"/>
                      <a:pt x="110" y="77"/>
                      <a:pt x="141" y="104"/>
                    </a:cubicBezTo>
                    <a:cubicBezTo>
                      <a:pt x="133" y="105"/>
                      <a:pt x="125" y="106"/>
                      <a:pt x="117" y="106"/>
                    </a:cubicBezTo>
                    <a:cubicBezTo>
                      <a:pt x="68" y="102"/>
                      <a:pt x="53" y="38"/>
                      <a:pt x="0" y="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10" name="Freeform 366">
                <a:extLst>
                  <a:ext uri="{FF2B5EF4-FFF2-40B4-BE49-F238E27FC236}">
                    <a16:creationId xmlns:a16="http://schemas.microsoft.com/office/drawing/2014/main" id="{D535649A-6F97-4F1B-90C2-837CDB9F2C1D}"/>
                  </a:ext>
                </a:extLst>
              </p:cNvPr>
              <p:cNvSpPr>
                <a:spLocks/>
              </p:cNvSpPr>
              <p:nvPr/>
            </p:nvSpPr>
            <p:spPr bwMode="auto">
              <a:xfrm>
                <a:off x="1354" y="2091"/>
                <a:ext cx="13" cy="19"/>
              </a:xfrm>
              <a:custGeom>
                <a:avLst/>
                <a:gdLst>
                  <a:gd name="T0" fmla="*/ 38 w 86"/>
                  <a:gd name="T1" fmla="*/ 1 h 119"/>
                  <a:gd name="T2" fmla="*/ 60 w 86"/>
                  <a:gd name="T3" fmla="*/ 0 h 119"/>
                  <a:gd name="T4" fmla="*/ 21 w 86"/>
                  <a:gd name="T5" fmla="*/ 119 h 119"/>
                  <a:gd name="T6" fmla="*/ 0 w 86"/>
                  <a:gd name="T7" fmla="*/ 101 h 119"/>
                  <a:gd name="T8" fmla="*/ 38 w 86"/>
                  <a:gd name="T9" fmla="*/ 1 h 119"/>
                </a:gdLst>
                <a:ahLst/>
                <a:cxnLst>
                  <a:cxn ang="0">
                    <a:pos x="T0" y="T1"/>
                  </a:cxn>
                  <a:cxn ang="0">
                    <a:pos x="T2" y="T3"/>
                  </a:cxn>
                  <a:cxn ang="0">
                    <a:pos x="T4" y="T5"/>
                  </a:cxn>
                  <a:cxn ang="0">
                    <a:pos x="T6" y="T7"/>
                  </a:cxn>
                  <a:cxn ang="0">
                    <a:pos x="T8" y="T9"/>
                  </a:cxn>
                </a:cxnLst>
                <a:rect l="0" t="0" r="r" b="b"/>
                <a:pathLst>
                  <a:path w="86" h="119">
                    <a:moveTo>
                      <a:pt x="38" y="1"/>
                    </a:moveTo>
                    <a:cubicBezTo>
                      <a:pt x="46" y="0"/>
                      <a:pt x="53" y="0"/>
                      <a:pt x="60" y="0"/>
                    </a:cubicBezTo>
                    <a:cubicBezTo>
                      <a:pt x="60" y="44"/>
                      <a:pt x="86" y="96"/>
                      <a:pt x="21" y="119"/>
                    </a:cubicBezTo>
                    <a:cubicBezTo>
                      <a:pt x="14" y="113"/>
                      <a:pt x="7" y="107"/>
                      <a:pt x="0" y="101"/>
                    </a:cubicBezTo>
                    <a:cubicBezTo>
                      <a:pt x="43" y="79"/>
                      <a:pt x="21" y="33"/>
                      <a:pt x="38"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11" name="Freeform 367">
                <a:extLst>
                  <a:ext uri="{FF2B5EF4-FFF2-40B4-BE49-F238E27FC236}">
                    <a16:creationId xmlns:a16="http://schemas.microsoft.com/office/drawing/2014/main" id="{2913BC7A-8F7D-4169-AD04-6B0F4713EA8B}"/>
                  </a:ext>
                </a:extLst>
              </p:cNvPr>
              <p:cNvSpPr>
                <a:spLocks/>
              </p:cNvSpPr>
              <p:nvPr/>
            </p:nvSpPr>
            <p:spPr bwMode="auto">
              <a:xfrm>
                <a:off x="1392" y="2051"/>
                <a:ext cx="19" cy="8"/>
              </a:xfrm>
              <a:custGeom>
                <a:avLst/>
                <a:gdLst>
                  <a:gd name="T0" fmla="*/ 22 w 129"/>
                  <a:gd name="T1" fmla="*/ 50 h 50"/>
                  <a:gd name="T2" fmla="*/ 0 w 129"/>
                  <a:gd name="T3" fmla="*/ 31 h 50"/>
                  <a:gd name="T4" fmla="*/ 129 w 129"/>
                  <a:gd name="T5" fmla="*/ 31 h 50"/>
                  <a:gd name="T6" fmla="*/ 86 w 129"/>
                  <a:gd name="T7" fmla="*/ 50 h 50"/>
                  <a:gd name="T8" fmla="*/ 22 w 129"/>
                  <a:gd name="T9" fmla="*/ 50 h 50"/>
                </a:gdLst>
                <a:ahLst/>
                <a:cxnLst>
                  <a:cxn ang="0">
                    <a:pos x="T0" y="T1"/>
                  </a:cxn>
                  <a:cxn ang="0">
                    <a:pos x="T2" y="T3"/>
                  </a:cxn>
                  <a:cxn ang="0">
                    <a:pos x="T4" y="T5"/>
                  </a:cxn>
                  <a:cxn ang="0">
                    <a:pos x="T6" y="T7"/>
                  </a:cxn>
                  <a:cxn ang="0">
                    <a:pos x="T8" y="T9"/>
                  </a:cxn>
                </a:cxnLst>
                <a:rect l="0" t="0" r="r" b="b"/>
                <a:pathLst>
                  <a:path w="129" h="50">
                    <a:moveTo>
                      <a:pt x="22" y="50"/>
                    </a:moveTo>
                    <a:cubicBezTo>
                      <a:pt x="15" y="44"/>
                      <a:pt x="8" y="38"/>
                      <a:pt x="0" y="31"/>
                    </a:cubicBezTo>
                    <a:cubicBezTo>
                      <a:pt x="43" y="0"/>
                      <a:pt x="86" y="4"/>
                      <a:pt x="129" y="31"/>
                    </a:cubicBezTo>
                    <a:cubicBezTo>
                      <a:pt x="119" y="48"/>
                      <a:pt x="97" y="38"/>
                      <a:pt x="86" y="50"/>
                    </a:cubicBezTo>
                    <a:cubicBezTo>
                      <a:pt x="64" y="50"/>
                      <a:pt x="43" y="50"/>
                      <a:pt x="22" y="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12" name="Freeform 368">
                <a:extLst>
                  <a:ext uri="{FF2B5EF4-FFF2-40B4-BE49-F238E27FC236}">
                    <a16:creationId xmlns:a16="http://schemas.microsoft.com/office/drawing/2014/main" id="{DA566BF3-ED05-4B70-B453-83097BB48FB5}"/>
                  </a:ext>
                </a:extLst>
              </p:cNvPr>
              <p:cNvSpPr>
                <a:spLocks/>
              </p:cNvSpPr>
              <p:nvPr/>
            </p:nvSpPr>
            <p:spPr bwMode="auto">
              <a:xfrm>
                <a:off x="1273" y="2029"/>
                <a:ext cx="15" cy="14"/>
              </a:xfrm>
              <a:custGeom>
                <a:avLst/>
                <a:gdLst>
                  <a:gd name="T0" fmla="*/ 93 w 93"/>
                  <a:gd name="T1" fmla="*/ 70 h 89"/>
                  <a:gd name="T2" fmla="*/ 73 w 93"/>
                  <a:gd name="T3" fmla="*/ 89 h 89"/>
                  <a:gd name="T4" fmla="*/ 8 w 93"/>
                  <a:gd name="T5" fmla="*/ 67 h 89"/>
                  <a:gd name="T6" fmla="*/ 3 w 93"/>
                  <a:gd name="T7" fmla="*/ 54 h 89"/>
                  <a:gd name="T8" fmla="*/ 9 w 93"/>
                  <a:gd name="T9" fmla="*/ 48 h 89"/>
                  <a:gd name="T10" fmla="*/ 93 w 93"/>
                  <a:gd name="T11" fmla="*/ 70 h 89"/>
                </a:gdLst>
                <a:ahLst/>
                <a:cxnLst>
                  <a:cxn ang="0">
                    <a:pos x="T0" y="T1"/>
                  </a:cxn>
                  <a:cxn ang="0">
                    <a:pos x="T2" y="T3"/>
                  </a:cxn>
                  <a:cxn ang="0">
                    <a:pos x="T4" y="T5"/>
                  </a:cxn>
                  <a:cxn ang="0">
                    <a:pos x="T6" y="T7"/>
                  </a:cxn>
                  <a:cxn ang="0">
                    <a:pos x="T8" y="T9"/>
                  </a:cxn>
                  <a:cxn ang="0">
                    <a:pos x="T10" y="T11"/>
                  </a:cxn>
                </a:cxnLst>
                <a:rect l="0" t="0" r="r" b="b"/>
                <a:pathLst>
                  <a:path w="93" h="89">
                    <a:moveTo>
                      <a:pt x="93" y="70"/>
                    </a:moveTo>
                    <a:cubicBezTo>
                      <a:pt x="86" y="76"/>
                      <a:pt x="79" y="83"/>
                      <a:pt x="73" y="89"/>
                    </a:cubicBezTo>
                    <a:cubicBezTo>
                      <a:pt x="52" y="78"/>
                      <a:pt x="39" y="47"/>
                      <a:pt x="8" y="67"/>
                    </a:cubicBezTo>
                    <a:cubicBezTo>
                      <a:pt x="2" y="62"/>
                      <a:pt x="0" y="58"/>
                      <a:pt x="3" y="54"/>
                    </a:cubicBezTo>
                    <a:cubicBezTo>
                      <a:pt x="5" y="50"/>
                      <a:pt x="7" y="48"/>
                      <a:pt x="9" y="48"/>
                    </a:cubicBezTo>
                    <a:cubicBezTo>
                      <a:pt x="39" y="0"/>
                      <a:pt x="41" y="1"/>
                      <a:pt x="93" y="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13" name="Freeform 369">
                <a:extLst>
                  <a:ext uri="{FF2B5EF4-FFF2-40B4-BE49-F238E27FC236}">
                    <a16:creationId xmlns:a16="http://schemas.microsoft.com/office/drawing/2014/main" id="{C98D51D2-201C-487F-BB51-1A7869F85DD6}"/>
                  </a:ext>
                </a:extLst>
              </p:cNvPr>
              <p:cNvSpPr>
                <a:spLocks/>
              </p:cNvSpPr>
              <p:nvPr/>
            </p:nvSpPr>
            <p:spPr bwMode="auto">
              <a:xfrm>
                <a:off x="1248" y="2005"/>
                <a:ext cx="12" cy="14"/>
              </a:xfrm>
              <a:custGeom>
                <a:avLst/>
                <a:gdLst>
                  <a:gd name="T0" fmla="*/ 71 w 83"/>
                  <a:gd name="T1" fmla="*/ 89 h 89"/>
                  <a:gd name="T2" fmla="*/ 73 w 83"/>
                  <a:gd name="T3" fmla="*/ 0 h 89"/>
                  <a:gd name="T4" fmla="*/ 74 w 83"/>
                  <a:gd name="T5" fmla="*/ 61 h 89"/>
                  <a:gd name="T6" fmla="*/ 71 w 83"/>
                  <a:gd name="T7" fmla="*/ 89 h 89"/>
                </a:gdLst>
                <a:ahLst/>
                <a:cxnLst>
                  <a:cxn ang="0">
                    <a:pos x="T0" y="T1"/>
                  </a:cxn>
                  <a:cxn ang="0">
                    <a:pos x="T2" y="T3"/>
                  </a:cxn>
                  <a:cxn ang="0">
                    <a:pos x="T4" y="T5"/>
                  </a:cxn>
                  <a:cxn ang="0">
                    <a:pos x="T6" y="T7"/>
                  </a:cxn>
                </a:cxnLst>
                <a:rect l="0" t="0" r="r" b="b"/>
                <a:pathLst>
                  <a:path w="83" h="89">
                    <a:moveTo>
                      <a:pt x="71" y="89"/>
                    </a:moveTo>
                    <a:cubicBezTo>
                      <a:pt x="39" y="58"/>
                      <a:pt x="0" y="27"/>
                      <a:pt x="73" y="0"/>
                    </a:cubicBezTo>
                    <a:cubicBezTo>
                      <a:pt x="73" y="20"/>
                      <a:pt x="74" y="41"/>
                      <a:pt x="74" y="61"/>
                    </a:cubicBezTo>
                    <a:cubicBezTo>
                      <a:pt x="83" y="72"/>
                      <a:pt x="82" y="81"/>
                      <a:pt x="71"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14" name="Freeform 370">
                <a:extLst>
                  <a:ext uri="{FF2B5EF4-FFF2-40B4-BE49-F238E27FC236}">
                    <a16:creationId xmlns:a16="http://schemas.microsoft.com/office/drawing/2014/main" id="{F3EB5238-3134-486D-AB01-CB797753B7BD}"/>
                  </a:ext>
                </a:extLst>
              </p:cNvPr>
              <p:cNvSpPr>
                <a:spLocks/>
              </p:cNvSpPr>
              <p:nvPr/>
            </p:nvSpPr>
            <p:spPr bwMode="auto">
              <a:xfrm>
                <a:off x="1420" y="2057"/>
                <a:ext cx="13" cy="9"/>
              </a:xfrm>
              <a:custGeom>
                <a:avLst/>
                <a:gdLst>
                  <a:gd name="T0" fmla="*/ 86 w 86"/>
                  <a:gd name="T1" fmla="*/ 36 h 57"/>
                  <a:gd name="T2" fmla="*/ 67 w 86"/>
                  <a:gd name="T3" fmla="*/ 57 h 57"/>
                  <a:gd name="T4" fmla="*/ 0 w 86"/>
                  <a:gd name="T5" fmla="*/ 19 h 57"/>
                  <a:gd name="T6" fmla="*/ 22 w 86"/>
                  <a:gd name="T7" fmla="*/ 0 h 57"/>
                  <a:gd name="T8" fmla="*/ 86 w 86"/>
                  <a:gd name="T9" fmla="*/ 36 h 57"/>
                </a:gdLst>
                <a:ahLst/>
                <a:cxnLst>
                  <a:cxn ang="0">
                    <a:pos x="T0" y="T1"/>
                  </a:cxn>
                  <a:cxn ang="0">
                    <a:pos x="T2" y="T3"/>
                  </a:cxn>
                  <a:cxn ang="0">
                    <a:pos x="T4" y="T5"/>
                  </a:cxn>
                  <a:cxn ang="0">
                    <a:pos x="T6" y="T7"/>
                  </a:cxn>
                  <a:cxn ang="0">
                    <a:pos x="T8" y="T9"/>
                  </a:cxn>
                </a:cxnLst>
                <a:rect l="0" t="0" r="r" b="b"/>
                <a:pathLst>
                  <a:path w="86" h="57">
                    <a:moveTo>
                      <a:pt x="86" y="36"/>
                    </a:moveTo>
                    <a:cubicBezTo>
                      <a:pt x="79" y="43"/>
                      <a:pt x="73" y="50"/>
                      <a:pt x="67" y="57"/>
                    </a:cubicBezTo>
                    <a:cubicBezTo>
                      <a:pt x="45" y="45"/>
                      <a:pt x="23" y="32"/>
                      <a:pt x="0" y="19"/>
                    </a:cubicBezTo>
                    <a:cubicBezTo>
                      <a:pt x="3" y="7"/>
                      <a:pt x="15" y="6"/>
                      <a:pt x="22" y="0"/>
                    </a:cubicBezTo>
                    <a:cubicBezTo>
                      <a:pt x="46" y="8"/>
                      <a:pt x="71" y="14"/>
                      <a:pt x="8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15" name="Freeform 371">
                <a:extLst>
                  <a:ext uri="{FF2B5EF4-FFF2-40B4-BE49-F238E27FC236}">
                    <a16:creationId xmlns:a16="http://schemas.microsoft.com/office/drawing/2014/main" id="{66C2F816-8AF8-448E-9070-D4C34EFD65BB}"/>
                  </a:ext>
                </a:extLst>
              </p:cNvPr>
              <p:cNvSpPr>
                <a:spLocks/>
              </p:cNvSpPr>
              <p:nvPr/>
            </p:nvSpPr>
            <p:spPr bwMode="auto">
              <a:xfrm>
                <a:off x="1405" y="2056"/>
                <a:ext cx="18" cy="4"/>
              </a:xfrm>
              <a:custGeom>
                <a:avLst/>
                <a:gdLst>
                  <a:gd name="T0" fmla="*/ 120 w 120"/>
                  <a:gd name="T1" fmla="*/ 5 h 24"/>
                  <a:gd name="T2" fmla="*/ 98 w 120"/>
                  <a:gd name="T3" fmla="*/ 24 h 24"/>
                  <a:gd name="T4" fmla="*/ 0 w 120"/>
                  <a:gd name="T5" fmla="*/ 19 h 24"/>
                  <a:gd name="T6" fmla="*/ 43 w 120"/>
                  <a:gd name="T7" fmla="*/ 0 h 24"/>
                  <a:gd name="T8" fmla="*/ 120 w 120"/>
                  <a:gd name="T9" fmla="*/ 5 h 24"/>
                </a:gdLst>
                <a:ahLst/>
                <a:cxnLst>
                  <a:cxn ang="0">
                    <a:pos x="T0" y="T1"/>
                  </a:cxn>
                  <a:cxn ang="0">
                    <a:pos x="T2" y="T3"/>
                  </a:cxn>
                  <a:cxn ang="0">
                    <a:pos x="T4" y="T5"/>
                  </a:cxn>
                  <a:cxn ang="0">
                    <a:pos x="T6" y="T7"/>
                  </a:cxn>
                  <a:cxn ang="0">
                    <a:pos x="T8" y="T9"/>
                  </a:cxn>
                </a:cxnLst>
                <a:rect l="0" t="0" r="r" b="b"/>
                <a:pathLst>
                  <a:path w="120" h="24">
                    <a:moveTo>
                      <a:pt x="120" y="5"/>
                    </a:moveTo>
                    <a:cubicBezTo>
                      <a:pt x="113" y="11"/>
                      <a:pt x="106" y="18"/>
                      <a:pt x="98" y="24"/>
                    </a:cubicBezTo>
                    <a:cubicBezTo>
                      <a:pt x="65" y="22"/>
                      <a:pt x="33" y="21"/>
                      <a:pt x="0" y="19"/>
                    </a:cubicBezTo>
                    <a:cubicBezTo>
                      <a:pt x="14" y="13"/>
                      <a:pt x="28" y="6"/>
                      <a:pt x="43" y="0"/>
                    </a:cubicBezTo>
                    <a:cubicBezTo>
                      <a:pt x="69" y="2"/>
                      <a:pt x="95" y="3"/>
                      <a:pt x="12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16" name="Freeform 372">
                <a:extLst>
                  <a:ext uri="{FF2B5EF4-FFF2-40B4-BE49-F238E27FC236}">
                    <a16:creationId xmlns:a16="http://schemas.microsoft.com/office/drawing/2014/main" id="{D69CEBD8-2775-4C31-A776-FFB3A674385D}"/>
                  </a:ext>
                </a:extLst>
              </p:cNvPr>
              <p:cNvSpPr>
                <a:spLocks/>
              </p:cNvSpPr>
              <p:nvPr/>
            </p:nvSpPr>
            <p:spPr bwMode="auto">
              <a:xfrm>
                <a:off x="1263" y="2027"/>
                <a:ext cx="12" cy="15"/>
              </a:xfrm>
              <a:custGeom>
                <a:avLst/>
                <a:gdLst>
                  <a:gd name="T0" fmla="*/ 75 w 75"/>
                  <a:gd name="T1" fmla="*/ 67 h 103"/>
                  <a:gd name="T2" fmla="*/ 74 w 75"/>
                  <a:gd name="T3" fmla="*/ 86 h 103"/>
                  <a:gd name="T4" fmla="*/ 11 w 75"/>
                  <a:gd name="T5" fmla="*/ 8 h 103"/>
                  <a:gd name="T6" fmla="*/ 32 w 75"/>
                  <a:gd name="T7" fmla="*/ 9 h 103"/>
                  <a:gd name="T8" fmla="*/ 75 w 75"/>
                  <a:gd name="T9" fmla="*/ 67 h 103"/>
                </a:gdLst>
                <a:ahLst/>
                <a:cxnLst>
                  <a:cxn ang="0">
                    <a:pos x="T0" y="T1"/>
                  </a:cxn>
                  <a:cxn ang="0">
                    <a:pos x="T2" y="T3"/>
                  </a:cxn>
                  <a:cxn ang="0">
                    <a:pos x="T4" y="T5"/>
                  </a:cxn>
                  <a:cxn ang="0">
                    <a:pos x="T6" y="T7"/>
                  </a:cxn>
                  <a:cxn ang="0">
                    <a:pos x="T8" y="T9"/>
                  </a:cxn>
                </a:cxnLst>
                <a:rect l="0" t="0" r="r" b="b"/>
                <a:pathLst>
                  <a:path w="75" h="103">
                    <a:moveTo>
                      <a:pt x="75" y="67"/>
                    </a:moveTo>
                    <a:cubicBezTo>
                      <a:pt x="75" y="74"/>
                      <a:pt x="74" y="80"/>
                      <a:pt x="74" y="86"/>
                    </a:cubicBezTo>
                    <a:cubicBezTo>
                      <a:pt x="0" y="103"/>
                      <a:pt x="18" y="46"/>
                      <a:pt x="11" y="8"/>
                    </a:cubicBezTo>
                    <a:cubicBezTo>
                      <a:pt x="19" y="0"/>
                      <a:pt x="25" y="0"/>
                      <a:pt x="32" y="9"/>
                    </a:cubicBezTo>
                    <a:cubicBezTo>
                      <a:pt x="37" y="35"/>
                      <a:pt x="30" y="71"/>
                      <a:pt x="75" y="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17" name="Freeform 373">
                <a:extLst>
                  <a:ext uri="{FF2B5EF4-FFF2-40B4-BE49-F238E27FC236}">
                    <a16:creationId xmlns:a16="http://schemas.microsoft.com/office/drawing/2014/main" id="{41DDB523-2726-4642-B4D4-7C4F75C9AA77}"/>
                  </a:ext>
                </a:extLst>
              </p:cNvPr>
              <p:cNvSpPr>
                <a:spLocks/>
              </p:cNvSpPr>
              <p:nvPr/>
            </p:nvSpPr>
            <p:spPr bwMode="auto">
              <a:xfrm>
                <a:off x="1259" y="2015"/>
                <a:ext cx="9" cy="13"/>
              </a:xfrm>
              <a:custGeom>
                <a:avLst/>
                <a:gdLst>
                  <a:gd name="T0" fmla="*/ 61 w 61"/>
                  <a:gd name="T1" fmla="*/ 85 h 85"/>
                  <a:gd name="T2" fmla="*/ 40 w 61"/>
                  <a:gd name="T3" fmla="*/ 84 h 85"/>
                  <a:gd name="T4" fmla="*/ 0 w 61"/>
                  <a:gd name="T5" fmla="*/ 28 h 85"/>
                  <a:gd name="T6" fmla="*/ 3 w 61"/>
                  <a:gd name="T7" fmla="*/ 0 h 85"/>
                  <a:gd name="T8" fmla="*/ 61 w 61"/>
                  <a:gd name="T9" fmla="*/ 85 h 85"/>
                </a:gdLst>
                <a:ahLst/>
                <a:cxnLst>
                  <a:cxn ang="0">
                    <a:pos x="T0" y="T1"/>
                  </a:cxn>
                  <a:cxn ang="0">
                    <a:pos x="T2" y="T3"/>
                  </a:cxn>
                  <a:cxn ang="0">
                    <a:pos x="T4" y="T5"/>
                  </a:cxn>
                  <a:cxn ang="0">
                    <a:pos x="T6" y="T7"/>
                  </a:cxn>
                  <a:cxn ang="0">
                    <a:pos x="T8" y="T9"/>
                  </a:cxn>
                </a:cxnLst>
                <a:rect l="0" t="0" r="r" b="b"/>
                <a:pathLst>
                  <a:path w="61" h="85">
                    <a:moveTo>
                      <a:pt x="61" y="85"/>
                    </a:moveTo>
                    <a:cubicBezTo>
                      <a:pt x="54" y="84"/>
                      <a:pt x="47" y="84"/>
                      <a:pt x="40" y="84"/>
                    </a:cubicBezTo>
                    <a:cubicBezTo>
                      <a:pt x="17" y="72"/>
                      <a:pt x="4" y="53"/>
                      <a:pt x="0" y="28"/>
                    </a:cubicBezTo>
                    <a:cubicBezTo>
                      <a:pt x="1" y="19"/>
                      <a:pt x="2" y="9"/>
                      <a:pt x="3" y="0"/>
                    </a:cubicBezTo>
                    <a:cubicBezTo>
                      <a:pt x="22" y="29"/>
                      <a:pt x="41" y="57"/>
                      <a:pt x="61" y="8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18" name="Freeform 374">
                <a:extLst>
                  <a:ext uri="{FF2B5EF4-FFF2-40B4-BE49-F238E27FC236}">
                    <a16:creationId xmlns:a16="http://schemas.microsoft.com/office/drawing/2014/main" id="{CA988E36-DC86-4525-BD15-4415EE5FADB2}"/>
                  </a:ext>
                </a:extLst>
              </p:cNvPr>
              <p:cNvSpPr>
                <a:spLocks/>
              </p:cNvSpPr>
              <p:nvPr/>
            </p:nvSpPr>
            <p:spPr bwMode="auto">
              <a:xfrm>
                <a:off x="1248" y="2090"/>
                <a:ext cx="67" cy="65"/>
              </a:xfrm>
              <a:custGeom>
                <a:avLst/>
                <a:gdLst>
                  <a:gd name="T0" fmla="*/ 417 w 436"/>
                  <a:gd name="T1" fmla="*/ 7 h 417"/>
                  <a:gd name="T2" fmla="*/ 354 w 436"/>
                  <a:gd name="T3" fmla="*/ 127 h 417"/>
                  <a:gd name="T4" fmla="*/ 312 w 436"/>
                  <a:gd name="T5" fmla="*/ 192 h 417"/>
                  <a:gd name="T6" fmla="*/ 238 w 436"/>
                  <a:gd name="T7" fmla="*/ 230 h 417"/>
                  <a:gd name="T8" fmla="*/ 149 w 436"/>
                  <a:gd name="T9" fmla="*/ 299 h 417"/>
                  <a:gd name="T10" fmla="*/ 8 w 436"/>
                  <a:gd name="T11" fmla="*/ 375 h 417"/>
                  <a:gd name="T12" fmla="*/ 2 w 436"/>
                  <a:gd name="T13" fmla="*/ 360 h 417"/>
                  <a:gd name="T14" fmla="*/ 9 w 436"/>
                  <a:gd name="T15" fmla="*/ 353 h 417"/>
                  <a:gd name="T16" fmla="*/ 120 w 436"/>
                  <a:gd name="T17" fmla="*/ 252 h 417"/>
                  <a:gd name="T18" fmla="*/ 200 w 436"/>
                  <a:gd name="T19" fmla="*/ 178 h 417"/>
                  <a:gd name="T20" fmla="*/ 308 w 436"/>
                  <a:gd name="T21" fmla="*/ 95 h 417"/>
                  <a:gd name="T22" fmla="*/ 377 w 436"/>
                  <a:gd name="T23" fmla="*/ 67 h 417"/>
                  <a:gd name="T24" fmla="*/ 417 w 436"/>
                  <a:gd name="T25" fmla="*/ 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6" h="417">
                    <a:moveTo>
                      <a:pt x="417" y="7"/>
                    </a:moveTo>
                    <a:cubicBezTo>
                      <a:pt x="424" y="62"/>
                      <a:pt x="436" y="116"/>
                      <a:pt x="354" y="127"/>
                    </a:cubicBezTo>
                    <a:cubicBezTo>
                      <a:pt x="332" y="130"/>
                      <a:pt x="320" y="163"/>
                      <a:pt x="312" y="192"/>
                    </a:cubicBezTo>
                    <a:cubicBezTo>
                      <a:pt x="304" y="224"/>
                      <a:pt x="288" y="251"/>
                      <a:pt x="238" y="230"/>
                    </a:cubicBezTo>
                    <a:cubicBezTo>
                      <a:pt x="181" y="207"/>
                      <a:pt x="158" y="239"/>
                      <a:pt x="149" y="299"/>
                    </a:cubicBezTo>
                    <a:cubicBezTo>
                      <a:pt x="138" y="378"/>
                      <a:pt x="91" y="417"/>
                      <a:pt x="8" y="375"/>
                    </a:cubicBezTo>
                    <a:cubicBezTo>
                      <a:pt x="2" y="370"/>
                      <a:pt x="0" y="365"/>
                      <a:pt x="2" y="360"/>
                    </a:cubicBezTo>
                    <a:cubicBezTo>
                      <a:pt x="4" y="355"/>
                      <a:pt x="6" y="353"/>
                      <a:pt x="9" y="353"/>
                    </a:cubicBezTo>
                    <a:cubicBezTo>
                      <a:pt x="85" y="362"/>
                      <a:pt x="113" y="316"/>
                      <a:pt x="120" y="252"/>
                    </a:cubicBezTo>
                    <a:cubicBezTo>
                      <a:pt x="126" y="202"/>
                      <a:pt x="151" y="174"/>
                      <a:pt x="200" y="178"/>
                    </a:cubicBezTo>
                    <a:cubicBezTo>
                      <a:pt x="264" y="183"/>
                      <a:pt x="293" y="134"/>
                      <a:pt x="308" y="95"/>
                    </a:cubicBezTo>
                    <a:cubicBezTo>
                      <a:pt x="326" y="49"/>
                      <a:pt x="350" y="64"/>
                      <a:pt x="377" y="67"/>
                    </a:cubicBezTo>
                    <a:cubicBezTo>
                      <a:pt x="406" y="57"/>
                      <a:pt x="364" y="0"/>
                      <a:pt x="417"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19" name="Freeform 375">
                <a:extLst>
                  <a:ext uri="{FF2B5EF4-FFF2-40B4-BE49-F238E27FC236}">
                    <a16:creationId xmlns:a16="http://schemas.microsoft.com/office/drawing/2014/main" id="{203187EC-1EAE-4F97-AC9D-E623A1B0E8A1}"/>
                  </a:ext>
                </a:extLst>
              </p:cNvPr>
              <p:cNvSpPr>
                <a:spLocks/>
              </p:cNvSpPr>
              <p:nvPr/>
            </p:nvSpPr>
            <p:spPr bwMode="auto">
              <a:xfrm>
                <a:off x="1207" y="2139"/>
                <a:ext cx="24" cy="25"/>
              </a:xfrm>
              <a:custGeom>
                <a:avLst/>
                <a:gdLst>
                  <a:gd name="T0" fmla="*/ 124 w 150"/>
                  <a:gd name="T1" fmla="*/ 38 h 156"/>
                  <a:gd name="T2" fmla="*/ 44 w 150"/>
                  <a:gd name="T3" fmla="*/ 125 h 156"/>
                  <a:gd name="T4" fmla="*/ 0 w 150"/>
                  <a:gd name="T5" fmla="*/ 119 h 156"/>
                  <a:gd name="T6" fmla="*/ 25 w 150"/>
                  <a:gd name="T7" fmla="*/ 58 h 156"/>
                  <a:gd name="T8" fmla="*/ 147 w 150"/>
                  <a:gd name="T9" fmla="*/ 18 h 156"/>
                  <a:gd name="T10" fmla="*/ 124 w 150"/>
                  <a:gd name="T11" fmla="*/ 38 h 156"/>
                </a:gdLst>
                <a:ahLst/>
                <a:cxnLst>
                  <a:cxn ang="0">
                    <a:pos x="T0" y="T1"/>
                  </a:cxn>
                  <a:cxn ang="0">
                    <a:pos x="T2" y="T3"/>
                  </a:cxn>
                  <a:cxn ang="0">
                    <a:pos x="T4" y="T5"/>
                  </a:cxn>
                  <a:cxn ang="0">
                    <a:pos x="T6" y="T7"/>
                  </a:cxn>
                  <a:cxn ang="0">
                    <a:pos x="T8" y="T9"/>
                  </a:cxn>
                  <a:cxn ang="0">
                    <a:pos x="T10" y="T11"/>
                  </a:cxn>
                </a:cxnLst>
                <a:rect l="0" t="0" r="r" b="b"/>
                <a:pathLst>
                  <a:path w="150" h="156">
                    <a:moveTo>
                      <a:pt x="124" y="38"/>
                    </a:moveTo>
                    <a:cubicBezTo>
                      <a:pt x="90" y="59"/>
                      <a:pt x="64" y="89"/>
                      <a:pt x="44" y="125"/>
                    </a:cubicBezTo>
                    <a:cubicBezTo>
                      <a:pt x="27" y="156"/>
                      <a:pt x="10" y="154"/>
                      <a:pt x="0" y="119"/>
                    </a:cubicBezTo>
                    <a:cubicBezTo>
                      <a:pt x="2" y="96"/>
                      <a:pt x="4" y="73"/>
                      <a:pt x="25" y="58"/>
                    </a:cubicBezTo>
                    <a:cubicBezTo>
                      <a:pt x="62" y="32"/>
                      <a:pt x="97" y="0"/>
                      <a:pt x="147" y="18"/>
                    </a:cubicBezTo>
                    <a:cubicBezTo>
                      <a:pt x="150" y="36"/>
                      <a:pt x="147" y="48"/>
                      <a:pt x="124"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0" name="Freeform 376">
                <a:extLst>
                  <a:ext uri="{FF2B5EF4-FFF2-40B4-BE49-F238E27FC236}">
                    <a16:creationId xmlns:a16="http://schemas.microsoft.com/office/drawing/2014/main" id="{49328405-B83E-41B8-8695-65DE59C39C7C}"/>
                  </a:ext>
                </a:extLst>
              </p:cNvPr>
              <p:cNvSpPr>
                <a:spLocks/>
              </p:cNvSpPr>
              <p:nvPr/>
            </p:nvSpPr>
            <p:spPr bwMode="auto">
              <a:xfrm>
                <a:off x="1227" y="2134"/>
                <a:ext cx="22" cy="19"/>
              </a:xfrm>
              <a:custGeom>
                <a:avLst/>
                <a:gdLst>
                  <a:gd name="T0" fmla="*/ 0 w 148"/>
                  <a:gd name="T1" fmla="*/ 71 h 123"/>
                  <a:gd name="T2" fmla="*/ 23 w 148"/>
                  <a:gd name="T3" fmla="*/ 51 h 123"/>
                  <a:gd name="T4" fmla="*/ 148 w 148"/>
                  <a:gd name="T5" fmla="*/ 67 h 123"/>
                  <a:gd name="T6" fmla="*/ 147 w 148"/>
                  <a:gd name="T7" fmla="*/ 89 h 123"/>
                  <a:gd name="T8" fmla="*/ 0 w 148"/>
                  <a:gd name="T9" fmla="*/ 71 h 123"/>
                </a:gdLst>
                <a:ahLst/>
                <a:cxnLst>
                  <a:cxn ang="0">
                    <a:pos x="T0" y="T1"/>
                  </a:cxn>
                  <a:cxn ang="0">
                    <a:pos x="T2" y="T3"/>
                  </a:cxn>
                  <a:cxn ang="0">
                    <a:pos x="T4" y="T5"/>
                  </a:cxn>
                  <a:cxn ang="0">
                    <a:pos x="T6" y="T7"/>
                  </a:cxn>
                  <a:cxn ang="0">
                    <a:pos x="T8" y="T9"/>
                  </a:cxn>
                </a:cxnLst>
                <a:rect l="0" t="0" r="r" b="b"/>
                <a:pathLst>
                  <a:path w="148" h="123">
                    <a:moveTo>
                      <a:pt x="0" y="71"/>
                    </a:moveTo>
                    <a:cubicBezTo>
                      <a:pt x="8" y="64"/>
                      <a:pt x="16" y="57"/>
                      <a:pt x="23" y="51"/>
                    </a:cubicBezTo>
                    <a:cubicBezTo>
                      <a:pt x="66" y="47"/>
                      <a:pt x="114" y="0"/>
                      <a:pt x="148" y="67"/>
                    </a:cubicBezTo>
                    <a:cubicBezTo>
                      <a:pt x="148" y="74"/>
                      <a:pt x="147" y="82"/>
                      <a:pt x="147" y="89"/>
                    </a:cubicBezTo>
                    <a:cubicBezTo>
                      <a:pt x="103" y="46"/>
                      <a:pt x="44" y="123"/>
                      <a:pt x="0" y="7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1" name="Freeform 377">
                <a:extLst>
                  <a:ext uri="{FF2B5EF4-FFF2-40B4-BE49-F238E27FC236}">
                    <a16:creationId xmlns:a16="http://schemas.microsoft.com/office/drawing/2014/main" id="{4DA36F24-F42A-4D69-BBC3-39E97E54A470}"/>
                  </a:ext>
                </a:extLst>
              </p:cNvPr>
              <p:cNvSpPr>
                <a:spLocks/>
              </p:cNvSpPr>
              <p:nvPr/>
            </p:nvSpPr>
            <p:spPr bwMode="auto">
              <a:xfrm>
                <a:off x="1192" y="2131"/>
                <a:ext cx="19" cy="15"/>
              </a:xfrm>
              <a:custGeom>
                <a:avLst/>
                <a:gdLst>
                  <a:gd name="T0" fmla="*/ 82 w 121"/>
                  <a:gd name="T1" fmla="*/ 93 h 101"/>
                  <a:gd name="T2" fmla="*/ 0 w 121"/>
                  <a:gd name="T3" fmla="*/ 11 h 101"/>
                  <a:gd name="T4" fmla="*/ 26 w 121"/>
                  <a:gd name="T5" fmla="*/ 9 h 101"/>
                  <a:gd name="T6" fmla="*/ 107 w 121"/>
                  <a:gd name="T7" fmla="*/ 94 h 101"/>
                  <a:gd name="T8" fmla="*/ 82 w 121"/>
                  <a:gd name="T9" fmla="*/ 93 h 101"/>
                </a:gdLst>
                <a:ahLst/>
                <a:cxnLst>
                  <a:cxn ang="0">
                    <a:pos x="T0" y="T1"/>
                  </a:cxn>
                  <a:cxn ang="0">
                    <a:pos x="T2" y="T3"/>
                  </a:cxn>
                  <a:cxn ang="0">
                    <a:pos x="T4" y="T5"/>
                  </a:cxn>
                  <a:cxn ang="0">
                    <a:pos x="T6" y="T7"/>
                  </a:cxn>
                  <a:cxn ang="0">
                    <a:pos x="T8" y="T9"/>
                  </a:cxn>
                </a:cxnLst>
                <a:rect l="0" t="0" r="r" b="b"/>
                <a:pathLst>
                  <a:path w="121" h="101">
                    <a:moveTo>
                      <a:pt x="82" y="93"/>
                    </a:moveTo>
                    <a:cubicBezTo>
                      <a:pt x="55" y="66"/>
                      <a:pt x="27" y="38"/>
                      <a:pt x="0" y="11"/>
                    </a:cubicBezTo>
                    <a:cubicBezTo>
                      <a:pt x="8" y="1"/>
                      <a:pt x="17" y="0"/>
                      <a:pt x="26" y="9"/>
                    </a:cubicBezTo>
                    <a:cubicBezTo>
                      <a:pt x="77" y="14"/>
                      <a:pt x="121" y="27"/>
                      <a:pt x="107" y="94"/>
                    </a:cubicBezTo>
                    <a:cubicBezTo>
                      <a:pt x="99" y="101"/>
                      <a:pt x="90" y="101"/>
                      <a:pt x="82" y="9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2" name="Freeform 378">
                <a:extLst>
                  <a:ext uri="{FF2B5EF4-FFF2-40B4-BE49-F238E27FC236}">
                    <a16:creationId xmlns:a16="http://schemas.microsoft.com/office/drawing/2014/main" id="{6C84F7CB-90D4-416B-AB6F-216D4173CECF}"/>
                  </a:ext>
                </a:extLst>
              </p:cNvPr>
              <p:cNvSpPr>
                <a:spLocks/>
              </p:cNvSpPr>
              <p:nvPr/>
            </p:nvSpPr>
            <p:spPr bwMode="auto">
              <a:xfrm>
                <a:off x="1173" y="2123"/>
                <a:ext cx="23" cy="9"/>
              </a:xfrm>
              <a:custGeom>
                <a:avLst/>
                <a:gdLst>
                  <a:gd name="T0" fmla="*/ 152 w 152"/>
                  <a:gd name="T1" fmla="*/ 56 h 58"/>
                  <a:gd name="T2" fmla="*/ 126 w 152"/>
                  <a:gd name="T3" fmla="*/ 58 h 58"/>
                  <a:gd name="T4" fmla="*/ 24 w 152"/>
                  <a:gd name="T5" fmla="*/ 56 h 58"/>
                  <a:gd name="T6" fmla="*/ 0 w 152"/>
                  <a:gd name="T7" fmla="*/ 34 h 58"/>
                  <a:gd name="T8" fmla="*/ 152 w 152"/>
                  <a:gd name="T9" fmla="*/ 56 h 58"/>
                </a:gdLst>
                <a:ahLst/>
                <a:cxnLst>
                  <a:cxn ang="0">
                    <a:pos x="T0" y="T1"/>
                  </a:cxn>
                  <a:cxn ang="0">
                    <a:pos x="T2" y="T3"/>
                  </a:cxn>
                  <a:cxn ang="0">
                    <a:pos x="T4" y="T5"/>
                  </a:cxn>
                  <a:cxn ang="0">
                    <a:pos x="T6" y="T7"/>
                  </a:cxn>
                  <a:cxn ang="0">
                    <a:pos x="T8" y="T9"/>
                  </a:cxn>
                </a:cxnLst>
                <a:rect l="0" t="0" r="r" b="b"/>
                <a:pathLst>
                  <a:path w="152" h="58">
                    <a:moveTo>
                      <a:pt x="152" y="56"/>
                    </a:moveTo>
                    <a:cubicBezTo>
                      <a:pt x="143" y="57"/>
                      <a:pt x="135" y="57"/>
                      <a:pt x="126" y="58"/>
                    </a:cubicBezTo>
                    <a:cubicBezTo>
                      <a:pt x="92" y="58"/>
                      <a:pt x="59" y="40"/>
                      <a:pt x="24" y="56"/>
                    </a:cubicBezTo>
                    <a:cubicBezTo>
                      <a:pt x="16" y="48"/>
                      <a:pt x="8" y="41"/>
                      <a:pt x="0" y="34"/>
                    </a:cubicBezTo>
                    <a:cubicBezTo>
                      <a:pt x="56" y="2"/>
                      <a:pt x="108" y="0"/>
                      <a:pt x="152" y="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3" name="Freeform 379">
                <a:extLst>
                  <a:ext uri="{FF2B5EF4-FFF2-40B4-BE49-F238E27FC236}">
                    <a16:creationId xmlns:a16="http://schemas.microsoft.com/office/drawing/2014/main" id="{302DAFCB-5537-496F-8DF6-2D996F773613}"/>
                  </a:ext>
                </a:extLst>
              </p:cNvPr>
              <p:cNvSpPr>
                <a:spLocks/>
              </p:cNvSpPr>
              <p:nvPr/>
            </p:nvSpPr>
            <p:spPr bwMode="auto">
              <a:xfrm>
                <a:off x="1201" y="2145"/>
                <a:ext cx="11" cy="13"/>
              </a:xfrm>
              <a:custGeom>
                <a:avLst/>
                <a:gdLst>
                  <a:gd name="T0" fmla="*/ 22 w 68"/>
                  <a:gd name="T1" fmla="*/ 0 h 83"/>
                  <a:gd name="T2" fmla="*/ 47 w 68"/>
                  <a:gd name="T3" fmla="*/ 1 h 83"/>
                  <a:gd name="T4" fmla="*/ 65 w 68"/>
                  <a:gd name="T5" fmla="*/ 22 h 83"/>
                  <a:gd name="T6" fmla="*/ 40 w 68"/>
                  <a:gd name="T7" fmla="*/ 83 h 83"/>
                  <a:gd name="T8" fmla="*/ 22 w 68"/>
                  <a:gd name="T9" fmla="*/ 0 h 83"/>
                </a:gdLst>
                <a:ahLst/>
                <a:cxnLst>
                  <a:cxn ang="0">
                    <a:pos x="T0" y="T1"/>
                  </a:cxn>
                  <a:cxn ang="0">
                    <a:pos x="T2" y="T3"/>
                  </a:cxn>
                  <a:cxn ang="0">
                    <a:pos x="T4" y="T5"/>
                  </a:cxn>
                  <a:cxn ang="0">
                    <a:pos x="T6" y="T7"/>
                  </a:cxn>
                  <a:cxn ang="0">
                    <a:pos x="T8" y="T9"/>
                  </a:cxn>
                </a:cxnLst>
                <a:rect l="0" t="0" r="r" b="b"/>
                <a:pathLst>
                  <a:path w="68" h="83">
                    <a:moveTo>
                      <a:pt x="22" y="0"/>
                    </a:moveTo>
                    <a:cubicBezTo>
                      <a:pt x="30" y="1"/>
                      <a:pt x="39" y="1"/>
                      <a:pt x="47" y="1"/>
                    </a:cubicBezTo>
                    <a:cubicBezTo>
                      <a:pt x="53" y="8"/>
                      <a:pt x="59" y="15"/>
                      <a:pt x="65" y="22"/>
                    </a:cubicBezTo>
                    <a:cubicBezTo>
                      <a:pt x="64" y="45"/>
                      <a:pt x="68" y="70"/>
                      <a:pt x="40" y="83"/>
                    </a:cubicBezTo>
                    <a:cubicBezTo>
                      <a:pt x="0" y="63"/>
                      <a:pt x="7" y="33"/>
                      <a:pt x="2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4" name="Freeform 380">
                <a:extLst>
                  <a:ext uri="{FF2B5EF4-FFF2-40B4-BE49-F238E27FC236}">
                    <a16:creationId xmlns:a16="http://schemas.microsoft.com/office/drawing/2014/main" id="{15117278-44C9-4276-B071-18F3D5110873}"/>
                  </a:ext>
                </a:extLst>
              </p:cNvPr>
              <p:cNvSpPr>
                <a:spLocks/>
              </p:cNvSpPr>
              <p:nvPr/>
            </p:nvSpPr>
            <p:spPr bwMode="auto">
              <a:xfrm>
                <a:off x="1300" y="2081"/>
                <a:ext cx="12" cy="20"/>
              </a:xfrm>
              <a:custGeom>
                <a:avLst/>
                <a:gdLst>
                  <a:gd name="T0" fmla="*/ 78 w 78"/>
                  <a:gd name="T1" fmla="*/ 65 h 125"/>
                  <a:gd name="T2" fmla="*/ 38 w 78"/>
                  <a:gd name="T3" fmla="*/ 125 h 125"/>
                  <a:gd name="T4" fmla="*/ 0 w 78"/>
                  <a:gd name="T5" fmla="*/ 21 h 125"/>
                  <a:gd name="T6" fmla="*/ 20 w 78"/>
                  <a:gd name="T7" fmla="*/ 0 h 125"/>
                  <a:gd name="T8" fmla="*/ 78 w 78"/>
                  <a:gd name="T9" fmla="*/ 65 h 125"/>
                </a:gdLst>
                <a:ahLst/>
                <a:cxnLst>
                  <a:cxn ang="0">
                    <a:pos x="T0" y="T1"/>
                  </a:cxn>
                  <a:cxn ang="0">
                    <a:pos x="T2" y="T3"/>
                  </a:cxn>
                  <a:cxn ang="0">
                    <a:pos x="T4" y="T5"/>
                  </a:cxn>
                  <a:cxn ang="0">
                    <a:pos x="T6" y="T7"/>
                  </a:cxn>
                  <a:cxn ang="0">
                    <a:pos x="T8" y="T9"/>
                  </a:cxn>
                </a:cxnLst>
                <a:rect l="0" t="0" r="r" b="b"/>
                <a:pathLst>
                  <a:path w="78" h="125">
                    <a:moveTo>
                      <a:pt x="78" y="65"/>
                    </a:moveTo>
                    <a:cubicBezTo>
                      <a:pt x="65" y="85"/>
                      <a:pt x="52" y="105"/>
                      <a:pt x="38" y="125"/>
                    </a:cubicBezTo>
                    <a:cubicBezTo>
                      <a:pt x="52" y="80"/>
                      <a:pt x="14" y="55"/>
                      <a:pt x="0" y="21"/>
                    </a:cubicBezTo>
                    <a:cubicBezTo>
                      <a:pt x="7" y="14"/>
                      <a:pt x="13" y="7"/>
                      <a:pt x="20" y="0"/>
                    </a:cubicBezTo>
                    <a:cubicBezTo>
                      <a:pt x="39" y="22"/>
                      <a:pt x="59" y="44"/>
                      <a:pt x="78" y="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5" name="Freeform 381">
                <a:extLst>
                  <a:ext uri="{FF2B5EF4-FFF2-40B4-BE49-F238E27FC236}">
                    <a16:creationId xmlns:a16="http://schemas.microsoft.com/office/drawing/2014/main" id="{E69E583F-CCBE-4742-B215-9D811F7AFFBD}"/>
                  </a:ext>
                </a:extLst>
              </p:cNvPr>
              <p:cNvSpPr>
                <a:spLocks/>
              </p:cNvSpPr>
              <p:nvPr/>
            </p:nvSpPr>
            <p:spPr bwMode="auto">
              <a:xfrm>
                <a:off x="2247" y="2512"/>
                <a:ext cx="10" cy="17"/>
              </a:xfrm>
              <a:custGeom>
                <a:avLst/>
                <a:gdLst>
                  <a:gd name="T0" fmla="*/ 62 w 64"/>
                  <a:gd name="T1" fmla="*/ 107 h 107"/>
                  <a:gd name="T2" fmla="*/ 39 w 64"/>
                  <a:gd name="T3" fmla="*/ 105 h 107"/>
                  <a:gd name="T4" fmla="*/ 0 w 64"/>
                  <a:gd name="T5" fmla="*/ 6 h 107"/>
                  <a:gd name="T6" fmla="*/ 64 w 64"/>
                  <a:gd name="T7" fmla="*/ 44 h 107"/>
                  <a:gd name="T8" fmla="*/ 62 w 64"/>
                  <a:gd name="T9" fmla="*/ 107 h 107"/>
                </a:gdLst>
                <a:ahLst/>
                <a:cxnLst>
                  <a:cxn ang="0">
                    <a:pos x="T0" y="T1"/>
                  </a:cxn>
                  <a:cxn ang="0">
                    <a:pos x="T2" y="T3"/>
                  </a:cxn>
                  <a:cxn ang="0">
                    <a:pos x="T4" y="T5"/>
                  </a:cxn>
                  <a:cxn ang="0">
                    <a:pos x="T6" y="T7"/>
                  </a:cxn>
                  <a:cxn ang="0">
                    <a:pos x="T8" y="T9"/>
                  </a:cxn>
                </a:cxnLst>
                <a:rect l="0" t="0" r="r" b="b"/>
                <a:pathLst>
                  <a:path w="64" h="107">
                    <a:moveTo>
                      <a:pt x="62" y="107"/>
                    </a:moveTo>
                    <a:cubicBezTo>
                      <a:pt x="54" y="107"/>
                      <a:pt x="47" y="106"/>
                      <a:pt x="39" y="105"/>
                    </a:cubicBezTo>
                    <a:cubicBezTo>
                      <a:pt x="26" y="72"/>
                      <a:pt x="13" y="39"/>
                      <a:pt x="0" y="6"/>
                    </a:cubicBezTo>
                    <a:cubicBezTo>
                      <a:pt x="30" y="3"/>
                      <a:pt x="61" y="0"/>
                      <a:pt x="64" y="44"/>
                    </a:cubicBezTo>
                    <a:cubicBezTo>
                      <a:pt x="63" y="65"/>
                      <a:pt x="62" y="86"/>
                      <a:pt x="62" y="1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6" name="Freeform 382">
                <a:extLst>
                  <a:ext uri="{FF2B5EF4-FFF2-40B4-BE49-F238E27FC236}">
                    <a16:creationId xmlns:a16="http://schemas.microsoft.com/office/drawing/2014/main" id="{7BB195B6-FA96-4281-BB15-99078E120153}"/>
                  </a:ext>
                </a:extLst>
              </p:cNvPr>
              <p:cNvSpPr>
                <a:spLocks/>
              </p:cNvSpPr>
              <p:nvPr/>
            </p:nvSpPr>
            <p:spPr bwMode="auto">
              <a:xfrm>
                <a:off x="2288" y="2506"/>
                <a:ext cx="16" cy="13"/>
              </a:xfrm>
              <a:custGeom>
                <a:avLst/>
                <a:gdLst>
                  <a:gd name="T0" fmla="*/ 44 w 108"/>
                  <a:gd name="T1" fmla="*/ 0 h 87"/>
                  <a:gd name="T2" fmla="*/ 63 w 108"/>
                  <a:gd name="T3" fmla="*/ 22 h 87"/>
                  <a:gd name="T4" fmla="*/ 108 w 108"/>
                  <a:gd name="T5" fmla="*/ 65 h 87"/>
                  <a:gd name="T6" fmla="*/ 44 w 108"/>
                  <a:gd name="T7" fmla="*/ 0 h 87"/>
                </a:gdLst>
                <a:ahLst/>
                <a:cxnLst>
                  <a:cxn ang="0">
                    <a:pos x="T0" y="T1"/>
                  </a:cxn>
                  <a:cxn ang="0">
                    <a:pos x="T2" y="T3"/>
                  </a:cxn>
                  <a:cxn ang="0">
                    <a:pos x="T4" y="T5"/>
                  </a:cxn>
                  <a:cxn ang="0">
                    <a:pos x="T6" y="T7"/>
                  </a:cxn>
                </a:cxnLst>
                <a:rect l="0" t="0" r="r" b="b"/>
                <a:pathLst>
                  <a:path w="108" h="87">
                    <a:moveTo>
                      <a:pt x="44" y="0"/>
                    </a:moveTo>
                    <a:cubicBezTo>
                      <a:pt x="50" y="8"/>
                      <a:pt x="57" y="15"/>
                      <a:pt x="63" y="22"/>
                    </a:cubicBezTo>
                    <a:cubicBezTo>
                      <a:pt x="78" y="37"/>
                      <a:pt x="93" y="51"/>
                      <a:pt x="108" y="65"/>
                    </a:cubicBezTo>
                    <a:cubicBezTo>
                      <a:pt x="71" y="60"/>
                      <a:pt x="0" y="87"/>
                      <a:pt x="4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7" name="Freeform 383">
                <a:extLst>
                  <a:ext uri="{FF2B5EF4-FFF2-40B4-BE49-F238E27FC236}">
                    <a16:creationId xmlns:a16="http://schemas.microsoft.com/office/drawing/2014/main" id="{602521C8-7F8B-44F5-AF07-9D60AA2882F1}"/>
                  </a:ext>
                </a:extLst>
              </p:cNvPr>
              <p:cNvSpPr>
                <a:spLocks/>
              </p:cNvSpPr>
              <p:nvPr/>
            </p:nvSpPr>
            <p:spPr bwMode="auto">
              <a:xfrm>
                <a:off x="1395" y="2480"/>
                <a:ext cx="30" cy="41"/>
              </a:xfrm>
              <a:custGeom>
                <a:avLst/>
                <a:gdLst>
                  <a:gd name="T0" fmla="*/ 0 w 191"/>
                  <a:gd name="T1" fmla="*/ 168 h 264"/>
                  <a:gd name="T2" fmla="*/ 32 w 191"/>
                  <a:gd name="T3" fmla="*/ 193 h 264"/>
                  <a:gd name="T4" fmla="*/ 143 w 191"/>
                  <a:gd name="T5" fmla="*/ 209 h 264"/>
                  <a:gd name="T6" fmla="*/ 123 w 191"/>
                  <a:gd name="T7" fmla="*/ 94 h 264"/>
                  <a:gd name="T8" fmla="*/ 84 w 191"/>
                  <a:gd name="T9" fmla="*/ 4 h 264"/>
                  <a:gd name="T10" fmla="*/ 104 w 191"/>
                  <a:gd name="T11" fmla="*/ 26 h 264"/>
                  <a:gd name="T12" fmla="*/ 181 w 191"/>
                  <a:gd name="T13" fmla="*/ 135 h 264"/>
                  <a:gd name="T14" fmla="*/ 117 w 191"/>
                  <a:gd name="T15" fmla="*/ 257 h 264"/>
                  <a:gd name="T16" fmla="*/ 0 w 191"/>
                  <a:gd name="T17" fmla="*/ 16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264">
                    <a:moveTo>
                      <a:pt x="0" y="168"/>
                    </a:moveTo>
                    <a:cubicBezTo>
                      <a:pt x="11" y="176"/>
                      <a:pt x="25" y="183"/>
                      <a:pt x="32" y="193"/>
                    </a:cubicBezTo>
                    <a:cubicBezTo>
                      <a:pt x="64" y="242"/>
                      <a:pt x="111" y="245"/>
                      <a:pt x="143" y="209"/>
                    </a:cubicBezTo>
                    <a:cubicBezTo>
                      <a:pt x="175" y="173"/>
                      <a:pt x="154" y="110"/>
                      <a:pt x="123" y="94"/>
                    </a:cubicBezTo>
                    <a:cubicBezTo>
                      <a:pt x="74" y="71"/>
                      <a:pt x="80" y="41"/>
                      <a:pt x="84" y="4"/>
                    </a:cubicBezTo>
                    <a:cubicBezTo>
                      <a:pt x="102" y="0"/>
                      <a:pt x="113" y="4"/>
                      <a:pt x="104" y="26"/>
                    </a:cubicBezTo>
                    <a:cubicBezTo>
                      <a:pt x="101" y="79"/>
                      <a:pt x="191" y="59"/>
                      <a:pt x="181" y="135"/>
                    </a:cubicBezTo>
                    <a:cubicBezTo>
                      <a:pt x="173" y="191"/>
                      <a:pt x="186" y="248"/>
                      <a:pt x="117" y="257"/>
                    </a:cubicBezTo>
                    <a:cubicBezTo>
                      <a:pt x="59" y="264"/>
                      <a:pt x="2" y="246"/>
                      <a:pt x="0" y="1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8" name="Freeform 384">
                <a:extLst>
                  <a:ext uri="{FF2B5EF4-FFF2-40B4-BE49-F238E27FC236}">
                    <a16:creationId xmlns:a16="http://schemas.microsoft.com/office/drawing/2014/main" id="{1FE8AA3C-16F1-4FBF-AAAC-4725FD4662F2}"/>
                  </a:ext>
                </a:extLst>
              </p:cNvPr>
              <p:cNvSpPr>
                <a:spLocks/>
              </p:cNvSpPr>
              <p:nvPr/>
            </p:nvSpPr>
            <p:spPr bwMode="auto">
              <a:xfrm>
                <a:off x="1316" y="2432"/>
                <a:ext cx="14" cy="29"/>
              </a:xfrm>
              <a:custGeom>
                <a:avLst/>
                <a:gdLst>
                  <a:gd name="T0" fmla="*/ 0 w 89"/>
                  <a:gd name="T1" fmla="*/ 55 h 191"/>
                  <a:gd name="T2" fmla="*/ 0 w 89"/>
                  <a:gd name="T3" fmla="*/ 33 h 191"/>
                  <a:gd name="T4" fmla="*/ 77 w 89"/>
                  <a:gd name="T5" fmla="*/ 101 h 191"/>
                  <a:gd name="T6" fmla="*/ 8 w 89"/>
                  <a:gd name="T7" fmla="*/ 191 h 191"/>
                  <a:gd name="T8" fmla="*/ 0 w 89"/>
                  <a:gd name="T9" fmla="*/ 55 h 191"/>
                </a:gdLst>
                <a:ahLst/>
                <a:cxnLst>
                  <a:cxn ang="0">
                    <a:pos x="T0" y="T1"/>
                  </a:cxn>
                  <a:cxn ang="0">
                    <a:pos x="T2" y="T3"/>
                  </a:cxn>
                  <a:cxn ang="0">
                    <a:pos x="T4" y="T5"/>
                  </a:cxn>
                  <a:cxn ang="0">
                    <a:pos x="T6" y="T7"/>
                  </a:cxn>
                  <a:cxn ang="0">
                    <a:pos x="T8" y="T9"/>
                  </a:cxn>
                </a:cxnLst>
                <a:rect l="0" t="0" r="r" b="b"/>
                <a:pathLst>
                  <a:path w="89" h="191">
                    <a:moveTo>
                      <a:pt x="0" y="55"/>
                    </a:moveTo>
                    <a:cubicBezTo>
                      <a:pt x="0" y="48"/>
                      <a:pt x="0" y="40"/>
                      <a:pt x="0" y="33"/>
                    </a:cubicBezTo>
                    <a:cubicBezTo>
                      <a:pt x="73" y="0"/>
                      <a:pt x="68" y="68"/>
                      <a:pt x="77" y="101"/>
                    </a:cubicBezTo>
                    <a:cubicBezTo>
                      <a:pt x="89" y="143"/>
                      <a:pt x="84" y="190"/>
                      <a:pt x="8" y="191"/>
                    </a:cubicBezTo>
                    <a:cubicBezTo>
                      <a:pt x="27" y="142"/>
                      <a:pt x="63" y="92"/>
                      <a:pt x="0" y="5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9" name="Freeform 385">
                <a:extLst>
                  <a:ext uri="{FF2B5EF4-FFF2-40B4-BE49-F238E27FC236}">
                    <a16:creationId xmlns:a16="http://schemas.microsoft.com/office/drawing/2014/main" id="{B6C3FD15-9BC0-46F8-8447-E44AD25CE735}"/>
                  </a:ext>
                </a:extLst>
              </p:cNvPr>
              <p:cNvSpPr>
                <a:spLocks/>
              </p:cNvSpPr>
              <p:nvPr/>
            </p:nvSpPr>
            <p:spPr bwMode="auto">
              <a:xfrm>
                <a:off x="1110" y="2611"/>
                <a:ext cx="17" cy="22"/>
              </a:xfrm>
              <a:custGeom>
                <a:avLst/>
                <a:gdLst>
                  <a:gd name="T0" fmla="*/ 38 w 109"/>
                  <a:gd name="T1" fmla="*/ 19 h 142"/>
                  <a:gd name="T2" fmla="*/ 100 w 109"/>
                  <a:gd name="T3" fmla="*/ 0 h 142"/>
                  <a:gd name="T4" fmla="*/ 36 w 109"/>
                  <a:gd name="T5" fmla="*/ 142 h 142"/>
                  <a:gd name="T6" fmla="*/ 37 w 109"/>
                  <a:gd name="T7" fmla="*/ 122 h 142"/>
                  <a:gd name="T8" fmla="*/ 0 w 109"/>
                  <a:gd name="T9" fmla="*/ 79 h 142"/>
                  <a:gd name="T10" fmla="*/ 38 w 109"/>
                  <a:gd name="T11" fmla="*/ 19 h 142"/>
                </a:gdLst>
                <a:ahLst/>
                <a:cxnLst>
                  <a:cxn ang="0">
                    <a:pos x="T0" y="T1"/>
                  </a:cxn>
                  <a:cxn ang="0">
                    <a:pos x="T2" y="T3"/>
                  </a:cxn>
                  <a:cxn ang="0">
                    <a:pos x="T4" y="T5"/>
                  </a:cxn>
                  <a:cxn ang="0">
                    <a:pos x="T6" y="T7"/>
                  </a:cxn>
                  <a:cxn ang="0">
                    <a:pos x="T8" y="T9"/>
                  </a:cxn>
                  <a:cxn ang="0">
                    <a:pos x="T10" y="T11"/>
                  </a:cxn>
                </a:cxnLst>
                <a:rect l="0" t="0" r="r" b="b"/>
                <a:pathLst>
                  <a:path w="109" h="142">
                    <a:moveTo>
                      <a:pt x="38" y="19"/>
                    </a:moveTo>
                    <a:cubicBezTo>
                      <a:pt x="59" y="13"/>
                      <a:pt x="79" y="6"/>
                      <a:pt x="100" y="0"/>
                    </a:cubicBezTo>
                    <a:cubicBezTo>
                      <a:pt x="109" y="61"/>
                      <a:pt x="88" y="108"/>
                      <a:pt x="36" y="142"/>
                    </a:cubicBezTo>
                    <a:cubicBezTo>
                      <a:pt x="38" y="135"/>
                      <a:pt x="38" y="129"/>
                      <a:pt x="37" y="122"/>
                    </a:cubicBezTo>
                    <a:cubicBezTo>
                      <a:pt x="41" y="93"/>
                      <a:pt x="27" y="81"/>
                      <a:pt x="0" y="79"/>
                    </a:cubicBezTo>
                    <a:cubicBezTo>
                      <a:pt x="13" y="59"/>
                      <a:pt x="25" y="39"/>
                      <a:pt x="38"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30" name="Freeform 386">
                <a:extLst>
                  <a:ext uri="{FF2B5EF4-FFF2-40B4-BE49-F238E27FC236}">
                    <a16:creationId xmlns:a16="http://schemas.microsoft.com/office/drawing/2014/main" id="{1017F4B1-36AD-4151-AB32-09930B6E6000}"/>
                  </a:ext>
                </a:extLst>
              </p:cNvPr>
              <p:cNvSpPr>
                <a:spLocks/>
              </p:cNvSpPr>
              <p:nvPr/>
            </p:nvSpPr>
            <p:spPr bwMode="auto">
              <a:xfrm>
                <a:off x="1544" y="2633"/>
                <a:ext cx="20" cy="22"/>
              </a:xfrm>
              <a:custGeom>
                <a:avLst/>
                <a:gdLst>
                  <a:gd name="T0" fmla="*/ 124 w 133"/>
                  <a:gd name="T1" fmla="*/ 43 h 142"/>
                  <a:gd name="T2" fmla="*/ 0 w 133"/>
                  <a:gd name="T3" fmla="*/ 142 h 142"/>
                  <a:gd name="T4" fmla="*/ 124 w 133"/>
                  <a:gd name="T5" fmla="*/ 21 h 142"/>
                  <a:gd name="T6" fmla="*/ 130 w 133"/>
                  <a:gd name="T7" fmla="*/ 35 h 142"/>
                  <a:gd name="T8" fmla="*/ 124 w 133"/>
                  <a:gd name="T9" fmla="*/ 43 h 142"/>
                </a:gdLst>
                <a:ahLst/>
                <a:cxnLst>
                  <a:cxn ang="0">
                    <a:pos x="T0" y="T1"/>
                  </a:cxn>
                  <a:cxn ang="0">
                    <a:pos x="T2" y="T3"/>
                  </a:cxn>
                  <a:cxn ang="0">
                    <a:pos x="T4" y="T5"/>
                  </a:cxn>
                  <a:cxn ang="0">
                    <a:pos x="T6" y="T7"/>
                  </a:cxn>
                  <a:cxn ang="0">
                    <a:pos x="T8" y="T9"/>
                  </a:cxn>
                </a:cxnLst>
                <a:rect l="0" t="0" r="r" b="b"/>
                <a:pathLst>
                  <a:path w="133" h="142">
                    <a:moveTo>
                      <a:pt x="124" y="43"/>
                    </a:moveTo>
                    <a:cubicBezTo>
                      <a:pt x="60" y="49"/>
                      <a:pt x="67" y="142"/>
                      <a:pt x="0" y="142"/>
                    </a:cubicBezTo>
                    <a:cubicBezTo>
                      <a:pt x="17" y="78"/>
                      <a:pt x="22" y="0"/>
                      <a:pt x="124" y="21"/>
                    </a:cubicBezTo>
                    <a:cubicBezTo>
                      <a:pt x="130" y="26"/>
                      <a:pt x="133" y="31"/>
                      <a:pt x="130" y="35"/>
                    </a:cubicBezTo>
                    <a:cubicBezTo>
                      <a:pt x="128" y="40"/>
                      <a:pt x="126" y="43"/>
                      <a:pt x="124"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31" name="Freeform 387">
                <a:extLst>
                  <a:ext uri="{FF2B5EF4-FFF2-40B4-BE49-F238E27FC236}">
                    <a16:creationId xmlns:a16="http://schemas.microsoft.com/office/drawing/2014/main" id="{D113E178-9B18-4405-9F3B-98225665E3C3}"/>
                  </a:ext>
                </a:extLst>
              </p:cNvPr>
              <p:cNvSpPr>
                <a:spLocks/>
              </p:cNvSpPr>
              <p:nvPr/>
            </p:nvSpPr>
            <p:spPr bwMode="auto">
              <a:xfrm>
                <a:off x="1399" y="2459"/>
                <a:ext cx="17" cy="25"/>
              </a:xfrm>
              <a:custGeom>
                <a:avLst/>
                <a:gdLst>
                  <a:gd name="T0" fmla="*/ 82 w 113"/>
                  <a:gd name="T1" fmla="*/ 168 h 168"/>
                  <a:gd name="T2" fmla="*/ 62 w 113"/>
                  <a:gd name="T3" fmla="*/ 146 h 168"/>
                  <a:gd name="T4" fmla="*/ 0 w 113"/>
                  <a:gd name="T5" fmla="*/ 0 h 168"/>
                  <a:gd name="T6" fmla="*/ 23 w 113"/>
                  <a:gd name="T7" fmla="*/ 1 h 168"/>
                  <a:gd name="T8" fmla="*/ 82 w 113"/>
                  <a:gd name="T9" fmla="*/ 168 h 168"/>
                </a:gdLst>
                <a:ahLst/>
                <a:cxnLst>
                  <a:cxn ang="0">
                    <a:pos x="T0" y="T1"/>
                  </a:cxn>
                  <a:cxn ang="0">
                    <a:pos x="T2" y="T3"/>
                  </a:cxn>
                  <a:cxn ang="0">
                    <a:pos x="T4" y="T5"/>
                  </a:cxn>
                  <a:cxn ang="0">
                    <a:pos x="T6" y="T7"/>
                  </a:cxn>
                  <a:cxn ang="0">
                    <a:pos x="T8" y="T9"/>
                  </a:cxn>
                </a:cxnLst>
                <a:rect l="0" t="0" r="r" b="b"/>
                <a:pathLst>
                  <a:path w="113" h="168">
                    <a:moveTo>
                      <a:pt x="82" y="168"/>
                    </a:moveTo>
                    <a:cubicBezTo>
                      <a:pt x="75" y="161"/>
                      <a:pt x="68" y="153"/>
                      <a:pt x="62" y="146"/>
                    </a:cubicBezTo>
                    <a:cubicBezTo>
                      <a:pt x="18" y="107"/>
                      <a:pt x="20" y="49"/>
                      <a:pt x="0" y="0"/>
                    </a:cubicBezTo>
                    <a:cubicBezTo>
                      <a:pt x="8" y="0"/>
                      <a:pt x="16" y="1"/>
                      <a:pt x="23" y="1"/>
                    </a:cubicBezTo>
                    <a:cubicBezTo>
                      <a:pt x="56" y="52"/>
                      <a:pt x="113" y="94"/>
                      <a:pt x="82" y="1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32" name="Freeform 388">
                <a:extLst>
                  <a:ext uri="{FF2B5EF4-FFF2-40B4-BE49-F238E27FC236}">
                    <a16:creationId xmlns:a16="http://schemas.microsoft.com/office/drawing/2014/main" id="{F165B2CF-C937-4D5E-AF0C-C213E65024B8}"/>
                  </a:ext>
                </a:extLst>
              </p:cNvPr>
              <p:cNvSpPr>
                <a:spLocks/>
              </p:cNvSpPr>
              <p:nvPr/>
            </p:nvSpPr>
            <p:spPr bwMode="auto">
              <a:xfrm>
                <a:off x="1618" y="2550"/>
                <a:ext cx="30" cy="18"/>
              </a:xfrm>
              <a:custGeom>
                <a:avLst/>
                <a:gdLst>
                  <a:gd name="T0" fmla="*/ 192 w 192"/>
                  <a:gd name="T1" fmla="*/ 5 h 115"/>
                  <a:gd name="T2" fmla="*/ 9 w 192"/>
                  <a:gd name="T3" fmla="*/ 27 h 115"/>
                  <a:gd name="T4" fmla="*/ 2 w 192"/>
                  <a:gd name="T5" fmla="*/ 13 h 115"/>
                  <a:gd name="T6" fmla="*/ 10 w 192"/>
                  <a:gd name="T7" fmla="*/ 7 h 115"/>
                  <a:gd name="T8" fmla="*/ 69 w 192"/>
                  <a:gd name="T9" fmla="*/ 5 h 115"/>
                  <a:gd name="T10" fmla="*/ 155 w 192"/>
                  <a:gd name="T11" fmla="*/ 7 h 115"/>
                  <a:gd name="T12" fmla="*/ 192 w 192"/>
                  <a:gd name="T13" fmla="*/ 5 h 115"/>
                </a:gdLst>
                <a:ahLst/>
                <a:cxnLst>
                  <a:cxn ang="0">
                    <a:pos x="T0" y="T1"/>
                  </a:cxn>
                  <a:cxn ang="0">
                    <a:pos x="T2" y="T3"/>
                  </a:cxn>
                  <a:cxn ang="0">
                    <a:pos x="T4" y="T5"/>
                  </a:cxn>
                  <a:cxn ang="0">
                    <a:pos x="T6" y="T7"/>
                  </a:cxn>
                  <a:cxn ang="0">
                    <a:pos x="T8" y="T9"/>
                  </a:cxn>
                  <a:cxn ang="0">
                    <a:pos x="T10" y="T11"/>
                  </a:cxn>
                  <a:cxn ang="0">
                    <a:pos x="T12" y="T13"/>
                  </a:cxn>
                </a:cxnLst>
                <a:rect l="0" t="0" r="r" b="b"/>
                <a:pathLst>
                  <a:path w="192" h="115">
                    <a:moveTo>
                      <a:pt x="192" y="5"/>
                    </a:moveTo>
                    <a:cubicBezTo>
                      <a:pt x="143" y="115"/>
                      <a:pt x="72" y="33"/>
                      <a:pt x="9" y="27"/>
                    </a:cubicBezTo>
                    <a:cubicBezTo>
                      <a:pt x="2" y="22"/>
                      <a:pt x="0" y="17"/>
                      <a:pt x="2" y="13"/>
                    </a:cubicBezTo>
                    <a:cubicBezTo>
                      <a:pt x="5" y="9"/>
                      <a:pt x="7" y="7"/>
                      <a:pt x="10" y="7"/>
                    </a:cubicBezTo>
                    <a:cubicBezTo>
                      <a:pt x="29" y="6"/>
                      <a:pt x="49" y="6"/>
                      <a:pt x="69" y="5"/>
                    </a:cubicBezTo>
                    <a:cubicBezTo>
                      <a:pt x="97" y="28"/>
                      <a:pt x="126" y="0"/>
                      <a:pt x="155" y="7"/>
                    </a:cubicBezTo>
                    <a:cubicBezTo>
                      <a:pt x="167" y="7"/>
                      <a:pt x="180" y="6"/>
                      <a:pt x="19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33" name="Freeform 389">
                <a:extLst>
                  <a:ext uri="{FF2B5EF4-FFF2-40B4-BE49-F238E27FC236}">
                    <a16:creationId xmlns:a16="http://schemas.microsoft.com/office/drawing/2014/main" id="{CEA8B9D7-5C27-429E-800D-1B5A64C616E0}"/>
                  </a:ext>
                </a:extLst>
              </p:cNvPr>
              <p:cNvSpPr>
                <a:spLocks/>
              </p:cNvSpPr>
              <p:nvPr/>
            </p:nvSpPr>
            <p:spPr bwMode="auto">
              <a:xfrm>
                <a:off x="1649" y="2522"/>
                <a:ext cx="17" cy="28"/>
              </a:xfrm>
              <a:custGeom>
                <a:avLst/>
                <a:gdLst>
                  <a:gd name="T0" fmla="*/ 59 w 110"/>
                  <a:gd name="T1" fmla="*/ 0 h 185"/>
                  <a:gd name="T2" fmla="*/ 60 w 110"/>
                  <a:gd name="T3" fmla="*/ 25 h 185"/>
                  <a:gd name="T4" fmla="*/ 20 w 110"/>
                  <a:gd name="T5" fmla="*/ 185 h 185"/>
                  <a:gd name="T6" fmla="*/ 59 w 110"/>
                  <a:gd name="T7" fmla="*/ 0 h 185"/>
                </a:gdLst>
                <a:ahLst/>
                <a:cxnLst>
                  <a:cxn ang="0">
                    <a:pos x="T0" y="T1"/>
                  </a:cxn>
                  <a:cxn ang="0">
                    <a:pos x="T2" y="T3"/>
                  </a:cxn>
                  <a:cxn ang="0">
                    <a:pos x="T4" y="T5"/>
                  </a:cxn>
                  <a:cxn ang="0">
                    <a:pos x="T6" y="T7"/>
                  </a:cxn>
                </a:cxnLst>
                <a:rect l="0" t="0" r="r" b="b"/>
                <a:pathLst>
                  <a:path w="110" h="185">
                    <a:moveTo>
                      <a:pt x="59" y="0"/>
                    </a:moveTo>
                    <a:cubicBezTo>
                      <a:pt x="59" y="8"/>
                      <a:pt x="60" y="16"/>
                      <a:pt x="60" y="25"/>
                    </a:cubicBezTo>
                    <a:cubicBezTo>
                      <a:pt x="47" y="78"/>
                      <a:pt x="110" y="151"/>
                      <a:pt x="20" y="185"/>
                    </a:cubicBezTo>
                    <a:cubicBezTo>
                      <a:pt x="31" y="123"/>
                      <a:pt x="0" y="52"/>
                      <a:pt x="5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34" name="Freeform 390">
                <a:extLst>
                  <a:ext uri="{FF2B5EF4-FFF2-40B4-BE49-F238E27FC236}">
                    <a16:creationId xmlns:a16="http://schemas.microsoft.com/office/drawing/2014/main" id="{DE51719A-03B1-408F-9FFA-8CD0102237D6}"/>
                  </a:ext>
                </a:extLst>
              </p:cNvPr>
              <p:cNvSpPr>
                <a:spLocks/>
              </p:cNvSpPr>
              <p:nvPr/>
            </p:nvSpPr>
            <p:spPr bwMode="auto">
              <a:xfrm>
                <a:off x="1579" y="2547"/>
                <a:ext cx="15" cy="28"/>
              </a:xfrm>
              <a:custGeom>
                <a:avLst/>
                <a:gdLst>
                  <a:gd name="T0" fmla="*/ 82 w 98"/>
                  <a:gd name="T1" fmla="*/ 45 h 180"/>
                  <a:gd name="T2" fmla="*/ 61 w 98"/>
                  <a:gd name="T3" fmla="*/ 151 h 180"/>
                  <a:gd name="T4" fmla="*/ 37 w 98"/>
                  <a:gd name="T5" fmla="*/ 169 h 180"/>
                  <a:gd name="T6" fmla="*/ 40 w 98"/>
                  <a:gd name="T7" fmla="*/ 0 h 180"/>
                  <a:gd name="T8" fmla="*/ 88 w 98"/>
                  <a:gd name="T9" fmla="*/ 22 h 180"/>
                  <a:gd name="T10" fmla="*/ 82 w 98"/>
                  <a:gd name="T11" fmla="*/ 45 h 180"/>
                </a:gdLst>
                <a:ahLst/>
                <a:cxnLst>
                  <a:cxn ang="0">
                    <a:pos x="T0" y="T1"/>
                  </a:cxn>
                  <a:cxn ang="0">
                    <a:pos x="T2" y="T3"/>
                  </a:cxn>
                  <a:cxn ang="0">
                    <a:pos x="T4" y="T5"/>
                  </a:cxn>
                  <a:cxn ang="0">
                    <a:pos x="T6" y="T7"/>
                  </a:cxn>
                  <a:cxn ang="0">
                    <a:pos x="T8" y="T9"/>
                  </a:cxn>
                  <a:cxn ang="0">
                    <a:pos x="T10" y="T11"/>
                  </a:cxn>
                </a:cxnLst>
                <a:rect l="0" t="0" r="r" b="b"/>
                <a:pathLst>
                  <a:path w="98" h="180">
                    <a:moveTo>
                      <a:pt x="82" y="45"/>
                    </a:moveTo>
                    <a:cubicBezTo>
                      <a:pt x="98" y="85"/>
                      <a:pt x="15" y="105"/>
                      <a:pt x="61" y="151"/>
                    </a:cubicBezTo>
                    <a:cubicBezTo>
                      <a:pt x="62" y="169"/>
                      <a:pt x="58" y="180"/>
                      <a:pt x="37" y="169"/>
                    </a:cubicBezTo>
                    <a:cubicBezTo>
                      <a:pt x="0" y="112"/>
                      <a:pt x="42" y="56"/>
                      <a:pt x="40" y="0"/>
                    </a:cubicBezTo>
                    <a:cubicBezTo>
                      <a:pt x="58" y="3"/>
                      <a:pt x="76" y="6"/>
                      <a:pt x="88" y="22"/>
                    </a:cubicBezTo>
                    <a:cubicBezTo>
                      <a:pt x="91" y="31"/>
                      <a:pt x="89" y="38"/>
                      <a:pt x="82" y="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35" name="Freeform 391">
                <a:extLst>
                  <a:ext uri="{FF2B5EF4-FFF2-40B4-BE49-F238E27FC236}">
                    <a16:creationId xmlns:a16="http://schemas.microsoft.com/office/drawing/2014/main" id="{78381E61-BAFA-4E30-9A70-7B5135D6F742}"/>
                  </a:ext>
                </a:extLst>
              </p:cNvPr>
              <p:cNvSpPr>
                <a:spLocks/>
              </p:cNvSpPr>
              <p:nvPr/>
            </p:nvSpPr>
            <p:spPr bwMode="auto">
              <a:xfrm>
                <a:off x="1373" y="2456"/>
                <a:ext cx="13" cy="22"/>
              </a:xfrm>
              <a:custGeom>
                <a:avLst/>
                <a:gdLst>
                  <a:gd name="T0" fmla="*/ 82 w 84"/>
                  <a:gd name="T1" fmla="*/ 0 h 144"/>
                  <a:gd name="T2" fmla="*/ 84 w 84"/>
                  <a:gd name="T3" fmla="*/ 24 h 144"/>
                  <a:gd name="T4" fmla="*/ 0 w 84"/>
                  <a:gd name="T5" fmla="*/ 144 h 144"/>
                  <a:gd name="T6" fmla="*/ 82 w 84"/>
                  <a:gd name="T7" fmla="*/ 0 h 144"/>
                </a:gdLst>
                <a:ahLst/>
                <a:cxnLst>
                  <a:cxn ang="0">
                    <a:pos x="T0" y="T1"/>
                  </a:cxn>
                  <a:cxn ang="0">
                    <a:pos x="T2" y="T3"/>
                  </a:cxn>
                  <a:cxn ang="0">
                    <a:pos x="T4" y="T5"/>
                  </a:cxn>
                  <a:cxn ang="0">
                    <a:pos x="T6" y="T7"/>
                  </a:cxn>
                </a:cxnLst>
                <a:rect l="0" t="0" r="r" b="b"/>
                <a:pathLst>
                  <a:path w="84" h="144">
                    <a:moveTo>
                      <a:pt x="82" y="0"/>
                    </a:moveTo>
                    <a:cubicBezTo>
                      <a:pt x="83" y="8"/>
                      <a:pt x="83" y="16"/>
                      <a:pt x="84" y="24"/>
                    </a:cubicBezTo>
                    <a:cubicBezTo>
                      <a:pt x="76" y="79"/>
                      <a:pt x="39" y="112"/>
                      <a:pt x="0" y="144"/>
                    </a:cubicBezTo>
                    <a:cubicBezTo>
                      <a:pt x="6" y="83"/>
                      <a:pt x="42" y="41"/>
                      <a:pt x="8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36" name="Freeform 392">
                <a:extLst>
                  <a:ext uri="{FF2B5EF4-FFF2-40B4-BE49-F238E27FC236}">
                    <a16:creationId xmlns:a16="http://schemas.microsoft.com/office/drawing/2014/main" id="{F57F2491-53EE-4007-B494-66AD70070F8C}"/>
                  </a:ext>
                </a:extLst>
              </p:cNvPr>
              <p:cNvSpPr>
                <a:spLocks/>
              </p:cNvSpPr>
              <p:nvPr/>
            </p:nvSpPr>
            <p:spPr bwMode="auto">
              <a:xfrm>
                <a:off x="1367" y="2478"/>
                <a:ext cx="15" cy="25"/>
              </a:xfrm>
              <a:custGeom>
                <a:avLst/>
                <a:gdLst>
                  <a:gd name="T0" fmla="*/ 41 w 103"/>
                  <a:gd name="T1" fmla="*/ 0 h 165"/>
                  <a:gd name="T2" fmla="*/ 103 w 103"/>
                  <a:gd name="T3" fmla="*/ 165 h 165"/>
                  <a:gd name="T4" fmla="*/ 41 w 103"/>
                  <a:gd name="T5" fmla="*/ 0 h 165"/>
                </a:gdLst>
                <a:ahLst/>
                <a:cxnLst>
                  <a:cxn ang="0">
                    <a:pos x="T0" y="T1"/>
                  </a:cxn>
                  <a:cxn ang="0">
                    <a:pos x="T2" y="T3"/>
                  </a:cxn>
                  <a:cxn ang="0">
                    <a:pos x="T4" y="T5"/>
                  </a:cxn>
                </a:cxnLst>
                <a:rect l="0" t="0" r="r" b="b"/>
                <a:pathLst>
                  <a:path w="103" h="165">
                    <a:moveTo>
                      <a:pt x="41" y="0"/>
                    </a:moveTo>
                    <a:cubicBezTo>
                      <a:pt x="101" y="40"/>
                      <a:pt x="68" y="115"/>
                      <a:pt x="103" y="165"/>
                    </a:cubicBezTo>
                    <a:cubicBezTo>
                      <a:pt x="0" y="141"/>
                      <a:pt x="76" y="50"/>
                      <a:pt x="4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37" name="Freeform 393">
                <a:extLst>
                  <a:ext uri="{FF2B5EF4-FFF2-40B4-BE49-F238E27FC236}">
                    <a16:creationId xmlns:a16="http://schemas.microsoft.com/office/drawing/2014/main" id="{D3A2577B-C4CA-4F1C-808D-519BD9D7DBCA}"/>
                  </a:ext>
                </a:extLst>
              </p:cNvPr>
              <p:cNvSpPr>
                <a:spLocks/>
              </p:cNvSpPr>
              <p:nvPr/>
            </p:nvSpPr>
            <p:spPr bwMode="auto">
              <a:xfrm>
                <a:off x="1517" y="2690"/>
                <a:ext cx="14" cy="19"/>
              </a:xfrm>
              <a:custGeom>
                <a:avLst/>
                <a:gdLst>
                  <a:gd name="T0" fmla="*/ 49 w 85"/>
                  <a:gd name="T1" fmla="*/ 124 h 124"/>
                  <a:gd name="T2" fmla="*/ 31 w 85"/>
                  <a:gd name="T3" fmla="*/ 105 h 124"/>
                  <a:gd name="T4" fmla="*/ 70 w 85"/>
                  <a:gd name="T5" fmla="*/ 0 h 124"/>
                  <a:gd name="T6" fmla="*/ 49 w 85"/>
                  <a:gd name="T7" fmla="*/ 124 h 124"/>
                </a:gdLst>
                <a:ahLst/>
                <a:cxnLst>
                  <a:cxn ang="0">
                    <a:pos x="T0" y="T1"/>
                  </a:cxn>
                  <a:cxn ang="0">
                    <a:pos x="T2" y="T3"/>
                  </a:cxn>
                  <a:cxn ang="0">
                    <a:pos x="T4" y="T5"/>
                  </a:cxn>
                  <a:cxn ang="0">
                    <a:pos x="T6" y="T7"/>
                  </a:cxn>
                </a:cxnLst>
                <a:rect l="0" t="0" r="r" b="b"/>
                <a:pathLst>
                  <a:path w="85" h="124">
                    <a:moveTo>
                      <a:pt x="49" y="124"/>
                    </a:moveTo>
                    <a:cubicBezTo>
                      <a:pt x="43" y="118"/>
                      <a:pt x="37" y="111"/>
                      <a:pt x="31" y="105"/>
                    </a:cubicBezTo>
                    <a:cubicBezTo>
                      <a:pt x="39" y="68"/>
                      <a:pt x="0" y="14"/>
                      <a:pt x="70" y="0"/>
                    </a:cubicBezTo>
                    <a:cubicBezTo>
                      <a:pt x="64" y="41"/>
                      <a:pt x="85" y="87"/>
                      <a:pt x="49" y="1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38" name="Freeform 394">
                <a:extLst>
                  <a:ext uri="{FF2B5EF4-FFF2-40B4-BE49-F238E27FC236}">
                    <a16:creationId xmlns:a16="http://schemas.microsoft.com/office/drawing/2014/main" id="{498D8ADB-DE35-4D01-B7F4-5870C77E9EBE}"/>
                  </a:ext>
                </a:extLst>
              </p:cNvPr>
              <p:cNvSpPr>
                <a:spLocks/>
              </p:cNvSpPr>
              <p:nvPr/>
            </p:nvSpPr>
            <p:spPr bwMode="auto">
              <a:xfrm>
                <a:off x="1598" y="2597"/>
                <a:ext cx="19" cy="18"/>
              </a:xfrm>
              <a:custGeom>
                <a:avLst/>
                <a:gdLst>
                  <a:gd name="T0" fmla="*/ 124 w 124"/>
                  <a:gd name="T1" fmla="*/ 8 h 114"/>
                  <a:gd name="T2" fmla="*/ 0 w 124"/>
                  <a:gd name="T3" fmla="*/ 114 h 114"/>
                  <a:gd name="T4" fmla="*/ 1 w 124"/>
                  <a:gd name="T5" fmla="*/ 50 h 114"/>
                  <a:gd name="T6" fmla="*/ 86 w 124"/>
                  <a:gd name="T7" fmla="*/ 9 h 114"/>
                  <a:gd name="T8" fmla="*/ 105 w 124"/>
                  <a:gd name="T9" fmla="*/ 9 h 114"/>
                  <a:gd name="T10" fmla="*/ 124 w 124"/>
                  <a:gd name="T11" fmla="*/ 8 h 114"/>
                </a:gdLst>
                <a:ahLst/>
                <a:cxnLst>
                  <a:cxn ang="0">
                    <a:pos x="T0" y="T1"/>
                  </a:cxn>
                  <a:cxn ang="0">
                    <a:pos x="T2" y="T3"/>
                  </a:cxn>
                  <a:cxn ang="0">
                    <a:pos x="T4" y="T5"/>
                  </a:cxn>
                  <a:cxn ang="0">
                    <a:pos x="T6" y="T7"/>
                  </a:cxn>
                  <a:cxn ang="0">
                    <a:pos x="T8" y="T9"/>
                  </a:cxn>
                  <a:cxn ang="0">
                    <a:pos x="T10" y="T11"/>
                  </a:cxn>
                </a:cxnLst>
                <a:rect l="0" t="0" r="r" b="b"/>
                <a:pathLst>
                  <a:path w="124" h="114">
                    <a:moveTo>
                      <a:pt x="124" y="8"/>
                    </a:moveTo>
                    <a:cubicBezTo>
                      <a:pt x="98" y="61"/>
                      <a:pt x="19" y="52"/>
                      <a:pt x="0" y="114"/>
                    </a:cubicBezTo>
                    <a:cubicBezTo>
                      <a:pt x="1" y="93"/>
                      <a:pt x="1" y="71"/>
                      <a:pt x="1" y="50"/>
                    </a:cubicBezTo>
                    <a:cubicBezTo>
                      <a:pt x="16" y="8"/>
                      <a:pt x="59" y="25"/>
                      <a:pt x="86" y="9"/>
                    </a:cubicBezTo>
                    <a:cubicBezTo>
                      <a:pt x="93" y="9"/>
                      <a:pt x="99" y="9"/>
                      <a:pt x="105" y="9"/>
                    </a:cubicBezTo>
                    <a:cubicBezTo>
                      <a:pt x="111" y="1"/>
                      <a:pt x="117" y="0"/>
                      <a:pt x="124"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39" name="Freeform 395">
                <a:extLst>
                  <a:ext uri="{FF2B5EF4-FFF2-40B4-BE49-F238E27FC236}">
                    <a16:creationId xmlns:a16="http://schemas.microsoft.com/office/drawing/2014/main" id="{36EA82F2-2184-4ADE-85DD-83F923E4AE81}"/>
                  </a:ext>
                </a:extLst>
              </p:cNvPr>
              <p:cNvSpPr>
                <a:spLocks/>
              </p:cNvSpPr>
              <p:nvPr/>
            </p:nvSpPr>
            <p:spPr bwMode="auto">
              <a:xfrm>
                <a:off x="1591" y="2546"/>
                <a:ext cx="29" cy="8"/>
              </a:xfrm>
              <a:custGeom>
                <a:avLst/>
                <a:gdLst>
                  <a:gd name="T0" fmla="*/ 5 w 190"/>
                  <a:gd name="T1" fmla="*/ 49 h 50"/>
                  <a:gd name="T2" fmla="*/ 5 w 190"/>
                  <a:gd name="T3" fmla="*/ 28 h 50"/>
                  <a:gd name="T4" fmla="*/ 24 w 190"/>
                  <a:gd name="T5" fmla="*/ 8 h 50"/>
                  <a:gd name="T6" fmla="*/ 190 w 190"/>
                  <a:gd name="T7" fmla="*/ 29 h 50"/>
                  <a:gd name="T8" fmla="*/ 189 w 190"/>
                  <a:gd name="T9" fmla="*/ 50 h 50"/>
                  <a:gd name="T10" fmla="*/ 5 w 190"/>
                  <a:gd name="T11" fmla="*/ 49 h 50"/>
                </a:gdLst>
                <a:ahLst/>
                <a:cxnLst>
                  <a:cxn ang="0">
                    <a:pos x="T0" y="T1"/>
                  </a:cxn>
                  <a:cxn ang="0">
                    <a:pos x="T2" y="T3"/>
                  </a:cxn>
                  <a:cxn ang="0">
                    <a:pos x="T4" y="T5"/>
                  </a:cxn>
                  <a:cxn ang="0">
                    <a:pos x="T6" y="T7"/>
                  </a:cxn>
                  <a:cxn ang="0">
                    <a:pos x="T8" y="T9"/>
                  </a:cxn>
                  <a:cxn ang="0">
                    <a:pos x="T10" y="T11"/>
                  </a:cxn>
                </a:cxnLst>
                <a:rect l="0" t="0" r="r" b="b"/>
                <a:pathLst>
                  <a:path w="190" h="50">
                    <a:moveTo>
                      <a:pt x="5" y="49"/>
                    </a:moveTo>
                    <a:cubicBezTo>
                      <a:pt x="5" y="42"/>
                      <a:pt x="5" y="35"/>
                      <a:pt x="5" y="28"/>
                    </a:cubicBezTo>
                    <a:cubicBezTo>
                      <a:pt x="0" y="9"/>
                      <a:pt x="4" y="0"/>
                      <a:pt x="24" y="8"/>
                    </a:cubicBezTo>
                    <a:cubicBezTo>
                      <a:pt x="75" y="45"/>
                      <a:pt x="135" y="14"/>
                      <a:pt x="190" y="29"/>
                    </a:cubicBezTo>
                    <a:cubicBezTo>
                      <a:pt x="190" y="36"/>
                      <a:pt x="189" y="43"/>
                      <a:pt x="189" y="50"/>
                    </a:cubicBezTo>
                    <a:cubicBezTo>
                      <a:pt x="128" y="49"/>
                      <a:pt x="66" y="49"/>
                      <a:pt x="5"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0" name="Freeform 396">
                <a:extLst>
                  <a:ext uri="{FF2B5EF4-FFF2-40B4-BE49-F238E27FC236}">
                    <a16:creationId xmlns:a16="http://schemas.microsoft.com/office/drawing/2014/main" id="{D842C0FC-0370-45ED-B2CF-5DCEC5CC0858}"/>
                  </a:ext>
                </a:extLst>
              </p:cNvPr>
              <p:cNvSpPr>
                <a:spLocks/>
              </p:cNvSpPr>
              <p:nvPr/>
            </p:nvSpPr>
            <p:spPr bwMode="auto">
              <a:xfrm>
                <a:off x="1193" y="2522"/>
                <a:ext cx="18" cy="19"/>
              </a:xfrm>
              <a:custGeom>
                <a:avLst/>
                <a:gdLst>
                  <a:gd name="T0" fmla="*/ 61 w 122"/>
                  <a:gd name="T1" fmla="*/ 0 h 121"/>
                  <a:gd name="T2" fmla="*/ 61 w 122"/>
                  <a:gd name="T3" fmla="*/ 21 h 121"/>
                  <a:gd name="T4" fmla="*/ 121 w 122"/>
                  <a:gd name="T5" fmla="*/ 80 h 121"/>
                  <a:gd name="T6" fmla="*/ 122 w 122"/>
                  <a:gd name="T7" fmla="*/ 121 h 121"/>
                  <a:gd name="T8" fmla="*/ 61 w 122"/>
                  <a:gd name="T9" fmla="*/ 0 h 121"/>
                </a:gdLst>
                <a:ahLst/>
                <a:cxnLst>
                  <a:cxn ang="0">
                    <a:pos x="T0" y="T1"/>
                  </a:cxn>
                  <a:cxn ang="0">
                    <a:pos x="T2" y="T3"/>
                  </a:cxn>
                  <a:cxn ang="0">
                    <a:pos x="T4" y="T5"/>
                  </a:cxn>
                  <a:cxn ang="0">
                    <a:pos x="T6" y="T7"/>
                  </a:cxn>
                  <a:cxn ang="0">
                    <a:pos x="T8" y="T9"/>
                  </a:cxn>
                </a:cxnLst>
                <a:rect l="0" t="0" r="r" b="b"/>
                <a:pathLst>
                  <a:path w="122" h="121">
                    <a:moveTo>
                      <a:pt x="61" y="0"/>
                    </a:moveTo>
                    <a:cubicBezTo>
                      <a:pt x="61" y="7"/>
                      <a:pt x="61" y="14"/>
                      <a:pt x="61" y="21"/>
                    </a:cubicBezTo>
                    <a:cubicBezTo>
                      <a:pt x="64" y="58"/>
                      <a:pt x="94" y="68"/>
                      <a:pt x="121" y="80"/>
                    </a:cubicBezTo>
                    <a:cubicBezTo>
                      <a:pt x="122" y="94"/>
                      <a:pt x="122" y="107"/>
                      <a:pt x="122" y="121"/>
                    </a:cubicBezTo>
                    <a:cubicBezTo>
                      <a:pt x="89" y="87"/>
                      <a:pt x="0" y="82"/>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1" name="Freeform 397">
                <a:extLst>
                  <a:ext uri="{FF2B5EF4-FFF2-40B4-BE49-F238E27FC236}">
                    <a16:creationId xmlns:a16="http://schemas.microsoft.com/office/drawing/2014/main" id="{2DE4165C-9B56-4498-99E1-28503D3E232C}"/>
                  </a:ext>
                </a:extLst>
              </p:cNvPr>
              <p:cNvSpPr>
                <a:spLocks/>
              </p:cNvSpPr>
              <p:nvPr/>
            </p:nvSpPr>
            <p:spPr bwMode="auto">
              <a:xfrm>
                <a:off x="1532" y="2655"/>
                <a:ext cx="17" cy="18"/>
              </a:xfrm>
              <a:custGeom>
                <a:avLst/>
                <a:gdLst>
                  <a:gd name="T0" fmla="*/ 80 w 112"/>
                  <a:gd name="T1" fmla="*/ 0 h 115"/>
                  <a:gd name="T2" fmla="*/ 21 w 112"/>
                  <a:gd name="T3" fmla="*/ 107 h 115"/>
                  <a:gd name="T4" fmla="*/ 0 w 112"/>
                  <a:gd name="T5" fmla="*/ 102 h 115"/>
                  <a:gd name="T6" fmla="*/ 80 w 112"/>
                  <a:gd name="T7" fmla="*/ 0 h 115"/>
                </a:gdLst>
                <a:ahLst/>
                <a:cxnLst>
                  <a:cxn ang="0">
                    <a:pos x="T0" y="T1"/>
                  </a:cxn>
                  <a:cxn ang="0">
                    <a:pos x="T2" y="T3"/>
                  </a:cxn>
                  <a:cxn ang="0">
                    <a:pos x="T4" y="T5"/>
                  </a:cxn>
                  <a:cxn ang="0">
                    <a:pos x="T6" y="T7"/>
                  </a:cxn>
                </a:cxnLst>
                <a:rect l="0" t="0" r="r" b="b"/>
                <a:pathLst>
                  <a:path w="112" h="115">
                    <a:moveTo>
                      <a:pt x="80" y="0"/>
                    </a:moveTo>
                    <a:cubicBezTo>
                      <a:pt x="112" y="64"/>
                      <a:pt x="36" y="69"/>
                      <a:pt x="21" y="107"/>
                    </a:cubicBezTo>
                    <a:cubicBezTo>
                      <a:pt x="12" y="115"/>
                      <a:pt x="5" y="114"/>
                      <a:pt x="0" y="102"/>
                    </a:cubicBezTo>
                    <a:cubicBezTo>
                      <a:pt x="10" y="55"/>
                      <a:pt x="52" y="33"/>
                      <a:pt x="8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2" name="Freeform 398">
                <a:extLst>
                  <a:ext uri="{FF2B5EF4-FFF2-40B4-BE49-F238E27FC236}">
                    <a16:creationId xmlns:a16="http://schemas.microsoft.com/office/drawing/2014/main" id="{847B44EC-8DE5-4237-8E65-9A5EBB21C134}"/>
                  </a:ext>
                </a:extLst>
              </p:cNvPr>
              <p:cNvSpPr>
                <a:spLocks/>
              </p:cNvSpPr>
              <p:nvPr/>
            </p:nvSpPr>
            <p:spPr bwMode="auto">
              <a:xfrm>
                <a:off x="1527" y="2671"/>
                <a:ext cx="10" cy="19"/>
              </a:xfrm>
              <a:custGeom>
                <a:avLst/>
                <a:gdLst>
                  <a:gd name="T0" fmla="*/ 30 w 66"/>
                  <a:gd name="T1" fmla="*/ 0 h 126"/>
                  <a:gd name="T2" fmla="*/ 51 w 66"/>
                  <a:gd name="T3" fmla="*/ 4 h 126"/>
                  <a:gd name="T4" fmla="*/ 7 w 66"/>
                  <a:gd name="T5" fmla="*/ 126 h 126"/>
                  <a:gd name="T6" fmla="*/ 30 w 66"/>
                  <a:gd name="T7" fmla="*/ 0 h 126"/>
                </a:gdLst>
                <a:ahLst/>
                <a:cxnLst>
                  <a:cxn ang="0">
                    <a:pos x="T0" y="T1"/>
                  </a:cxn>
                  <a:cxn ang="0">
                    <a:pos x="T2" y="T3"/>
                  </a:cxn>
                  <a:cxn ang="0">
                    <a:pos x="T4" y="T5"/>
                  </a:cxn>
                  <a:cxn ang="0">
                    <a:pos x="T6" y="T7"/>
                  </a:cxn>
                </a:cxnLst>
                <a:rect l="0" t="0" r="r" b="b"/>
                <a:pathLst>
                  <a:path w="66" h="126">
                    <a:moveTo>
                      <a:pt x="30" y="0"/>
                    </a:moveTo>
                    <a:cubicBezTo>
                      <a:pt x="37" y="2"/>
                      <a:pt x="44" y="3"/>
                      <a:pt x="51" y="4"/>
                    </a:cubicBezTo>
                    <a:cubicBezTo>
                      <a:pt x="41" y="47"/>
                      <a:pt x="66" y="101"/>
                      <a:pt x="7" y="126"/>
                    </a:cubicBezTo>
                    <a:cubicBezTo>
                      <a:pt x="0" y="81"/>
                      <a:pt x="21" y="42"/>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3" name="Freeform 399">
                <a:extLst>
                  <a:ext uri="{FF2B5EF4-FFF2-40B4-BE49-F238E27FC236}">
                    <a16:creationId xmlns:a16="http://schemas.microsoft.com/office/drawing/2014/main" id="{579C8473-C3CE-4FD7-B052-5809BC0CB4FA}"/>
                  </a:ext>
                </a:extLst>
              </p:cNvPr>
              <p:cNvSpPr>
                <a:spLocks/>
              </p:cNvSpPr>
              <p:nvPr/>
            </p:nvSpPr>
            <p:spPr bwMode="auto">
              <a:xfrm>
                <a:off x="1585" y="2569"/>
                <a:ext cx="20" cy="7"/>
              </a:xfrm>
              <a:custGeom>
                <a:avLst/>
                <a:gdLst>
                  <a:gd name="T0" fmla="*/ 0 w 132"/>
                  <a:gd name="T1" fmla="*/ 28 h 48"/>
                  <a:gd name="T2" fmla="*/ 24 w 132"/>
                  <a:gd name="T3" fmla="*/ 10 h 48"/>
                  <a:gd name="T4" fmla="*/ 132 w 132"/>
                  <a:gd name="T5" fmla="*/ 48 h 48"/>
                  <a:gd name="T6" fmla="*/ 0 w 132"/>
                  <a:gd name="T7" fmla="*/ 28 h 48"/>
                </a:gdLst>
                <a:ahLst/>
                <a:cxnLst>
                  <a:cxn ang="0">
                    <a:pos x="T0" y="T1"/>
                  </a:cxn>
                  <a:cxn ang="0">
                    <a:pos x="T2" y="T3"/>
                  </a:cxn>
                  <a:cxn ang="0">
                    <a:pos x="T4" y="T5"/>
                  </a:cxn>
                  <a:cxn ang="0">
                    <a:pos x="T6" y="T7"/>
                  </a:cxn>
                </a:cxnLst>
                <a:rect l="0" t="0" r="r" b="b"/>
                <a:pathLst>
                  <a:path w="132" h="48">
                    <a:moveTo>
                      <a:pt x="0" y="28"/>
                    </a:moveTo>
                    <a:cubicBezTo>
                      <a:pt x="8" y="22"/>
                      <a:pt x="16" y="16"/>
                      <a:pt x="24" y="10"/>
                    </a:cubicBezTo>
                    <a:cubicBezTo>
                      <a:pt x="68" y="0"/>
                      <a:pt x="103" y="15"/>
                      <a:pt x="132" y="48"/>
                    </a:cubicBezTo>
                    <a:cubicBezTo>
                      <a:pt x="88" y="41"/>
                      <a:pt x="44" y="34"/>
                      <a:pt x="0"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4" name="Freeform 400">
                <a:extLst>
                  <a:ext uri="{FF2B5EF4-FFF2-40B4-BE49-F238E27FC236}">
                    <a16:creationId xmlns:a16="http://schemas.microsoft.com/office/drawing/2014/main" id="{706911C8-8C76-4C5B-AE84-BE2F4B4B4296}"/>
                  </a:ext>
                </a:extLst>
              </p:cNvPr>
              <p:cNvSpPr>
                <a:spLocks/>
              </p:cNvSpPr>
              <p:nvPr/>
            </p:nvSpPr>
            <p:spPr bwMode="auto">
              <a:xfrm>
                <a:off x="1378" y="2503"/>
                <a:ext cx="14" cy="13"/>
              </a:xfrm>
              <a:custGeom>
                <a:avLst/>
                <a:gdLst>
                  <a:gd name="T0" fmla="*/ 30 w 93"/>
                  <a:gd name="T1" fmla="*/ 0 h 85"/>
                  <a:gd name="T2" fmla="*/ 93 w 93"/>
                  <a:gd name="T3" fmla="*/ 38 h 85"/>
                  <a:gd name="T4" fmla="*/ 45 w 93"/>
                  <a:gd name="T5" fmla="*/ 76 h 85"/>
                  <a:gd name="T6" fmla="*/ 30 w 93"/>
                  <a:gd name="T7" fmla="*/ 0 h 85"/>
                </a:gdLst>
                <a:ahLst/>
                <a:cxnLst>
                  <a:cxn ang="0">
                    <a:pos x="T0" y="T1"/>
                  </a:cxn>
                  <a:cxn ang="0">
                    <a:pos x="T2" y="T3"/>
                  </a:cxn>
                  <a:cxn ang="0">
                    <a:pos x="T4" y="T5"/>
                  </a:cxn>
                  <a:cxn ang="0">
                    <a:pos x="T6" y="T7"/>
                  </a:cxn>
                </a:cxnLst>
                <a:rect l="0" t="0" r="r" b="b"/>
                <a:pathLst>
                  <a:path w="93" h="85">
                    <a:moveTo>
                      <a:pt x="30" y="0"/>
                    </a:moveTo>
                    <a:cubicBezTo>
                      <a:pt x="54" y="9"/>
                      <a:pt x="59" y="47"/>
                      <a:pt x="93" y="38"/>
                    </a:cubicBezTo>
                    <a:cubicBezTo>
                      <a:pt x="85" y="60"/>
                      <a:pt x="73" y="85"/>
                      <a:pt x="45" y="76"/>
                    </a:cubicBezTo>
                    <a:cubicBezTo>
                      <a:pt x="0" y="61"/>
                      <a:pt x="34" y="26"/>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5" name="Freeform 401">
                <a:extLst>
                  <a:ext uri="{FF2B5EF4-FFF2-40B4-BE49-F238E27FC236}">
                    <a16:creationId xmlns:a16="http://schemas.microsoft.com/office/drawing/2014/main" id="{EAE5668A-5F08-4E35-84FC-A00B858D7F3A}"/>
                  </a:ext>
                </a:extLst>
              </p:cNvPr>
              <p:cNvSpPr>
                <a:spLocks/>
              </p:cNvSpPr>
              <p:nvPr/>
            </p:nvSpPr>
            <p:spPr bwMode="auto">
              <a:xfrm>
                <a:off x="1563" y="2632"/>
                <a:ext cx="19" cy="8"/>
              </a:xfrm>
              <a:custGeom>
                <a:avLst/>
                <a:gdLst>
                  <a:gd name="T0" fmla="*/ 0 w 124"/>
                  <a:gd name="T1" fmla="*/ 54 h 54"/>
                  <a:gd name="T2" fmla="*/ 0 w 124"/>
                  <a:gd name="T3" fmla="*/ 32 h 54"/>
                  <a:gd name="T4" fmla="*/ 101 w 124"/>
                  <a:gd name="T5" fmla="*/ 9 h 54"/>
                  <a:gd name="T6" fmla="*/ 124 w 124"/>
                  <a:gd name="T7" fmla="*/ 10 h 54"/>
                  <a:gd name="T8" fmla="*/ 0 w 124"/>
                  <a:gd name="T9" fmla="*/ 54 h 54"/>
                </a:gdLst>
                <a:ahLst/>
                <a:cxnLst>
                  <a:cxn ang="0">
                    <a:pos x="T0" y="T1"/>
                  </a:cxn>
                  <a:cxn ang="0">
                    <a:pos x="T2" y="T3"/>
                  </a:cxn>
                  <a:cxn ang="0">
                    <a:pos x="T4" y="T5"/>
                  </a:cxn>
                  <a:cxn ang="0">
                    <a:pos x="T6" y="T7"/>
                  </a:cxn>
                  <a:cxn ang="0">
                    <a:pos x="T8" y="T9"/>
                  </a:cxn>
                </a:cxnLst>
                <a:rect l="0" t="0" r="r" b="b"/>
                <a:pathLst>
                  <a:path w="124" h="54">
                    <a:moveTo>
                      <a:pt x="0" y="54"/>
                    </a:moveTo>
                    <a:cubicBezTo>
                      <a:pt x="0" y="46"/>
                      <a:pt x="0" y="39"/>
                      <a:pt x="0" y="32"/>
                    </a:cubicBezTo>
                    <a:cubicBezTo>
                      <a:pt x="33" y="24"/>
                      <a:pt x="67" y="17"/>
                      <a:pt x="101" y="9"/>
                    </a:cubicBezTo>
                    <a:cubicBezTo>
                      <a:pt x="109" y="0"/>
                      <a:pt x="117" y="1"/>
                      <a:pt x="124" y="10"/>
                    </a:cubicBezTo>
                    <a:cubicBezTo>
                      <a:pt x="91" y="49"/>
                      <a:pt x="46" y="54"/>
                      <a:pt x="0" y="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6" name="Freeform 402">
                <a:extLst>
                  <a:ext uri="{FF2B5EF4-FFF2-40B4-BE49-F238E27FC236}">
                    <a16:creationId xmlns:a16="http://schemas.microsoft.com/office/drawing/2014/main" id="{98D50738-FBA8-405B-95A3-9C854835702B}"/>
                  </a:ext>
                </a:extLst>
              </p:cNvPr>
              <p:cNvSpPr>
                <a:spLocks/>
              </p:cNvSpPr>
              <p:nvPr/>
            </p:nvSpPr>
            <p:spPr bwMode="auto">
              <a:xfrm>
                <a:off x="1579" y="2623"/>
                <a:ext cx="13" cy="10"/>
              </a:xfrm>
              <a:custGeom>
                <a:avLst/>
                <a:gdLst>
                  <a:gd name="T0" fmla="*/ 23 w 87"/>
                  <a:gd name="T1" fmla="*/ 68 h 68"/>
                  <a:gd name="T2" fmla="*/ 0 w 87"/>
                  <a:gd name="T3" fmla="*/ 67 h 68"/>
                  <a:gd name="T4" fmla="*/ 84 w 87"/>
                  <a:gd name="T5" fmla="*/ 0 h 68"/>
                  <a:gd name="T6" fmla="*/ 23 w 87"/>
                  <a:gd name="T7" fmla="*/ 68 h 68"/>
                </a:gdLst>
                <a:ahLst/>
                <a:cxnLst>
                  <a:cxn ang="0">
                    <a:pos x="T0" y="T1"/>
                  </a:cxn>
                  <a:cxn ang="0">
                    <a:pos x="T2" y="T3"/>
                  </a:cxn>
                  <a:cxn ang="0">
                    <a:pos x="T4" y="T5"/>
                  </a:cxn>
                  <a:cxn ang="0">
                    <a:pos x="T6" y="T7"/>
                  </a:cxn>
                </a:cxnLst>
                <a:rect l="0" t="0" r="r" b="b"/>
                <a:pathLst>
                  <a:path w="87" h="68">
                    <a:moveTo>
                      <a:pt x="23" y="68"/>
                    </a:moveTo>
                    <a:cubicBezTo>
                      <a:pt x="15" y="67"/>
                      <a:pt x="7" y="67"/>
                      <a:pt x="0" y="67"/>
                    </a:cubicBezTo>
                    <a:cubicBezTo>
                      <a:pt x="17" y="32"/>
                      <a:pt x="56" y="22"/>
                      <a:pt x="84" y="0"/>
                    </a:cubicBezTo>
                    <a:cubicBezTo>
                      <a:pt x="87" y="43"/>
                      <a:pt x="52" y="52"/>
                      <a:pt x="23"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7" name="Freeform 403">
                <a:extLst>
                  <a:ext uri="{FF2B5EF4-FFF2-40B4-BE49-F238E27FC236}">
                    <a16:creationId xmlns:a16="http://schemas.microsoft.com/office/drawing/2014/main" id="{8EF15D1E-10F2-40E6-AF1A-F3F4422F408C}"/>
                  </a:ext>
                </a:extLst>
              </p:cNvPr>
              <p:cNvSpPr>
                <a:spLocks/>
              </p:cNvSpPr>
              <p:nvPr/>
            </p:nvSpPr>
            <p:spPr bwMode="auto">
              <a:xfrm>
                <a:off x="1598" y="2594"/>
                <a:ext cx="13" cy="11"/>
              </a:xfrm>
              <a:custGeom>
                <a:avLst/>
                <a:gdLst>
                  <a:gd name="T0" fmla="*/ 85 w 85"/>
                  <a:gd name="T1" fmla="*/ 30 h 71"/>
                  <a:gd name="T2" fmla="*/ 0 w 85"/>
                  <a:gd name="T3" fmla="*/ 71 h 71"/>
                  <a:gd name="T4" fmla="*/ 85 w 85"/>
                  <a:gd name="T5" fmla="*/ 30 h 71"/>
                </a:gdLst>
                <a:ahLst/>
                <a:cxnLst>
                  <a:cxn ang="0">
                    <a:pos x="T0" y="T1"/>
                  </a:cxn>
                  <a:cxn ang="0">
                    <a:pos x="T2" y="T3"/>
                  </a:cxn>
                  <a:cxn ang="0">
                    <a:pos x="T4" y="T5"/>
                  </a:cxn>
                </a:cxnLst>
                <a:rect l="0" t="0" r="r" b="b"/>
                <a:pathLst>
                  <a:path w="85" h="71">
                    <a:moveTo>
                      <a:pt x="85" y="30"/>
                    </a:moveTo>
                    <a:cubicBezTo>
                      <a:pt x="57" y="44"/>
                      <a:pt x="29" y="57"/>
                      <a:pt x="0" y="71"/>
                    </a:cubicBezTo>
                    <a:cubicBezTo>
                      <a:pt x="1" y="0"/>
                      <a:pt x="47" y="24"/>
                      <a:pt x="85"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8" name="Freeform 404">
                <a:extLst>
                  <a:ext uri="{FF2B5EF4-FFF2-40B4-BE49-F238E27FC236}">
                    <a16:creationId xmlns:a16="http://schemas.microsoft.com/office/drawing/2014/main" id="{B6513262-2DE9-4BB4-A94E-55735767A3DA}"/>
                  </a:ext>
                </a:extLst>
              </p:cNvPr>
              <p:cNvSpPr>
                <a:spLocks/>
              </p:cNvSpPr>
              <p:nvPr/>
            </p:nvSpPr>
            <p:spPr bwMode="auto">
              <a:xfrm>
                <a:off x="1613" y="2588"/>
                <a:ext cx="9" cy="10"/>
              </a:xfrm>
              <a:custGeom>
                <a:avLst/>
                <a:gdLst>
                  <a:gd name="T0" fmla="*/ 24 w 55"/>
                  <a:gd name="T1" fmla="*/ 66 h 67"/>
                  <a:gd name="T2" fmla="*/ 5 w 55"/>
                  <a:gd name="T3" fmla="*/ 67 h 67"/>
                  <a:gd name="T4" fmla="*/ 24 w 55"/>
                  <a:gd name="T5" fmla="*/ 0 h 67"/>
                  <a:gd name="T6" fmla="*/ 24 w 55"/>
                  <a:gd name="T7" fmla="*/ 66 h 67"/>
                </a:gdLst>
                <a:ahLst/>
                <a:cxnLst>
                  <a:cxn ang="0">
                    <a:pos x="T0" y="T1"/>
                  </a:cxn>
                  <a:cxn ang="0">
                    <a:pos x="T2" y="T3"/>
                  </a:cxn>
                  <a:cxn ang="0">
                    <a:pos x="T4" y="T5"/>
                  </a:cxn>
                  <a:cxn ang="0">
                    <a:pos x="T6" y="T7"/>
                  </a:cxn>
                </a:cxnLst>
                <a:rect l="0" t="0" r="r" b="b"/>
                <a:pathLst>
                  <a:path w="55" h="67">
                    <a:moveTo>
                      <a:pt x="24" y="66"/>
                    </a:moveTo>
                    <a:cubicBezTo>
                      <a:pt x="18" y="66"/>
                      <a:pt x="11" y="67"/>
                      <a:pt x="5" y="67"/>
                    </a:cubicBezTo>
                    <a:cubicBezTo>
                      <a:pt x="5" y="43"/>
                      <a:pt x="0" y="17"/>
                      <a:pt x="24" y="0"/>
                    </a:cubicBezTo>
                    <a:cubicBezTo>
                      <a:pt x="47" y="22"/>
                      <a:pt x="55" y="44"/>
                      <a:pt x="24"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9" name="Freeform 405">
                <a:extLst>
                  <a:ext uri="{FF2B5EF4-FFF2-40B4-BE49-F238E27FC236}">
                    <a16:creationId xmlns:a16="http://schemas.microsoft.com/office/drawing/2014/main" id="{C1FD3AAB-A36F-4888-ADD4-279D95147C58}"/>
                  </a:ext>
                </a:extLst>
              </p:cNvPr>
              <p:cNvSpPr>
                <a:spLocks/>
              </p:cNvSpPr>
              <p:nvPr/>
            </p:nvSpPr>
            <p:spPr bwMode="auto">
              <a:xfrm>
                <a:off x="1629" y="2545"/>
                <a:ext cx="13" cy="10"/>
              </a:xfrm>
              <a:custGeom>
                <a:avLst/>
                <a:gdLst>
                  <a:gd name="T0" fmla="*/ 86 w 86"/>
                  <a:gd name="T1" fmla="*/ 41 h 70"/>
                  <a:gd name="T2" fmla="*/ 0 w 86"/>
                  <a:gd name="T3" fmla="*/ 39 h 70"/>
                  <a:gd name="T4" fmla="*/ 86 w 86"/>
                  <a:gd name="T5" fmla="*/ 41 h 70"/>
                </a:gdLst>
                <a:ahLst/>
                <a:cxnLst>
                  <a:cxn ang="0">
                    <a:pos x="T0" y="T1"/>
                  </a:cxn>
                  <a:cxn ang="0">
                    <a:pos x="T2" y="T3"/>
                  </a:cxn>
                  <a:cxn ang="0">
                    <a:pos x="T4" y="T5"/>
                  </a:cxn>
                </a:cxnLst>
                <a:rect l="0" t="0" r="r" b="b"/>
                <a:pathLst>
                  <a:path w="86" h="70">
                    <a:moveTo>
                      <a:pt x="86" y="41"/>
                    </a:moveTo>
                    <a:cubicBezTo>
                      <a:pt x="57" y="70"/>
                      <a:pt x="28" y="63"/>
                      <a:pt x="0" y="39"/>
                    </a:cubicBezTo>
                    <a:cubicBezTo>
                      <a:pt x="29" y="47"/>
                      <a:pt x="58" y="0"/>
                      <a:pt x="86" y="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50" name="Freeform 406">
                <a:extLst>
                  <a:ext uri="{FF2B5EF4-FFF2-40B4-BE49-F238E27FC236}">
                    <a16:creationId xmlns:a16="http://schemas.microsoft.com/office/drawing/2014/main" id="{F3AC6290-D809-4759-BE51-953C012C7776}"/>
                  </a:ext>
                </a:extLst>
              </p:cNvPr>
              <p:cNvSpPr>
                <a:spLocks/>
              </p:cNvSpPr>
              <p:nvPr/>
            </p:nvSpPr>
            <p:spPr bwMode="auto">
              <a:xfrm>
                <a:off x="1585" y="2543"/>
                <a:ext cx="9" cy="8"/>
              </a:xfrm>
              <a:custGeom>
                <a:avLst/>
                <a:gdLst>
                  <a:gd name="T0" fmla="*/ 61 w 61"/>
                  <a:gd name="T1" fmla="*/ 28 h 48"/>
                  <a:gd name="T2" fmla="*/ 42 w 61"/>
                  <a:gd name="T3" fmla="*/ 48 h 48"/>
                  <a:gd name="T4" fmla="*/ 0 w 61"/>
                  <a:gd name="T5" fmla="*/ 24 h 48"/>
                  <a:gd name="T6" fmla="*/ 61 w 61"/>
                  <a:gd name="T7" fmla="*/ 28 h 48"/>
                </a:gdLst>
                <a:ahLst/>
                <a:cxnLst>
                  <a:cxn ang="0">
                    <a:pos x="T0" y="T1"/>
                  </a:cxn>
                  <a:cxn ang="0">
                    <a:pos x="T2" y="T3"/>
                  </a:cxn>
                  <a:cxn ang="0">
                    <a:pos x="T4" y="T5"/>
                  </a:cxn>
                  <a:cxn ang="0">
                    <a:pos x="T6" y="T7"/>
                  </a:cxn>
                </a:cxnLst>
                <a:rect l="0" t="0" r="r" b="b"/>
                <a:pathLst>
                  <a:path w="61" h="48">
                    <a:moveTo>
                      <a:pt x="61" y="28"/>
                    </a:moveTo>
                    <a:cubicBezTo>
                      <a:pt x="55" y="35"/>
                      <a:pt x="48" y="41"/>
                      <a:pt x="42" y="48"/>
                    </a:cubicBezTo>
                    <a:cubicBezTo>
                      <a:pt x="24" y="47"/>
                      <a:pt x="8" y="43"/>
                      <a:pt x="0" y="24"/>
                    </a:cubicBezTo>
                    <a:cubicBezTo>
                      <a:pt x="22" y="0"/>
                      <a:pt x="43" y="0"/>
                      <a:pt x="61"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51" name="Freeform 407">
                <a:extLst>
                  <a:ext uri="{FF2B5EF4-FFF2-40B4-BE49-F238E27FC236}">
                    <a16:creationId xmlns:a16="http://schemas.microsoft.com/office/drawing/2014/main" id="{F9FA7EB5-C4C3-4144-A5AB-F68D1A405D82}"/>
                  </a:ext>
                </a:extLst>
              </p:cNvPr>
              <p:cNvSpPr>
                <a:spLocks/>
              </p:cNvSpPr>
              <p:nvPr/>
            </p:nvSpPr>
            <p:spPr bwMode="auto">
              <a:xfrm>
                <a:off x="1607" y="2576"/>
                <a:ext cx="10" cy="10"/>
              </a:xfrm>
              <a:custGeom>
                <a:avLst/>
                <a:gdLst>
                  <a:gd name="T0" fmla="*/ 0 w 61"/>
                  <a:gd name="T1" fmla="*/ 0 h 62"/>
                  <a:gd name="T2" fmla="*/ 61 w 61"/>
                  <a:gd name="T3" fmla="*/ 60 h 62"/>
                  <a:gd name="T4" fmla="*/ 0 w 61"/>
                  <a:gd name="T5" fmla="*/ 0 h 62"/>
                </a:gdLst>
                <a:ahLst/>
                <a:cxnLst>
                  <a:cxn ang="0">
                    <a:pos x="T0" y="T1"/>
                  </a:cxn>
                  <a:cxn ang="0">
                    <a:pos x="T2" y="T3"/>
                  </a:cxn>
                  <a:cxn ang="0">
                    <a:pos x="T4" y="T5"/>
                  </a:cxn>
                </a:cxnLst>
                <a:rect l="0" t="0" r="r" b="b"/>
                <a:pathLst>
                  <a:path w="61" h="62">
                    <a:moveTo>
                      <a:pt x="0" y="0"/>
                    </a:moveTo>
                    <a:cubicBezTo>
                      <a:pt x="27" y="13"/>
                      <a:pt x="47" y="33"/>
                      <a:pt x="61" y="60"/>
                    </a:cubicBezTo>
                    <a:cubicBezTo>
                      <a:pt x="19" y="62"/>
                      <a:pt x="0" y="4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39" name="Freeform 409">
              <a:extLst>
                <a:ext uri="{FF2B5EF4-FFF2-40B4-BE49-F238E27FC236}">
                  <a16:creationId xmlns:a16="http://schemas.microsoft.com/office/drawing/2014/main" id="{6A583FFF-9D7B-43A7-9565-F0545ED204A9}"/>
                </a:ext>
              </a:extLst>
            </p:cNvPr>
            <p:cNvSpPr>
              <a:spLocks/>
            </p:cNvSpPr>
            <p:nvPr/>
          </p:nvSpPr>
          <p:spPr bwMode="auto">
            <a:xfrm>
              <a:off x="3953979" y="3209650"/>
              <a:ext cx="24422" cy="27135"/>
            </a:xfrm>
            <a:custGeom>
              <a:avLst/>
              <a:gdLst>
                <a:gd name="T0" fmla="*/ 1 w 62"/>
                <a:gd name="T1" fmla="*/ 61 h 61"/>
                <a:gd name="T2" fmla="*/ 0 w 62"/>
                <a:gd name="T3" fmla="*/ 0 h 61"/>
                <a:gd name="T4" fmla="*/ 22 w 62"/>
                <a:gd name="T5" fmla="*/ 0 h 61"/>
                <a:gd name="T6" fmla="*/ 1 w 62"/>
                <a:gd name="T7" fmla="*/ 61 h 61"/>
              </a:gdLst>
              <a:ahLst/>
              <a:cxnLst>
                <a:cxn ang="0">
                  <a:pos x="T0" y="T1"/>
                </a:cxn>
                <a:cxn ang="0">
                  <a:pos x="T2" y="T3"/>
                </a:cxn>
                <a:cxn ang="0">
                  <a:pos x="T4" y="T5"/>
                </a:cxn>
                <a:cxn ang="0">
                  <a:pos x="T6" y="T7"/>
                </a:cxn>
              </a:cxnLst>
              <a:rect l="0" t="0" r="r" b="b"/>
              <a:pathLst>
                <a:path w="62" h="61">
                  <a:moveTo>
                    <a:pt x="1" y="61"/>
                  </a:moveTo>
                  <a:cubicBezTo>
                    <a:pt x="1" y="40"/>
                    <a:pt x="1" y="20"/>
                    <a:pt x="0" y="0"/>
                  </a:cubicBezTo>
                  <a:cubicBezTo>
                    <a:pt x="8" y="0"/>
                    <a:pt x="15" y="0"/>
                    <a:pt x="22" y="0"/>
                  </a:cubicBezTo>
                  <a:cubicBezTo>
                    <a:pt x="31" y="26"/>
                    <a:pt x="62" y="59"/>
                    <a:pt x="1" y="6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0" name="Freeform 410">
              <a:extLst>
                <a:ext uri="{FF2B5EF4-FFF2-40B4-BE49-F238E27FC236}">
                  <a16:creationId xmlns:a16="http://schemas.microsoft.com/office/drawing/2014/main" id="{BC56920B-0FB9-438F-AC94-3E8CF135DE05}"/>
                </a:ext>
              </a:extLst>
            </p:cNvPr>
            <p:cNvSpPr>
              <a:spLocks/>
            </p:cNvSpPr>
            <p:nvPr/>
          </p:nvSpPr>
          <p:spPr bwMode="auto">
            <a:xfrm>
              <a:off x="4317592" y="2504133"/>
              <a:ext cx="40703" cy="62411"/>
            </a:xfrm>
            <a:custGeom>
              <a:avLst/>
              <a:gdLst>
                <a:gd name="T0" fmla="*/ 93 w 94"/>
                <a:gd name="T1" fmla="*/ 0 h 146"/>
                <a:gd name="T2" fmla="*/ 94 w 94"/>
                <a:gd name="T3" fmla="*/ 41 h 146"/>
                <a:gd name="T4" fmla="*/ 75 w 94"/>
                <a:gd name="T5" fmla="*/ 145 h 146"/>
                <a:gd name="T6" fmla="*/ 8 w 94"/>
                <a:gd name="T7" fmla="*/ 146 h 146"/>
                <a:gd name="T8" fmla="*/ 93 w 94"/>
                <a:gd name="T9" fmla="*/ 0 h 146"/>
              </a:gdLst>
              <a:ahLst/>
              <a:cxnLst>
                <a:cxn ang="0">
                  <a:pos x="T0" y="T1"/>
                </a:cxn>
                <a:cxn ang="0">
                  <a:pos x="T2" y="T3"/>
                </a:cxn>
                <a:cxn ang="0">
                  <a:pos x="T4" y="T5"/>
                </a:cxn>
                <a:cxn ang="0">
                  <a:pos x="T6" y="T7"/>
                </a:cxn>
                <a:cxn ang="0">
                  <a:pos x="T8" y="T9"/>
                </a:cxn>
              </a:cxnLst>
              <a:rect l="0" t="0" r="r" b="b"/>
              <a:pathLst>
                <a:path w="94" h="146">
                  <a:moveTo>
                    <a:pt x="93" y="0"/>
                  </a:moveTo>
                  <a:cubicBezTo>
                    <a:pt x="93" y="14"/>
                    <a:pt x="93" y="28"/>
                    <a:pt x="94" y="41"/>
                  </a:cubicBezTo>
                  <a:cubicBezTo>
                    <a:pt x="76" y="74"/>
                    <a:pt x="72" y="108"/>
                    <a:pt x="75" y="145"/>
                  </a:cubicBezTo>
                  <a:cubicBezTo>
                    <a:pt x="53" y="145"/>
                    <a:pt x="30" y="146"/>
                    <a:pt x="8" y="146"/>
                  </a:cubicBezTo>
                  <a:cubicBezTo>
                    <a:pt x="0" y="77"/>
                    <a:pt x="33" y="31"/>
                    <a:pt x="93"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1" name="Freeform 411">
              <a:extLst>
                <a:ext uri="{FF2B5EF4-FFF2-40B4-BE49-F238E27FC236}">
                  <a16:creationId xmlns:a16="http://schemas.microsoft.com/office/drawing/2014/main" id="{BD6C071F-7E7B-4D1F-A668-A415065282FA}"/>
                </a:ext>
              </a:extLst>
            </p:cNvPr>
            <p:cNvSpPr>
              <a:spLocks/>
            </p:cNvSpPr>
            <p:nvPr/>
          </p:nvSpPr>
          <p:spPr bwMode="auto">
            <a:xfrm>
              <a:off x="5416570" y="3407738"/>
              <a:ext cx="78692" cy="81406"/>
            </a:xfrm>
            <a:custGeom>
              <a:avLst/>
              <a:gdLst>
                <a:gd name="T0" fmla="*/ 0 w 188"/>
                <a:gd name="T1" fmla="*/ 0 h 194"/>
                <a:gd name="T2" fmla="*/ 188 w 188"/>
                <a:gd name="T3" fmla="*/ 186 h 194"/>
                <a:gd name="T4" fmla="*/ 163 w 188"/>
                <a:gd name="T5" fmla="*/ 187 h 194"/>
                <a:gd name="T6" fmla="*/ 0 w 188"/>
                <a:gd name="T7" fmla="*/ 0 h 194"/>
              </a:gdLst>
              <a:ahLst/>
              <a:cxnLst>
                <a:cxn ang="0">
                  <a:pos x="T0" y="T1"/>
                </a:cxn>
                <a:cxn ang="0">
                  <a:pos x="T2" y="T3"/>
                </a:cxn>
                <a:cxn ang="0">
                  <a:pos x="T4" y="T5"/>
                </a:cxn>
                <a:cxn ang="0">
                  <a:pos x="T6" y="T7"/>
                </a:cxn>
              </a:cxnLst>
              <a:rect l="0" t="0" r="r" b="b"/>
              <a:pathLst>
                <a:path w="188" h="194">
                  <a:moveTo>
                    <a:pt x="0" y="0"/>
                  </a:moveTo>
                  <a:cubicBezTo>
                    <a:pt x="76" y="48"/>
                    <a:pt x="103" y="146"/>
                    <a:pt x="188" y="186"/>
                  </a:cubicBezTo>
                  <a:cubicBezTo>
                    <a:pt x="180" y="194"/>
                    <a:pt x="172" y="194"/>
                    <a:pt x="163" y="187"/>
                  </a:cubicBezTo>
                  <a:cubicBezTo>
                    <a:pt x="67" y="161"/>
                    <a:pt x="40" y="74"/>
                    <a:pt x="0"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2" name="Freeform 412">
              <a:extLst>
                <a:ext uri="{FF2B5EF4-FFF2-40B4-BE49-F238E27FC236}">
                  <a16:creationId xmlns:a16="http://schemas.microsoft.com/office/drawing/2014/main" id="{34946A96-6E6A-43F1-95AA-C600385F0019}"/>
                </a:ext>
              </a:extLst>
            </p:cNvPr>
            <p:cNvSpPr>
              <a:spLocks/>
            </p:cNvSpPr>
            <p:nvPr/>
          </p:nvSpPr>
          <p:spPr bwMode="auto">
            <a:xfrm>
              <a:off x="5484409" y="3483717"/>
              <a:ext cx="24422" cy="89546"/>
            </a:xfrm>
            <a:custGeom>
              <a:avLst/>
              <a:gdLst>
                <a:gd name="T0" fmla="*/ 0 w 61"/>
                <a:gd name="T1" fmla="*/ 1 h 208"/>
                <a:gd name="T2" fmla="*/ 25 w 61"/>
                <a:gd name="T3" fmla="*/ 0 h 208"/>
                <a:gd name="T4" fmla="*/ 43 w 61"/>
                <a:gd name="T5" fmla="*/ 208 h 208"/>
                <a:gd name="T6" fmla="*/ 0 w 61"/>
                <a:gd name="T7" fmla="*/ 1 h 208"/>
              </a:gdLst>
              <a:ahLst/>
              <a:cxnLst>
                <a:cxn ang="0">
                  <a:pos x="T0" y="T1"/>
                </a:cxn>
                <a:cxn ang="0">
                  <a:pos x="T2" y="T3"/>
                </a:cxn>
                <a:cxn ang="0">
                  <a:pos x="T4" y="T5"/>
                </a:cxn>
                <a:cxn ang="0">
                  <a:pos x="T6" y="T7"/>
                </a:cxn>
              </a:cxnLst>
              <a:rect l="0" t="0" r="r" b="b"/>
              <a:pathLst>
                <a:path w="61" h="208">
                  <a:moveTo>
                    <a:pt x="0" y="1"/>
                  </a:moveTo>
                  <a:cubicBezTo>
                    <a:pt x="8" y="1"/>
                    <a:pt x="17" y="1"/>
                    <a:pt x="25" y="0"/>
                  </a:cubicBezTo>
                  <a:cubicBezTo>
                    <a:pt x="39" y="69"/>
                    <a:pt x="61" y="136"/>
                    <a:pt x="43" y="208"/>
                  </a:cubicBezTo>
                  <a:cubicBezTo>
                    <a:pt x="2" y="144"/>
                    <a:pt x="1" y="73"/>
                    <a:pt x="0" y="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3" name="Freeform 413">
              <a:extLst>
                <a:ext uri="{FF2B5EF4-FFF2-40B4-BE49-F238E27FC236}">
                  <a16:creationId xmlns:a16="http://schemas.microsoft.com/office/drawing/2014/main" id="{26B2728C-5EC0-4BF3-8CCA-F2118F921DF4}"/>
                </a:ext>
              </a:extLst>
            </p:cNvPr>
            <p:cNvSpPr>
              <a:spLocks/>
            </p:cNvSpPr>
            <p:nvPr/>
          </p:nvSpPr>
          <p:spPr bwMode="auto">
            <a:xfrm>
              <a:off x="5191348" y="4096974"/>
              <a:ext cx="62411" cy="46130"/>
            </a:xfrm>
            <a:custGeom>
              <a:avLst/>
              <a:gdLst>
                <a:gd name="T0" fmla="*/ 42 w 147"/>
                <a:gd name="T1" fmla="*/ 57 h 113"/>
                <a:gd name="T2" fmla="*/ 144 w 147"/>
                <a:gd name="T3" fmla="*/ 61 h 113"/>
                <a:gd name="T4" fmla="*/ 142 w 147"/>
                <a:gd name="T5" fmla="*/ 91 h 113"/>
                <a:gd name="T6" fmla="*/ 0 w 147"/>
                <a:gd name="T7" fmla="*/ 40 h 113"/>
                <a:gd name="T8" fmla="*/ 17 w 147"/>
                <a:gd name="T9" fmla="*/ 0 h 113"/>
                <a:gd name="T10" fmla="*/ 42 w 147"/>
                <a:gd name="T11" fmla="*/ 57 h 113"/>
              </a:gdLst>
              <a:ahLst/>
              <a:cxnLst>
                <a:cxn ang="0">
                  <a:pos x="T0" y="T1"/>
                </a:cxn>
                <a:cxn ang="0">
                  <a:pos x="T2" y="T3"/>
                </a:cxn>
                <a:cxn ang="0">
                  <a:pos x="T4" y="T5"/>
                </a:cxn>
                <a:cxn ang="0">
                  <a:pos x="T6" y="T7"/>
                </a:cxn>
                <a:cxn ang="0">
                  <a:pos x="T8" y="T9"/>
                </a:cxn>
                <a:cxn ang="0">
                  <a:pos x="T10" y="T11"/>
                </a:cxn>
              </a:cxnLst>
              <a:rect l="0" t="0" r="r" b="b"/>
              <a:pathLst>
                <a:path w="147" h="113">
                  <a:moveTo>
                    <a:pt x="42" y="57"/>
                  </a:moveTo>
                  <a:cubicBezTo>
                    <a:pt x="76" y="58"/>
                    <a:pt x="110" y="60"/>
                    <a:pt x="144" y="61"/>
                  </a:cubicBezTo>
                  <a:cubicBezTo>
                    <a:pt x="143" y="72"/>
                    <a:pt x="147" y="86"/>
                    <a:pt x="142" y="91"/>
                  </a:cubicBezTo>
                  <a:cubicBezTo>
                    <a:pt x="119" y="113"/>
                    <a:pt x="13" y="73"/>
                    <a:pt x="0" y="40"/>
                  </a:cubicBezTo>
                  <a:cubicBezTo>
                    <a:pt x="6" y="26"/>
                    <a:pt x="11" y="13"/>
                    <a:pt x="17" y="0"/>
                  </a:cubicBezTo>
                  <a:cubicBezTo>
                    <a:pt x="22" y="20"/>
                    <a:pt x="15" y="46"/>
                    <a:pt x="42" y="5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4" name="Freeform 414">
              <a:extLst>
                <a:ext uri="{FF2B5EF4-FFF2-40B4-BE49-F238E27FC236}">
                  <a16:creationId xmlns:a16="http://schemas.microsoft.com/office/drawing/2014/main" id="{7FEA5AF2-7465-4F9F-8F23-BB3A57CE5833}"/>
                </a:ext>
              </a:extLst>
            </p:cNvPr>
            <p:cNvSpPr>
              <a:spLocks/>
            </p:cNvSpPr>
            <p:nvPr/>
          </p:nvSpPr>
          <p:spPr bwMode="auto">
            <a:xfrm>
              <a:off x="4857584" y="4053557"/>
              <a:ext cx="40703" cy="16281"/>
            </a:xfrm>
            <a:custGeom>
              <a:avLst/>
              <a:gdLst>
                <a:gd name="T0" fmla="*/ 78 w 97"/>
                <a:gd name="T1" fmla="*/ 0 h 44"/>
                <a:gd name="T2" fmla="*/ 97 w 97"/>
                <a:gd name="T3" fmla="*/ 1 h 44"/>
                <a:gd name="T4" fmla="*/ 21 w 97"/>
                <a:gd name="T5" fmla="*/ 43 h 44"/>
                <a:gd name="T6" fmla="*/ 0 w 97"/>
                <a:gd name="T7" fmla="*/ 42 h 44"/>
                <a:gd name="T8" fmla="*/ 78 w 97"/>
                <a:gd name="T9" fmla="*/ 0 h 44"/>
              </a:gdLst>
              <a:ahLst/>
              <a:cxnLst>
                <a:cxn ang="0">
                  <a:pos x="T0" y="T1"/>
                </a:cxn>
                <a:cxn ang="0">
                  <a:pos x="T2" y="T3"/>
                </a:cxn>
                <a:cxn ang="0">
                  <a:pos x="T4" y="T5"/>
                </a:cxn>
                <a:cxn ang="0">
                  <a:pos x="T6" y="T7"/>
                </a:cxn>
                <a:cxn ang="0">
                  <a:pos x="T8" y="T9"/>
                </a:cxn>
              </a:cxnLst>
              <a:rect l="0" t="0" r="r" b="b"/>
              <a:pathLst>
                <a:path w="97" h="44">
                  <a:moveTo>
                    <a:pt x="78" y="0"/>
                  </a:moveTo>
                  <a:cubicBezTo>
                    <a:pt x="84" y="1"/>
                    <a:pt x="90" y="1"/>
                    <a:pt x="97" y="1"/>
                  </a:cubicBezTo>
                  <a:cubicBezTo>
                    <a:pt x="84" y="37"/>
                    <a:pt x="55" y="44"/>
                    <a:pt x="21" y="43"/>
                  </a:cubicBezTo>
                  <a:cubicBezTo>
                    <a:pt x="14" y="43"/>
                    <a:pt x="7" y="43"/>
                    <a:pt x="0" y="42"/>
                  </a:cubicBezTo>
                  <a:cubicBezTo>
                    <a:pt x="17" y="12"/>
                    <a:pt x="55" y="20"/>
                    <a:pt x="78"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5" name="Freeform 415">
              <a:extLst>
                <a:ext uri="{FF2B5EF4-FFF2-40B4-BE49-F238E27FC236}">
                  <a16:creationId xmlns:a16="http://schemas.microsoft.com/office/drawing/2014/main" id="{DE005241-B9B6-4006-85E6-2FC4F19C85CE}"/>
                </a:ext>
              </a:extLst>
            </p:cNvPr>
            <p:cNvSpPr>
              <a:spLocks/>
            </p:cNvSpPr>
            <p:nvPr/>
          </p:nvSpPr>
          <p:spPr bwMode="auto">
            <a:xfrm>
              <a:off x="5373154" y="3372462"/>
              <a:ext cx="35276" cy="18995"/>
            </a:xfrm>
            <a:custGeom>
              <a:avLst/>
              <a:gdLst>
                <a:gd name="T0" fmla="*/ 40 w 85"/>
                <a:gd name="T1" fmla="*/ 0 h 43"/>
                <a:gd name="T2" fmla="*/ 85 w 85"/>
                <a:gd name="T3" fmla="*/ 43 h 43"/>
                <a:gd name="T4" fmla="*/ 0 w 85"/>
                <a:gd name="T5" fmla="*/ 37 h 43"/>
                <a:gd name="T6" fmla="*/ 19 w 85"/>
                <a:gd name="T7" fmla="*/ 4 h 43"/>
                <a:gd name="T8" fmla="*/ 40 w 85"/>
                <a:gd name="T9" fmla="*/ 0 h 43"/>
              </a:gdLst>
              <a:ahLst/>
              <a:cxnLst>
                <a:cxn ang="0">
                  <a:pos x="T0" y="T1"/>
                </a:cxn>
                <a:cxn ang="0">
                  <a:pos x="T2" y="T3"/>
                </a:cxn>
                <a:cxn ang="0">
                  <a:pos x="T4" y="T5"/>
                </a:cxn>
                <a:cxn ang="0">
                  <a:pos x="T6" y="T7"/>
                </a:cxn>
                <a:cxn ang="0">
                  <a:pos x="T8" y="T9"/>
                </a:cxn>
              </a:cxnLst>
              <a:rect l="0" t="0" r="r" b="b"/>
              <a:pathLst>
                <a:path w="85" h="43">
                  <a:moveTo>
                    <a:pt x="40" y="0"/>
                  </a:moveTo>
                  <a:cubicBezTo>
                    <a:pt x="55" y="15"/>
                    <a:pt x="70" y="29"/>
                    <a:pt x="85" y="43"/>
                  </a:cubicBezTo>
                  <a:cubicBezTo>
                    <a:pt x="57" y="41"/>
                    <a:pt x="29" y="39"/>
                    <a:pt x="0" y="37"/>
                  </a:cubicBezTo>
                  <a:cubicBezTo>
                    <a:pt x="7" y="26"/>
                    <a:pt x="13" y="15"/>
                    <a:pt x="19" y="4"/>
                  </a:cubicBezTo>
                  <a:cubicBezTo>
                    <a:pt x="26" y="3"/>
                    <a:pt x="33" y="2"/>
                    <a:pt x="40"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6" name="Freeform 416">
              <a:extLst>
                <a:ext uri="{FF2B5EF4-FFF2-40B4-BE49-F238E27FC236}">
                  <a16:creationId xmlns:a16="http://schemas.microsoft.com/office/drawing/2014/main" id="{F17F8247-CDC2-49F2-9CD3-F7E5A40D46B2}"/>
                </a:ext>
              </a:extLst>
            </p:cNvPr>
            <p:cNvSpPr>
              <a:spLocks/>
            </p:cNvSpPr>
            <p:nvPr/>
          </p:nvSpPr>
          <p:spPr bwMode="auto">
            <a:xfrm>
              <a:off x="4192769" y="5119974"/>
              <a:ext cx="65125" cy="40703"/>
            </a:xfrm>
            <a:custGeom>
              <a:avLst/>
              <a:gdLst>
                <a:gd name="T0" fmla="*/ 46 w 151"/>
                <a:gd name="T1" fmla="*/ 99 h 99"/>
                <a:gd name="T2" fmla="*/ 0 w 151"/>
                <a:gd name="T3" fmla="*/ 41 h 99"/>
                <a:gd name="T4" fmla="*/ 103 w 151"/>
                <a:gd name="T5" fmla="*/ 0 h 99"/>
                <a:gd name="T6" fmla="*/ 46 w 151"/>
                <a:gd name="T7" fmla="*/ 99 h 99"/>
              </a:gdLst>
              <a:ahLst/>
              <a:cxnLst>
                <a:cxn ang="0">
                  <a:pos x="T0" y="T1"/>
                </a:cxn>
                <a:cxn ang="0">
                  <a:pos x="T2" y="T3"/>
                </a:cxn>
                <a:cxn ang="0">
                  <a:pos x="T4" y="T5"/>
                </a:cxn>
                <a:cxn ang="0">
                  <a:pos x="T6" y="T7"/>
                </a:cxn>
              </a:cxnLst>
              <a:rect l="0" t="0" r="r" b="b"/>
              <a:pathLst>
                <a:path w="151" h="99">
                  <a:moveTo>
                    <a:pt x="46" y="99"/>
                  </a:moveTo>
                  <a:cubicBezTo>
                    <a:pt x="31" y="80"/>
                    <a:pt x="15" y="61"/>
                    <a:pt x="0" y="41"/>
                  </a:cubicBezTo>
                  <a:cubicBezTo>
                    <a:pt x="34" y="27"/>
                    <a:pt x="69" y="14"/>
                    <a:pt x="103" y="0"/>
                  </a:cubicBezTo>
                  <a:cubicBezTo>
                    <a:pt x="151" y="81"/>
                    <a:pt x="143" y="94"/>
                    <a:pt x="46" y="9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7" name="Freeform 417">
              <a:extLst>
                <a:ext uri="{FF2B5EF4-FFF2-40B4-BE49-F238E27FC236}">
                  <a16:creationId xmlns:a16="http://schemas.microsoft.com/office/drawing/2014/main" id="{183F0BBA-4DEA-4499-880B-7DDB761F955E}"/>
                </a:ext>
              </a:extLst>
            </p:cNvPr>
            <p:cNvSpPr>
              <a:spLocks/>
            </p:cNvSpPr>
            <p:nvPr/>
          </p:nvSpPr>
          <p:spPr bwMode="auto">
            <a:xfrm>
              <a:off x="4686631" y="3149953"/>
              <a:ext cx="37989" cy="24422"/>
            </a:xfrm>
            <a:custGeom>
              <a:avLst/>
              <a:gdLst>
                <a:gd name="T0" fmla="*/ 36 w 91"/>
                <a:gd name="T1" fmla="*/ 59 h 59"/>
                <a:gd name="T2" fmla="*/ 58 w 91"/>
                <a:gd name="T3" fmla="*/ 0 h 59"/>
                <a:gd name="T4" fmla="*/ 36 w 91"/>
                <a:gd name="T5" fmla="*/ 59 h 59"/>
              </a:gdLst>
              <a:ahLst/>
              <a:cxnLst>
                <a:cxn ang="0">
                  <a:pos x="T0" y="T1"/>
                </a:cxn>
                <a:cxn ang="0">
                  <a:pos x="T2" y="T3"/>
                </a:cxn>
                <a:cxn ang="0">
                  <a:pos x="T4" y="T5"/>
                </a:cxn>
              </a:cxnLst>
              <a:rect l="0" t="0" r="r" b="b"/>
              <a:pathLst>
                <a:path w="91" h="59">
                  <a:moveTo>
                    <a:pt x="36" y="59"/>
                  </a:moveTo>
                  <a:cubicBezTo>
                    <a:pt x="47" y="41"/>
                    <a:pt x="0" y="1"/>
                    <a:pt x="58" y="0"/>
                  </a:cubicBezTo>
                  <a:cubicBezTo>
                    <a:pt x="38" y="15"/>
                    <a:pt x="91" y="57"/>
                    <a:pt x="36" y="5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8" name="Freeform 418">
              <a:extLst>
                <a:ext uri="{FF2B5EF4-FFF2-40B4-BE49-F238E27FC236}">
                  <a16:creationId xmlns:a16="http://schemas.microsoft.com/office/drawing/2014/main" id="{224245CE-622B-4A75-9ED8-542CDE0354DE}"/>
                </a:ext>
              </a:extLst>
            </p:cNvPr>
            <p:cNvSpPr>
              <a:spLocks/>
            </p:cNvSpPr>
            <p:nvPr/>
          </p:nvSpPr>
          <p:spPr bwMode="auto">
            <a:xfrm>
              <a:off x="4328446" y="2520414"/>
              <a:ext cx="51557" cy="56984"/>
            </a:xfrm>
            <a:custGeom>
              <a:avLst/>
              <a:gdLst>
                <a:gd name="T0" fmla="*/ 49 w 120"/>
                <a:gd name="T1" fmla="*/ 104 h 134"/>
                <a:gd name="T2" fmla="*/ 68 w 120"/>
                <a:gd name="T3" fmla="*/ 0 h 134"/>
                <a:gd name="T4" fmla="*/ 108 w 120"/>
                <a:gd name="T5" fmla="*/ 44 h 134"/>
                <a:gd name="T6" fmla="*/ 49 w 120"/>
                <a:gd name="T7" fmla="*/ 104 h 134"/>
              </a:gdLst>
              <a:ahLst/>
              <a:cxnLst>
                <a:cxn ang="0">
                  <a:pos x="T0" y="T1"/>
                </a:cxn>
                <a:cxn ang="0">
                  <a:pos x="T2" y="T3"/>
                </a:cxn>
                <a:cxn ang="0">
                  <a:pos x="T4" y="T5"/>
                </a:cxn>
                <a:cxn ang="0">
                  <a:pos x="T6" y="T7"/>
                </a:cxn>
              </a:cxnLst>
              <a:rect l="0" t="0" r="r" b="b"/>
              <a:pathLst>
                <a:path w="120" h="134">
                  <a:moveTo>
                    <a:pt x="49" y="104"/>
                  </a:moveTo>
                  <a:cubicBezTo>
                    <a:pt x="0" y="59"/>
                    <a:pt x="8" y="25"/>
                    <a:pt x="68" y="0"/>
                  </a:cubicBezTo>
                  <a:cubicBezTo>
                    <a:pt x="81" y="15"/>
                    <a:pt x="95" y="30"/>
                    <a:pt x="108" y="44"/>
                  </a:cubicBezTo>
                  <a:cubicBezTo>
                    <a:pt x="105" y="81"/>
                    <a:pt x="120" y="134"/>
                    <a:pt x="49" y="10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9" name="Freeform 419">
              <a:extLst>
                <a:ext uri="{FF2B5EF4-FFF2-40B4-BE49-F238E27FC236}">
                  <a16:creationId xmlns:a16="http://schemas.microsoft.com/office/drawing/2014/main" id="{82D3A1FD-36BA-4E5E-B6C3-565A909BEAA1}"/>
                </a:ext>
              </a:extLst>
            </p:cNvPr>
            <p:cNvSpPr>
              <a:spLocks/>
            </p:cNvSpPr>
            <p:nvPr/>
          </p:nvSpPr>
          <p:spPr bwMode="auto">
            <a:xfrm>
              <a:off x="5527825" y="3603112"/>
              <a:ext cx="21708" cy="29849"/>
            </a:xfrm>
            <a:custGeom>
              <a:avLst/>
              <a:gdLst>
                <a:gd name="T0" fmla="*/ 0 w 53"/>
                <a:gd name="T1" fmla="*/ 69 h 70"/>
                <a:gd name="T2" fmla="*/ 39 w 53"/>
                <a:gd name="T3" fmla="*/ 0 h 70"/>
                <a:gd name="T4" fmla="*/ 25 w 53"/>
                <a:gd name="T5" fmla="*/ 70 h 70"/>
                <a:gd name="T6" fmla="*/ 0 w 53"/>
                <a:gd name="T7" fmla="*/ 69 h 70"/>
              </a:gdLst>
              <a:ahLst/>
              <a:cxnLst>
                <a:cxn ang="0">
                  <a:pos x="T0" y="T1"/>
                </a:cxn>
                <a:cxn ang="0">
                  <a:pos x="T2" y="T3"/>
                </a:cxn>
                <a:cxn ang="0">
                  <a:pos x="T4" y="T5"/>
                </a:cxn>
                <a:cxn ang="0">
                  <a:pos x="T6" y="T7"/>
                </a:cxn>
              </a:cxnLst>
              <a:rect l="0" t="0" r="r" b="b"/>
              <a:pathLst>
                <a:path w="53" h="70">
                  <a:moveTo>
                    <a:pt x="0" y="69"/>
                  </a:moveTo>
                  <a:cubicBezTo>
                    <a:pt x="11" y="49"/>
                    <a:pt x="22" y="30"/>
                    <a:pt x="39" y="0"/>
                  </a:cubicBezTo>
                  <a:cubicBezTo>
                    <a:pt x="53" y="38"/>
                    <a:pt x="44" y="55"/>
                    <a:pt x="25" y="70"/>
                  </a:cubicBezTo>
                  <a:cubicBezTo>
                    <a:pt x="16" y="69"/>
                    <a:pt x="8" y="69"/>
                    <a:pt x="0" y="6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0" name="Freeform 420">
              <a:extLst>
                <a:ext uri="{FF2B5EF4-FFF2-40B4-BE49-F238E27FC236}">
                  <a16:creationId xmlns:a16="http://schemas.microsoft.com/office/drawing/2014/main" id="{F7B2FC0D-AFC1-4E0C-B8CA-F7B1794FB8BA}"/>
                </a:ext>
              </a:extLst>
            </p:cNvPr>
            <p:cNvSpPr>
              <a:spLocks/>
            </p:cNvSpPr>
            <p:nvPr/>
          </p:nvSpPr>
          <p:spPr bwMode="auto">
            <a:xfrm>
              <a:off x="5511544" y="3575976"/>
              <a:ext cx="18995" cy="18995"/>
            </a:xfrm>
            <a:custGeom>
              <a:avLst/>
              <a:gdLst>
                <a:gd name="T0" fmla="*/ 0 w 49"/>
                <a:gd name="T1" fmla="*/ 0 h 46"/>
                <a:gd name="T2" fmla="*/ 49 w 49"/>
                <a:gd name="T3" fmla="*/ 37 h 46"/>
                <a:gd name="T4" fmla="*/ 34 w 49"/>
                <a:gd name="T5" fmla="*/ 44 h 46"/>
                <a:gd name="T6" fmla="*/ 0 w 49"/>
                <a:gd name="T7" fmla="*/ 0 h 46"/>
              </a:gdLst>
              <a:ahLst/>
              <a:cxnLst>
                <a:cxn ang="0">
                  <a:pos x="T0" y="T1"/>
                </a:cxn>
                <a:cxn ang="0">
                  <a:pos x="T2" y="T3"/>
                </a:cxn>
                <a:cxn ang="0">
                  <a:pos x="T4" y="T5"/>
                </a:cxn>
                <a:cxn ang="0">
                  <a:pos x="T6" y="T7"/>
                </a:cxn>
              </a:cxnLst>
              <a:rect l="0" t="0" r="r" b="b"/>
              <a:pathLst>
                <a:path w="49" h="46">
                  <a:moveTo>
                    <a:pt x="0" y="0"/>
                  </a:moveTo>
                  <a:cubicBezTo>
                    <a:pt x="30" y="4"/>
                    <a:pt x="43" y="17"/>
                    <a:pt x="49" y="37"/>
                  </a:cubicBezTo>
                  <a:cubicBezTo>
                    <a:pt x="49" y="38"/>
                    <a:pt x="39" y="46"/>
                    <a:pt x="34" y="44"/>
                  </a:cubicBezTo>
                  <a:cubicBezTo>
                    <a:pt x="17" y="40"/>
                    <a:pt x="5" y="29"/>
                    <a:pt x="0" y="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1" name="Freeform 421">
              <a:extLst>
                <a:ext uri="{FF2B5EF4-FFF2-40B4-BE49-F238E27FC236}">
                  <a16:creationId xmlns:a16="http://schemas.microsoft.com/office/drawing/2014/main" id="{22609336-43C4-4ED7-92A8-81ABD71C1D14}"/>
                </a:ext>
              </a:extLst>
            </p:cNvPr>
            <p:cNvSpPr>
              <a:spLocks/>
            </p:cNvSpPr>
            <p:nvPr/>
          </p:nvSpPr>
          <p:spPr bwMode="auto">
            <a:xfrm>
              <a:off x="4171061" y="4319483"/>
              <a:ext cx="1424602" cy="1104406"/>
            </a:xfrm>
            <a:custGeom>
              <a:avLst/>
              <a:gdLst>
                <a:gd name="T0" fmla="*/ 3353 w 3401"/>
                <a:gd name="T1" fmla="*/ 11 h 2638"/>
                <a:gd name="T2" fmla="*/ 3225 w 3401"/>
                <a:gd name="T3" fmla="*/ 99 h 2638"/>
                <a:gd name="T4" fmla="*/ 3209 w 3401"/>
                <a:gd name="T5" fmla="*/ 106 h 2638"/>
                <a:gd name="T6" fmla="*/ 3033 w 3401"/>
                <a:gd name="T7" fmla="*/ 44 h 2638"/>
                <a:gd name="T8" fmla="*/ 2929 w 3401"/>
                <a:gd name="T9" fmla="*/ 8 h 2638"/>
                <a:gd name="T10" fmla="*/ 2712 w 3401"/>
                <a:gd name="T11" fmla="*/ 165 h 2638"/>
                <a:gd name="T12" fmla="*/ 2695 w 3401"/>
                <a:gd name="T13" fmla="*/ 251 h 2638"/>
                <a:gd name="T14" fmla="*/ 2645 w 3401"/>
                <a:gd name="T15" fmla="*/ 278 h 2638"/>
                <a:gd name="T16" fmla="*/ 2527 w 3401"/>
                <a:gd name="T17" fmla="*/ 293 h 2638"/>
                <a:gd name="T18" fmla="*/ 2512 w 3401"/>
                <a:gd name="T19" fmla="*/ 283 h 2638"/>
                <a:gd name="T20" fmla="*/ 2406 w 3401"/>
                <a:gd name="T21" fmla="*/ 362 h 2638"/>
                <a:gd name="T22" fmla="*/ 2365 w 3401"/>
                <a:gd name="T23" fmla="*/ 419 h 2638"/>
                <a:gd name="T24" fmla="*/ 2099 w 3401"/>
                <a:gd name="T25" fmla="*/ 508 h 2638"/>
                <a:gd name="T26" fmla="*/ 1832 w 3401"/>
                <a:gd name="T27" fmla="*/ 452 h 2638"/>
                <a:gd name="T28" fmla="*/ 1756 w 3401"/>
                <a:gd name="T29" fmla="*/ 555 h 2638"/>
                <a:gd name="T30" fmla="*/ 1832 w 3401"/>
                <a:gd name="T31" fmla="*/ 668 h 2638"/>
                <a:gd name="T32" fmla="*/ 1727 w 3401"/>
                <a:gd name="T33" fmla="*/ 722 h 2638"/>
                <a:gd name="T34" fmla="*/ 1591 w 3401"/>
                <a:gd name="T35" fmla="*/ 740 h 2638"/>
                <a:gd name="T36" fmla="*/ 1572 w 3401"/>
                <a:gd name="T37" fmla="*/ 896 h 2638"/>
                <a:gd name="T38" fmla="*/ 1436 w 3401"/>
                <a:gd name="T39" fmla="*/ 788 h 2638"/>
                <a:gd name="T40" fmla="*/ 1313 w 3401"/>
                <a:gd name="T41" fmla="*/ 929 h 2638"/>
                <a:gd name="T42" fmla="*/ 1012 w 3401"/>
                <a:gd name="T43" fmla="*/ 1115 h 2638"/>
                <a:gd name="T44" fmla="*/ 777 w 3401"/>
                <a:gd name="T45" fmla="*/ 1210 h 2638"/>
                <a:gd name="T46" fmla="*/ 558 w 3401"/>
                <a:gd name="T47" fmla="*/ 1276 h 2638"/>
                <a:gd name="T48" fmla="*/ 211 w 3401"/>
                <a:gd name="T49" fmla="*/ 1250 h 2638"/>
                <a:gd name="T50" fmla="*/ 72 w 3401"/>
                <a:gd name="T51" fmla="*/ 1630 h 2638"/>
                <a:gd name="T52" fmla="*/ 171 w 3401"/>
                <a:gd name="T53" fmla="*/ 2060 h 2638"/>
                <a:gd name="T54" fmla="*/ 452 w 3401"/>
                <a:gd name="T55" fmla="*/ 2074 h 2638"/>
                <a:gd name="T56" fmla="*/ 556 w 3401"/>
                <a:gd name="T57" fmla="*/ 2199 h 2638"/>
                <a:gd name="T58" fmla="*/ 683 w 3401"/>
                <a:gd name="T59" fmla="*/ 2489 h 2638"/>
                <a:gd name="T60" fmla="*/ 692 w 3401"/>
                <a:gd name="T61" fmla="*/ 2614 h 2638"/>
                <a:gd name="T62" fmla="*/ 979 w 3401"/>
                <a:gd name="T63" fmla="*/ 2479 h 2638"/>
                <a:gd name="T64" fmla="*/ 1306 w 3401"/>
                <a:gd name="T65" fmla="*/ 2373 h 2638"/>
                <a:gd name="T66" fmla="*/ 1361 w 3401"/>
                <a:gd name="T67" fmla="*/ 2302 h 2638"/>
                <a:gd name="T68" fmla="*/ 1407 w 3401"/>
                <a:gd name="T69" fmla="*/ 2208 h 2638"/>
                <a:gd name="T70" fmla="*/ 1405 w 3401"/>
                <a:gd name="T71" fmla="*/ 2167 h 2638"/>
                <a:gd name="T72" fmla="*/ 1444 w 3401"/>
                <a:gd name="T73" fmla="*/ 2168 h 2638"/>
                <a:gd name="T74" fmla="*/ 1442 w 3401"/>
                <a:gd name="T75" fmla="*/ 2019 h 2638"/>
                <a:gd name="T76" fmla="*/ 1438 w 3401"/>
                <a:gd name="T77" fmla="*/ 1979 h 2638"/>
                <a:gd name="T78" fmla="*/ 1479 w 3401"/>
                <a:gd name="T79" fmla="*/ 1854 h 2638"/>
                <a:gd name="T80" fmla="*/ 1451 w 3401"/>
                <a:gd name="T81" fmla="*/ 1756 h 2638"/>
                <a:gd name="T82" fmla="*/ 1441 w 3401"/>
                <a:gd name="T83" fmla="*/ 1577 h 2638"/>
                <a:gd name="T84" fmla="*/ 1571 w 3401"/>
                <a:gd name="T85" fmla="*/ 1332 h 2638"/>
                <a:gd name="T86" fmla="*/ 1692 w 3401"/>
                <a:gd name="T87" fmla="*/ 1277 h 2638"/>
                <a:gd name="T88" fmla="*/ 1692 w 3401"/>
                <a:gd name="T89" fmla="*/ 1277 h 2638"/>
                <a:gd name="T90" fmla="*/ 1832 w 3401"/>
                <a:gd name="T91" fmla="*/ 1313 h 2638"/>
                <a:gd name="T92" fmla="*/ 1881 w 3401"/>
                <a:gd name="T93" fmla="*/ 1259 h 2638"/>
                <a:gd name="T94" fmla="*/ 2079 w 3401"/>
                <a:gd name="T95" fmla="*/ 1094 h 2638"/>
                <a:gd name="T96" fmla="*/ 2153 w 3401"/>
                <a:gd name="T97" fmla="*/ 1110 h 2638"/>
                <a:gd name="T98" fmla="*/ 2240 w 3401"/>
                <a:gd name="T99" fmla="*/ 1108 h 2638"/>
                <a:gd name="T100" fmla="*/ 2364 w 3401"/>
                <a:gd name="T101" fmla="*/ 918 h 2638"/>
                <a:gd name="T102" fmla="*/ 2365 w 3401"/>
                <a:gd name="T103" fmla="*/ 898 h 2638"/>
                <a:gd name="T104" fmla="*/ 2404 w 3401"/>
                <a:gd name="T105" fmla="*/ 827 h 2638"/>
                <a:gd name="T106" fmla="*/ 2706 w 3401"/>
                <a:gd name="T107" fmla="*/ 647 h 2638"/>
                <a:gd name="T108" fmla="*/ 2780 w 3401"/>
                <a:gd name="T109" fmla="*/ 603 h 2638"/>
                <a:gd name="T110" fmla="*/ 2918 w 3401"/>
                <a:gd name="T111" fmla="*/ 460 h 2638"/>
                <a:gd name="T112" fmla="*/ 3284 w 3401"/>
                <a:gd name="T113" fmla="*/ 165 h 2638"/>
                <a:gd name="T114" fmla="*/ 3366 w 3401"/>
                <a:gd name="T115" fmla="*/ 1 h 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1" h="2638">
                  <a:moveTo>
                    <a:pt x="3366" y="1"/>
                  </a:moveTo>
                  <a:cubicBezTo>
                    <a:pt x="3360" y="5"/>
                    <a:pt x="3356" y="8"/>
                    <a:pt x="3353" y="11"/>
                  </a:cubicBezTo>
                  <a:cubicBezTo>
                    <a:pt x="3342" y="22"/>
                    <a:pt x="3308" y="41"/>
                    <a:pt x="3268" y="68"/>
                  </a:cubicBezTo>
                  <a:cubicBezTo>
                    <a:pt x="3253" y="81"/>
                    <a:pt x="3239" y="91"/>
                    <a:pt x="3225" y="99"/>
                  </a:cubicBezTo>
                  <a:cubicBezTo>
                    <a:pt x="3225" y="99"/>
                    <a:pt x="3225" y="99"/>
                    <a:pt x="3225" y="99"/>
                  </a:cubicBezTo>
                  <a:cubicBezTo>
                    <a:pt x="3220" y="102"/>
                    <a:pt x="3215" y="105"/>
                    <a:pt x="3209" y="106"/>
                  </a:cubicBezTo>
                  <a:cubicBezTo>
                    <a:pt x="3157" y="127"/>
                    <a:pt x="3108" y="113"/>
                    <a:pt x="3051" y="60"/>
                  </a:cubicBezTo>
                  <a:cubicBezTo>
                    <a:pt x="3045" y="55"/>
                    <a:pt x="3039" y="49"/>
                    <a:pt x="3033" y="44"/>
                  </a:cubicBezTo>
                  <a:cubicBezTo>
                    <a:pt x="3017" y="34"/>
                    <a:pt x="3004" y="25"/>
                    <a:pt x="2994" y="17"/>
                  </a:cubicBezTo>
                  <a:cubicBezTo>
                    <a:pt x="2975" y="8"/>
                    <a:pt x="2954" y="3"/>
                    <a:pt x="2929" y="8"/>
                  </a:cubicBezTo>
                  <a:cubicBezTo>
                    <a:pt x="2875" y="22"/>
                    <a:pt x="2845" y="67"/>
                    <a:pt x="2806" y="101"/>
                  </a:cubicBezTo>
                  <a:cubicBezTo>
                    <a:pt x="2771" y="119"/>
                    <a:pt x="2733" y="135"/>
                    <a:pt x="2712" y="165"/>
                  </a:cubicBezTo>
                  <a:cubicBezTo>
                    <a:pt x="2711" y="167"/>
                    <a:pt x="2711" y="170"/>
                    <a:pt x="2711" y="173"/>
                  </a:cubicBezTo>
                  <a:cubicBezTo>
                    <a:pt x="2709" y="205"/>
                    <a:pt x="2718" y="229"/>
                    <a:pt x="2695" y="251"/>
                  </a:cubicBezTo>
                  <a:cubicBezTo>
                    <a:pt x="2694" y="271"/>
                    <a:pt x="2675" y="275"/>
                    <a:pt x="2655" y="274"/>
                  </a:cubicBezTo>
                  <a:cubicBezTo>
                    <a:pt x="2652" y="275"/>
                    <a:pt x="2648" y="276"/>
                    <a:pt x="2645" y="278"/>
                  </a:cubicBezTo>
                  <a:cubicBezTo>
                    <a:pt x="2615" y="288"/>
                    <a:pt x="2591" y="293"/>
                    <a:pt x="2572" y="295"/>
                  </a:cubicBezTo>
                  <a:cubicBezTo>
                    <a:pt x="2558" y="302"/>
                    <a:pt x="2544" y="305"/>
                    <a:pt x="2527" y="293"/>
                  </a:cubicBezTo>
                  <a:cubicBezTo>
                    <a:pt x="2525" y="292"/>
                    <a:pt x="2524" y="291"/>
                    <a:pt x="2522" y="290"/>
                  </a:cubicBezTo>
                  <a:cubicBezTo>
                    <a:pt x="2518" y="288"/>
                    <a:pt x="2514" y="285"/>
                    <a:pt x="2512" y="283"/>
                  </a:cubicBezTo>
                  <a:cubicBezTo>
                    <a:pt x="2456" y="246"/>
                    <a:pt x="2444" y="242"/>
                    <a:pt x="2424" y="289"/>
                  </a:cubicBezTo>
                  <a:cubicBezTo>
                    <a:pt x="2420" y="319"/>
                    <a:pt x="2413" y="343"/>
                    <a:pt x="2406" y="362"/>
                  </a:cubicBezTo>
                  <a:cubicBezTo>
                    <a:pt x="2406" y="362"/>
                    <a:pt x="2406" y="363"/>
                    <a:pt x="2406" y="363"/>
                  </a:cubicBezTo>
                  <a:cubicBezTo>
                    <a:pt x="2406" y="397"/>
                    <a:pt x="2394" y="419"/>
                    <a:pt x="2365" y="419"/>
                  </a:cubicBezTo>
                  <a:cubicBezTo>
                    <a:pt x="2335" y="441"/>
                    <a:pt x="2306" y="431"/>
                    <a:pt x="2306" y="431"/>
                  </a:cubicBezTo>
                  <a:cubicBezTo>
                    <a:pt x="2099" y="508"/>
                    <a:pt x="2099" y="508"/>
                    <a:pt x="2099" y="508"/>
                  </a:cubicBezTo>
                  <a:cubicBezTo>
                    <a:pt x="1971" y="508"/>
                    <a:pt x="1971" y="508"/>
                    <a:pt x="1971" y="508"/>
                  </a:cubicBezTo>
                  <a:cubicBezTo>
                    <a:pt x="1971" y="508"/>
                    <a:pt x="1890" y="489"/>
                    <a:pt x="1832" y="452"/>
                  </a:cubicBezTo>
                  <a:cubicBezTo>
                    <a:pt x="1775" y="415"/>
                    <a:pt x="1774" y="463"/>
                    <a:pt x="1744" y="472"/>
                  </a:cubicBezTo>
                  <a:cubicBezTo>
                    <a:pt x="1713" y="482"/>
                    <a:pt x="1706" y="504"/>
                    <a:pt x="1756" y="555"/>
                  </a:cubicBezTo>
                  <a:cubicBezTo>
                    <a:pt x="1805" y="607"/>
                    <a:pt x="1885" y="642"/>
                    <a:pt x="1876" y="656"/>
                  </a:cubicBezTo>
                  <a:cubicBezTo>
                    <a:pt x="1868" y="670"/>
                    <a:pt x="1847" y="649"/>
                    <a:pt x="1832" y="668"/>
                  </a:cubicBezTo>
                  <a:cubicBezTo>
                    <a:pt x="1817" y="687"/>
                    <a:pt x="1805" y="718"/>
                    <a:pt x="1784" y="711"/>
                  </a:cubicBezTo>
                  <a:cubicBezTo>
                    <a:pt x="1763" y="704"/>
                    <a:pt x="1730" y="680"/>
                    <a:pt x="1727" y="722"/>
                  </a:cubicBezTo>
                  <a:cubicBezTo>
                    <a:pt x="1725" y="765"/>
                    <a:pt x="1704" y="760"/>
                    <a:pt x="1680" y="788"/>
                  </a:cubicBezTo>
                  <a:cubicBezTo>
                    <a:pt x="1656" y="815"/>
                    <a:pt x="1704" y="760"/>
                    <a:pt x="1591" y="740"/>
                  </a:cubicBezTo>
                  <a:cubicBezTo>
                    <a:pt x="1478" y="719"/>
                    <a:pt x="1535" y="810"/>
                    <a:pt x="1572" y="829"/>
                  </a:cubicBezTo>
                  <a:cubicBezTo>
                    <a:pt x="1610" y="848"/>
                    <a:pt x="1582" y="875"/>
                    <a:pt x="1572" y="896"/>
                  </a:cubicBezTo>
                  <a:cubicBezTo>
                    <a:pt x="1563" y="917"/>
                    <a:pt x="1497" y="864"/>
                    <a:pt x="1497" y="864"/>
                  </a:cubicBezTo>
                  <a:cubicBezTo>
                    <a:pt x="1497" y="864"/>
                    <a:pt x="1485" y="815"/>
                    <a:pt x="1436" y="788"/>
                  </a:cubicBezTo>
                  <a:cubicBezTo>
                    <a:pt x="1386" y="761"/>
                    <a:pt x="1370" y="832"/>
                    <a:pt x="1368" y="864"/>
                  </a:cubicBezTo>
                  <a:cubicBezTo>
                    <a:pt x="1365" y="897"/>
                    <a:pt x="1410" y="1003"/>
                    <a:pt x="1313" y="929"/>
                  </a:cubicBezTo>
                  <a:cubicBezTo>
                    <a:pt x="1217" y="856"/>
                    <a:pt x="1038" y="991"/>
                    <a:pt x="1038" y="1003"/>
                  </a:cubicBezTo>
                  <a:cubicBezTo>
                    <a:pt x="1038" y="1015"/>
                    <a:pt x="1081" y="1146"/>
                    <a:pt x="1012" y="1115"/>
                  </a:cubicBezTo>
                  <a:cubicBezTo>
                    <a:pt x="944" y="1084"/>
                    <a:pt x="864" y="1191"/>
                    <a:pt x="852" y="1205"/>
                  </a:cubicBezTo>
                  <a:cubicBezTo>
                    <a:pt x="841" y="1219"/>
                    <a:pt x="777" y="1248"/>
                    <a:pt x="777" y="1210"/>
                  </a:cubicBezTo>
                  <a:cubicBezTo>
                    <a:pt x="777" y="1171"/>
                    <a:pt x="648" y="1186"/>
                    <a:pt x="625" y="1210"/>
                  </a:cubicBezTo>
                  <a:cubicBezTo>
                    <a:pt x="601" y="1233"/>
                    <a:pt x="558" y="1276"/>
                    <a:pt x="558" y="1276"/>
                  </a:cubicBezTo>
                  <a:cubicBezTo>
                    <a:pt x="321" y="1239"/>
                    <a:pt x="321" y="1239"/>
                    <a:pt x="321" y="1239"/>
                  </a:cubicBezTo>
                  <a:cubicBezTo>
                    <a:pt x="323" y="1240"/>
                    <a:pt x="311" y="1243"/>
                    <a:pt x="211" y="1250"/>
                  </a:cubicBezTo>
                  <a:cubicBezTo>
                    <a:pt x="67" y="1259"/>
                    <a:pt x="129" y="1342"/>
                    <a:pt x="160" y="1464"/>
                  </a:cubicBezTo>
                  <a:cubicBezTo>
                    <a:pt x="191" y="1586"/>
                    <a:pt x="0" y="1585"/>
                    <a:pt x="72" y="1630"/>
                  </a:cubicBezTo>
                  <a:cubicBezTo>
                    <a:pt x="144" y="1675"/>
                    <a:pt x="65" y="1736"/>
                    <a:pt x="61" y="1879"/>
                  </a:cubicBezTo>
                  <a:cubicBezTo>
                    <a:pt x="58" y="2023"/>
                    <a:pt x="136" y="1978"/>
                    <a:pt x="171" y="2060"/>
                  </a:cubicBezTo>
                  <a:cubicBezTo>
                    <a:pt x="206" y="2142"/>
                    <a:pt x="214" y="2095"/>
                    <a:pt x="306" y="2138"/>
                  </a:cubicBezTo>
                  <a:cubicBezTo>
                    <a:pt x="399" y="2182"/>
                    <a:pt x="345" y="2108"/>
                    <a:pt x="452" y="2074"/>
                  </a:cubicBezTo>
                  <a:cubicBezTo>
                    <a:pt x="558" y="2040"/>
                    <a:pt x="481" y="2077"/>
                    <a:pt x="500" y="2130"/>
                  </a:cubicBezTo>
                  <a:cubicBezTo>
                    <a:pt x="519" y="2184"/>
                    <a:pt x="518" y="2149"/>
                    <a:pt x="556" y="2199"/>
                  </a:cubicBezTo>
                  <a:cubicBezTo>
                    <a:pt x="595" y="2249"/>
                    <a:pt x="633" y="2290"/>
                    <a:pt x="707" y="2361"/>
                  </a:cubicBezTo>
                  <a:cubicBezTo>
                    <a:pt x="780" y="2432"/>
                    <a:pt x="699" y="2447"/>
                    <a:pt x="683" y="2489"/>
                  </a:cubicBezTo>
                  <a:cubicBezTo>
                    <a:pt x="667" y="2531"/>
                    <a:pt x="615" y="2533"/>
                    <a:pt x="588" y="2576"/>
                  </a:cubicBezTo>
                  <a:cubicBezTo>
                    <a:pt x="561" y="2618"/>
                    <a:pt x="634" y="2638"/>
                    <a:pt x="692" y="2614"/>
                  </a:cubicBezTo>
                  <a:cubicBezTo>
                    <a:pt x="751" y="2590"/>
                    <a:pt x="742" y="2504"/>
                    <a:pt x="756" y="2479"/>
                  </a:cubicBezTo>
                  <a:cubicBezTo>
                    <a:pt x="771" y="2454"/>
                    <a:pt x="973" y="2485"/>
                    <a:pt x="979" y="2479"/>
                  </a:cubicBezTo>
                  <a:cubicBezTo>
                    <a:pt x="984" y="2474"/>
                    <a:pt x="1083" y="2396"/>
                    <a:pt x="1139" y="2399"/>
                  </a:cubicBezTo>
                  <a:cubicBezTo>
                    <a:pt x="1194" y="2401"/>
                    <a:pt x="1267" y="2422"/>
                    <a:pt x="1306" y="2373"/>
                  </a:cubicBezTo>
                  <a:cubicBezTo>
                    <a:pt x="1310" y="2368"/>
                    <a:pt x="1314" y="2363"/>
                    <a:pt x="1319" y="2359"/>
                  </a:cubicBezTo>
                  <a:cubicBezTo>
                    <a:pt x="1334" y="2338"/>
                    <a:pt x="1340" y="2314"/>
                    <a:pt x="1361" y="2302"/>
                  </a:cubicBezTo>
                  <a:cubicBezTo>
                    <a:pt x="1379" y="2292"/>
                    <a:pt x="1403" y="2292"/>
                    <a:pt x="1417" y="2274"/>
                  </a:cubicBezTo>
                  <a:cubicBezTo>
                    <a:pt x="1407" y="2208"/>
                    <a:pt x="1407" y="2208"/>
                    <a:pt x="1407" y="2208"/>
                  </a:cubicBezTo>
                  <a:cubicBezTo>
                    <a:pt x="1407" y="2208"/>
                    <a:pt x="1401" y="2190"/>
                    <a:pt x="1405" y="2172"/>
                  </a:cubicBezTo>
                  <a:cubicBezTo>
                    <a:pt x="1405" y="2171"/>
                    <a:pt x="1405" y="2169"/>
                    <a:pt x="1405" y="2167"/>
                  </a:cubicBezTo>
                  <a:cubicBezTo>
                    <a:pt x="1409" y="2137"/>
                    <a:pt x="1427" y="2129"/>
                    <a:pt x="1440" y="2161"/>
                  </a:cubicBezTo>
                  <a:cubicBezTo>
                    <a:pt x="1441" y="2163"/>
                    <a:pt x="1442" y="2165"/>
                    <a:pt x="1444" y="2168"/>
                  </a:cubicBezTo>
                  <a:cubicBezTo>
                    <a:pt x="1461" y="2175"/>
                    <a:pt x="1467" y="2170"/>
                    <a:pt x="1461" y="2150"/>
                  </a:cubicBezTo>
                  <a:cubicBezTo>
                    <a:pt x="1462" y="2107"/>
                    <a:pt x="1449" y="2063"/>
                    <a:pt x="1442" y="2019"/>
                  </a:cubicBezTo>
                  <a:cubicBezTo>
                    <a:pt x="1442" y="2019"/>
                    <a:pt x="1442" y="2019"/>
                    <a:pt x="1442" y="2019"/>
                  </a:cubicBezTo>
                  <a:cubicBezTo>
                    <a:pt x="1437" y="2009"/>
                    <a:pt x="1436" y="1995"/>
                    <a:pt x="1438" y="1979"/>
                  </a:cubicBezTo>
                  <a:cubicBezTo>
                    <a:pt x="1437" y="1942"/>
                    <a:pt x="1444" y="1905"/>
                    <a:pt x="1472" y="1869"/>
                  </a:cubicBezTo>
                  <a:cubicBezTo>
                    <a:pt x="1475" y="1862"/>
                    <a:pt x="1477" y="1857"/>
                    <a:pt x="1479" y="1854"/>
                  </a:cubicBezTo>
                  <a:cubicBezTo>
                    <a:pt x="1479" y="1852"/>
                    <a:pt x="1479" y="1849"/>
                    <a:pt x="1479" y="1847"/>
                  </a:cubicBezTo>
                  <a:cubicBezTo>
                    <a:pt x="1472" y="1835"/>
                    <a:pt x="1460" y="1800"/>
                    <a:pt x="1451" y="1756"/>
                  </a:cubicBezTo>
                  <a:cubicBezTo>
                    <a:pt x="1432" y="1693"/>
                    <a:pt x="1430" y="1634"/>
                    <a:pt x="1441" y="1577"/>
                  </a:cubicBezTo>
                  <a:cubicBezTo>
                    <a:pt x="1441" y="1577"/>
                    <a:pt x="1441" y="1577"/>
                    <a:pt x="1441" y="1577"/>
                  </a:cubicBezTo>
                  <a:cubicBezTo>
                    <a:pt x="1451" y="1515"/>
                    <a:pt x="1493" y="1420"/>
                    <a:pt x="1551" y="1353"/>
                  </a:cubicBezTo>
                  <a:cubicBezTo>
                    <a:pt x="1557" y="1346"/>
                    <a:pt x="1564" y="1339"/>
                    <a:pt x="1571" y="1332"/>
                  </a:cubicBezTo>
                  <a:cubicBezTo>
                    <a:pt x="1607" y="1296"/>
                    <a:pt x="1648" y="1274"/>
                    <a:pt x="1691" y="1277"/>
                  </a:cubicBezTo>
                  <a:cubicBezTo>
                    <a:pt x="1691" y="1277"/>
                    <a:pt x="1692" y="1277"/>
                    <a:pt x="1692" y="1277"/>
                  </a:cubicBezTo>
                  <a:cubicBezTo>
                    <a:pt x="1692" y="1277"/>
                    <a:pt x="1692" y="1277"/>
                    <a:pt x="1692" y="1277"/>
                  </a:cubicBezTo>
                  <a:cubicBezTo>
                    <a:pt x="1692" y="1277"/>
                    <a:pt x="1692" y="1277"/>
                    <a:pt x="1692" y="1277"/>
                  </a:cubicBezTo>
                  <a:cubicBezTo>
                    <a:pt x="1705" y="1277"/>
                    <a:pt x="1717" y="1280"/>
                    <a:pt x="1728" y="1287"/>
                  </a:cubicBezTo>
                  <a:cubicBezTo>
                    <a:pt x="1769" y="1303"/>
                    <a:pt x="1796" y="1325"/>
                    <a:pt x="1832" y="1313"/>
                  </a:cubicBezTo>
                  <a:cubicBezTo>
                    <a:pt x="1832" y="1313"/>
                    <a:pt x="1832" y="1313"/>
                    <a:pt x="1832" y="1313"/>
                  </a:cubicBezTo>
                  <a:cubicBezTo>
                    <a:pt x="1851" y="1297"/>
                    <a:pt x="1867" y="1278"/>
                    <a:pt x="1881" y="1259"/>
                  </a:cubicBezTo>
                  <a:cubicBezTo>
                    <a:pt x="1888" y="1247"/>
                    <a:pt x="1895" y="1234"/>
                    <a:pt x="1902" y="1221"/>
                  </a:cubicBezTo>
                  <a:cubicBezTo>
                    <a:pt x="1961" y="1114"/>
                    <a:pt x="1993" y="1083"/>
                    <a:pt x="2079" y="1094"/>
                  </a:cubicBezTo>
                  <a:cubicBezTo>
                    <a:pt x="2089" y="1095"/>
                    <a:pt x="2099" y="1097"/>
                    <a:pt x="2110" y="1100"/>
                  </a:cubicBezTo>
                  <a:cubicBezTo>
                    <a:pt x="2123" y="1102"/>
                    <a:pt x="2137" y="1106"/>
                    <a:pt x="2153" y="1110"/>
                  </a:cubicBezTo>
                  <a:cubicBezTo>
                    <a:pt x="2156" y="1110"/>
                    <a:pt x="2159" y="1111"/>
                    <a:pt x="2162" y="1112"/>
                  </a:cubicBezTo>
                  <a:cubicBezTo>
                    <a:pt x="2184" y="1115"/>
                    <a:pt x="2209" y="1115"/>
                    <a:pt x="2240" y="1108"/>
                  </a:cubicBezTo>
                  <a:cubicBezTo>
                    <a:pt x="2255" y="1103"/>
                    <a:pt x="2270" y="1097"/>
                    <a:pt x="2283" y="1089"/>
                  </a:cubicBezTo>
                  <a:cubicBezTo>
                    <a:pt x="2338" y="1052"/>
                    <a:pt x="2360" y="978"/>
                    <a:pt x="2364" y="918"/>
                  </a:cubicBezTo>
                  <a:cubicBezTo>
                    <a:pt x="2364" y="911"/>
                    <a:pt x="2364" y="905"/>
                    <a:pt x="2365" y="898"/>
                  </a:cubicBezTo>
                  <a:cubicBezTo>
                    <a:pt x="2365" y="898"/>
                    <a:pt x="2365" y="898"/>
                    <a:pt x="2365" y="898"/>
                  </a:cubicBezTo>
                  <a:cubicBezTo>
                    <a:pt x="2365" y="889"/>
                    <a:pt x="2367" y="880"/>
                    <a:pt x="2371" y="871"/>
                  </a:cubicBezTo>
                  <a:cubicBezTo>
                    <a:pt x="2378" y="853"/>
                    <a:pt x="2388" y="838"/>
                    <a:pt x="2404" y="827"/>
                  </a:cubicBezTo>
                  <a:cubicBezTo>
                    <a:pt x="2448" y="784"/>
                    <a:pt x="2516" y="750"/>
                    <a:pt x="2541" y="732"/>
                  </a:cubicBezTo>
                  <a:cubicBezTo>
                    <a:pt x="2591" y="696"/>
                    <a:pt x="2643" y="662"/>
                    <a:pt x="2706" y="647"/>
                  </a:cubicBezTo>
                  <a:cubicBezTo>
                    <a:pt x="2722" y="640"/>
                    <a:pt x="2737" y="634"/>
                    <a:pt x="2750" y="629"/>
                  </a:cubicBezTo>
                  <a:cubicBezTo>
                    <a:pt x="2761" y="622"/>
                    <a:pt x="2771" y="613"/>
                    <a:pt x="2780" y="603"/>
                  </a:cubicBezTo>
                  <a:cubicBezTo>
                    <a:pt x="2791" y="579"/>
                    <a:pt x="2793" y="544"/>
                    <a:pt x="2858" y="500"/>
                  </a:cubicBezTo>
                  <a:cubicBezTo>
                    <a:pt x="2876" y="484"/>
                    <a:pt x="2896" y="470"/>
                    <a:pt x="2918" y="460"/>
                  </a:cubicBezTo>
                  <a:cubicBezTo>
                    <a:pt x="3041" y="400"/>
                    <a:pt x="3143" y="310"/>
                    <a:pt x="3236" y="213"/>
                  </a:cubicBezTo>
                  <a:cubicBezTo>
                    <a:pt x="3251" y="197"/>
                    <a:pt x="3268" y="181"/>
                    <a:pt x="3284" y="165"/>
                  </a:cubicBezTo>
                  <a:cubicBezTo>
                    <a:pt x="3337" y="100"/>
                    <a:pt x="3377" y="41"/>
                    <a:pt x="3401" y="6"/>
                  </a:cubicBezTo>
                  <a:cubicBezTo>
                    <a:pt x="3388" y="2"/>
                    <a:pt x="3377" y="0"/>
                    <a:pt x="3366" y="1"/>
                  </a:cubicBezTo>
                  <a:close/>
                </a:path>
              </a:pathLst>
            </a:custGeom>
            <a:grpFill/>
            <a:ln w="4763"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457" name="Oval 456">
            <a:extLst>
              <a:ext uri="{FF2B5EF4-FFF2-40B4-BE49-F238E27FC236}">
                <a16:creationId xmlns:a16="http://schemas.microsoft.com/office/drawing/2014/main" id="{C95F3B92-E430-4D6A-A6D6-BD9E2335A78C}"/>
              </a:ext>
            </a:extLst>
          </p:cNvPr>
          <p:cNvSpPr/>
          <p:nvPr/>
        </p:nvSpPr>
        <p:spPr>
          <a:xfrm rot="3466357">
            <a:off x="7999339" y="2419168"/>
            <a:ext cx="133233" cy="114808"/>
          </a:xfrm>
          <a:prstGeom prst="ellipse">
            <a:avLst/>
          </a:prstGeom>
          <a:solidFill>
            <a:schemeClr val="tx1"/>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8E258D"/>
              </a:solidFill>
              <a:effectLst/>
              <a:uLnTx/>
              <a:uFillTx/>
              <a:latin typeface="Aptos" panose="020B0004020202020204" pitchFamily="34" charset="0"/>
              <a:ea typeface="Microsoft YaHei"/>
              <a:cs typeface="+mn-cs"/>
            </a:endParaRPr>
          </a:p>
        </p:txBody>
      </p:sp>
      <p:sp>
        <p:nvSpPr>
          <p:cNvPr id="461" name="Oval 460">
            <a:extLst>
              <a:ext uri="{FF2B5EF4-FFF2-40B4-BE49-F238E27FC236}">
                <a16:creationId xmlns:a16="http://schemas.microsoft.com/office/drawing/2014/main" id="{D0BF8AD2-985C-41FA-9078-CCC5A551522C}"/>
              </a:ext>
            </a:extLst>
          </p:cNvPr>
          <p:cNvSpPr/>
          <p:nvPr/>
        </p:nvSpPr>
        <p:spPr>
          <a:xfrm>
            <a:off x="8235445" y="2842379"/>
            <a:ext cx="118509" cy="134774"/>
          </a:xfrm>
          <a:prstGeom prst="ellipse">
            <a:avLst/>
          </a:prstGeom>
          <a:solidFill>
            <a:srgbClr val="00B0F0"/>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0B0004020202020204" pitchFamily="34" charset="0"/>
              <a:ea typeface="Microsoft YaHei"/>
              <a:cs typeface="+mn-cs"/>
            </a:endParaRPr>
          </a:p>
        </p:txBody>
      </p:sp>
      <p:sp>
        <p:nvSpPr>
          <p:cNvPr id="546" name="Freeform 542">
            <a:extLst>
              <a:ext uri="{FF2B5EF4-FFF2-40B4-BE49-F238E27FC236}">
                <a16:creationId xmlns:a16="http://schemas.microsoft.com/office/drawing/2014/main" id="{AD3DBB6F-E51E-4929-82A0-DDDEE5AECACE}"/>
              </a:ext>
            </a:extLst>
          </p:cNvPr>
          <p:cNvSpPr>
            <a:spLocks noChangeAspect="1" noEditPoints="1"/>
          </p:cNvSpPr>
          <p:nvPr/>
        </p:nvSpPr>
        <p:spPr bwMode="auto">
          <a:xfrm>
            <a:off x="11363994" y="1684255"/>
            <a:ext cx="319000" cy="319000"/>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8" name="Group 7">
            <a:extLst>
              <a:ext uri="{FF2B5EF4-FFF2-40B4-BE49-F238E27FC236}">
                <a16:creationId xmlns:a16="http://schemas.microsoft.com/office/drawing/2014/main" id="{CF185B49-4824-D779-C9F3-C603EA2D1738}"/>
              </a:ext>
            </a:extLst>
          </p:cNvPr>
          <p:cNvGrpSpPr/>
          <p:nvPr/>
        </p:nvGrpSpPr>
        <p:grpSpPr>
          <a:xfrm>
            <a:off x="8638491" y="2286406"/>
            <a:ext cx="3044786" cy="319566"/>
            <a:chOff x="8638491" y="2286406"/>
            <a:chExt cx="3044786" cy="319566"/>
          </a:xfrm>
        </p:grpSpPr>
        <p:sp>
          <p:nvSpPr>
            <p:cNvPr id="536" name="Rectangle 535">
              <a:extLst>
                <a:ext uri="{FF2B5EF4-FFF2-40B4-BE49-F238E27FC236}">
                  <a16:creationId xmlns:a16="http://schemas.microsoft.com/office/drawing/2014/main" id="{02022067-D0A9-4EBB-A332-6AD552DAC530}"/>
                </a:ext>
              </a:extLst>
            </p:cNvPr>
            <p:cNvSpPr/>
            <p:nvPr/>
          </p:nvSpPr>
          <p:spPr bwMode="gray">
            <a:xfrm>
              <a:off x="8638491" y="2344810"/>
              <a:ext cx="2460517" cy="182880"/>
            </a:xfrm>
            <a:prstGeom prst="rect">
              <a:avLst/>
            </a:prstGeom>
            <a:solidFill>
              <a:schemeClr val="bg1"/>
            </a:solidFill>
            <a:ln w="19050" algn="ctr">
              <a:noFill/>
              <a:prstDash val="dash"/>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rPr>
                <a:t>Renewable Energy Solutions</a:t>
              </a:r>
            </a:p>
          </p:txBody>
        </p:sp>
        <p:grpSp>
          <p:nvGrpSpPr>
            <p:cNvPr id="538" name="Group 295">
              <a:extLst>
                <a:ext uri="{FF2B5EF4-FFF2-40B4-BE49-F238E27FC236}">
                  <a16:creationId xmlns:a16="http://schemas.microsoft.com/office/drawing/2014/main" id="{197AED21-1C12-44F4-B5F0-E7A86E5DBAC8}"/>
                </a:ext>
              </a:extLst>
            </p:cNvPr>
            <p:cNvGrpSpPr>
              <a:grpSpLocks noChangeAspect="1"/>
            </p:cNvGrpSpPr>
            <p:nvPr/>
          </p:nvGrpSpPr>
          <p:grpSpPr bwMode="auto">
            <a:xfrm>
              <a:off x="11363711" y="2286406"/>
              <a:ext cx="319566" cy="319566"/>
              <a:chOff x="6958" y="1122"/>
              <a:chExt cx="340" cy="340"/>
            </a:xfrm>
            <a:solidFill>
              <a:schemeClr val="accent5"/>
            </a:solidFill>
          </p:grpSpPr>
          <p:sp>
            <p:nvSpPr>
              <p:cNvPr id="539" name="Freeform 296">
                <a:extLst>
                  <a:ext uri="{FF2B5EF4-FFF2-40B4-BE49-F238E27FC236}">
                    <a16:creationId xmlns:a16="http://schemas.microsoft.com/office/drawing/2014/main" id="{B4EA7791-B436-4569-ADE1-E643DAA3EE4D}"/>
                  </a:ext>
                </a:extLst>
              </p:cNvPr>
              <p:cNvSpPr>
                <a:spLocks noEditPoints="1"/>
              </p:cNvSpPr>
              <p:nvPr/>
            </p:nvSpPr>
            <p:spPr bwMode="auto">
              <a:xfrm>
                <a:off x="6958" y="1122"/>
                <a:ext cx="340" cy="340"/>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0" name="Freeform 297">
                <a:extLst>
                  <a:ext uri="{FF2B5EF4-FFF2-40B4-BE49-F238E27FC236}">
                    <a16:creationId xmlns:a16="http://schemas.microsoft.com/office/drawing/2014/main" id="{03814CCA-0EFD-4315-8D9D-F57AAA712A94}"/>
                  </a:ext>
                </a:extLst>
              </p:cNvPr>
              <p:cNvSpPr>
                <a:spLocks/>
              </p:cNvSpPr>
              <p:nvPr/>
            </p:nvSpPr>
            <p:spPr bwMode="auto">
              <a:xfrm>
                <a:off x="7135" y="1256"/>
                <a:ext cx="42" cy="57"/>
              </a:xfrm>
              <a:custGeom>
                <a:avLst/>
                <a:gdLst>
                  <a:gd name="T0" fmla="*/ 63 w 64"/>
                  <a:gd name="T1" fmla="*/ 62 h 86"/>
                  <a:gd name="T2" fmla="*/ 0 w 64"/>
                  <a:gd name="T3" fmla="*/ 0 h 86"/>
                  <a:gd name="T4" fmla="*/ 0 w 64"/>
                  <a:gd name="T5" fmla="*/ 30 h 86"/>
                  <a:gd name="T6" fmla="*/ 57 w 64"/>
                  <a:gd name="T7" fmla="*/ 86 h 86"/>
                  <a:gd name="T8" fmla="*/ 64 w 64"/>
                  <a:gd name="T9" fmla="*/ 63 h 86"/>
                  <a:gd name="T10" fmla="*/ 63 w 64"/>
                  <a:gd name="T11" fmla="*/ 62 h 86"/>
                </a:gdLst>
                <a:ahLst/>
                <a:cxnLst>
                  <a:cxn ang="0">
                    <a:pos x="T0" y="T1"/>
                  </a:cxn>
                  <a:cxn ang="0">
                    <a:pos x="T2" y="T3"/>
                  </a:cxn>
                  <a:cxn ang="0">
                    <a:pos x="T4" y="T5"/>
                  </a:cxn>
                  <a:cxn ang="0">
                    <a:pos x="T6" y="T7"/>
                  </a:cxn>
                  <a:cxn ang="0">
                    <a:pos x="T8" y="T9"/>
                  </a:cxn>
                  <a:cxn ang="0">
                    <a:pos x="T10" y="T11"/>
                  </a:cxn>
                </a:cxnLst>
                <a:rect l="0" t="0" r="r" b="b"/>
                <a:pathLst>
                  <a:path w="64" h="86">
                    <a:moveTo>
                      <a:pt x="63" y="62"/>
                    </a:moveTo>
                    <a:cubicBezTo>
                      <a:pt x="0" y="0"/>
                      <a:pt x="0" y="0"/>
                      <a:pt x="0" y="0"/>
                    </a:cubicBezTo>
                    <a:cubicBezTo>
                      <a:pt x="0" y="30"/>
                      <a:pt x="0" y="30"/>
                      <a:pt x="0" y="30"/>
                    </a:cubicBezTo>
                    <a:cubicBezTo>
                      <a:pt x="57" y="86"/>
                      <a:pt x="57" y="86"/>
                      <a:pt x="57" y="86"/>
                    </a:cubicBezTo>
                    <a:cubicBezTo>
                      <a:pt x="60" y="79"/>
                      <a:pt x="63" y="71"/>
                      <a:pt x="64" y="63"/>
                    </a:cubicBezTo>
                    <a:cubicBezTo>
                      <a:pt x="63" y="62"/>
                      <a:pt x="63" y="62"/>
                      <a:pt x="63"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1" name="Freeform 298">
                <a:extLst>
                  <a:ext uri="{FF2B5EF4-FFF2-40B4-BE49-F238E27FC236}">
                    <a16:creationId xmlns:a16="http://schemas.microsoft.com/office/drawing/2014/main" id="{07E1399A-EEED-4C5D-91D3-2FFC9C06BA96}"/>
                  </a:ext>
                </a:extLst>
              </p:cNvPr>
              <p:cNvSpPr>
                <a:spLocks/>
              </p:cNvSpPr>
              <p:nvPr/>
            </p:nvSpPr>
            <p:spPr bwMode="auto">
              <a:xfrm>
                <a:off x="7135" y="1296"/>
                <a:ext cx="30" cy="38"/>
              </a:xfrm>
              <a:custGeom>
                <a:avLst/>
                <a:gdLst>
                  <a:gd name="T0" fmla="*/ 0 w 45"/>
                  <a:gd name="T1" fmla="*/ 30 h 58"/>
                  <a:gd name="T2" fmla="*/ 28 w 45"/>
                  <a:gd name="T3" fmla="*/ 58 h 58"/>
                  <a:gd name="T4" fmla="*/ 45 w 45"/>
                  <a:gd name="T5" fmla="*/ 44 h 58"/>
                  <a:gd name="T6" fmla="*/ 0 w 45"/>
                  <a:gd name="T7" fmla="*/ 0 h 58"/>
                  <a:gd name="T8" fmla="*/ 0 w 45"/>
                  <a:gd name="T9" fmla="*/ 30 h 58"/>
                </a:gdLst>
                <a:ahLst/>
                <a:cxnLst>
                  <a:cxn ang="0">
                    <a:pos x="T0" y="T1"/>
                  </a:cxn>
                  <a:cxn ang="0">
                    <a:pos x="T2" y="T3"/>
                  </a:cxn>
                  <a:cxn ang="0">
                    <a:pos x="T4" y="T5"/>
                  </a:cxn>
                  <a:cxn ang="0">
                    <a:pos x="T6" y="T7"/>
                  </a:cxn>
                  <a:cxn ang="0">
                    <a:pos x="T8" y="T9"/>
                  </a:cxn>
                </a:cxnLst>
                <a:rect l="0" t="0" r="r" b="b"/>
                <a:pathLst>
                  <a:path w="45" h="58">
                    <a:moveTo>
                      <a:pt x="0" y="30"/>
                    </a:moveTo>
                    <a:cubicBezTo>
                      <a:pt x="28" y="58"/>
                      <a:pt x="28" y="58"/>
                      <a:pt x="28" y="58"/>
                    </a:cubicBezTo>
                    <a:cubicBezTo>
                      <a:pt x="34" y="54"/>
                      <a:pt x="40" y="49"/>
                      <a:pt x="45" y="44"/>
                    </a:cubicBezTo>
                    <a:cubicBezTo>
                      <a:pt x="0" y="0"/>
                      <a:pt x="0" y="0"/>
                      <a:pt x="0" y="0"/>
                    </a:cubicBezTo>
                    <a:lnTo>
                      <a:pt x="0"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2" name="Freeform 299">
                <a:extLst>
                  <a:ext uri="{FF2B5EF4-FFF2-40B4-BE49-F238E27FC236}">
                    <a16:creationId xmlns:a16="http://schemas.microsoft.com/office/drawing/2014/main" id="{AC5F6996-5B43-4DBB-B311-1F7B3988FF36}"/>
                  </a:ext>
                </a:extLst>
              </p:cNvPr>
              <p:cNvSpPr>
                <a:spLocks/>
              </p:cNvSpPr>
              <p:nvPr/>
            </p:nvSpPr>
            <p:spPr bwMode="auto">
              <a:xfrm>
                <a:off x="7144" y="1245"/>
                <a:ext cx="30" cy="30"/>
              </a:xfrm>
              <a:custGeom>
                <a:avLst/>
                <a:gdLst>
                  <a:gd name="T0" fmla="*/ 0 w 46"/>
                  <a:gd name="T1" fmla="*/ 0 h 46"/>
                  <a:gd name="T2" fmla="*/ 46 w 46"/>
                  <a:gd name="T3" fmla="*/ 46 h 46"/>
                  <a:gd name="T4" fmla="*/ 0 w 46"/>
                  <a:gd name="T5" fmla="*/ 0 h 46"/>
                </a:gdLst>
                <a:ahLst/>
                <a:cxnLst>
                  <a:cxn ang="0">
                    <a:pos x="T0" y="T1"/>
                  </a:cxn>
                  <a:cxn ang="0">
                    <a:pos x="T2" y="T3"/>
                  </a:cxn>
                  <a:cxn ang="0">
                    <a:pos x="T4" y="T5"/>
                  </a:cxn>
                </a:cxnLst>
                <a:rect l="0" t="0" r="r" b="b"/>
                <a:pathLst>
                  <a:path w="46" h="46">
                    <a:moveTo>
                      <a:pt x="0" y="0"/>
                    </a:moveTo>
                    <a:cubicBezTo>
                      <a:pt x="46" y="46"/>
                      <a:pt x="46" y="46"/>
                      <a:pt x="46" y="46"/>
                    </a:cubicBezTo>
                    <a:cubicBezTo>
                      <a:pt x="39" y="25"/>
                      <a:pt x="22" y="8"/>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3" name="Freeform 300">
                <a:extLst>
                  <a:ext uri="{FF2B5EF4-FFF2-40B4-BE49-F238E27FC236}">
                    <a16:creationId xmlns:a16="http://schemas.microsoft.com/office/drawing/2014/main" id="{848BABD2-45BF-4DCF-85A4-083D115AA241}"/>
                  </a:ext>
                </a:extLst>
              </p:cNvPr>
              <p:cNvSpPr>
                <a:spLocks/>
              </p:cNvSpPr>
              <p:nvPr/>
            </p:nvSpPr>
            <p:spPr bwMode="auto">
              <a:xfrm>
                <a:off x="7135" y="1336"/>
                <a:ext cx="4" cy="4"/>
              </a:xfrm>
              <a:custGeom>
                <a:avLst/>
                <a:gdLst>
                  <a:gd name="T0" fmla="*/ 0 w 6"/>
                  <a:gd name="T1" fmla="*/ 7 h 7"/>
                  <a:gd name="T2" fmla="*/ 6 w 6"/>
                  <a:gd name="T3" fmla="*/ 6 h 7"/>
                  <a:gd name="T4" fmla="*/ 0 w 6"/>
                  <a:gd name="T5" fmla="*/ 0 h 7"/>
                  <a:gd name="T6" fmla="*/ 0 w 6"/>
                  <a:gd name="T7" fmla="*/ 7 h 7"/>
                </a:gdLst>
                <a:ahLst/>
                <a:cxnLst>
                  <a:cxn ang="0">
                    <a:pos x="T0" y="T1"/>
                  </a:cxn>
                  <a:cxn ang="0">
                    <a:pos x="T2" y="T3"/>
                  </a:cxn>
                  <a:cxn ang="0">
                    <a:pos x="T4" y="T5"/>
                  </a:cxn>
                  <a:cxn ang="0">
                    <a:pos x="T6" y="T7"/>
                  </a:cxn>
                </a:cxnLst>
                <a:rect l="0" t="0" r="r" b="b"/>
                <a:pathLst>
                  <a:path w="6" h="7">
                    <a:moveTo>
                      <a:pt x="0" y="7"/>
                    </a:moveTo>
                    <a:cubicBezTo>
                      <a:pt x="2" y="7"/>
                      <a:pt x="4" y="7"/>
                      <a:pt x="6" y="6"/>
                    </a:cubicBezTo>
                    <a:cubicBezTo>
                      <a:pt x="0" y="0"/>
                      <a:pt x="0" y="0"/>
                      <a:pt x="0" y="0"/>
                    </a:cubicBezTo>
                    <a:lnTo>
                      <a:pt x="0" y="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4" name="Freeform 301">
                <a:extLst>
                  <a:ext uri="{FF2B5EF4-FFF2-40B4-BE49-F238E27FC236}">
                    <a16:creationId xmlns:a16="http://schemas.microsoft.com/office/drawing/2014/main" id="{2D684E9D-07FA-472F-8AD9-36399028E2E8}"/>
                  </a:ext>
                </a:extLst>
              </p:cNvPr>
              <p:cNvSpPr>
                <a:spLocks/>
              </p:cNvSpPr>
              <p:nvPr/>
            </p:nvSpPr>
            <p:spPr bwMode="auto">
              <a:xfrm>
                <a:off x="7078" y="1243"/>
                <a:ext cx="43" cy="97"/>
              </a:xfrm>
              <a:custGeom>
                <a:avLst/>
                <a:gdLst>
                  <a:gd name="T0" fmla="*/ 0 w 64"/>
                  <a:gd name="T1" fmla="*/ 74 h 147"/>
                  <a:gd name="T2" fmla="*/ 64 w 64"/>
                  <a:gd name="T3" fmla="*/ 147 h 147"/>
                  <a:gd name="T4" fmla="*/ 64 w 64"/>
                  <a:gd name="T5" fmla="*/ 0 h 147"/>
                  <a:gd name="T6" fmla="*/ 0 w 64"/>
                  <a:gd name="T7" fmla="*/ 74 h 147"/>
                </a:gdLst>
                <a:ahLst/>
                <a:cxnLst>
                  <a:cxn ang="0">
                    <a:pos x="T0" y="T1"/>
                  </a:cxn>
                  <a:cxn ang="0">
                    <a:pos x="T2" y="T3"/>
                  </a:cxn>
                  <a:cxn ang="0">
                    <a:pos x="T4" y="T5"/>
                  </a:cxn>
                  <a:cxn ang="0">
                    <a:pos x="T6" y="T7"/>
                  </a:cxn>
                </a:cxnLst>
                <a:rect l="0" t="0" r="r" b="b"/>
                <a:pathLst>
                  <a:path w="64" h="147">
                    <a:moveTo>
                      <a:pt x="0" y="74"/>
                    </a:moveTo>
                    <a:cubicBezTo>
                      <a:pt x="0" y="111"/>
                      <a:pt x="28" y="142"/>
                      <a:pt x="64" y="147"/>
                    </a:cubicBezTo>
                    <a:cubicBezTo>
                      <a:pt x="64" y="0"/>
                      <a:pt x="64" y="0"/>
                      <a:pt x="64" y="0"/>
                    </a:cubicBezTo>
                    <a:cubicBezTo>
                      <a:pt x="28" y="5"/>
                      <a:pt x="0" y="36"/>
                      <a:pt x="0" y="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5" name="Freeform 302">
                <a:extLst>
                  <a:ext uri="{FF2B5EF4-FFF2-40B4-BE49-F238E27FC236}">
                    <a16:creationId xmlns:a16="http://schemas.microsoft.com/office/drawing/2014/main" id="{F3448A73-AB4F-4C71-8A43-DF7E96A0FAC2}"/>
                  </a:ext>
                </a:extLst>
              </p:cNvPr>
              <p:cNvSpPr>
                <a:spLocks noEditPoints="1"/>
              </p:cNvSpPr>
              <p:nvPr/>
            </p:nvSpPr>
            <p:spPr bwMode="auto">
              <a:xfrm>
                <a:off x="6958" y="1122"/>
                <a:ext cx="340" cy="340"/>
              </a:xfrm>
              <a:custGeom>
                <a:avLst/>
                <a:gdLst>
                  <a:gd name="T0" fmla="*/ 0 w 512"/>
                  <a:gd name="T1" fmla="*/ 256 h 512"/>
                  <a:gd name="T2" fmla="*/ 512 w 512"/>
                  <a:gd name="T3" fmla="*/ 256 h 512"/>
                  <a:gd name="T4" fmla="*/ 245 w 512"/>
                  <a:gd name="T5" fmla="*/ 106 h 512"/>
                  <a:gd name="T6" fmla="*/ 266 w 512"/>
                  <a:gd name="T7" fmla="*/ 106 h 512"/>
                  <a:gd name="T8" fmla="*/ 256 w 512"/>
                  <a:gd name="T9" fmla="*/ 139 h 512"/>
                  <a:gd name="T10" fmla="*/ 245 w 512"/>
                  <a:gd name="T11" fmla="*/ 106 h 512"/>
                  <a:gd name="T12" fmla="*/ 157 w 512"/>
                  <a:gd name="T13" fmla="*/ 143 h 512"/>
                  <a:gd name="T14" fmla="*/ 158 w 512"/>
                  <a:gd name="T15" fmla="*/ 144 h 512"/>
                  <a:gd name="T16" fmla="*/ 173 w 512"/>
                  <a:gd name="T17" fmla="*/ 158 h 512"/>
                  <a:gd name="T18" fmla="*/ 173 w 512"/>
                  <a:gd name="T19" fmla="*/ 173 h 512"/>
                  <a:gd name="T20" fmla="*/ 158 w 512"/>
                  <a:gd name="T21" fmla="*/ 173 h 512"/>
                  <a:gd name="T22" fmla="*/ 147 w 512"/>
                  <a:gd name="T23" fmla="*/ 162 h 512"/>
                  <a:gd name="T24" fmla="*/ 143 w 512"/>
                  <a:gd name="T25" fmla="*/ 158 h 512"/>
                  <a:gd name="T26" fmla="*/ 142 w 512"/>
                  <a:gd name="T27" fmla="*/ 158 h 512"/>
                  <a:gd name="T28" fmla="*/ 139 w 512"/>
                  <a:gd name="T29" fmla="*/ 150 h 512"/>
                  <a:gd name="T30" fmla="*/ 128 w 512"/>
                  <a:gd name="T31" fmla="*/ 266 h 512"/>
                  <a:gd name="T32" fmla="*/ 95 w 512"/>
                  <a:gd name="T33" fmla="*/ 256 h 512"/>
                  <a:gd name="T34" fmla="*/ 128 w 512"/>
                  <a:gd name="T35" fmla="*/ 245 h 512"/>
                  <a:gd name="T36" fmla="*/ 128 w 512"/>
                  <a:gd name="T37" fmla="*/ 266 h 512"/>
                  <a:gd name="T38" fmla="*/ 162 w 512"/>
                  <a:gd name="T39" fmla="*/ 365 h 512"/>
                  <a:gd name="T40" fmla="*/ 159 w 512"/>
                  <a:gd name="T41" fmla="*/ 368 h 512"/>
                  <a:gd name="T42" fmla="*/ 158 w 512"/>
                  <a:gd name="T43" fmla="*/ 369 h 512"/>
                  <a:gd name="T44" fmla="*/ 147 w 512"/>
                  <a:gd name="T45" fmla="*/ 372 h 512"/>
                  <a:gd name="T46" fmla="*/ 142 w 512"/>
                  <a:gd name="T47" fmla="*/ 369 h 512"/>
                  <a:gd name="T48" fmla="*/ 142 w 512"/>
                  <a:gd name="T49" fmla="*/ 354 h 512"/>
                  <a:gd name="T50" fmla="*/ 143 w 512"/>
                  <a:gd name="T51" fmla="*/ 354 h 512"/>
                  <a:gd name="T52" fmla="*/ 143 w 512"/>
                  <a:gd name="T53" fmla="*/ 354 h 512"/>
                  <a:gd name="T54" fmla="*/ 147 w 512"/>
                  <a:gd name="T55" fmla="*/ 350 h 512"/>
                  <a:gd name="T56" fmla="*/ 173 w 512"/>
                  <a:gd name="T57" fmla="*/ 339 h 512"/>
                  <a:gd name="T58" fmla="*/ 173 w 512"/>
                  <a:gd name="T59" fmla="*/ 354 h 512"/>
                  <a:gd name="T60" fmla="*/ 256 w 512"/>
                  <a:gd name="T61" fmla="*/ 416 h 512"/>
                  <a:gd name="T62" fmla="*/ 245 w 512"/>
                  <a:gd name="T63" fmla="*/ 384 h 512"/>
                  <a:gd name="T64" fmla="*/ 266 w 512"/>
                  <a:gd name="T65" fmla="*/ 384 h 512"/>
                  <a:gd name="T66" fmla="*/ 256 w 512"/>
                  <a:gd name="T67" fmla="*/ 352 h 512"/>
                  <a:gd name="T68" fmla="*/ 256 w 512"/>
                  <a:gd name="T69" fmla="*/ 160 h 512"/>
                  <a:gd name="T70" fmla="*/ 256 w 512"/>
                  <a:gd name="T71" fmla="*/ 352 h 512"/>
                  <a:gd name="T72" fmla="*/ 362 w 512"/>
                  <a:gd name="T73" fmla="*/ 373 h 512"/>
                  <a:gd name="T74" fmla="*/ 343 w 512"/>
                  <a:gd name="T75" fmla="*/ 358 h 512"/>
                  <a:gd name="T76" fmla="*/ 339 w 512"/>
                  <a:gd name="T77" fmla="*/ 355 h 512"/>
                  <a:gd name="T78" fmla="*/ 339 w 512"/>
                  <a:gd name="T79" fmla="*/ 354 h 512"/>
                  <a:gd name="T80" fmla="*/ 338 w 512"/>
                  <a:gd name="T81" fmla="*/ 354 h 512"/>
                  <a:gd name="T82" fmla="*/ 338 w 512"/>
                  <a:gd name="T83" fmla="*/ 339 h 512"/>
                  <a:gd name="T84" fmla="*/ 354 w 512"/>
                  <a:gd name="T85" fmla="*/ 339 h 512"/>
                  <a:gd name="T86" fmla="*/ 358 w 512"/>
                  <a:gd name="T87" fmla="*/ 343 h 512"/>
                  <a:gd name="T88" fmla="*/ 372 w 512"/>
                  <a:gd name="T89" fmla="*/ 362 h 512"/>
                  <a:gd name="T90" fmla="*/ 369 w 512"/>
                  <a:gd name="T91" fmla="*/ 158 h 512"/>
                  <a:gd name="T92" fmla="*/ 356 w 512"/>
                  <a:gd name="T93" fmla="*/ 171 h 512"/>
                  <a:gd name="T94" fmla="*/ 354 w 512"/>
                  <a:gd name="T95" fmla="*/ 173 h 512"/>
                  <a:gd name="T96" fmla="*/ 345 w 512"/>
                  <a:gd name="T97" fmla="*/ 177 h 512"/>
                  <a:gd name="T98" fmla="*/ 338 w 512"/>
                  <a:gd name="T99" fmla="*/ 173 h 512"/>
                  <a:gd name="T100" fmla="*/ 336 w 512"/>
                  <a:gd name="T101" fmla="*/ 166 h 512"/>
                  <a:gd name="T102" fmla="*/ 338 w 512"/>
                  <a:gd name="T103" fmla="*/ 158 h 512"/>
                  <a:gd name="T104" fmla="*/ 339 w 512"/>
                  <a:gd name="T105" fmla="*/ 158 h 512"/>
                  <a:gd name="T106" fmla="*/ 343 w 512"/>
                  <a:gd name="T107" fmla="*/ 154 h 512"/>
                  <a:gd name="T108" fmla="*/ 354 w 512"/>
                  <a:gd name="T109" fmla="*/ 143 h 512"/>
                  <a:gd name="T110" fmla="*/ 372 w 512"/>
                  <a:gd name="T111" fmla="*/ 150 h 512"/>
                  <a:gd name="T112" fmla="*/ 405 w 512"/>
                  <a:gd name="T113" fmla="*/ 266 h 512"/>
                  <a:gd name="T114" fmla="*/ 373 w 512"/>
                  <a:gd name="T115" fmla="*/ 256 h 512"/>
                  <a:gd name="T116" fmla="*/ 405 w 512"/>
                  <a:gd name="T117" fmla="*/ 245 h 512"/>
                  <a:gd name="T118" fmla="*/ 405 w 512"/>
                  <a:gd name="T11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245" y="100"/>
                      <a:pt x="250" y="96"/>
                      <a:pt x="256" y="96"/>
                    </a:cubicBezTo>
                    <a:cubicBezTo>
                      <a:pt x="262" y="96"/>
                      <a:pt x="266" y="100"/>
                      <a:pt x="266" y="106"/>
                    </a:cubicBezTo>
                    <a:cubicBezTo>
                      <a:pt x="266" y="128"/>
                      <a:pt x="266" y="128"/>
                      <a:pt x="266" y="128"/>
                    </a:cubicBezTo>
                    <a:cubicBezTo>
                      <a:pt x="266" y="134"/>
                      <a:pt x="262" y="139"/>
                      <a:pt x="256" y="139"/>
                    </a:cubicBezTo>
                    <a:cubicBezTo>
                      <a:pt x="250" y="139"/>
                      <a:pt x="245" y="134"/>
                      <a:pt x="245" y="128"/>
                    </a:cubicBezTo>
                    <a:lnTo>
                      <a:pt x="245" y="106"/>
                    </a:lnTo>
                    <a:close/>
                    <a:moveTo>
                      <a:pt x="142" y="143"/>
                    </a:moveTo>
                    <a:cubicBezTo>
                      <a:pt x="148" y="137"/>
                      <a:pt x="153" y="139"/>
                      <a:pt x="157" y="143"/>
                    </a:cubicBezTo>
                    <a:cubicBezTo>
                      <a:pt x="157" y="143"/>
                      <a:pt x="157" y="143"/>
                      <a:pt x="157" y="143"/>
                    </a:cubicBezTo>
                    <a:cubicBezTo>
                      <a:pt x="158" y="143"/>
                      <a:pt x="158" y="143"/>
                      <a:pt x="158" y="144"/>
                    </a:cubicBezTo>
                    <a:cubicBezTo>
                      <a:pt x="160" y="145"/>
                      <a:pt x="161" y="146"/>
                      <a:pt x="162" y="147"/>
                    </a:cubicBezTo>
                    <a:cubicBezTo>
                      <a:pt x="173" y="158"/>
                      <a:pt x="173" y="158"/>
                      <a:pt x="173" y="158"/>
                    </a:cubicBezTo>
                    <a:cubicBezTo>
                      <a:pt x="175" y="160"/>
                      <a:pt x="176" y="163"/>
                      <a:pt x="176" y="166"/>
                    </a:cubicBezTo>
                    <a:cubicBezTo>
                      <a:pt x="176" y="168"/>
                      <a:pt x="175" y="171"/>
                      <a:pt x="173" y="173"/>
                    </a:cubicBezTo>
                    <a:cubicBezTo>
                      <a:pt x="171" y="175"/>
                      <a:pt x="168" y="176"/>
                      <a:pt x="165" y="176"/>
                    </a:cubicBezTo>
                    <a:cubicBezTo>
                      <a:pt x="163" y="176"/>
                      <a:pt x="160" y="176"/>
                      <a:pt x="158" y="173"/>
                    </a:cubicBezTo>
                    <a:cubicBezTo>
                      <a:pt x="147" y="162"/>
                      <a:pt x="147" y="162"/>
                      <a:pt x="147" y="162"/>
                    </a:cubicBezTo>
                    <a:cubicBezTo>
                      <a:pt x="147" y="162"/>
                      <a:pt x="147" y="162"/>
                      <a:pt x="147" y="162"/>
                    </a:cubicBezTo>
                    <a:cubicBezTo>
                      <a:pt x="143" y="158"/>
                      <a:pt x="143" y="158"/>
                      <a:pt x="143" y="158"/>
                    </a:cubicBezTo>
                    <a:cubicBezTo>
                      <a:pt x="143" y="158"/>
                      <a:pt x="143" y="158"/>
                      <a:pt x="143" y="158"/>
                    </a:cubicBezTo>
                    <a:cubicBezTo>
                      <a:pt x="143" y="158"/>
                      <a:pt x="143" y="158"/>
                      <a:pt x="143" y="158"/>
                    </a:cubicBezTo>
                    <a:cubicBezTo>
                      <a:pt x="142" y="158"/>
                      <a:pt x="142" y="158"/>
                      <a:pt x="142" y="158"/>
                    </a:cubicBezTo>
                    <a:cubicBezTo>
                      <a:pt x="142" y="158"/>
                      <a:pt x="142" y="158"/>
                      <a:pt x="142" y="158"/>
                    </a:cubicBezTo>
                    <a:cubicBezTo>
                      <a:pt x="140" y="156"/>
                      <a:pt x="139" y="153"/>
                      <a:pt x="139" y="150"/>
                    </a:cubicBezTo>
                    <a:cubicBezTo>
                      <a:pt x="139" y="147"/>
                      <a:pt x="140" y="145"/>
                      <a:pt x="142" y="143"/>
                    </a:cubicBezTo>
                    <a:close/>
                    <a:moveTo>
                      <a:pt x="128" y="266"/>
                    </a:moveTo>
                    <a:cubicBezTo>
                      <a:pt x="106" y="266"/>
                      <a:pt x="106" y="266"/>
                      <a:pt x="106" y="266"/>
                    </a:cubicBezTo>
                    <a:cubicBezTo>
                      <a:pt x="100" y="266"/>
                      <a:pt x="95" y="262"/>
                      <a:pt x="95" y="256"/>
                    </a:cubicBezTo>
                    <a:cubicBezTo>
                      <a:pt x="95" y="250"/>
                      <a:pt x="100" y="245"/>
                      <a:pt x="106" y="245"/>
                    </a:cubicBezTo>
                    <a:cubicBezTo>
                      <a:pt x="128" y="245"/>
                      <a:pt x="128" y="245"/>
                      <a:pt x="128" y="245"/>
                    </a:cubicBezTo>
                    <a:cubicBezTo>
                      <a:pt x="134" y="245"/>
                      <a:pt x="139" y="250"/>
                      <a:pt x="139" y="256"/>
                    </a:cubicBezTo>
                    <a:cubicBezTo>
                      <a:pt x="139" y="262"/>
                      <a:pt x="134" y="266"/>
                      <a:pt x="128" y="266"/>
                    </a:cubicBezTo>
                    <a:close/>
                    <a:moveTo>
                      <a:pt x="173" y="354"/>
                    </a:moveTo>
                    <a:cubicBezTo>
                      <a:pt x="162" y="365"/>
                      <a:pt x="162" y="365"/>
                      <a:pt x="162" y="365"/>
                    </a:cubicBezTo>
                    <a:cubicBezTo>
                      <a:pt x="161" y="366"/>
                      <a:pt x="161" y="366"/>
                      <a:pt x="160" y="367"/>
                    </a:cubicBezTo>
                    <a:cubicBezTo>
                      <a:pt x="160" y="367"/>
                      <a:pt x="159" y="368"/>
                      <a:pt x="159" y="368"/>
                    </a:cubicBezTo>
                    <a:cubicBezTo>
                      <a:pt x="158" y="368"/>
                      <a:pt x="158" y="369"/>
                      <a:pt x="158" y="369"/>
                    </a:cubicBezTo>
                    <a:cubicBezTo>
                      <a:pt x="158" y="369"/>
                      <a:pt x="158" y="369"/>
                      <a:pt x="158" y="369"/>
                    </a:cubicBezTo>
                    <a:cubicBezTo>
                      <a:pt x="155" y="371"/>
                      <a:pt x="152" y="373"/>
                      <a:pt x="149" y="373"/>
                    </a:cubicBezTo>
                    <a:cubicBezTo>
                      <a:pt x="148" y="373"/>
                      <a:pt x="148" y="373"/>
                      <a:pt x="147" y="372"/>
                    </a:cubicBezTo>
                    <a:cubicBezTo>
                      <a:pt x="145" y="372"/>
                      <a:pt x="144" y="371"/>
                      <a:pt x="142" y="369"/>
                    </a:cubicBezTo>
                    <a:cubicBezTo>
                      <a:pt x="142" y="369"/>
                      <a:pt x="142" y="369"/>
                      <a:pt x="142" y="369"/>
                    </a:cubicBezTo>
                    <a:cubicBezTo>
                      <a:pt x="140" y="367"/>
                      <a:pt x="139" y="365"/>
                      <a:pt x="139" y="362"/>
                    </a:cubicBezTo>
                    <a:cubicBezTo>
                      <a:pt x="139" y="359"/>
                      <a:pt x="140" y="356"/>
                      <a:pt x="142" y="354"/>
                    </a:cubicBezTo>
                    <a:cubicBezTo>
                      <a:pt x="142" y="354"/>
                      <a:pt x="142" y="354"/>
                      <a:pt x="142" y="354"/>
                    </a:cubicBezTo>
                    <a:cubicBezTo>
                      <a:pt x="143" y="354"/>
                      <a:pt x="143" y="354"/>
                      <a:pt x="143" y="354"/>
                    </a:cubicBezTo>
                    <a:cubicBezTo>
                      <a:pt x="143" y="354"/>
                      <a:pt x="143" y="354"/>
                      <a:pt x="143" y="354"/>
                    </a:cubicBezTo>
                    <a:cubicBezTo>
                      <a:pt x="143" y="354"/>
                      <a:pt x="143" y="354"/>
                      <a:pt x="143" y="354"/>
                    </a:cubicBezTo>
                    <a:cubicBezTo>
                      <a:pt x="147" y="350"/>
                      <a:pt x="147" y="350"/>
                      <a:pt x="147" y="350"/>
                    </a:cubicBezTo>
                    <a:cubicBezTo>
                      <a:pt x="147" y="350"/>
                      <a:pt x="147" y="350"/>
                      <a:pt x="147" y="350"/>
                    </a:cubicBezTo>
                    <a:cubicBezTo>
                      <a:pt x="158" y="339"/>
                      <a:pt x="158" y="339"/>
                      <a:pt x="158" y="339"/>
                    </a:cubicBezTo>
                    <a:cubicBezTo>
                      <a:pt x="162" y="335"/>
                      <a:pt x="169" y="335"/>
                      <a:pt x="173" y="339"/>
                    </a:cubicBezTo>
                    <a:cubicBezTo>
                      <a:pt x="175" y="341"/>
                      <a:pt x="176" y="344"/>
                      <a:pt x="176" y="346"/>
                    </a:cubicBezTo>
                    <a:cubicBezTo>
                      <a:pt x="176" y="349"/>
                      <a:pt x="175" y="352"/>
                      <a:pt x="173" y="354"/>
                    </a:cubicBezTo>
                    <a:close/>
                    <a:moveTo>
                      <a:pt x="266" y="406"/>
                    </a:moveTo>
                    <a:cubicBezTo>
                      <a:pt x="266" y="412"/>
                      <a:pt x="262" y="416"/>
                      <a:pt x="256" y="416"/>
                    </a:cubicBezTo>
                    <a:cubicBezTo>
                      <a:pt x="250" y="416"/>
                      <a:pt x="245" y="412"/>
                      <a:pt x="245" y="406"/>
                    </a:cubicBezTo>
                    <a:cubicBezTo>
                      <a:pt x="245" y="384"/>
                      <a:pt x="245" y="384"/>
                      <a:pt x="245" y="384"/>
                    </a:cubicBezTo>
                    <a:cubicBezTo>
                      <a:pt x="245" y="378"/>
                      <a:pt x="250" y="373"/>
                      <a:pt x="256" y="373"/>
                    </a:cubicBezTo>
                    <a:cubicBezTo>
                      <a:pt x="262" y="373"/>
                      <a:pt x="266" y="378"/>
                      <a:pt x="266" y="384"/>
                    </a:cubicBezTo>
                    <a:lnTo>
                      <a:pt x="266" y="406"/>
                    </a:lnTo>
                    <a:close/>
                    <a:moveTo>
                      <a:pt x="256" y="352"/>
                    </a:moveTo>
                    <a:cubicBezTo>
                      <a:pt x="203" y="352"/>
                      <a:pt x="160" y="309"/>
                      <a:pt x="160" y="256"/>
                    </a:cubicBezTo>
                    <a:cubicBezTo>
                      <a:pt x="160" y="203"/>
                      <a:pt x="203" y="160"/>
                      <a:pt x="256" y="160"/>
                    </a:cubicBezTo>
                    <a:cubicBezTo>
                      <a:pt x="309" y="160"/>
                      <a:pt x="352" y="203"/>
                      <a:pt x="352" y="256"/>
                    </a:cubicBezTo>
                    <a:cubicBezTo>
                      <a:pt x="352" y="309"/>
                      <a:pt x="309" y="352"/>
                      <a:pt x="256" y="352"/>
                    </a:cubicBezTo>
                    <a:close/>
                    <a:moveTo>
                      <a:pt x="369" y="369"/>
                    </a:moveTo>
                    <a:cubicBezTo>
                      <a:pt x="367" y="371"/>
                      <a:pt x="364" y="373"/>
                      <a:pt x="362" y="373"/>
                    </a:cubicBezTo>
                    <a:cubicBezTo>
                      <a:pt x="359" y="373"/>
                      <a:pt x="356" y="372"/>
                      <a:pt x="354" y="370"/>
                    </a:cubicBezTo>
                    <a:cubicBezTo>
                      <a:pt x="343" y="358"/>
                      <a:pt x="343" y="358"/>
                      <a:pt x="343" y="358"/>
                    </a:cubicBezTo>
                    <a:cubicBezTo>
                      <a:pt x="343" y="358"/>
                      <a:pt x="343" y="358"/>
                      <a:pt x="343" y="358"/>
                    </a:cubicBezTo>
                    <a:cubicBezTo>
                      <a:pt x="339" y="355"/>
                      <a:pt x="339" y="355"/>
                      <a:pt x="339" y="355"/>
                    </a:cubicBezTo>
                    <a:cubicBezTo>
                      <a:pt x="339" y="355"/>
                      <a:pt x="339" y="354"/>
                      <a:pt x="339" y="354"/>
                    </a:cubicBezTo>
                    <a:cubicBezTo>
                      <a:pt x="339" y="354"/>
                      <a:pt x="339" y="354"/>
                      <a:pt x="339" y="354"/>
                    </a:cubicBezTo>
                    <a:cubicBezTo>
                      <a:pt x="338" y="354"/>
                      <a:pt x="338" y="354"/>
                      <a:pt x="338" y="354"/>
                    </a:cubicBezTo>
                    <a:cubicBezTo>
                      <a:pt x="338" y="354"/>
                      <a:pt x="338" y="354"/>
                      <a:pt x="338" y="354"/>
                    </a:cubicBezTo>
                    <a:cubicBezTo>
                      <a:pt x="337" y="352"/>
                      <a:pt x="335" y="349"/>
                      <a:pt x="336" y="346"/>
                    </a:cubicBezTo>
                    <a:cubicBezTo>
                      <a:pt x="336" y="343"/>
                      <a:pt x="336" y="341"/>
                      <a:pt x="338" y="339"/>
                    </a:cubicBezTo>
                    <a:cubicBezTo>
                      <a:pt x="344" y="333"/>
                      <a:pt x="349" y="335"/>
                      <a:pt x="353" y="339"/>
                    </a:cubicBezTo>
                    <a:cubicBezTo>
                      <a:pt x="354" y="339"/>
                      <a:pt x="354" y="339"/>
                      <a:pt x="354" y="339"/>
                    </a:cubicBezTo>
                    <a:cubicBezTo>
                      <a:pt x="354" y="339"/>
                      <a:pt x="354" y="339"/>
                      <a:pt x="354" y="340"/>
                    </a:cubicBezTo>
                    <a:cubicBezTo>
                      <a:pt x="356" y="341"/>
                      <a:pt x="357" y="342"/>
                      <a:pt x="358" y="343"/>
                    </a:cubicBezTo>
                    <a:cubicBezTo>
                      <a:pt x="369" y="354"/>
                      <a:pt x="369" y="354"/>
                      <a:pt x="369" y="354"/>
                    </a:cubicBezTo>
                    <a:cubicBezTo>
                      <a:pt x="371" y="356"/>
                      <a:pt x="372" y="359"/>
                      <a:pt x="372" y="362"/>
                    </a:cubicBezTo>
                    <a:cubicBezTo>
                      <a:pt x="372" y="365"/>
                      <a:pt x="371" y="367"/>
                      <a:pt x="369" y="369"/>
                    </a:cubicBezTo>
                    <a:close/>
                    <a:moveTo>
                      <a:pt x="369" y="158"/>
                    </a:moveTo>
                    <a:cubicBezTo>
                      <a:pt x="358" y="169"/>
                      <a:pt x="358" y="169"/>
                      <a:pt x="358" y="169"/>
                    </a:cubicBezTo>
                    <a:cubicBezTo>
                      <a:pt x="357" y="170"/>
                      <a:pt x="357" y="170"/>
                      <a:pt x="356" y="171"/>
                    </a:cubicBezTo>
                    <a:cubicBezTo>
                      <a:pt x="356" y="171"/>
                      <a:pt x="355" y="171"/>
                      <a:pt x="355" y="172"/>
                    </a:cubicBezTo>
                    <a:cubicBezTo>
                      <a:pt x="355" y="172"/>
                      <a:pt x="354" y="172"/>
                      <a:pt x="354" y="173"/>
                    </a:cubicBezTo>
                    <a:cubicBezTo>
                      <a:pt x="354" y="173"/>
                      <a:pt x="354" y="173"/>
                      <a:pt x="354" y="173"/>
                    </a:cubicBezTo>
                    <a:cubicBezTo>
                      <a:pt x="351" y="175"/>
                      <a:pt x="348" y="177"/>
                      <a:pt x="345" y="177"/>
                    </a:cubicBezTo>
                    <a:cubicBezTo>
                      <a:pt x="345" y="177"/>
                      <a:pt x="344" y="176"/>
                      <a:pt x="343" y="176"/>
                    </a:cubicBezTo>
                    <a:cubicBezTo>
                      <a:pt x="342" y="176"/>
                      <a:pt x="340" y="175"/>
                      <a:pt x="338" y="173"/>
                    </a:cubicBezTo>
                    <a:cubicBezTo>
                      <a:pt x="338" y="173"/>
                      <a:pt x="338" y="173"/>
                      <a:pt x="338" y="173"/>
                    </a:cubicBezTo>
                    <a:cubicBezTo>
                      <a:pt x="336" y="171"/>
                      <a:pt x="336" y="169"/>
                      <a:pt x="336" y="166"/>
                    </a:cubicBezTo>
                    <a:cubicBezTo>
                      <a:pt x="335" y="163"/>
                      <a:pt x="337" y="160"/>
                      <a:pt x="338" y="158"/>
                    </a:cubicBezTo>
                    <a:cubicBezTo>
                      <a:pt x="338" y="158"/>
                      <a:pt x="338" y="158"/>
                      <a:pt x="338" y="158"/>
                    </a:cubicBezTo>
                    <a:cubicBezTo>
                      <a:pt x="339" y="158"/>
                      <a:pt x="339" y="158"/>
                      <a:pt x="339" y="158"/>
                    </a:cubicBezTo>
                    <a:cubicBezTo>
                      <a:pt x="339" y="158"/>
                      <a:pt x="339" y="158"/>
                      <a:pt x="339" y="158"/>
                    </a:cubicBezTo>
                    <a:cubicBezTo>
                      <a:pt x="339" y="158"/>
                      <a:pt x="339" y="158"/>
                      <a:pt x="339" y="158"/>
                    </a:cubicBezTo>
                    <a:cubicBezTo>
                      <a:pt x="343" y="154"/>
                      <a:pt x="343" y="154"/>
                      <a:pt x="343" y="154"/>
                    </a:cubicBezTo>
                    <a:cubicBezTo>
                      <a:pt x="343" y="154"/>
                      <a:pt x="343" y="154"/>
                      <a:pt x="343" y="154"/>
                    </a:cubicBezTo>
                    <a:cubicBezTo>
                      <a:pt x="354" y="143"/>
                      <a:pt x="354" y="143"/>
                      <a:pt x="354" y="143"/>
                    </a:cubicBezTo>
                    <a:cubicBezTo>
                      <a:pt x="358" y="139"/>
                      <a:pt x="365" y="139"/>
                      <a:pt x="369" y="143"/>
                    </a:cubicBezTo>
                    <a:cubicBezTo>
                      <a:pt x="371" y="145"/>
                      <a:pt x="372" y="147"/>
                      <a:pt x="372" y="150"/>
                    </a:cubicBezTo>
                    <a:cubicBezTo>
                      <a:pt x="372" y="153"/>
                      <a:pt x="371" y="156"/>
                      <a:pt x="369" y="158"/>
                    </a:cubicBezTo>
                    <a:close/>
                    <a:moveTo>
                      <a:pt x="405" y="266"/>
                    </a:moveTo>
                    <a:cubicBezTo>
                      <a:pt x="383" y="266"/>
                      <a:pt x="383" y="266"/>
                      <a:pt x="383" y="266"/>
                    </a:cubicBezTo>
                    <a:cubicBezTo>
                      <a:pt x="377" y="266"/>
                      <a:pt x="373" y="262"/>
                      <a:pt x="373" y="256"/>
                    </a:cubicBezTo>
                    <a:cubicBezTo>
                      <a:pt x="373" y="250"/>
                      <a:pt x="377" y="245"/>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10" name="Group 9">
            <a:extLst>
              <a:ext uri="{FF2B5EF4-FFF2-40B4-BE49-F238E27FC236}">
                <a16:creationId xmlns:a16="http://schemas.microsoft.com/office/drawing/2014/main" id="{010D0AD7-A1D3-D82F-1A69-2CE69DD2BF86}"/>
              </a:ext>
            </a:extLst>
          </p:cNvPr>
          <p:cNvGrpSpPr/>
          <p:nvPr/>
        </p:nvGrpSpPr>
        <p:grpSpPr>
          <a:xfrm>
            <a:off x="8638491" y="2715585"/>
            <a:ext cx="3043934" cy="316178"/>
            <a:chOff x="8638491" y="2715585"/>
            <a:chExt cx="3043934" cy="316178"/>
          </a:xfrm>
        </p:grpSpPr>
        <p:sp>
          <p:nvSpPr>
            <p:cNvPr id="548" name="Rectangle 547">
              <a:extLst>
                <a:ext uri="{FF2B5EF4-FFF2-40B4-BE49-F238E27FC236}">
                  <a16:creationId xmlns:a16="http://schemas.microsoft.com/office/drawing/2014/main" id="{28F54DBE-970D-4F64-A28C-E8C6A97C5B09}"/>
                </a:ext>
              </a:extLst>
            </p:cNvPr>
            <p:cNvSpPr/>
            <p:nvPr/>
          </p:nvSpPr>
          <p:spPr bwMode="gray">
            <a:xfrm>
              <a:off x="8638491" y="2776461"/>
              <a:ext cx="2709081" cy="217128"/>
            </a:xfrm>
            <a:prstGeom prst="rect">
              <a:avLst/>
            </a:prstGeom>
            <a:solidFill>
              <a:schemeClr val="bg1"/>
            </a:solidFill>
            <a:ln w="19050" algn="ctr">
              <a:noFill/>
              <a:prstDash val="dash"/>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rPr>
                <a:t>Energy Efficiency &amp; Energy Audit &amp; Power Portfolio Management</a:t>
              </a:r>
            </a:p>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endParaRPr>
            </a:p>
          </p:txBody>
        </p:sp>
        <p:grpSp>
          <p:nvGrpSpPr>
            <p:cNvPr id="581" name="Group 437">
              <a:extLst>
                <a:ext uri="{FF2B5EF4-FFF2-40B4-BE49-F238E27FC236}">
                  <a16:creationId xmlns:a16="http://schemas.microsoft.com/office/drawing/2014/main" id="{CC2E55A5-E836-4C11-BDF5-9CFCED8977D1}"/>
                </a:ext>
              </a:extLst>
            </p:cNvPr>
            <p:cNvGrpSpPr>
              <a:grpSpLocks noChangeAspect="1"/>
            </p:cNvGrpSpPr>
            <p:nvPr/>
          </p:nvGrpSpPr>
          <p:grpSpPr bwMode="auto">
            <a:xfrm>
              <a:off x="11366248" y="2715585"/>
              <a:ext cx="316177" cy="316178"/>
              <a:chOff x="3130" y="1561"/>
              <a:chExt cx="340" cy="340"/>
            </a:xfrm>
            <a:solidFill>
              <a:schemeClr val="accent5"/>
            </a:solidFill>
          </p:grpSpPr>
          <p:sp>
            <p:nvSpPr>
              <p:cNvPr id="582" name="Freeform 438">
                <a:extLst>
                  <a:ext uri="{FF2B5EF4-FFF2-40B4-BE49-F238E27FC236}">
                    <a16:creationId xmlns:a16="http://schemas.microsoft.com/office/drawing/2014/main" id="{F267CFA8-1C39-47B4-ADE3-BC7BF3A331F3}"/>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3" name="Freeform 439">
                <a:extLst>
                  <a:ext uri="{FF2B5EF4-FFF2-40B4-BE49-F238E27FC236}">
                    <a16:creationId xmlns:a16="http://schemas.microsoft.com/office/drawing/2014/main" id="{E8707ABD-0FC1-4AF0-A07C-1AC8D666305A}"/>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4" name="Freeform 440">
                <a:extLst>
                  <a:ext uri="{FF2B5EF4-FFF2-40B4-BE49-F238E27FC236}">
                    <a16:creationId xmlns:a16="http://schemas.microsoft.com/office/drawing/2014/main" id="{77446FA7-5F93-4968-82A3-51C550652531}"/>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5" name="Freeform 441">
                <a:extLst>
                  <a:ext uri="{FF2B5EF4-FFF2-40B4-BE49-F238E27FC236}">
                    <a16:creationId xmlns:a16="http://schemas.microsoft.com/office/drawing/2014/main" id="{5879B87C-B604-45BB-A368-C536D7628F22}"/>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6" name="Freeform 442">
                <a:extLst>
                  <a:ext uri="{FF2B5EF4-FFF2-40B4-BE49-F238E27FC236}">
                    <a16:creationId xmlns:a16="http://schemas.microsoft.com/office/drawing/2014/main" id="{97C4E47C-8599-4A6B-9F07-51296801DEE9}"/>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7" name="Freeform 443">
                <a:extLst>
                  <a:ext uri="{FF2B5EF4-FFF2-40B4-BE49-F238E27FC236}">
                    <a16:creationId xmlns:a16="http://schemas.microsoft.com/office/drawing/2014/main" id="{86A9F97B-26F3-4E14-AC6E-524B0CB78CAB}"/>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8" name="Freeform 444">
                <a:extLst>
                  <a:ext uri="{FF2B5EF4-FFF2-40B4-BE49-F238E27FC236}">
                    <a16:creationId xmlns:a16="http://schemas.microsoft.com/office/drawing/2014/main" id="{F221BAF7-5C3D-466B-83CD-D3E92ED5F541}"/>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9" name="Freeform 445">
                <a:extLst>
                  <a:ext uri="{FF2B5EF4-FFF2-40B4-BE49-F238E27FC236}">
                    <a16:creationId xmlns:a16="http://schemas.microsoft.com/office/drawing/2014/main" id="{81F4492F-7F5D-4D35-B0F6-BB742EBBC739}"/>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90" name="Freeform 446">
                <a:extLst>
                  <a:ext uri="{FF2B5EF4-FFF2-40B4-BE49-F238E27FC236}">
                    <a16:creationId xmlns:a16="http://schemas.microsoft.com/office/drawing/2014/main" id="{C2008014-D5AF-4EA6-93ED-912D30B5496F}"/>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12" name="Group 11">
            <a:extLst>
              <a:ext uri="{FF2B5EF4-FFF2-40B4-BE49-F238E27FC236}">
                <a16:creationId xmlns:a16="http://schemas.microsoft.com/office/drawing/2014/main" id="{249FE430-825D-2CD4-AE59-BDF37700F933}"/>
              </a:ext>
            </a:extLst>
          </p:cNvPr>
          <p:cNvGrpSpPr/>
          <p:nvPr/>
        </p:nvGrpSpPr>
        <p:grpSpPr>
          <a:xfrm>
            <a:off x="8638491" y="3211965"/>
            <a:ext cx="3044503" cy="319938"/>
            <a:chOff x="8638491" y="3211965"/>
            <a:chExt cx="3044503" cy="319938"/>
          </a:xfrm>
        </p:grpSpPr>
        <p:sp>
          <p:nvSpPr>
            <p:cNvPr id="591" name="Rectangle 590">
              <a:extLst>
                <a:ext uri="{FF2B5EF4-FFF2-40B4-BE49-F238E27FC236}">
                  <a16:creationId xmlns:a16="http://schemas.microsoft.com/office/drawing/2014/main" id="{DAEDEF29-19B3-4E30-A65C-48862E1E72DE}"/>
                </a:ext>
              </a:extLst>
            </p:cNvPr>
            <p:cNvSpPr/>
            <p:nvPr/>
          </p:nvSpPr>
          <p:spPr bwMode="gray">
            <a:xfrm>
              <a:off x="8638491" y="3270727"/>
              <a:ext cx="2712411" cy="211155"/>
            </a:xfrm>
            <a:prstGeom prst="rect">
              <a:avLst/>
            </a:prstGeom>
            <a:solidFill>
              <a:schemeClr val="bg1"/>
            </a:solidFill>
            <a:ln w="19050" algn="ctr">
              <a:noFill/>
              <a:prstDash val="dash"/>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rPr>
                <a:t>Project Management Consultancy &amp; Capacity Building</a:t>
              </a:r>
              <a:r>
                <a:rPr kumimoji="0" lang="en-US" sz="1100" b="0" i="0" u="none" strike="noStrike" kern="1200" cap="none" spc="0" normalizeH="0" baseline="30000" noProof="0">
                  <a:ln>
                    <a:noFill/>
                  </a:ln>
                  <a:solidFill>
                    <a:prstClr val="black"/>
                  </a:solidFill>
                  <a:effectLst/>
                  <a:uLnTx/>
                  <a:uFillTx/>
                  <a:latin typeface="Aptos" panose="020B0004020202020204" pitchFamily="34" charset="0"/>
                  <a:ea typeface="+mn-ea"/>
                  <a:cs typeface="+mn-cs"/>
                </a:rPr>
                <a:t> </a:t>
              </a:r>
              <a:endPar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endParaRPr>
            </a:p>
          </p:txBody>
        </p:sp>
        <p:sp>
          <p:nvSpPr>
            <p:cNvPr id="593" name="Freeform 393">
              <a:extLst>
                <a:ext uri="{FF2B5EF4-FFF2-40B4-BE49-F238E27FC236}">
                  <a16:creationId xmlns:a16="http://schemas.microsoft.com/office/drawing/2014/main" id="{DF2FE08B-AE7C-4CE7-825F-3E4E5B84430D}"/>
                </a:ext>
              </a:extLst>
            </p:cNvPr>
            <p:cNvSpPr>
              <a:spLocks noChangeAspect="1" noEditPoints="1"/>
            </p:cNvSpPr>
            <p:nvPr/>
          </p:nvSpPr>
          <p:spPr bwMode="auto">
            <a:xfrm>
              <a:off x="11363994" y="3211965"/>
              <a:ext cx="319000" cy="319938"/>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3" name="Group 12">
            <a:extLst>
              <a:ext uri="{FF2B5EF4-FFF2-40B4-BE49-F238E27FC236}">
                <a16:creationId xmlns:a16="http://schemas.microsoft.com/office/drawing/2014/main" id="{BB57BD93-EBFE-0C96-9D3B-43E7DA2740F2}"/>
              </a:ext>
            </a:extLst>
          </p:cNvPr>
          <p:cNvGrpSpPr/>
          <p:nvPr/>
        </p:nvGrpSpPr>
        <p:grpSpPr>
          <a:xfrm>
            <a:off x="8638490" y="3700486"/>
            <a:ext cx="3044504" cy="319000"/>
            <a:chOff x="8638490" y="3700486"/>
            <a:chExt cx="3044504" cy="319000"/>
          </a:xfrm>
        </p:grpSpPr>
        <p:sp>
          <p:nvSpPr>
            <p:cNvPr id="594" name="Rectangle 593">
              <a:extLst>
                <a:ext uri="{FF2B5EF4-FFF2-40B4-BE49-F238E27FC236}">
                  <a16:creationId xmlns:a16="http://schemas.microsoft.com/office/drawing/2014/main" id="{9D4B46B3-CE09-4DDF-8994-928755F879C4}"/>
                </a:ext>
              </a:extLst>
            </p:cNvPr>
            <p:cNvSpPr/>
            <p:nvPr/>
          </p:nvSpPr>
          <p:spPr bwMode="gray">
            <a:xfrm>
              <a:off x="8638490" y="3723535"/>
              <a:ext cx="2265587" cy="253222"/>
            </a:xfrm>
            <a:prstGeom prst="rect">
              <a:avLst/>
            </a:prstGeom>
            <a:solidFill>
              <a:schemeClr val="bg1"/>
            </a:solidFill>
            <a:ln w="19050" algn="ctr">
              <a:noFill/>
              <a:prstDash val="dash"/>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rPr>
                <a:t>Regulatory &amp; Policy</a:t>
              </a:r>
            </a:p>
            <a:p>
              <a:pPr marL="0" marR="0" lvl="0" indent="0" algn="l" defTabSz="914400" rtl="0" eaLnBrk="1" fontAlgn="auto" latinLnBrk="0" hangingPunct="1">
                <a:lnSpc>
                  <a:spcPct val="100000"/>
                </a:lnSpc>
                <a:spcBef>
                  <a:spcPts val="600"/>
                </a:spcBef>
                <a:spcAft>
                  <a:spcPts val="600"/>
                </a:spcAft>
                <a:buClrTx/>
                <a:buSzTx/>
                <a:buFont typeface="Wingdings 2" pitchFamily="18" charset="2"/>
                <a:buNone/>
                <a:tabLst/>
                <a:defRPr/>
              </a:pPr>
              <a:endPar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endParaRPr>
            </a:p>
          </p:txBody>
        </p:sp>
        <p:grpSp>
          <p:nvGrpSpPr>
            <p:cNvPr id="596" name="Group 531">
              <a:extLst>
                <a:ext uri="{FF2B5EF4-FFF2-40B4-BE49-F238E27FC236}">
                  <a16:creationId xmlns:a16="http://schemas.microsoft.com/office/drawing/2014/main" id="{CCB772F0-C98C-4D35-880C-176CDC976772}"/>
                </a:ext>
              </a:extLst>
            </p:cNvPr>
            <p:cNvGrpSpPr>
              <a:grpSpLocks noChangeAspect="1"/>
            </p:cNvGrpSpPr>
            <p:nvPr/>
          </p:nvGrpSpPr>
          <p:grpSpPr bwMode="auto">
            <a:xfrm>
              <a:off x="11363994" y="3700486"/>
              <a:ext cx="319000" cy="319000"/>
              <a:chOff x="3061" y="1953"/>
              <a:chExt cx="340" cy="340"/>
            </a:xfrm>
            <a:solidFill>
              <a:schemeClr val="accent5"/>
            </a:solidFill>
          </p:grpSpPr>
          <p:sp>
            <p:nvSpPr>
              <p:cNvPr id="597" name="Freeform 532">
                <a:extLst>
                  <a:ext uri="{FF2B5EF4-FFF2-40B4-BE49-F238E27FC236}">
                    <a16:creationId xmlns:a16="http://schemas.microsoft.com/office/drawing/2014/main" id="{7D18F91C-D3D9-43D7-9B59-834819ACCEA4}"/>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98" name="Freeform 533">
                <a:extLst>
                  <a:ext uri="{FF2B5EF4-FFF2-40B4-BE49-F238E27FC236}">
                    <a16:creationId xmlns:a16="http://schemas.microsoft.com/office/drawing/2014/main" id="{A61BF130-2FAE-4079-891A-849EF3185414}"/>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5" name="Group 4">
            <a:extLst>
              <a:ext uri="{FF2B5EF4-FFF2-40B4-BE49-F238E27FC236}">
                <a16:creationId xmlns:a16="http://schemas.microsoft.com/office/drawing/2014/main" id="{5394C17C-03E8-1275-2B70-F852B3127DD1}"/>
              </a:ext>
            </a:extLst>
          </p:cNvPr>
          <p:cNvGrpSpPr/>
          <p:nvPr/>
        </p:nvGrpSpPr>
        <p:grpSpPr>
          <a:xfrm>
            <a:off x="8638491" y="4077588"/>
            <a:ext cx="3044054" cy="318102"/>
            <a:chOff x="8638491" y="4147161"/>
            <a:chExt cx="3044054" cy="318102"/>
          </a:xfrm>
        </p:grpSpPr>
        <p:sp>
          <p:nvSpPr>
            <p:cNvPr id="599" name="Rectangle 598">
              <a:extLst>
                <a:ext uri="{FF2B5EF4-FFF2-40B4-BE49-F238E27FC236}">
                  <a16:creationId xmlns:a16="http://schemas.microsoft.com/office/drawing/2014/main" id="{998A17B7-83A7-407B-80A2-3D4202CD727E}"/>
                </a:ext>
              </a:extLst>
            </p:cNvPr>
            <p:cNvSpPr/>
            <p:nvPr/>
          </p:nvSpPr>
          <p:spPr bwMode="gray">
            <a:xfrm>
              <a:off x="8638491" y="4189677"/>
              <a:ext cx="2678986" cy="196917"/>
            </a:xfrm>
            <a:prstGeom prst="rect">
              <a:avLst/>
            </a:prstGeom>
            <a:solidFill>
              <a:schemeClr val="bg1"/>
            </a:solidFill>
            <a:ln w="19050" algn="ctr">
              <a:noFill/>
              <a:prstDash val="dash"/>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rPr>
                <a:t>Power Transmission and Distribution infra based services</a:t>
              </a:r>
            </a:p>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endParaRPr>
            </a:p>
          </p:txBody>
        </p:sp>
        <p:sp>
          <p:nvSpPr>
            <p:cNvPr id="601" name="Freeform 651">
              <a:extLst>
                <a:ext uri="{FF2B5EF4-FFF2-40B4-BE49-F238E27FC236}">
                  <a16:creationId xmlns:a16="http://schemas.microsoft.com/office/drawing/2014/main" id="{B4B33C52-DA58-4FDB-AD8B-5C168269B325}"/>
                </a:ext>
              </a:extLst>
            </p:cNvPr>
            <p:cNvSpPr>
              <a:spLocks noChangeAspect="1" noEditPoints="1"/>
            </p:cNvSpPr>
            <p:nvPr/>
          </p:nvSpPr>
          <p:spPr bwMode="auto">
            <a:xfrm>
              <a:off x="11364443" y="4147161"/>
              <a:ext cx="318102" cy="318102"/>
            </a:xfrm>
            <a:custGeom>
              <a:avLst/>
              <a:gdLst>
                <a:gd name="T0" fmla="*/ 341 w 512"/>
                <a:gd name="T1" fmla="*/ 219 h 512"/>
                <a:gd name="T2" fmla="*/ 170 w 512"/>
                <a:gd name="T3" fmla="*/ 277 h 512"/>
                <a:gd name="T4" fmla="*/ 256 w 512"/>
                <a:gd name="T5" fmla="*/ 250 h 512"/>
                <a:gd name="T6" fmla="*/ 170 w 512"/>
                <a:gd name="T7" fmla="*/ 341 h 512"/>
                <a:gd name="T8" fmla="*/ 184 w 512"/>
                <a:gd name="T9" fmla="*/ 333 h 512"/>
                <a:gd name="T10" fmla="*/ 200 w 512"/>
                <a:gd name="T11" fmla="*/ 334 h 512"/>
                <a:gd name="T12" fmla="*/ 248 w 512"/>
                <a:gd name="T13" fmla="*/ 333 h 512"/>
                <a:gd name="T14" fmla="*/ 264 w 512"/>
                <a:gd name="T15" fmla="*/ 334 h 512"/>
                <a:gd name="T16" fmla="*/ 312 w 512"/>
                <a:gd name="T17" fmla="*/ 333 h 512"/>
                <a:gd name="T18" fmla="*/ 328 w 512"/>
                <a:gd name="T19" fmla="*/ 334 h 512"/>
                <a:gd name="T20" fmla="*/ 341 w 512"/>
                <a:gd name="T21" fmla="*/ 341 h 512"/>
                <a:gd name="T22" fmla="*/ 341 w 512"/>
                <a:gd name="T23" fmla="*/ 298 h 512"/>
                <a:gd name="T24" fmla="*/ 170 w 512"/>
                <a:gd name="T25" fmla="*/ 320 h 512"/>
                <a:gd name="T26" fmla="*/ 256 w 512"/>
                <a:gd name="T27" fmla="*/ 512 h 512"/>
                <a:gd name="T28" fmla="*/ 256 w 512"/>
                <a:gd name="T29" fmla="*/ 0 h 512"/>
                <a:gd name="T30" fmla="*/ 362 w 512"/>
                <a:gd name="T31" fmla="*/ 277 h 512"/>
                <a:gd name="T32" fmla="*/ 401 w 512"/>
                <a:gd name="T33" fmla="*/ 242 h 512"/>
                <a:gd name="T34" fmla="*/ 415 w 512"/>
                <a:gd name="T35" fmla="*/ 236 h 512"/>
                <a:gd name="T36" fmla="*/ 362 w 512"/>
                <a:gd name="T37" fmla="*/ 188 h 512"/>
                <a:gd name="T38" fmla="*/ 352 w 512"/>
                <a:gd name="T39" fmla="*/ 160 h 512"/>
                <a:gd name="T40" fmla="*/ 341 w 512"/>
                <a:gd name="T41" fmla="*/ 188 h 512"/>
                <a:gd name="T42" fmla="*/ 170 w 512"/>
                <a:gd name="T43" fmla="*/ 188 h 512"/>
                <a:gd name="T44" fmla="*/ 160 w 512"/>
                <a:gd name="T45" fmla="*/ 160 h 512"/>
                <a:gd name="T46" fmla="*/ 149 w 512"/>
                <a:gd name="T47" fmla="*/ 188 h 512"/>
                <a:gd name="T48" fmla="*/ 96 w 512"/>
                <a:gd name="T49" fmla="*/ 236 h 512"/>
                <a:gd name="T50" fmla="*/ 110 w 512"/>
                <a:gd name="T51" fmla="*/ 242 h 512"/>
                <a:gd name="T52" fmla="*/ 149 w 512"/>
                <a:gd name="T53" fmla="*/ 277 h 512"/>
                <a:gd name="T54" fmla="*/ 96 w 512"/>
                <a:gd name="T55" fmla="*/ 288 h 512"/>
                <a:gd name="T56" fmla="*/ 149 w 512"/>
                <a:gd name="T57" fmla="*/ 298 h 512"/>
                <a:gd name="T58" fmla="*/ 149 w 512"/>
                <a:gd name="T59" fmla="*/ 341 h 512"/>
                <a:gd name="T60" fmla="*/ 136 w 512"/>
                <a:gd name="T61" fmla="*/ 334 h 512"/>
                <a:gd name="T62" fmla="*/ 120 w 512"/>
                <a:gd name="T63" fmla="*/ 333 h 512"/>
                <a:gd name="T64" fmla="*/ 96 w 512"/>
                <a:gd name="T65" fmla="*/ 358 h 512"/>
                <a:gd name="T66" fmla="*/ 127 w 512"/>
                <a:gd name="T67" fmla="*/ 355 h 512"/>
                <a:gd name="T68" fmla="*/ 191 w 512"/>
                <a:gd name="T69" fmla="*/ 356 h 512"/>
                <a:gd name="T70" fmla="*/ 255 w 512"/>
                <a:gd name="T71" fmla="*/ 356 h 512"/>
                <a:gd name="T72" fmla="*/ 319 w 512"/>
                <a:gd name="T73" fmla="*/ 356 h 512"/>
                <a:gd name="T74" fmla="*/ 351 w 512"/>
                <a:gd name="T75" fmla="*/ 368 h 512"/>
                <a:gd name="T76" fmla="*/ 402 w 512"/>
                <a:gd name="T77" fmla="*/ 366 h 512"/>
                <a:gd name="T78" fmla="*/ 408 w 512"/>
                <a:gd name="T79" fmla="*/ 345 h 512"/>
                <a:gd name="T80" fmla="*/ 384 w 512"/>
                <a:gd name="T81" fmla="*/ 330 h 512"/>
                <a:gd name="T82" fmla="*/ 362 w 512"/>
                <a:gd name="T83" fmla="*/ 343 h 512"/>
                <a:gd name="T84" fmla="*/ 362 w 512"/>
                <a:gd name="T85" fmla="*/ 330 h 512"/>
                <a:gd name="T86" fmla="*/ 405 w 512"/>
                <a:gd name="T87" fmla="*/ 298 h 512"/>
                <a:gd name="T88" fmla="*/ 405 w 512"/>
                <a:gd name="T8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50"/>
                  </a:moveTo>
                  <a:cubicBezTo>
                    <a:pt x="287" y="250"/>
                    <a:pt x="318" y="239"/>
                    <a:pt x="341" y="219"/>
                  </a:cubicBezTo>
                  <a:cubicBezTo>
                    <a:pt x="341" y="277"/>
                    <a:pt x="341" y="277"/>
                    <a:pt x="341" y="277"/>
                  </a:cubicBezTo>
                  <a:cubicBezTo>
                    <a:pt x="170" y="277"/>
                    <a:pt x="170" y="277"/>
                    <a:pt x="170" y="277"/>
                  </a:cubicBezTo>
                  <a:cubicBezTo>
                    <a:pt x="170" y="219"/>
                    <a:pt x="170" y="219"/>
                    <a:pt x="170" y="219"/>
                  </a:cubicBezTo>
                  <a:cubicBezTo>
                    <a:pt x="193" y="239"/>
                    <a:pt x="223" y="250"/>
                    <a:pt x="256" y="250"/>
                  </a:cubicBezTo>
                  <a:close/>
                  <a:moveTo>
                    <a:pt x="170" y="320"/>
                  </a:moveTo>
                  <a:cubicBezTo>
                    <a:pt x="170" y="341"/>
                    <a:pt x="170" y="341"/>
                    <a:pt x="170" y="341"/>
                  </a:cubicBezTo>
                  <a:cubicBezTo>
                    <a:pt x="170" y="343"/>
                    <a:pt x="170" y="343"/>
                    <a:pt x="170" y="343"/>
                  </a:cubicBezTo>
                  <a:cubicBezTo>
                    <a:pt x="175" y="341"/>
                    <a:pt x="179" y="338"/>
                    <a:pt x="184" y="333"/>
                  </a:cubicBezTo>
                  <a:cubicBezTo>
                    <a:pt x="186" y="331"/>
                    <a:pt x="189" y="330"/>
                    <a:pt x="192" y="330"/>
                  </a:cubicBezTo>
                  <a:cubicBezTo>
                    <a:pt x="195" y="331"/>
                    <a:pt x="198" y="332"/>
                    <a:pt x="200" y="334"/>
                  </a:cubicBezTo>
                  <a:cubicBezTo>
                    <a:pt x="200" y="334"/>
                    <a:pt x="209" y="346"/>
                    <a:pt x="222" y="346"/>
                  </a:cubicBezTo>
                  <a:cubicBezTo>
                    <a:pt x="230" y="347"/>
                    <a:pt x="239" y="342"/>
                    <a:pt x="248" y="333"/>
                  </a:cubicBezTo>
                  <a:cubicBezTo>
                    <a:pt x="250" y="331"/>
                    <a:pt x="253" y="330"/>
                    <a:pt x="256" y="330"/>
                  </a:cubicBezTo>
                  <a:cubicBezTo>
                    <a:pt x="259" y="331"/>
                    <a:pt x="262" y="332"/>
                    <a:pt x="264" y="334"/>
                  </a:cubicBezTo>
                  <a:cubicBezTo>
                    <a:pt x="264" y="334"/>
                    <a:pt x="273" y="346"/>
                    <a:pt x="286" y="346"/>
                  </a:cubicBezTo>
                  <a:cubicBezTo>
                    <a:pt x="294" y="347"/>
                    <a:pt x="303" y="342"/>
                    <a:pt x="312" y="333"/>
                  </a:cubicBezTo>
                  <a:cubicBezTo>
                    <a:pt x="314" y="331"/>
                    <a:pt x="317" y="330"/>
                    <a:pt x="320" y="330"/>
                  </a:cubicBezTo>
                  <a:cubicBezTo>
                    <a:pt x="323" y="331"/>
                    <a:pt x="326" y="332"/>
                    <a:pt x="328" y="334"/>
                  </a:cubicBezTo>
                  <a:cubicBezTo>
                    <a:pt x="328" y="334"/>
                    <a:pt x="333" y="341"/>
                    <a:pt x="341" y="344"/>
                  </a:cubicBezTo>
                  <a:cubicBezTo>
                    <a:pt x="341" y="341"/>
                    <a:pt x="341" y="341"/>
                    <a:pt x="341" y="341"/>
                  </a:cubicBezTo>
                  <a:cubicBezTo>
                    <a:pt x="341" y="330"/>
                    <a:pt x="341" y="330"/>
                    <a:pt x="341" y="330"/>
                  </a:cubicBezTo>
                  <a:cubicBezTo>
                    <a:pt x="341" y="298"/>
                    <a:pt x="341" y="298"/>
                    <a:pt x="341" y="298"/>
                  </a:cubicBezTo>
                  <a:cubicBezTo>
                    <a:pt x="170" y="298"/>
                    <a:pt x="170" y="298"/>
                    <a:pt x="170" y="298"/>
                  </a:cubicBezTo>
                  <a:lnTo>
                    <a:pt x="170"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277"/>
                  </a:moveTo>
                  <a:cubicBezTo>
                    <a:pt x="362" y="219"/>
                    <a:pt x="362" y="219"/>
                    <a:pt x="362" y="219"/>
                  </a:cubicBezTo>
                  <a:cubicBezTo>
                    <a:pt x="373" y="228"/>
                    <a:pt x="386" y="236"/>
                    <a:pt x="401" y="242"/>
                  </a:cubicBezTo>
                  <a:cubicBezTo>
                    <a:pt x="402" y="242"/>
                    <a:pt x="404" y="242"/>
                    <a:pt x="405" y="242"/>
                  </a:cubicBezTo>
                  <a:cubicBezTo>
                    <a:pt x="409" y="242"/>
                    <a:pt x="413" y="240"/>
                    <a:pt x="415" y="236"/>
                  </a:cubicBezTo>
                  <a:cubicBezTo>
                    <a:pt x="417" y="230"/>
                    <a:pt x="414" y="224"/>
                    <a:pt x="409" y="222"/>
                  </a:cubicBezTo>
                  <a:cubicBezTo>
                    <a:pt x="389" y="214"/>
                    <a:pt x="373" y="202"/>
                    <a:pt x="362" y="188"/>
                  </a:cubicBezTo>
                  <a:cubicBezTo>
                    <a:pt x="362" y="170"/>
                    <a:pt x="362" y="170"/>
                    <a:pt x="362" y="170"/>
                  </a:cubicBezTo>
                  <a:cubicBezTo>
                    <a:pt x="362" y="164"/>
                    <a:pt x="358" y="160"/>
                    <a:pt x="352" y="160"/>
                  </a:cubicBezTo>
                  <a:cubicBezTo>
                    <a:pt x="346" y="160"/>
                    <a:pt x="341" y="164"/>
                    <a:pt x="341" y="170"/>
                  </a:cubicBezTo>
                  <a:cubicBezTo>
                    <a:pt x="341" y="188"/>
                    <a:pt x="341" y="188"/>
                    <a:pt x="341" y="188"/>
                  </a:cubicBezTo>
                  <a:cubicBezTo>
                    <a:pt x="321" y="214"/>
                    <a:pt x="289" y="229"/>
                    <a:pt x="256" y="229"/>
                  </a:cubicBezTo>
                  <a:cubicBezTo>
                    <a:pt x="221" y="229"/>
                    <a:pt x="190" y="214"/>
                    <a:pt x="170" y="188"/>
                  </a:cubicBezTo>
                  <a:cubicBezTo>
                    <a:pt x="170" y="170"/>
                    <a:pt x="170" y="170"/>
                    <a:pt x="170" y="170"/>
                  </a:cubicBezTo>
                  <a:cubicBezTo>
                    <a:pt x="170" y="164"/>
                    <a:pt x="166" y="160"/>
                    <a:pt x="160" y="160"/>
                  </a:cubicBezTo>
                  <a:cubicBezTo>
                    <a:pt x="154" y="160"/>
                    <a:pt x="149" y="164"/>
                    <a:pt x="149" y="170"/>
                  </a:cubicBezTo>
                  <a:cubicBezTo>
                    <a:pt x="149" y="188"/>
                    <a:pt x="149" y="188"/>
                    <a:pt x="149" y="188"/>
                  </a:cubicBezTo>
                  <a:cubicBezTo>
                    <a:pt x="138" y="202"/>
                    <a:pt x="121" y="214"/>
                    <a:pt x="102" y="222"/>
                  </a:cubicBezTo>
                  <a:cubicBezTo>
                    <a:pt x="97" y="224"/>
                    <a:pt x="94" y="230"/>
                    <a:pt x="96" y="236"/>
                  </a:cubicBezTo>
                  <a:cubicBezTo>
                    <a:pt x="98" y="240"/>
                    <a:pt x="102" y="242"/>
                    <a:pt x="106" y="242"/>
                  </a:cubicBezTo>
                  <a:cubicBezTo>
                    <a:pt x="108" y="242"/>
                    <a:pt x="109" y="242"/>
                    <a:pt x="110" y="242"/>
                  </a:cubicBezTo>
                  <a:cubicBezTo>
                    <a:pt x="125" y="236"/>
                    <a:pt x="138" y="228"/>
                    <a:pt x="149" y="218"/>
                  </a:cubicBezTo>
                  <a:cubicBezTo>
                    <a:pt x="149" y="277"/>
                    <a:pt x="149" y="277"/>
                    <a:pt x="149" y="277"/>
                  </a:cubicBezTo>
                  <a:cubicBezTo>
                    <a:pt x="106" y="277"/>
                    <a:pt x="106" y="277"/>
                    <a:pt x="106" y="277"/>
                  </a:cubicBezTo>
                  <a:cubicBezTo>
                    <a:pt x="100" y="277"/>
                    <a:pt x="96" y="282"/>
                    <a:pt x="96" y="288"/>
                  </a:cubicBezTo>
                  <a:cubicBezTo>
                    <a:pt x="96" y="294"/>
                    <a:pt x="100" y="298"/>
                    <a:pt x="106" y="298"/>
                  </a:cubicBezTo>
                  <a:cubicBezTo>
                    <a:pt x="149" y="298"/>
                    <a:pt x="149" y="298"/>
                    <a:pt x="149" y="298"/>
                  </a:cubicBezTo>
                  <a:cubicBezTo>
                    <a:pt x="149" y="320"/>
                    <a:pt x="149" y="320"/>
                    <a:pt x="149" y="320"/>
                  </a:cubicBezTo>
                  <a:cubicBezTo>
                    <a:pt x="149" y="341"/>
                    <a:pt x="149" y="341"/>
                    <a:pt x="149" y="341"/>
                  </a:cubicBezTo>
                  <a:cubicBezTo>
                    <a:pt x="149" y="344"/>
                    <a:pt x="149" y="344"/>
                    <a:pt x="149" y="344"/>
                  </a:cubicBezTo>
                  <a:cubicBezTo>
                    <a:pt x="141" y="341"/>
                    <a:pt x="136" y="334"/>
                    <a:pt x="136" y="334"/>
                  </a:cubicBezTo>
                  <a:cubicBezTo>
                    <a:pt x="134" y="332"/>
                    <a:pt x="131" y="331"/>
                    <a:pt x="128" y="330"/>
                  </a:cubicBezTo>
                  <a:cubicBezTo>
                    <a:pt x="125" y="330"/>
                    <a:pt x="122" y="331"/>
                    <a:pt x="120" y="333"/>
                  </a:cubicBezTo>
                  <a:cubicBezTo>
                    <a:pt x="114" y="339"/>
                    <a:pt x="109" y="343"/>
                    <a:pt x="103" y="345"/>
                  </a:cubicBezTo>
                  <a:cubicBezTo>
                    <a:pt x="97" y="347"/>
                    <a:pt x="94" y="353"/>
                    <a:pt x="96" y="358"/>
                  </a:cubicBezTo>
                  <a:cubicBezTo>
                    <a:pt x="98" y="364"/>
                    <a:pt x="104" y="367"/>
                    <a:pt x="110" y="365"/>
                  </a:cubicBezTo>
                  <a:cubicBezTo>
                    <a:pt x="116" y="363"/>
                    <a:pt x="122" y="360"/>
                    <a:pt x="127" y="355"/>
                  </a:cubicBezTo>
                  <a:cubicBezTo>
                    <a:pt x="134" y="361"/>
                    <a:pt x="144" y="367"/>
                    <a:pt x="156" y="368"/>
                  </a:cubicBezTo>
                  <a:cubicBezTo>
                    <a:pt x="168" y="368"/>
                    <a:pt x="180" y="364"/>
                    <a:pt x="191" y="356"/>
                  </a:cubicBezTo>
                  <a:cubicBezTo>
                    <a:pt x="198" y="361"/>
                    <a:pt x="208" y="367"/>
                    <a:pt x="220" y="368"/>
                  </a:cubicBezTo>
                  <a:cubicBezTo>
                    <a:pt x="232" y="368"/>
                    <a:pt x="244" y="364"/>
                    <a:pt x="255" y="356"/>
                  </a:cubicBezTo>
                  <a:cubicBezTo>
                    <a:pt x="262" y="361"/>
                    <a:pt x="272" y="367"/>
                    <a:pt x="284" y="368"/>
                  </a:cubicBezTo>
                  <a:cubicBezTo>
                    <a:pt x="296" y="368"/>
                    <a:pt x="308" y="364"/>
                    <a:pt x="319" y="356"/>
                  </a:cubicBezTo>
                  <a:cubicBezTo>
                    <a:pt x="326" y="361"/>
                    <a:pt x="336" y="367"/>
                    <a:pt x="348" y="368"/>
                  </a:cubicBezTo>
                  <a:cubicBezTo>
                    <a:pt x="349" y="368"/>
                    <a:pt x="350" y="368"/>
                    <a:pt x="351" y="368"/>
                  </a:cubicBezTo>
                  <a:cubicBezTo>
                    <a:pt x="362" y="368"/>
                    <a:pt x="373" y="364"/>
                    <a:pt x="383" y="356"/>
                  </a:cubicBezTo>
                  <a:cubicBezTo>
                    <a:pt x="388" y="359"/>
                    <a:pt x="394" y="363"/>
                    <a:pt x="402" y="366"/>
                  </a:cubicBezTo>
                  <a:cubicBezTo>
                    <a:pt x="408" y="367"/>
                    <a:pt x="413" y="364"/>
                    <a:pt x="415" y="358"/>
                  </a:cubicBezTo>
                  <a:cubicBezTo>
                    <a:pt x="417" y="353"/>
                    <a:pt x="414" y="347"/>
                    <a:pt x="408" y="345"/>
                  </a:cubicBezTo>
                  <a:cubicBezTo>
                    <a:pt x="398" y="342"/>
                    <a:pt x="392" y="334"/>
                    <a:pt x="392" y="334"/>
                  </a:cubicBezTo>
                  <a:cubicBezTo>
                    <a:pt x="390" y="332"/>
                    <a:pt x="387" y="331"/>
                    <a:pt x="384" y="330"/>
                  </a:cubicBezTo>
                  <a:cubicBezTo>
                    <a:pt x="381" y="330"/>
                    <a:pt x="378" y="331"/>
                    <a:pt x="376" y="333"/>
                  </a:cubicBezTo>
                  <a:cubicBezTo>
                    <a:pt x="371" y="338"/>
                    <a:pt x="367" y="341"/>
                    <a:pt x="362" y="343"/>
                  </a:cubicBezTo>
                  <a:cubicBezTo>
                    <a:pt x="362" y="341"/>
                    <a:pt x="362" y="341"/>
                    <a:pt x="362" y="341"/>
                  </a:cubicBezTo>
                  <a:cubicBezTo>
                    <a:pt x="362" y="330"/>
                    <a:pt x="362" y="330"/>
                    <a:pt x="362" y="330"/>
                  </a:cubicBezTo>
                  <a:cubicBezTo>
                    <a:pt x="362" y="298"/>
                    <a:pt x="362" y="298"/>
                    <a:pt x="362" y="298"/>
                  </a:cubicBezTo>
                  <a:cubicBezTo>
                    <a:pt x="405" y="298"/>
                    <a:pt x="405" y="298"/>
                    <a:pt x="405" y="298"/>
                  </a:cubicBezTo>
                  <a:cubicBezTo>
                    <a:pt x="411" y="298"/>
                    <a:pt x="416" y="294"/>
                    <a:pt x="416" y="288"/>
                  </a:cubicBezTo>
                  <a:cubicBezTo>
                    <a:pt x="416" y="282"/>
                    <a:pt x="411" y="277"/>
                    <a:pt x="405" y="277"/>
                  </a:cubicBezTo>
                  <a:lnTo>
                    <a:pt x="362" y="27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4" name="Group 13">
            <a:extLst>
              <a:ext uri="{FF2B5EF4-FFF2-40B4-BE49-F238E27FC236}">
                <a16:creationId xmlns:a16="http://schemas.microsoft.com/office/drawing/2014/main" id="{9E052A28-59A7-E6D8-40C0-3F384A0B9091}"/>
              </a:ext>
            </a:extLst>
          </p:cNvPr>
          <p:cNvGrpSpPr/>
          <p:nvPr/>
        </p:nvGrpSpPr>
        <p:grpSpPr>
          <a:xfrm>
            <a:off x="8638492" y="4535153"/>
            <a:ext cx="3044053" cy="385052"/>
            <a:chOff x="8638492" y="4535153"/>
            <a:chExt cx="3044053" cy="385052"/>
          </a:xfrm>
        </p:grpSpPr>
        <p:sp>
          <p:nvSpPr>
            <p:cNvPr id="602" name="Rectangle 601">
              <a:extLst>
                <a:ext uri="{FF2B5EF4-FFF2-40B4-BE49-F238E27FC236}">
                  <a16:creationId xmlns:a16="http://schemas.microsoft.com/office/drawing/2014/main" id="{8DEED9D9-3B9D-470F-9557-9B234BE48A8E}"/>
                </a:ext>
              </a:extLst>
            </p:cNvPr>
            <p:cNvSpPr/>
            <p:nvPr/>
          </p:nvSpPr>
          <p:spPr bwMode="gray">
            <a:xfrm>
              <a:off x="8638492" y="4535153"/>
              <a:ext cx="2678986" cy="385052"/>
            </a:xfrm>
            <a:prstGeom prst="rect">
              <a:avLst/>
            </a:prstGeom>
            <a:solidFill>
              <a:schemeClr val="bg1"/>
            </a:solidFill>
            <a:ln w="19050" algn="ctr">
              <a:noFill/>
              <a:prstDash val="dash"/>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rPr>
                <a:t>E-mobility &amp; Battery Energy Storage System</a:t>
              </a:r>
            </a:p>
          </p:txBody>
        </p:sp>
        <p:sp>
          <p:nvSpPr>
            <p:cNvPr id="604" name="Freeform 426">
              <a:extLst>
                <a:ext uri="{FF2B5EF4-FFF2-40B4-BE49-F238E27FC236}">
                  <a16:creationId xmlns:a16="http://schemas.microsoft.com/office/drawing/2014/main" id="{9F603B83-2E19-4F92-BE74-733D4D8899BB}"/>
                </a:ext>
              </a:extLst>
            </p:cNvPr>
            <p:cNvSpPr>
              <a:spLocks noChangeAspect="1" noEditPoints="1"/>
            </p:cNvSpPr>
            <p:nvPr/>
          </p:nvSpPr>
          <p:spPr bwMode="auto">
            <a:xfrm>
              <a:off x="11364443" y="4580539"/>
              <a:ext cx="318102" cy="31810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66 w 512"/>
                <a:gd name="T11" fmla="*/ 224 h 512"/>
                <a:gd name="T12" fmla="*/ 277 w 512"/>
                <a:gd name="T13" fmla="*/ 213 h 512"/>
                <a:gd name="T14" fmla="*/ 288 w 512"/>
                <a:gd name="T15" fmla="*/ 224 h 512"/>
                <a:gd name="T16" fmla="*/ 288 w 512"/>
                <a:gd name="T17" fmla="*/ 288 h 512"/>
                <a:gd name="T18" fmla="*/ 277 w 512"/>
                <a:gd name="T19" fmla="*/ 298 h 512"/>
                <a:gd name="T20" fmla="*/ 266 w 512"/>
                <a:gd name="T21" fmla="*/ 288 h 512"/>
                <a:gd name="T22" fmla="*/ 266 w 512"/>
                <a:gd name="T23" fmla="*/ 224 h 512"/>
                <a:gd name="T24" fmla="*/ 224 w 512"/>
                <a:gd name="T25" fmla="*/ 224 h 512"/>
                <a:gd name="T26" fmla="*/ 234 w 512"/>
                <a:gd name="T27" fmla="*/ 213 h 512"/>
                <a:gd name="T28" fmla="*/ 245 w 512"/>
                <a:gd name="T29" fmla="*/ 224 h 512"/>
                <a:gd name="T30" fmla="*/ 245 w 512"/>
                <a:gd name="T31" fmla="*/ 288 h 512"/>
                <a:gd name="T32" fmla="*/ 234 w 512"/>
                <a:gd name="T33" fmla="*/ 298 h 512"/>
                <a:gd name="T34" fmla="*/ 224 w 512"/>
                <a:gd name="T35" fmla="*/ 288 h 512"/>
                <a:gd name="T36" fmla="*/ 224 w 512"/>
                <a:gd name="T37" fmla="*/ 224 h 512"/>
                <a:gd name="T38" fmla="*/ 181 w 512"/>
                <a:gd name="T39" fmla="*/ 224 h 512"/>
                <a:gd name="T40" fmla="*/ 192 w 512"/>
                <a:gd name="T41" fmla="*/ 213 h 512"/>
                <a:gd name="T42" fmla="*/ 202 w 512"/>
                <a:gd name="T43" fmla="*/ 224 h 512"/>
                <a:gd name="T44" fmla="*/ 202 w 512"/>
                <a:gd name="T45" fmla="*/ 288 h 512"/>
                <a:gd name="T46" fmla="*/ 192 w 512"/>
                <a:gd name="T47" fmla="*/ 298 h 512"/>
                <a:gd name="T48" fmla="*/ 181 w 512"/>
                <a:gd name="T49" fmla="*/ 288 h 512"/>
                <a:gd name="T50" fmla="*/ 181 w 512"/>
                <a:gd name="T51" fmla="*/ 224 h 512"/>
                <a:gd name="T52" fmla="*/ 138 w 512"/>
                <a:gd name="T53" fmla="*/ 224 h 512"/>
                <a:gd name="T54" fmla="*/ 149 w 512"/>
                <a:gd name="T55" fmla="*/ 213 h 512"/>
                <a:gd name="T56" fmla="*/ 160 w 512"/>
                <a:gd name="T57" fmla="*/ 224 h 512"/>
                <a:gd name="T58" fmla="*/ 160 w 512"/>
                <a:gd name="T59" fmla="*/ 288 h 512"/>
                <a:gd name="T60" fmla="*/ 149 w 512"/>
                <a:gd name="T61" fmla="*/ 298 h 512"/>
                <a:gd name="T62" fmla="*/ 138 w 512"/>
                <a:gd name="T63" fmla="*/ 288 h 512"/>
                <a:gd name="T64" fmla="*/ 138 w 512"/>
                <a:gd name="T65" fmla="*/ 224 h 512"/>
                <a:gd name="T66" fmla="*/ 373 w 512"/>
                <a:gd name="T67" fmla="*/ 234 h 512"/>
                <a:gd name="T68" fmla="*/ 394 w 512"/>
                <a:gd name="T69" fmla="*/ 234 h 512"/>
                <a:gd name="T70" fmla="*/ 394 w 512"/>
                <a:gd name="T71" fmla="*/ 277 h 512"/>
                <a:gd name="T72" fmla="*/ 373 w 512"/>
                <a:gd name="T73" fmla="*/ 277 h 512"/>
                <a:gd name="T74" fmla="*/ 373 w 512"/>
                <a:gd name="T75" fmla="*/ 234 h 512"/>
                <a:gd name="T76" fmla="*/ 256 w 512"/>
                <a:gd name="T77" fmla="*/ 0 h 512"/>
                <a:gd name="T78" fmla="*/ 0 w 512"/>
                <a:gd name="T79" fmla="*/ 256 h 512"/>
                <a:gd name="T80" fmla="*/ 256 w 512"/>
                <a:gd name="T81" fmla="*/ 512 h 512"/>
                <a:gd name="T82" fmla="*/ 512 w 512"/>
                <a:gd name="T83" fmla="*/ 256 h 512"/>
                <a:gd name="T84" fmla="*/ 256 w 512"/>
                <a:gd name="T85" fmla="*/ 0 h 512"/>
                <a:gd name="T86" fmla="*/ 416 w 512"/>
                <a:gd name="T87" fmla="*/ 288 h 512"/>
                <a:gd name="T88" fmla="*/ 405 w 512"/>
                <a:gd name="T89" fmla="*/ 298 h 512"/>
                <a:gd name="T90" fmla="*/ 373 w 512"/>
                <a:gd name="T91" fmla="*/ 298 h 512"/>
                <a:gd name="T92" fmla="*/ 373 w 512"/>
                <a:gd name="T93" fmla="*/ 330 h 512"/>
                <a:gd name="T94" fmla="*/ 362 w 512"/>
                <a:gd name="T95" fmla="*/ 341 h 512"/>
                <a:gd name="T96" fmla="*/ 106 w 512"/>
                <a:gd name="T97" fmla="*/ 341 h 512"/>
                <a:gd name="T98" fmla="*/ 96 w 512"/>
                <a:gd name="T99" fmla="*/ 330 h 512"/>
                <a:gd name="T100" fmla="*/ 96 w 512"/>
                <a:gd name="T101" fmla="*/ 181 h 512"/>
                <a:gd name="T102" fmla="*/ 106 w 512"/>
                <a:gd name="T103" fmla="*/ 170 h 512"/>
                <a:gd name="T104" fmla="*/ 362 w 512"/>
                <a:gd name="T105" fmla="*/ 170 h 512"/>
                <a:gd name="T106" fmla="*/ 373 w 512"/>
                <a:gd name="T107" fmla="*/ 181 h 512"/>
                <a:gd name="T108" fmla="*/ 373 w 512"/>
                <a:gd name="T109" fmla="*/ 213 h 512"/>
                <a:gd name="T110" fmla="*/ 405 w 512"/>
                <a:gd name="T111" fmla="*/ 213 h 512"/>
                <a:gd name="T112" fmla="*/ 416 w 512"/>
                <a:gd name="T113" fmla="*/ 224 h 512"/>
                <a:gd name="T114" fmla="*/ 416 w 512"/>
                <a:gd name="T11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5" name="Group 14">
            <a:extLst>
              <a:ext uri="{FF2B5EF4-FFF2-40B4-BE49-F238E27FC236}">
                <a16:creationId xmlns:a16="http://schemas.microsoft.com/office/drawing/2014/main" id="{760239F1-6CBA-1A83-CDC4-00B7628EE768}"/>
              </a:ext>
            </a:extLst>
          </p:cNvPr>
          <p:cNvGrpSpPr/>
          <p:nvPr/>
        </p:nvGrpSpPr>
        <p:grpSpPr>
          <a:xfrm>
            <a:off x="8638491" y="4929652"/>
            <a:ext cx="3043647" cy="320082"/>
            <a:chOff x="8638491" y="4929652"/>
            <a:chExt cx="3043647" cy="320082"/>
          </a:xfrm>
        </p:grpSpPr>
        <p:sp>
          <p:nvSpPr>
            <p:cNvPr id="605" name="Rectangle 604">
              <a:extLst>
                <a:ext uri="{FF2B5EF4-FFF2-40B4-BE49-F238E27FC236}">
                  <a16:creationId xmlns:a16="http://schemas.microsoft.com/office/drawing/2014/main" id="{961D0BE9-F0F1-4E4B-A881-8155DD1A3BFC}"/>
                </a:ext>
              </a:extLst>
            </p:cNvPr>
            <p:cNvSpPr/>
            <p:nvPr/>
          </p:nvSpPr>
          <p:spPr bwMode="gray">
            <a:xfrm>
              <a:off x="8638491" y="4959637"/>
              <a:ext cx="2572079" cy="182880"/>
            </a:xfrm>
            <a:prstGeom prst="rect">
              <a:avLst/>
            </a:prstGeom>
            <a:solidFill>
              <a:schemeClr val="bg1"/>
            </a:solidFill>
            <a:ln w="19050" algn="ctr">
              <a:noFill/>
              <a:prstDash val="dash"/>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rPr>
                <a:t>Green Hydrogen and Climate Change</a:t>
              </a:r>
            </a:p>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endParaRPr>
            </a:p>
          </p:txBody>
        </p:sp>
        <p:grpSp>
          <p:nvGrpSpPr>
            <p:cNvPr id="607" name="Group 606">
              <a:extLst>
                <a:ext uri="{FF2B5EF4-FFF2-40B4-BE49-F238E27FC236}">
                  <a16:creationId xmlns:a16="http://schemas.microsoft.com/office/drawing/2014/main" id="{0B5814F2-92A6-4313-A772-2B03F521ACA8}"/>
                </a:ext>
              </a:extLst>
            </p:cNvPr>
            <p:cNvGrpSpPr>
              <a:grpSpLocks noChangeAspect="1"/>
            </p:cNvGrpSpPr>
            <p:nvPr/>
          </p:nvGrpSpPr>
          <p:grpSpPr>
            <a:xfrm>
              <a:off x="11364850" y="4929652"/>
              <a:ext cx="317288" cy="320082"/>
              <a:chOff x="6515101" y="2628900"/>
              <a:chExt cx="1622425" cy="1636713"/>
            </a:xfrm>
            <a:solidFill>
              <a:schemeClr val="accent5"/>
            </a:solidFill>
          </p:grpSpPr>
          <p:sp>
            <p:nvSpPr>
              <p:cNvPr id="608" name="Freeform 13">
                <a:extLst>
                  <a:ext uri="{FF2B5EF4-FFF2-40B4-BE49-F238E27FC236}">
                    <a16:creationId xmlns:a16="http://schemas.microsoft.com/office/drawing/2014/main" id="{A759E4B8-1A25-4EFA-8EAC-A6C92AA5C2DD}"/>
                  </a:ext>
                </a:extLst>
              </p:cNvPr>
              <p:cNvSpPr>
                <a:spLocks/>
              </p:cNvSpPr>
              <p:nvPr/>
            </p:nvSpPr>
            <p:spPr bwMode="auto">
              <a:xfrm>
                <a:off x="6899276" y="3497263"/>
                <a:ext cx="238125" cy="211138"/>
              </a:xfrm>
              <a:custGeom>
                <a:avLst/>
                <a:gdLst>
                  <a:gd name="T0" fmla="*/ 64 w 115"/>
                  <a:gd name="T1" fmla="*/ 0 h 102"/>
                  <a:gd name="T2" fmla="*/ 64 w 115"/>
                  <a:gd name="T3" fmla="*/ 0 h 102"/>
                  <a:gd name="T4" fmla="*/ 38 w 115"/>
                  <a:gd name="T5" fmla="*/ 26 h 102"/>
                  <a:gd name="T6" fmla="*/ 5 w 115"/>
                  <a:gd name="T7" fmla="*/ 92 h 102"/>
                  <a:gd name="T8" fmla="*/ 38 w 115"/>
                  <a:gd name="T9" fmla="*/ 102 h 102"/>
                  <a:gd name="T10" fmla="*/ 115 w 115"/>
                  <a:gd name="T11" fmla="*/ 87 h 102"/>
                  <a:gd name="T12" fmla="*/ 108 w 115"/>
                  <a:gd name="T13" fmla="*/ 32 h 102"/>
                  <a:gd name="T14" fmla="*/ 64 w 115"/>
                  <a:gd name="T15" fmla="*/ 0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02">
                    <a:moveTo>
                      <a:pt x="64" y="0"/>
                    </a:moveTo>
                    <a:lnTo>
                      <a:pt x="64" y="0"/>
                    </a:lnTo>
                    <a:cubicBezTo>
                      <a:pt x="54" y="9"/>
                      <a:pt x="45" y="18"/>
                      <a:pt x="38" y="26"/>
                    </a:cubicBezTo>
                    <a:cubicBezTo>
                      <a:pt x="8" y="59"/>
                      <a:pt x="0" y="83"/>
                      <a:pt x="5" y="92"/>
                    </a:cubicBezTo>
                    <a:cubicBezTo>
                      <a:pt x="9" y="98"/>
                      <a:pt x="21" y="102"/>
                      <a:pt x="38" y="102"/>
                    </a:cubicBezTo>
                    <a:cubicBezTo>
                      <a:pt x="58" y="102"/>
                      <a:pt x="85" y="97"/>
                      <a:pt x="115" y="87"/>
                    </a:cubicBezTo>
                    <a:cubicBezTo>
                      <a:pt x="112" y="69"/>
                      <a:pt x="110" y="51"/>
                      <a:pt x="108" y="32"/>
                    </a:cubicBezTo>
                    <a:cubicBezTo>
                      <a:pt x="93" y="22"/>
                      <a:pt x="78" y="11"/>
                      <a:pt x="6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09" name="Freeform 14">
                <a:extLst>
                  <a:ext uri="{FF2B5EF4-FFF2-40B4-BE49-F238E27FC236}">
                    <a16:creationId xmlns:a16="http://schemas.microsoft.com/office/drawing/2014/main" id="{073424FD-EDD5-43B1-B1A2-E87F47ADFB32}"/>
                  </a:ext>
                </a:extLst>
              </p:cNvPr>
              <p:cNvSpPr>
                <a:spLocks/>
              </p:cNvSpPr>
              <p:nvPr/>
            </p:nvSpPr>
            <p:spPr bwMode="auto">
              <a:xfrm>
                <a:off x="7221538" y="2963863"/>
                <a:ext cx="207963" cy="247650"/>
              </a:xfrm>
              <a:custGeom>
                <a:avLst/>
                <a:gdLst>
                  <a:gd name="T0" fmla="*/ 101 w 101"/>
                  <a:gd name="T1" fmla="*/ 97 h 119"/>
                  <a:gd name="T2" fmla="*/ 101 w 101"/>
                  <a:gd name="T3" fmla="*/ 97 h 119"/>
                  <a:gd name="T4" fmla="*/ 51 w 101"/>
                  <a:gd name="T5" fmla="*/ 0 h 119"/>
                  <a:gd name="T6" fmla="*/ 0 w 101"/>
                  <a:gd name="T7" fmla="*/ 97 h 119"/>
                  <a:gd name="T8" fmla="*/ 51 w 101"/>
                  <a:gd name="T9" fmla="*/ 119 h 119"/>
                  <a:gd name="T10" fmla="*/ 101 w 101"/>
                  <a:gd name="T11" fmla="*/ 97 h 119"/>
                </a:gdLst>
                <a:ahLst/>
                <a:cxnLst>
                  <a:cxn ang="0">
                    <a:pos x="T0" y="T1"/>
                  </a:cxn>
                  <a:cxn ang="0">
                    <a:pos x="T2" y="T3"/>
                  </a:cxn>
                  <a:cxn ang="0">
                    <a:pos x="T4" y="T5"/>
                  </a:cxn>
                  <a:cxn ang="0">
                    <a:pos x="T6" y="T7"/>
                  </a:cxn>
                  <a:cxn ang="0">
                    <a:pos x="T8" y="T9"/>
                  </a:cxn>
                  <a:cxn ang="0">
                    <a:pos x="T10" y="T11"/>
                  </a:cxn>
                </a:cxnLst>
                <a:rect l="0" t="0" r="r" b="b"/>
                <a:pathLst>
                  <a:path w="101" h="119">
                    <a:moveTo>
                      <a:pt x="101" y="97"/>
                    </a:moveTo>
                    <a:lnTo>
                      <a:pt x="101" y="97"/>
                    </a:lnTo>
                    <a:cubicBezTo>
                      <a:pt x="87" y="34"/>
                      <a:pt x="65" y="0"/>
                      <a:pt x="51" y="0"/>
                    </a:cubicBezTo>
                    <a:cubicBezTo>
                      <a:pt x="36" y="0"/>
                      <a:pt x="14" y="34"/>
                      <a:pt x="0" y="97"/>
                    </a:cubicBezTo>
                    <a:cubicBezTo>
                      <a:pt x="17" y="104"/>
                      <a:pt x="34" y="111"/>
                      <a:pt x="51" y="119"/>
                    </a:cubicBezTo>
                    <a:cubicBezTo>
                      <a:pt x="68" y="111"/>
                      <a:pt x="85" y="104"/>
                      <a:pt x="101" y="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0" name="Freeform 15">
                <a:extLst>
                  <a:ext uri="{FF2B5EF4-FFF2-40B4-BE49-F238E27FC236}">
                    <a16:creationId xmlns:a16="http://schemas.microsoft.com/office/drawing/2014/main" id="{4D7F9D75-9A52-4D07-A7C1-623F324CABF2}"/>
                  </a:ext>
                </a:extLst>
              </p:cNvPr>
              <p:cNvSpPr>
                <a:spLocks/>
              </p:cNvSpPr>
              <p:nvPr/>
            </p:nvSpPr>
            <p:spPr bwMode="auto">
              <a:xfrm>
                <a:off x="7202488" y="3616325"/>
                <a:ext cx="39688" cy="36513"/>
              </a:xfrm>
              <a:custGeom>
                <a:avLst/>
                <a:gdLst>
                  <a:gd name="T0" fmla="*/ 10 w 19"/>
                  <a:gd name="T1" fmla="*/ 5 h 18"/>
                  <a:gd name="T2" fmla="*/ 10 w 19"/>
                  <a:gd name="T3" fmla="*/ 5 h 18"/>
                  <a:gd name="T4" fmla="*/ 0 w 19"/>
                  <a:gd name="T5" fmla="*/ 0 h 18"/>
                  <a:gd name="T6" fmla="*/ 2 w 19"/>
                  <a:gd name="T7" fmla="*/ 18 h 18"/>
                  <a:gd name="T8" fmla="*/ 19 w 19"/>
                  <a:gd name="T9" fmla="*/ 11 h 18"/>
                  <a:gd name="T10" fmla="*/ 10 w 19"/>
                  <a:gd name="T11" fmla="*/ 5 h 18"/>
                </a:gdLst>
                <a:ahLst/>
                <a:cxnLst>
                  <a:cxn ang="0">
                    <a:pos x="T0" y="T1"/>
                  </a:cxn>
                  <a:cxn ang="0">
                    <a:pos x="T2" y="T3"/>
                  </a:cxn>
                  <a:cxn ang="0">
                    <a:pos x="T4" y="T5"/>
                  </a:cxn>
                  <a:cxn ang="0">
                    <a:pos x="T6" y="T7"/>
                  </a:cxn>
                  <a:cxn ang="0">
                    <a:pos x="T8" y="T9"/>
                  </a:cxn>
                  <a:cxn ang="0">
                    <a:pos x="T10" y="T11"/>
                  </a:cxn>
                </a:cxnLst>
                <a:rect l="0" t="0" r="r" b="b"/>
                <a:pathLst>
                  <a:path w="19" h="18">
                    <a:moveTo>
                      <a:pt x="10" y="5"/>
                    </a:moveTo>
                    <a:lnTo>
                      <a:pt x="10" y="5"/>
                    </a:lnTo>
                    <a:cubicBezTo>
                      <a:pt x="6" y="4"/>
                      <a:pt x="3" y="2"/>
                      <a:pt x="0" y="0"/>
                    </a:cubicBezTo>
                    <a:cubicBezTo>
                      <a:pt x="1" y="6"/>
                      <a:pt x="2" y="12"/>
                      <a:pt x="2" y="18"/>
                    </a:cubicBezTo>
                    <a:cubicBezTo>
                      <a:pt x="8" y="15"/>
                      <a:pt x="13" y="13"/>
                      <a:pt x="19" y="11"/>
                    </a:cubicBezTo>
                    <a:cubicBezTo>
                      <a:pt x="16" y="9"/>
                      <a:pt x="13" y="7"/>
                      <a:pt x="10" y="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1" name="Freeform 16">
                <a:extLst>
                  <a:ext uri="{FF2B5EF4-FFF2-40B4-BE49-F238E27FC236}">
                    <a16:creationId xmlns:a16="http://schemas.microsoft.com/office/drawing/2014/main" id="{1C85F36D-F602-4D03-9205-48FF124E6FF3}"/>
                  </a:ext>
                </a:extLst>
              </p:cNvPr>
              <p:cNvSpPr>
                <a:spLocks/>
              </p:cNvSpPr>
              <p:nvPr/>
            </p:nvSpPr>
            <p:spPr bwMode="auto">
              <a:xfrm>
                <a:off x="7221538" y="3681413"/>
                <a:ext cx="207963" cy="247650"/>
              </a:xfrm>
              <a:custGeom>
                <a:avLst/>
                <a:gdLst>
                  <a:gd name="T0" fmla="*/ 0 w 101"/>
                  <a:gd name="T1" fmla="*/ 22 h 119"/>
                  <a:gd name="T2" fmla="*/ 0 w 101"/>
                  <a:gd name="T3" fmla="*/ 22 h 119"/>
                  <a:gd name="T4" fmla="*/ 51 w 101"/>
                  <a:gd name="T5" fmla="*/ 119 h 119"/>
                  <a:gd name="T6" fmla="*/ 101 w 101"/>
                  <a:gd name="T7" fmla="*/ 22 h 119"/>
                  <a:gd name="T8" fmla="*/ 51 w 101"/>
                  <a:gd name="T9" fmla="*/ 0 h 119"/>
                  <a:gd name="T10" fmla="*/ 0 w 101"/>
                  <a:gd name="T11" fmla="*/ 22 h 119"/>
                </a:gdLst>
                <a:ahLst/>
                <a:cxnLst>
                  <a:cxn ang="0">
                    <a:pos x="T0" y="T1"/>
                  </a:cxn>
                  <a:cxn ang="0">
                    <a:pos x="T2" y="T3"/>
                  </a:cxn>
                  <a:cxn ang="0">
                    <a:pos x="T4" y="T5"/>
                  </a:cxn>
                  <a:cxn ang="0">
                    <a:pos x="T6" y="T7"/>
                  </a:cxn>
                  <a:cxn ang="0">
                    <a:pos x="T8" y="T9"/>
                  </a:cxn>
                  <a:cxn ang="0">
                    <a:pos x="T10" y="T11"/>
                  </a:cxn>
                </a:cxnLst>
                <a:rect l="0" t="0" r="r" b="b"/>
                <a:pathLst>
                  <a:path w="101" h="119">
                    <a:moveTo>
                      <a:pt x="0" y="22"/>
                    </a:moveTo>
                    <a:lnTo>
                      <a:pt x="0" y="22"/>
                    </a:lnTo>
                    <a:cubicBezTo>
                      <a:pt x="14" y="85"/>
                      <a:pt x="36" y="119"/>
                      <a:pt x="51" y="119"/>
                    </a:cubicBezTo>
                    <a:cubicBezTo>
                      <a:pt x="65" y="119"/>
                      <a:pt x="87" y="85"/>
                      <a:pt x="101" y="22"/>
                    </a:cubicBezTo>
                    <a:cubicBezTo>
                      <a:pt x="84" y="15"/>
                      <a:pt x="67" y="8"/>
                      <a:pt x="51" y="0"/>
                    </a:cubicBezTo>
                    <a:cubicBezTo>
                      <a:pt x="34" y="8"/>
                      <a:pt x="17" y="16"/>
                      <a:pt x="0" y="2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2" name="Freeform 17">
                <a:extLst>
                  <a:ext uri="{FF2B5EF4-FFF2-40B4-BE49-F238E27FC236}">
                    <a16:creationId xmlns:a16="http://schemas.microsoft.com/office/drawing/2014/main" id="{5ABBDCC8-0F97-4115-8EE5-96A8D1C66AA3}"/>
                  </a:ext>
                </a:extLst>
              </p:cNvPr>
              <p:cNvSpPr>
                <a:spLocks/>
              </p:cNvSpPr>
              <p:nvPr/>
            </p:nvSpPr>
            <p:spPr bwMode="auto">
              <a:xfrm>
                <a:off x="7202488" y="3241675"/>
                <a:ext cx="39688" cy="34925"/>
              </a:xfrm>
              <a:custGeom>
                <a:avLst/>
                <a:gdLst>
                  <a:gd name="T0" fmla="*/ 19 w 19"/>
                  <a:gd name="T1" fmla="*/ 6 h 17"/>
                  <a:gd name="T2" fmla="*/ 19 w 19"/>
                  <a:gd name="T3" fmla="*/ 6 h 17"/>
                  <a:gd name="T4" fmla="*/ 3 w 19"/>
                  <a:gd name="T5" fmla="*/ 0 h 17"/>
                  <a:gd name="T6" fmla="*/ 0 w 19"/>
                  <a:gd name="T7" fmla="*/ 17 h 17"/>
                  <a:gd name="T8" fmla="*/ 9 w 19"/>
                  <a:gd name="T9" fmla="*/ 12 h 17"/>
                  <a:gd name="T10" fmla="*/ 19 w 19"/>
                  <a:gd name="T11" fmla="*/ 6 h 17"/>
                </a:gdLst>
                <a:ahLst/>
                <a:cxnLst>
                  <a:cxn ang="0">
                    <a:pos x="T0" y="T1"/>
                  </a:cxn>
                  <a:cxn ang="0">
                    <a:pos x="T2" y="T3"/>
                  </a:cxn>
                  <a:cxn ang="0">
                    <a:pos x="T4" y="T5"/>
                  </a:cxn>
                  <a:cxn ang="0">
                    <a:pos x="T6" y="T7"/>
                  </a:cxn>
                  <a:cxn ang="0">
                    <a:pos x="T8" y="T9"/>
                  </a:cxn>
                  <a:cxn ang="0">
                    <a:pos x="T10" y="T11"/>
                  </a:cxn>
                </a:cxnLst>
                <a:rect l="0" t="0" r="r" b="b"/>
                <a:pathLst>
                  <a:path w="19" h="17">
                    <a:moveTo>
                      <a:pt x="19" y="6"/>
                    </a:moveTo>
                    <a:lnTo>
                      <a:pt x="19" y="6"/>
                    </a:lnTo>
                    <a:cubicBezTo>
                      <a:pt x="13" y="4"/>
                      <a:pt x="8" y="2"/>
                      <a:pt x="3" y="0"/>
                    </a:cubicBezTo>
                    <a:cubicBezTo>
                      <a:pt x="2" y="5"/>
                      <a:pt x="1" y="11"/>
                      <a:pt x="0" y="17"/>
                    </a:cubicBezTo>
                    <a:cubicBezTo>
                      <a:pt x="3" y="15"/>
                      <a:pt x="6" y="14"/>
                      <a:pt x="9" y="12"/>
                    </a:cubicBezTo>
                    <a:cubicBezTo>
                      <a:pt x="13" y="10"/>
                      <a:pt x="16" y="8"/>
                      <a:pt x="19"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3" name="Freeform 18">
                <a:extLst>
                  <a:ext uri="{FF2B5EF4-FFF2-40B4-BE49-F238E27FC236}">
                    <a16:creationId xmlns:a16="http://schemas.microsoft.com/office/drawing/2014/main" id="{0B0C7427-8C5A-4C03-8594-95DF9613FC25}"/>
                  </a:ext>
                </a:extLst>
              </p:cNvPr>
              <p:cNvSpPr>
                <a:spLocks/>
              </p:cNvSpPr>
              <p:nvPr/>
            </p:nvSpPr>
            <p:spPr bwMode="auto">
              <a:xfrm>
                <a:off x="7089776" y="3424238"/>
                <a:ext cx="28575" cy="44450"/>
              </a:xfrm>
              <a:custGeom>
                <a:avLst/>
                <a:gdLst>
                  <a:gd name="T0" fmla="*/ 0 w 14"/>
                  <a:gd name="T1" fmla="*/ 11 h 21"/>
                  <a:gd name="T2" fmla="*/ 0 w 14"/>
                  <a:gd name="T3" fmla="*/ 11 h 21"/>
                  <a:gd name="T4" fmla="*/ 14 w 14"/>
                  <a:gd name="T5" fmla="*/ 21 h 21"/>
                  <a:gd name="T6" fmla="*/ 14 w 14"/>
                  <a:gd name="T7" fmla="*/ 11 h 21"/>
                  <a:gd name="T8" fmla="*/ 14 w 14"/>
                  <a:gd name="T9" fmla="*/ 0 h 21"/>
                  <a:gd name="T10" fmla="*/ 0 w 14"/>
                  <a:gd name="T11" fmla="*/ 11 h 21"/>
                </a:gdLst>
                <a:ahLst/>
                <a:cxnLst>
                  <a:cxn ang="0">
                    <a:pos x="T0" y="T1"/>
                  </a:cxn>
                  <a:cxn ang="0">
                    <a:pos x="T2" y="T3"/>
                  </a:cxn>
                  <a:cxn ang="0">
                    <a:pos x="T4" y="T5"/>
                  </a:cxn>
                  <a:cxn ang="0">
                    <a:pos x="T6" y="T7"/>
                  </a:cxn>
                  <a:cxn ang="0">
                    <a:pos x="T8" y="T9"/>
                  </a:cxn>
                  <a:cxn ang="0">
                    <a:pos x="T10" y="T11"/>
                  </a:cxn>
                </a:cxnLst>
                <a:rect l="0" t="0" r="r" b="b"/>
                <a:pathLst>
                  <a:path w="14" h="21">
                    <a:moveTo>
                      <a:pt x="0" y="11"/>
                    </a:moveTo>
                    <a:lnTo>
                      <a:pt x="0" y="11"/>
                    </a:lnTo>
                    <a:cubicBezTo>
                      <a:pt x="5" y="14"/>
                      <a:pt x="10" y="18"/>
                      <a:pt x="14" y="21"/>
                    </a:cubicBezTo>
                    <a:cubicBezTo>
                      <a:pt x="14" y="18"/>
                      <a:pt x="14" y="14"/>
                      <a:pt x="14" y="11"/>
                    </a:cubicBezTo>
                    <a:cubicBezTo>
                      <a:pt x="14" y="7"/>
                      <a:pt x="14" y="3"/>
                      <a:pt x="14" y="0"/>
                    </a:cubicBezTo>
                    <a:cubicBezTo>
                      <a:pt x="10" y="3"/>
                      <a:pt x="5" y="7"/>
                      <a:pt x="0"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4" name="Freeform 19">
                <a:extLst>
                  <a:ext uri="{FF2B5EF4-FFF2-40B4-BE49-F238E27FC236}">
                    <a16:creationId xmlns:a16="http://schemas.microsoft.com/office/drawing/2014/main" id="{B4AE9373-DE7C-4FAC-B2FB-DBDD42E551C1}"/>
                  </a:ext>
                </a:extLst>
              </p:cNvPr>
              <p:cNvSpPr>
                <a:spLocks/>
              </p:cNvSpPr>
              <p:nvPr/>
            </p:nvSpPr>
            <p:spPr bwMode="auto">
              <a:xfrm>
                <a:off x="7408863" y="3241675"/>
                <a:ext cx="38100" cy="34925"/>
              </a:xfrm>
              <a:custGeom>
                <a:avLst/>
                <a:gdLst>
                  <a:gd name="T0" fmla="*/ 10 w 19"/>
                  <a:gd name="T1" fmla="*/ 12 h 17"/>
                  <a:gd name="T2" fmla="*/ 10 w 19"/>
                  <a:gd name="T3" fmla="*/ 12 h 17"/>
                  <a:gd name="T4" fmla="*/ 19 w 19"/>
                  <a:gd name="T5" fmla="*/ 17 h 17"/>
                  <a:gd name="T6" fmla="*/ 17 w 19"/>
                  <a:gd name="T7" fmla="*/ 0 h 17"/>
                  <a:gd name="T8" fmla="*/ 0 w 19"/>
                  <a:gd name="T9" fmla="*/ 6 h 17"/>
                  <a:gd name="T10" fmla="*/ 10 w 19"/>
                  <a:gd name="T11" fmla="*/ 12 h 17"/>
                </a:gdLst>
                <a:ahLst/>
                <a:cxnLst>
                  <a:cxn ang="0">
                    <a:pos x="T0" y="T1"/>
                  </a:cxn>
                  <a:cxn ang="0">
                    <a:pos x="T2" y="T3"/>
                  </a:cxn>
                  <a:cxn ang="0">
                    <a:pos x="T4" y="T5"/>
                  </a:cxn>
                  <a:cxn ang="0">
                    <a:pos x="T6" y="T7"/>
                  </a:cxn>
                  <a:cxn ang="0">
                    <a:pos x="T8" y="T9"/>
                  </a:cxn>
                  <a:cxn ang="0">
                    <a:pos x="T10" y="T11"/>
                  </a:cxn>
                </a:cxnLst>
                <a:rect l="0" t="0" r="r" b="b"/>
                <a:pathLst>
                  <a:path w="19" h="17">
                    <a:moveTo>
                      <a:pt x="10" y="12"/>
                    </a:moveTo>
                    <a:lnTo>
                      <a:pt x="10" y="12"/>
                    </a:lnTo>
                    <a:cubicBezTo>
                      <a:pt x="13" y="14"/>
                      <a:pt x="16" y="15"/>
                      <a:pt x="19" y="17"/>
                    </a:cubicBezTo>
                    <a:cubicBezTo>
                      <a:pt x="18" y="11"/>
                      <a:pt x="18" y="5"/>
                      <a:pt x="17" y="0"/>
                    </a:cubicBezTo>
                    <a:cubicBezTo>
                      <a:pt x="11" y="2"/>
                      <a:pt x="6" y="4"/>
                      <a:pt x="0" y="6"/>
                    </a:cubicBezTo>
                    <a:cubicBezTo>
                      <a:pt x="4" y="8"/>
                      <a:pt x="7" y="10"/>
                      <a:pt x="1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5" name="Freeform 20">
                <a:extLst>
                  <a:ext uri="{FF2B5EF4-FFF2-40B4-BE49-F238E27FC236}">
                    <a16:creationId xmlns:a16="http://schemas.microsoft.com/office/drawing/2014/main" id="{05DCAEC3-32A7-45D2-93FD-A8874B0173BC}"/>
                  </a:ext>
                </a:extLst>
              </p:cNvPr>
              <p:cNvSpPr>
                <a:spLocks/>
              </p:cNvSpPr>
              <p:nvPr/>
            </p:nvSpPr>
            <p:spPr bwMode="auto">
              <a:xfrm>
                <a:off x="6896101" y="3186113"/>
                <a:ext cx="241300" cy="211138"/>
              </a:xfrm>
              <a:custGeom>
                <a:avLst/>
                <a:gdLst>
                  <a:gd name="T0" fmla="*/ 7 w 117"/>
                  <a:gd name="T1" fmla="*/ 9 h 102"/>
                  <a:gd name="T2" fmla="*/ 7 w 117"/>
                  <a:gd name="T3" fmla="*/ 9 h 102"/>
                  <a:gd name="T4" fmla="*/ 66 w 117"/>
                  <a:gd name="T5" fmla="*/ 102 h 102"/>
                  <a:gd name="T6" fmla="*/ 110 w 117"/>
                  <a:gd name="T7" fmla="*/ 69 h 102"/>
                  <a:gd name="T8" fmla="*/ 117 w 117"/>
                  <a:gd name="T9" fmla="*/ 14 h 102"/>
                  <a:gd name="T10" fmla="*/ 40 w 117"/>
                  <a:gd name="T11" fmla="*/ 0 h 102"/>
                  <a:gd name="T12" fmla="*/ 7 w 117"/>
                  <a:gd name="T13" fmla="*/ 9 h 102"/>
                </a:gdLst>
                <a:ahLst/>
                <a:cxnLst>
                  <a:cxn ang="0">
                    <a:pos x="T0" y="T1"/>
                  </a:cxn>
                  <a:cxn ang="0">
                    <a:pos x="T2" y="T3"/>
                  </a:cxn>
                  <a:cxn ang="0">
                    <a:pos x="T4" y="T5"/>
                  </a:cxn>
                  <a:cxn ang="0">
                    <a:pos x="T6" y="T7"/>
                  </a:cxn>
                  <a:cxn ang="0">
                    <a:pos x="T8" y="T9"/>
                  </a:cxn>
                  <a:cxn ang="0">
                    <a:pos x="T10" y="T11"/>
                  </a:cxn>
                  <a:cxn ang="0">
                    <a:pos x="T12" y="T13"/>
                  </a:cxn>
                </a:cxnLst>
                <a:rect l="0" t="0" r="r" b="b"/>
                <a:pathLst>
                  <a:path w="117" h="102">
                    <a:moveTo>
                      <a:pt x="7" y="9"/>
                    </a:moveTo>
                    <a:lnTo>
                      <a:pt x="7" y="9"/>
                    </a:lnTo>
                    <a:cubicBezTo>
                      <a:pt x="0" y="22"/>
                      <a:pt x="19" y="58"/>
                      <a:pt x="66" y="102"/>
                    </a:cubicBezTo>
                    <a:cubicBezTo>
                      <a:pt x="80" y="91"/>
                      <a:pt x="95" y="80"/>
                      <a:pt x="110" y="69"/>
                    </a:cubicBezTo>
                    <a:cubicBezTo>
                      <a:pt x="112" y="50"/>
                      <a:pt x="114" y="32"/>
                      <a:pt x="117" y="14"/>
                    </a:cubicBezTo>
                    <a:cubicBezTo>
                      <a:pt x="87" y="5"/>
                      <a:pt x="60" y="0"/>
                      <a:pt x="40" y="0"/>
                    </a:cubicBezTo>
                    <a:cubicBezTo>
                      <a:pt x="23" y="0"/>
                      <a:pt x="11" y="3"/>
                      <a:pt x="7" y="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6" name="Freeform 21">
                <a:extLst>
                  <a:ext uri="{FF2B5EF4-FFF2-40B4-BE49-F238E27FC236}">
                    <a16:creationId xmlns:a16="http://schemas.microsoft.com/office/drawing/2014/main" id="{436BB200-F73A-4B38-B8BC-0EE7AFD54D1F}"/>
                  </a:ext>
                </a:extLst>
              </p:cNvPr>
              <p:cNvSpPr>
                <a:spLocks/>
              </p:cNvSpPr>
              <p:nvPr/>
            </p:nvSpPr>
            <p:spPr bwMode="auto">
              <a:xfrm>
                <a:off x="7294563" y="3416300"/>
                <a:ext cx="60325" cy="60325"/>
              </a:xfrm>
              <a:custGeom>
                <a:avLst/>
                <a:gdLst>
                  <a:gd name="T0" fmla="*/ 15 w 29"/>
                  <a:gd name="T1" fmla="*/ 0 h 29"/>
                  <a:gd name="T2" fmla="*/ 15 w 29"/>
                  <a:gd name="T3" fmla="*/ 0 h 29"/>
                  <a:gd name="T4" fmla="*/ 0 w 29"/>
                  <a:gd name="T5" fmla="*/ 15 h 29"/>
                  <a:gd name="T6" fmla="*/ 15 w 29"/>
                  <a:gd name="T7" fmla="*/ 29 h 29"/>
                  <a:gd name="T8" fmla="*/ 29 w 29"/>
                  <a:gd name="T9" fmla="*/ 15 h 29"/>
                  <a:gd name="T10" fmla="*/ 15 w 29"/>
                  <a:gd name="T11" fmla="*/ 0 h 29"/>
                </a:gdLst>
                <a:ahLst/>
                <a:cxnLst>
                  <a:cxn ang="0">
                    <a:pos x="T0" y="T1"/>
                  </a:cxn>
                  <a:cxn ang="0">
                    <a:pos x="T2" y="T3"/>
                  </a:cxn>
                  <a:cxn ang="0">
                    <a:pos x="T4" y="T5"/>
                  </a:cxn>
                  <a:cxn ang="0">
                    <a:pos x="T6" y="T7"/>
                  </a:cxn>
                  <a:cxn ang="0">
                    <a:pos x="T8" y="T9"/>
                  </a:cxn>
                  <a:cxn ang="0">
                    <a:pos x="T10" y="T11"/>
                  </a:cxn>
                </a:cxnLst>
                <a:rect l="0" t="0" r="r" b="b"/>
                <a:pathLst>
                  <a:path w="29" h="29">
                    <a:moveTo>
                      <a:pt x="15" y="0"/>
                    </a:moveTo>
                    <a:lnTo>
                      <a:pt x="15" y="0"/>
                    </a:lnTo>
                    <a:cubicBezTo>
                      <a:pt x="7" y="0"/>
                      <a:pt x="0" y="6"/>
                      <a:pt x="0" y="15"/>
                    </a:cubicBezTo>
                    <a:cubicBezTo>
                      <a:pt x="0" y="23"/>
                      <a:pt x="7" y="29"/>
                      <a:pt x="15" y="29"/>
                    </a:cubicBezTo>
                    <a:cubicBezTo>
                      <a:pt x="23" y="29"/>
                      <a:pt x="29" y="23"/>
                      <a:pt x="29" y="15"/>
                    </a:cubicBezTo>
                    <a:cubicBezTo>
                      <a:pt x="29" y="6"/>
                      <a:pt x="23" y="0"/>
                      <a:pt x="1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7" name="Freeform 22">
                <a:extLst>
                  <a:ext uri="{FF2B5EF4-FFF2-40B4-BE49-F238E27FC236}">
                    <a16:creationId xmlns:a16="http://schemas.microsoft.com/office/drawing/2014/main" id="{A2B03D9B-6B3E-49DD-8575-48E80328C564}"/>
                  </a:ext>
                </a:extLst>
              </p:cNvPr>
              <p:cNvSpPr>
                <a:spLocks/>
              </p:cNvSpPr>
              <p:nvPr/>
            </p:nvSpPr>
            <p:spPr bwMode="auto">
              <a:xfrm>
                <a:off x="7515226" y="3497263"/>
                <a:ext cx="236538" cy="211138"/>
              </a:xfrm>
              <a:custGeom>
                <a:avLst/>
                <a:gdLst>
                  <a:gd name="T0" fmla="*/ 50 w 115"/>
                  <a:gd name="T1" fmla="*/ 0 h 102"/>
                  <a:gd name="T2" fmla="*/ 50 w 115"/>
                  <a:gd name="T3" fmla="*/ 0 h 102"/>
                  <a:gd name="T4" fmla="*/ 6 w 115"/>
                  <a:gd name="T5" fmla="*/ 32 h 102"/>
                  <a:gd name="T6" fmla="*/ 0 w 115"/>
                  <a:gd name="T7" fmla="*/ 87 h 102"/>
                  <a:gd name="T8" fmla="*/ 76 w 115"/>
                  <a:gd name="T9" fmla="*/ 102 h 102"/>
                  <a:gd name="T10" fmla="*/ 109 w 115"/>
                  <a:gd name="T11" fmla="*/ 92 h 102"/>
                  <a:gd name="T12" fmla="*/ 109 w 115"/>
                  <a:gd name="T13" fmla="*/ 92 h 102"/>
                  <a:gd name="T14" fmla="*/ 50 w 115"/>
                  <a:gd name="T15" fmla="*/ 0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02">
                    <a:moveTo>
                      <a:pt x="50" y="0"/>
                    </a:moveTo>
                    <a:lnTo>
                      <a:pt x="50" y="0"/>
                    </a:lnTo>
                    <a:cubicBezTo>
                      <a:pt x="36" y="11"/>
                      <a:pt x="21" y="22"/>
                      <a:pt x="6" y="32"/>
                    </a:cubicBezTo>
                    <a:cubicBezTo>
                      <a:pt x="4" y="51"/>
                      <a:pt x="2" y="70"/>
                      <a:pt x="0" y="87"/>
                    </a:cubicBezTo>
                    <a:cubicBezTo>
                      <a:pt x="30" y="97"/>
                      <a:pt x="56" y="102"/>
                      <a:pt x="76" y="102"/>
                    </a:cubicBezTo>
                    <a:cubicBezTo>
                      <a:pt x="93" y="102"/>
                      <a:pt x="106" y="98"/>
                      <a:pt x="109" y="92"/>
                    </a:cubicBezTo>
                    <a:lnTo>
                      <a:pt x="109" y="92"/>
                    </a:lnTo>
                    <a:cubicBezTo>
                      <a:pt x="115" y="82"/>
                      <a:pt x="103" y="48"/>
                      <a:pt x="5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8" name="Freeform 23">
                <a:extLst>
                  <a:ext uri="{FF2B5EF4-FFF2-40B4-BE49-F238E27FC236}">
                    <a16:creationId xmlns:a16="http://schemas.microsoft.com/office/drawing/2014/main" id="{E7B7C6BC-B2E9-48B2-B20F-EF101D20EAF6}"/>
                  </a:ext>
                </a:extLst>
              </p:cNvPr>
              <p:cNvSpPr>
                <a:spLocks noEditPoints="1"/>
              </p:cNvSpPr>
              <p:nvPr/>
            </p:nvSpPr>
            <p:spPr bwMode="auto">
              <a:xfrm>
                <a:off x="6515101" y="2628900"/>
                <a:ext cx="1622425" cy="1636713"/>
              </a:xfrm>
              <a:custGeom>
                <a:avLst/>
                <a:gdLst>
                  <a:gd name="T0" fmla="*/ 626 w 788"/>
                  <a:gd name="T1" fmla="*/ 528 h 788"/>
                  <a:gd name="T2" fmla="*/ 626 w 788"/>
                  <a:gd name="T3" fmla="*/ 528 h 788"/>
                  <a:gd name="T4" fmla="*/ 562 w 788"/>
                  <a:gd name="T5" fmla="*/ 556 h 788"/>
                  <a:gd name="T6" fmla="*/ 479 w 788"/>
                  <a:gd name="T7" fmla="*/ 541 h 788"/>
                  <a:gd name="T8" fmla="*/ 394 w 788"/>
                  <a:gd name="T9" fmla="*/ 662 h 788"/>
                  <a:gd name="T10" fmla="*/ 308 w 788"/>
                  <a:gd name="T11" fmla="*/ 541 h 788"/>
                  <a:gd name="T12" fmla="*/ 225 w 788"/>
                  <a:gd name="T13" fmla="*/ 556 h 788"/>
                  <a:gd name="T14" fmla="*/ 161 w 788"/>
                  <a:gd name="T15" fmla="*/ 528 h 788"/>
                  <a:gd name="T16" fmla="*/ 198 w 788"/>
                  <a:gd name="T17" fmla="*/ 420 h 788"/>
                  <a:gd name="T18" fmla="*/ 223 w 788"/>
                  <a:gd name="T19" fmla="*/ 394 h 788"/>
                  <a:gd name="T20" fmla="*/ 161 w 788"/>
                  <a:gd name="T21" fmla="*/ 259 h 788"/>
                  <a:gd name="T22" fmla="*/ 225 w 788"/>
                  <a:gd name="T23" fmla="*/ 231 h 788"/>
                  <a:gd name="T24" fmla="*/ 308 w 788"/>
                  <a:gd name="T25" fmla="*/ 246 h 788"/>
                  <a:gd name="T26" fmla="*/ 394 w 788"/>
                  <a:gd name="T27" fmla="*/ 125 h 788"/>
                  <a:gd name="T28" fmla="*/ 479 w 788"/>
                  <a:gd name="T29" fmla="*/ 246 h 788"/>
                  <a:gd name="T30" fmla="*/ 562 w 788"/>
                  <a:gd name="T31" fmla="*/ 231 h 788"/>
                  <a:gd name="T32" fmla="*/ 626 w 788"/>
                  <a:gd name="T33" fmla="*/ 259 h 788"/>
                  <a:gd name="T34" fmla="*/ 564 w 788"/>
                  <a:gd name="T35" fmla="*/ 394 h 788"/>
                  <a:gd name="T36" fmla="*/ 626 w 788"/>
                  <a:gd name="T37" fmla="*/ 528 h 788"/>
                  <a:gd name="T38" fmla="*/ 626 w 788"/>
                  <a:gd name="T39" fmla="*/ 528 h 788"/>
                  <a:gd name="T40" fmla="*/ 394 w 788"/>
                  <a:gd name="T41" fmla="*/ 0 h 788"/>
                  <a:gd name="T42" fmla="*/ 394 w 788"/>
                  <a:gd name="T43" fmla="*/ 0 h 788"/>
                  <a:gd name="T44" fmla="*/ 0 w 788"/>
                  <a:gd name="T45" fmla="*/ 394 h 788"/>
                  <a:gd name="T46" fmla="*/ 394 w 788"/>
                  <a:gd name="T47" fmla="*/ 788 h 788"/>
                  <a:gd name="T48" fmla="*/ 788 w 788"/>
                  <a:gd name="T49" fmla="*/ 394 h 788"/>
                  <a:gd name="T50" fmla="*/ 394 w 788"/>
                  <a:gd name="T51" fmla="*/ 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8" h="788">
                    <a:moveTo>
                      <a:pt x="626" y="528"/>
                    </a:moveTo>
                    <a:lnTo>
                      <a:pt x="626" y="528"/>
                    </a:lnTo>
                    <a:cubicBezTo>
                      <a:pt x="619" y="541"/>
                      <a:pt x="602" y="556"/>
                      <a:pt x="562" y="556"/>
                    </a:cubicBezTo>
                    <a:cubicBezTo>
                      <a:pt x="539" y="556"/>
                      <a:pt x="511" y="551"/>
                      <a:pt x="479" y="541"/>
                    </a:cubicBezTo>
                    <a:cubicBezTo>
                      <a:pt x="461" y="619"/>
                      <a:pt x="431" y="662"/>
                      <a:pt x="394" y="662"/>
                    </a:cubicBezTo>
                    <a:cubicBezTo>
                      <a:pt x="356" y="662"/>
                      <a:pt x="326" y="619"/>
                      <a:pt x="308" y="541"/>
                    </a:cubicBezTo>
                    <a:cubicBezTo>
                      <a:pt x="277" y="551"/>
                      <a:pt x="248" y="556"/>
                      <a:pt x="225" y="556"/>
                    </a:cubicBezTo>
                    <a:cubicBezTo>
                      <a:pt x="185" y="556"/>
                      <a:pt x="168" y="541"/>
                      <a:pt x="161" y="528"/>
                    </a:cubicBezTo>
                    <a:cubicBezTo>
                      <a:pt x="150" y="509"/>
                      <a:pt x="148" y="476"/>
                      <a:pt x="198" y="420"/>
                    </a:cubicBezTo>
                    <a:cubicBezTo>
                      <a:pt x="205" y="411"/>
                      <a:pt x="214" y="403"/>
                      <a:pt x="223" y="394"/>
                    </a:cubicBezTo>
                    <a:cubicBezTo>
                      <a:pt x="164" y="339"/>
                      <a:pt x="142" y="292"/>
                      <a:pt x="161" y="259"/>
                    </a:cubicBezTo>
                    <a:cubicBezTo>
                      <a:pt x="168" y="247"/>
                      <a:pt x="185" y="231"/>
                      <a:pt x="225" y="231"/>
                    </a:cubicBezTo>
                    <a:cubicBezTo>
                      <a:pt x="248" y="231"/>
                      <a:pt x="276" y="237"/>
                      <a:pt x="308" y="246"/>
                    </a:cubicBezTo>
                    <a:cubicBezTo>
                      <a:pt x="326" y="168"/>
                      <a:pt x="356" y="125"/>
                      <a:pt x="394" y="125"/>
                    </a:cubicBezTo>
                    <a:cubicBezTo>
                      <a:pt x="431" y="125"/>
                      <a:pt x="461" y="168"/>
                      <a:pt x="479" y="246"/>
                    </a:cubicBezTo>
                    <a:cubicBezTo>
                      <a:pt x="511" y="237"/>
                      <a:pt x="540" y="231"/>
                      <a:pt x="562" y="231"/>
                    </a:cubicBezTo>
                    <a:cubicBezTo>
                      <a:pt x="602" y="231"/>
                      <a:pt x="619" y="247"/>
                      <a:pt x="626" y="259"/>
                    </a:cubicBezTo>
                    <a:cubicBezTo>
                      <a:pt x="645" y="292"/>
                      <a:pt x="623" y="339"/>
                      <a:pt x="564" y="394"/>
                    </a:cubicBezTo>
                    <a:cubicBezTo>
                      <a:pt x="623" y="448"/>
                      <a:pt x="645" y="496"/>
                      <a:pt x="626" y="528"/>
                    </a:cubicBezTo>
                    <a:lnTo>
                      <a:pt x="626" y="528"/>
                    </a:lnTo>
                    <a:close/>
                    <a:moveTo>
                      <a:pt x="394" y="0"/>
                    </a:moveTo>
                    <a:lnTo>
                      <a:pt x="394" y="0"/>
                    </a:lnTo>
                    <a:cubicBezTo>
                      <a:pt x="176" y="0"/>
                      <a:pt x="0" y="176"/>
                      <a:pt x="0" y="394"/>
                    </a:cubicBezTo>
                    <a:cubicBezTo>
                      <a:pt x="0" y="611"/>
                      <a:pt x="176" y="788"/>
                      <a:pt x="394" y="788"/>
                    </a:cubicBezTo>
                    <a:cubicBezTo>
                      <a:pt x="611" y="788"/>
                      <a:pt x="788" y="611"/>
                      <a:pt x="788" y="394"/>
                    </a:cubicBezTo>
                    <a:cubicBezTo>
                      <a:pt x="788" y="176"/>
                      <a:pt x="611" y="0"/>
                      <a:pt x="3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9" name="Freeform 24">
                <a:extLst>
                  <a:ext uri="{FF2B5EF4-FFF2-40B4-BE49-F238E27FC236}">
                    <a16:creationId xmlns:a16="http://schemas.microsoft.com/office/drawing/2014/main" id="{05B6FE5B-A715-493C-9B6B-E64BD3120697}"/>
                  </a:ext>
                </a:extLst>
              </p:cNvPr>
              <p:cNvSpPr>
                <a:spLocks/>
              </p:cNvSpPr>
              <p:nvPr/>
            </p:nvSpPr>
            <p:spPr bwMode="auto">
              <a:xfrm>
                <a:off x="7408863" y="3616325"/>
                <a:ext cx="38100" cy="36513"/>
              </a:xfrm>
              <a:custGeom>
                <a:avLst/>
                <a:gdLst>
                  <a:gd name="T0" fmla="*/ 0 w 19"/>
                  <a:gd name="T1" fmla="*/ 11 h 18"/>
                  <a:gd name="T2" fmla="*/ 0 w 19"/>
                  <a:gd name="T3" fmla="*/ 11 h 18"/>
                  <a:gd name="T4" fmla="*/ 17 w 19"/>
                  <a:gd name="T5" fmla="*/ 18 h 18"/>
                  <a:gd name="T6" fmla="*/ 19 w 19"/>
                  <a:gd name="T7" fmla="*/ 0 h 18"/>
                  <a:gd name="T8" fmla="*/ 10 w 19"/>
                  <a:gd name="T9" fmla="*/ 5 h 18"/>
                  <a:gd name="T10" fmla="*/ 0 w 19"/>
                  <a:gd name="T11" fmla="*/ 11 h 18"/>
                </a:gdLst>
                <a:ahLst/>
                <a:cxnLst>
                  <a:cxn ang="0">
                    <a:pos x="T0" y="T1"/>
                  </a:cxn>
                  <a:cxn ang="0">
                    <a:pos x="T2" y="T3"/>
                  </a:cxn>
                  <a:cxn ang="0">
                    <a:pos x="T4" y="T5"/>
                  </a:cxn>
                  <a:cxn ang="0">
                    <a:pos x="T6" y="T7"/>
                  </a:cxn>
                  <a:cxn ang="0">
                    <a:pos x="T8" y="T9"/>
                  </a:cxn>
                  <a:cxn ang="0">
                    <a:pos x="T10" y="T11"/>
                  </a:cxn>
                </a:cxnLst>
                <a:rect l="0" t="0" r="r" b="b"/>
                <a:pathLst>
                  <a:path w="19" h="18">
                    <a:moveTo>
                      <a:pt x="0" y="11"/>
                    </a:moveTo>
                    <a:lnTo>
                      <a:pt x="0" y="11"/>
                    </a:lnTo>
                    <a:cubicBezTo>
                      <a:pt x="6" y="13"/>
                      <a:pt x="11" y="15"/>
                      <a:pt x="17" y="18"/>
                    </a:cubicBezTo>
                    <a:cubicBezTo>
                      <a:pt x="18" y="12"/>
                      <a:pt x="18" y="6"/>
                      <a:pt x="19" y="0"/>
                    </a:cubicBezTo>
                    <a:cubicBezTo>
                      <a:pt x="16" y="2"/>
                      <a:pt x="13" y="4"/>
                      <a:pt x="10" y="5"/>
                    </a:cubicBezTo>
                    <a:cubicBezTo>
                      <a:pt x="7" y="7"/>
                      <a:pt x="4" y="9"/>
                      <a:pt x="0"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0" name="Freeform 25">
                <a:extLst>
                  <a:ext uri="{FF2B5EF4-FFF2-40B4-BE49-F238E27FC236}">
                    <a16:creationId xmlns:a16="http://schemas.microsoft.com/office/drawing/2014/main" id="{AFAE52EA-9EA4-4E9F-A7F4-273CE2F745DE}"/>
                  </a:ext>
                </a:extLst>
              </p:cNvPr>
              <p:cNvSpPr>
                <a:spLocks/>
              </p:cNvSpPr>
              <p:nvPr/>
            </p:nvSpPr>
            <p:spPr bwMode="auto">
              <a:xfrm>
                <a:off x="7532688" y="3424238"/>
                <a:ext cx="28575" cy="44450"/>
              </a:xfrm>
              <a:custGeom>
                <a:avLst/>
                <a:gdLst>
                  <a:gd name="T0" fmla="*/ 14 w 14"/>
                  <a:gd name="T1" fmla="*/ 11 h 21"/>
                  <a:gd name="T2" fmla="*/ 14 w 14"/>
                  <a:gd name="T3" fmla="*/ 11 h 21"/>
                  <a:gd name="T4" fmla="*/ 0 w 14"/>
                  <a:gd name="T5" fmla="*/ 0 h 21"/>
                  <a:gd name="T6" fmla="*/ 0 w 14"/>
                  <a:gd name="T7" fmla="*/ 11 h 21"/>
                  <a:gd name="T8" fmla="*/ 0 w 14"/>
                  <a:gd name="T9" fmla="*/ 21 h 21"/>
                  <a:gd name="T10" fmla="*/ 14 w 14"/>
                  <a:gd name="T11" fmla="*/ 11 h 21"/>
                </a:gdLst>
                <a:ahLst/>
                <a:cxnLst>
                  <a:cxn ang="0">
                    <a:pos x="T0" y="T1"/>
                  </a:cxn>
                  <a:cxn ang="0">
                    <a:pos x="T2" y="T3"/>
                  </a:cxn>
                  <a:cxn ang="0">
                    <a:pos x="T4" y="T5"/>
                  </a:cxn>
                  <a:cxn ang="0">
                    <a:pos x="T6" y="T7"/>
                  </a:cxn>
                  <a:cxn ang="0">
                    <a:pos x="T8" y="T9"/>
                  </a:cxn>
                  <a:cxn ang="0">
                    <a:pos x="T10" y="T11"/>
                  </a:cxn>
                </a:cxnLst>
                <a:rect l="0" t="0" r="r" b="b"/>
                <a:pathLst>
                  <a:path w="14" h="21">
                    <a:moveTo>
                      <a:pt x="14" y="11"/>
                    </a:moveTo>
                    <a:lnTo>
                      <a:pt x="14" y="11"/>
                    </a:lnTo>
                    <a:cubicBezTo>
                      <a:pt x="9" y="7"/>
                      <a:pt x="5" y="3"/>
                      <a:pt x="0" y="0"/>
                    </a:cubicBezTo>
                    <a:cubicBezTo>
                      <a:pt x="0" y="3"/>
                      <a:pt x="0" y="7"/>
                      <a:pt x="0" y="11"/>
                    </a:cubicBezTo>
                    <a:cubicBezTo>
                      <a:pt x="0" y="14"/>
                      <a:pt x="0" y="18"/>
                      <a:pt x="0" y="21"/>
                    </a:cubicBezTo>
                    <a:cubicBezTo>
                      <a:pt x="5" y="18"/>
                      <a:pt x="9" y="14"/>
                      <a:pt x="14"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1" name="Freeform 26">
                <a:extLst>
                  <a:ext uri="{FF2B5EF4-FFF2-40B4-BE49-F238E27FC236}">
                    <a16:creationId xmlns:a16="http://schemas.microsoft.com/office/drawing/2014/main" id="{F5884B8C-66E1-4B98-A6AE-F3E9D06EB378}"/>
                  </a:ext>
                </a:extLst>
              </p:cNvPr>
              <p:cNvSpPr>
                <a:spLocks/>
              </p:cNvSpPr>
              <p:nvPr/>
            </p:nvSpPr>
            <p:spPr bwMode="auto">
              <a:xfrm>
                <a:off x="7515226" y="3186113"/>
                <a:ext cx="239713" cy="211138"/>
              </a:xfrm>
              <a:custGeom>
                <a:avLst/>
                <a:gdLst>
                  <a:gd name="T0" fmla="*/ 50 w 116"/>
                  <a:gd name="T1" fmla="*/ 102 h 102"/>
                  <a:gd name="T2" fmla="*/ 50 w 116"/>
                  <a:gd name="T3" fmla="*/ 102 h 102"/>
                  <a:gd name="T4" fmla="*/ 109 w 116"/>
                  <a:gd name="T5" fmla="*/ 9 h 102"/>
                  <a:gd name="T6" fmla="*/ 76 w 116"/>
                  <a:gd name="T7" fmla="*/ 0 h 102"/>
                  <a:gd name="T8" fmla="*/ 0 w 116"/>
                  <a:gd name="T9" fmla="*/ 14 h 102"/>
                  <a:gd name="T10" fmla="*/ 6 w 116"/>
                  <a:gd name="T11" fmla="*/ 69 h 102"/>
                  <a:gd name="T12" fmla="*/ 50 w 116"/>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16" h="102">
                    <a:moveTo>
                      <a:pt x="50" y="102"/>
                    </a:moveTo>
                    <a:lnTo>
                      <a:pt x="50" y="102"/>
                    </a:lnTo>
                    <a:cubicBezTo>
                      <a:pt x="98" y="58"/>
                      <a:pt x="116" y="22"/>
                      <a:pt x="109" y="9"/>
                    </a:cubicBezTo>
                    <a:cubicBezTo>
                      <a:pt x="105" y="3"/>
                      <a:pt x="94" y="0"/>
                      <a:pt x="76" y="0"/>
                    </a:cubicBezTo>
                    <a:cubicBezTo>
                      <a:pt x="56" y="0"/>
                      <a:pt x="30" y="5"/>
                      <a:pt x="0" y="14"/>
                    </a:cubicBezTo>
                    <a:cubicBezTo>
                      <a:pt x="2" y="31"/>
                      <a:pt x="4" y="50"/>
                      <a:pt x="6" y="69"/>
                    </a:cubicBezTo>
                    <a:cubicBezTo>
                      <a:pt x="21" y="80"/>
                      <a:pt x="36" y="90"/>
                      <a:pt x="50" y="10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2" name="Freeform 27">
                <a:extLst>
                  <a:ext uri="{FF2B5EF4-FFF2-40B4-BE49-F238E27FC236}">
                    <a16:creationId xmlns:a16="http://schemas.microsoft.com/office/drawing/2014/main" id="{16905F83-5C88-401E-99BE-FDABB7A612B5}"/>
                  </a:ext>
                </a:extLst>
              </p:cNvPr>
              <p:cNvSpPr>
                <a:spLocks noEditPoints="1"/>
              </p:cNvSpPr>
              <p:nvPr/>
            </p:nvSpPr>
            <p:spPr bwMode="auto">
              <a:xfrm>
                <a:off x="7194551" y="3295650"/>
                <a:ext cx="263525" cy="301625"/>
              </a:xfrm>
              <a:custGeom>
                <a:avLst/>
                <a:gdLst>
                  <a:gd name="T0" fmla="*/ 64 w 128"/>
                  <a:gd name="T1" fmla="*/ 124 h 145"/>
                  <a:gd name="T2" fmla="*/ 64 w 128"/>
                  <a:gd name="T3" fmla="*/ 124 h 145"/>
                  <a:gd name="T4" fmla="*/ 13 w 128"/>
                  <a:gd name="T5" fmla="*/ 73 h 145"/>
                  <a:gd name="T6" fmla="*/ 64 w 128"/>
                  <a:gd name="T7" fmla="*/ 22 h 145"/>
                  <a:gd name="T8" fmla="*/ 115 w 128"/>
                  <a:gd name="T9" fmla="*/ 73 h 145"/>
                  <a:gd name="T10" fmla="*/ 64 w 128"/>
                  <a:gd name="T11" fmla="*/ 124 h 145"/>
                  <a:gd name="T12" fmla="*/ 64 w 128"/>
                  <a:gd name="T13" fmla="*/ 124 h 145"/>
                  <a:gd name="T14" fmla="*/ 96 w 128"/>
                  <a:gd name="T15" fmla="*/ 17 h 145"/>
                  <a:gd name="T16" fmla="*/ 96 w 128"/>
                  <a:gd name="T17" fmla="*/ 17 h 145"/>
                  <a:gd name="T18" fmla="*/ 64 w 128"/>
                  <a:gd name="T19" fmla="*/ 0 h 145"/>
                  <a:gd name="T20" fmla="*/ 32 w 128"/>
                  <a:gd name="T21" fmla="*/ 17 h 145"/>
                  <a:gd name="T22" fmla="*/ 1 w 128"/>
                  <a:gd name="T23" fmla="*/ 36 h 145"/>
                  <a:gd name="T24" fmla="*/ 0 w 128"/>
                  <a:gd name="T25" fmla="*/ 73 h 145"/>
                  <a:gd name="T26" fmla="*/ 1 w 128"/>
                  <a:gd name="T27" fmla="*/ 109 h 145"/>
                  <a:gd name="T28" fmla="*/ 32 w 128"/>
                  <a:gd name="T29" fmla="*/ 128 h 145"/>
                  <a:gd name="T30" fmla="*/ 64 w 128"/>
                  <a:gd name="T31" fmla="*/ 145 h 145"/>
                  <a:gd name="T32" fmla="*/ 96 w 128"/>
                  <a:gd name="T33" fmla="*/ 128 h 145"/>
                  <a:gd name="T34" fmla="*/ 127 w 128"/>
                  <a:gd name="T35" fmla="*/ 109 h 145"/>
                  <a:gd name="T36" fmla="*/ 128 w 128"/>
                  <a:gd name="T37" fmla="*/ 73 h 145"/>
                  <a:gd name="T38" fmla="*/ 127 w 128"/>
                  <a:gd name="T39" fmla="*/ 36 h 145"/>
                  <a:gd name="T40" fmla="*/ 96 w 128"/>
                  <a:gd name="T41" fmla="*/ 1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45">
                    <a:moveTo>
                      <a:pt x="64" y="124"/>
                    </a:moveTo>
                    <a:lnTo>
                      <a:pt x="64" y="124"/>
                    </a:lnTo>
                    <a:cubicBezTo>
                      <a:pt x="36" y="124"/>
                      <a:pt x="13" y="101"/>
                      <a:pt x="13" y="73"/>
                    </a:cubicBezTo>
                    <a:cubicBezTo>
                      <a:pt x="13" y="44"/>
                      <a:pt x="36" y="22"/>
                      <a:pt x="64" y="22"/>
                    </a:cubicBezTo>
                    <a:cubicBezTo>
                      <a:pt x="92" y="22"/>
                      <a:pt x="115" y="44"/>
                      <a:pt x="115" y="73"/>
                    </a:cubicBezTo>
                    <a:cubicBezTo>
                      <a:pt x="115" y="101"/>
                      <a:pt x="92" y="124"/>
                      <a:pt x="64" y="124"/>
                    </a:cubicBezTo>
                    <a:lnTo>
                      <a:pt x="64" y="124"/>
                    </a:lnTo>
                    <a:close/>
                    <a:moveTo>
                      <a:pt x="96" y="17"/>
                    </a:moveTo>
                    <a:lnTo>
                      <a:pt x="96" y="17"/>
                    </a:lnTo>
                    <a:cubicBezTo>
                      <a:pt x="85" y="11"/>
                      <a:pt x="75" y="5"/>
                      <a:pt x="64" y="0"/>
                    </a:cubicBezTo>
                    <a:cubicBezTo>
                      <a:pt x="53" y="5"/>
                      <a:pt x="42" y="11"/>
                      <a:pt x="32" y="17"/>
                    </a:cubicBezTo>
                    <a:cubicBezTo>
                      <a:pt x="21" y="23"/>
                      <a:pt x="11" y="29"/>
                      <a:pt x="1" y="36"/>
                    </a:cubicBezTo>
                    <a:cubicBezTo>
                      <a:pt x="0" y="49"/>
                      <a:pt x="0" y="61"/>
                      <a:pt x="0" y="73"/>
                    </a:cubicBezTo>
                    <a:cubicBezTo>
                      <a:pt x="0" y="84"/>
                      <a:pt x="0" y="97"/>
                      <a:pt x="1" y="109"/>
                    </a:cubicBezTo>
                    <a:cubicBezTo>
                      <a:pt x="11" y="116"/>
                      <a:pt x="21" y="122"/>
                      <a:pt x="32" y="128"/>
                    </a:cubicBezTo>
                    <a:cubicBezTo>
                      <a:pt x="42" y="134"/>
                      <a:pt x="53" y="140"/>
                      <a:pt x="64" y="145"/>
                    </a:cubicBezTo>
                    <a:cubicBezTo>
                      <a:pt x="75" y="140"/>
                      <a:pt x="85" y="134"/>
                      <a:pt x="96" y="128"/>
                    </a:cubicBezTo>
                    <a:cubicBezTo>
                      <a:pt x="106" y="122"/>
                      <a:pt x="116" y="116"/>
                      <a:pt x="127" y="109"/>
                    </a:cubicBezTo>
                    <a:cubicBezTo>
                      <a:pt x="127" y="97"/>
                      <a:pt x="128" y="85"/>
                      <a:pt x="128" y="73"/>
                    </a:cubicBezTo>
                    <a:cubicBezTo>
                      <a:pt x="128" y="60"/>
                      <a:pt x="127" y="48"/>
                      <a:pt x="127" y="36"/>
                    </a:cubicBezTo>
                    <a:cubicBezTo>
                      <a:pt x="116" y="29"/>
                      <a:pt x="106" y="23"/>
                      <a:pt x="96" y="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9" name="Group 8">
            <a:extLst>
              <a:ext uri="{FF2B5EF4-FFF2-40B4-BE49-F238E27FC236}">
                <a16:creationId xmlns:a16="http://schemas.microsoft.com/office/drawing/2014/main" id="{277EB831-5C44-661D-B691-7F7EBA970929}"/>
              </a:ext>
            </a:extLst>
          </p:cNvPr>
          <p:cNvGrpSpPr/>
          <p:nvPr/>
        </p:nvGrpSpPr>
        <p:grpSpPr>
          <a:xfrm>
            <a:off x="560414" y="4710127"/>
            <a:ext cx="1155531" cy="1667045"/>
            <a:chOff x="9295673" y="2882566"/>
            <a:chExt cx="1417819" cy="1699662"/>
          </a:xfrm>
        </p:grpSpPr>
        <p:grpSp>
          <p:nvGrpSpPr>
            <p:cNvPr id="509" name="Group 508">
              <a:extLst>
                <a:ext uri="{FF2B5EF4-FFF2-40B4-BE49-F238E27FC236}">
                  <a16:creationId xmlns:a16="http://schemas.microsoft.com/office/drawing/2014/main" id="{32AEA2DA-1DEB-4177-B12D-990F032F98DE}"/>
                </a:ext>
              </a:extLst>
            </p:cNvPr>
            <p:cNvGrpSpPr/>
            <p:nvPr/>
          </p:nvGrpSpPr>
          <p:grpSpPr>
            <a:xfrm>
              <a:off x="9295673" y="2882566"/>
              <a:ext cx="1417819" cy="1699662"/>
              <a:chOff x="5138818" y="765175"/>
              <a:chExt cx="2857801" cy="4693878"/>
            </a:xfrm>
          </p:grpSpPr>
          <p:sp>
            <p:nvSpPr>
              <p:cNvPr id="510" name="Rounded Rectangle 61">
                <a:extLst>
                  <a:ext uri="{FF2B5EF4-FFF2-40B4-BE49-F238E27FC236}">
                    <a16:creationId xmlns:a16="http://schemas.microsoft.com/office/drawing/2014/main" id="{2C066C3D-03C4-40C4-91B8-B6C6C12D4ABA}"/>
                  </a:ext>
                </a:extLst>
              </p:cNvPr>
              <p:cNvSpPr/>
              <p:nvPr/>
            </p:nvSpPr>
            <p:spPr bwMode="gray">
              <a:xfrm>
                <a:off x="5343669" y="878314"/>
                <a:ext cx="2440155" cy="4004814"/>
              </a:xfrm>
              <a:prstGeom prst="roundRect">
                <a:avLst>
                  <a:gd name="adj" fmla="val 4667"/>
                </a:avLst>
              </a:prstGeom>
              <a:solidFill>
                <a:schemeClr val="accent6">
                  <a:lumMod val="50000"/>
                </a:schemeClr>
              </a:solidFill>
              <a:ln w="63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11" name="Group 510">
                <a:extLst>
                  <a:ext uri="{FF2B5EF4-FFF2-40B4-BE49-F238E27FC236}">
                    <a16:creationId xmlns:a16="http://schemas.microsoft.com/office/drawing/2014/main" id="{0C1FD81C-7C3C-4B7A-A2DB-A8E13332D3C8}"/>
                  </a:ext>
                </a:extLst>
              </p:cNvPr>
              <p:cNvGrpSpPr/>
              <p:nvPr/>
            </p:nvGrpSpPr>
            <p:grpSpPr>
              <a:xfrm>
                <a:off x="5138818" y="765175"/>
                <a:ext cx="2857801" cy="4693878"/>
                <a:chOff x="5138818" y="765175"/>
                <a:chExt cx="2857801" cy="4693878"/>
              </a:xfrm>
            </p:grpSpPr>
            <p:sp>
              <p:nvSpPr>
                <p:cNvPr id="512" name="Rounded Rectangle 59">
                  <a:extLst>
                    <a:ext uri="{FF2B5EF4-FFF2-40B4-BE49-F238E27FC236}">
                      <a16:creationId xmlns:a16="http://schemas.microsoft.com/office/drawing/2014/main" id="{34D2F225-A37C-4157-9749-2680F8785855}"/>
                    </a:ext>
                  </a:extLst>
                </p:cNvPr>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13" name="Oval 512">
                  <a:extLst>
                    <a:ext uri="{FF2B5EF4-FFF2-40B4-BE49-F238E27FC236}">
                      <a16:creationId xmlns:a16="http://schemas.microsoft.com/office/drawing/2014/main" id="{8AD3C18A-CD67-40B7-AF68-86B61A1D9E57}"/>
                    </a:ext>
                  </a:extLst>
                </p:cNvPr>
                <p:cNvSpPr/>
                <p:nvPr/>
              </p:nvSpPr>
              <p:spPr bwMode="gray">
                <a:xfrm>
                  <a:off x="6442306" y="4979920"/>
                  <a:ext cx="184309" cy="252525"/>
                </a:xfrm>
                <a:prstGeom prst="ellipse">
                  <a:avLst/>
                </a:prstGeom>
                <a:solidFill>
                  <a:schemeClr val="accent2">
                    <a:lumMod val="75000"/>
                  </a:schemeClr>
                </a:solidFill>
                <a:ln w="63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14" name="Rectangle 513">
                  <a:extLst>
                    <a:ext uri="{FF2B5EF4-FFF2-40B4-BE49-F238E27FC236}">
                      <a16:creationId xmlns:a16="http://schemas.microsoft.com/office/drawing/2014/main" id="{0E911580-BC31-4D66-99B1-296ED76932B2}"/>
                    </a:ext>
                  </a:extLst>
                </p:cNvPr>
                <p:cNvSpPr/>
                <p:nvPr/>
              </p:nvSpPr>
              <p:spPr bwMode="gray">
                <a:xfrm>
                  <a:off x="5138818" y="1133173"/>
                  <a:ext cx="79794" cy="321617"/>
                </a:xfrm>
                <a:prstGeom prst="rect">
                  <a:avLst/>
                </a:prstGeom>
                <a:solidFill>
                  <a:schemeClr val="accent2">
                    <a:lumMod val="75000"/>
                  </a:schemeClr>
                </a:solidFill>
                <a:ln w="63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15" name="Rectangle 514">
                  <a:extLst>
                    <a:ext uri="{FF2B5EF4-FFF2-40B4-BE49-F238E27FC236}">
                      <a16:creationId xmlns:a16="http://schemas.microsoft.com/office/drawing/2014/main" id="{115E20A8-303C-4D62-8ADE-E9D4D537E593}"/>
                    </a:ext>
                  </a:extLst>
                </p:cNvPr>
                <p:cNvSpPr/>
                <p:nvPr/>
              </p:nvSpPr>
              <p:spPr bwMode="gray">
                <a:xfrm>
                  <a:off x="5138818" y="1501171"/>
                  <a:ext cx="79794" cy="321617"/>
                </a:xfrm>
                <a:prstGeom prst="rect">
                  <a:avLst/>
                </a:prstGeom>
                <a:solidFill>
                  <a:schemeClr val="accent2">
                    <a:lumMod val="75000"/>
                  </a:schemeClr>
                </a:solidFill>
                <a:ln w="63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16" name="Rectangle 515">
                  <a:extLst>
                    <a:ext uri="{FF2B5EF4-FFF2-40B4-BE49-F238E27FC236}">
                      <a16:creationId xmlns:a16="http://schemas.microsoft.com/office/drawing/2014/main" id="{2BB034BC-F943-4C47-BF36-3D59AB87A011}"/>
                    </a:ext>
                  </a:extLst>
                </p:cNvPr>
                <p:cNvSpPr/>
                <p:nvPr/>
              </p:nvSpPr>
              <p:spPr bwMode="gray">
                <a:xfrm>
                  <a:off x="7916825" y="1133173"/>
                  <a:ext cx="79794" cy="321617"/>
                </a:xfrm>
                <a:prstGeom prst="rect">
                  <a:avLst/>
                </a:prstGeom>
                <a:solidFill>
                  <a:schemeClr val="accent2">
                    <a:lumMod val="75000"/>
                  </a:schemeClr>
                </a:solidFill>
                <a:ln w="63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sp>
          <p:nvSpPr>
            <p:cNvPr id="517" name="TextBox 516">
              <a:extLst>
                <a:ext uri="{FF2B5EF4-FFF2-40B4-BE49-F238E27FC236}">
                  <a16:creationId xmlns:a16="http://schemas.microsoft.com/office/drawing/2014/main" id="{CC2DD81B-E2B9-47BE-8C00-E7EB1D508FC3}"/>
                </a:ext>
              </a:extLst>
            </p:cNvPr>
            <p:cNvSpPr txBox="1"/>
            <p:nvPr/>
          </p:nvSpPr>
          <p:spPr>
            <a:xfrm>
              <a:off x="9384966" y="2937924"/>
              <a:ext cx="1241027" cy="141209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Aptos" panose="020B0004020202020204" pitchFamily="34" charset="0"/>
                  <a:ea typeface="+mn-ea"/>
                  <a:cs typeface="+mn-cs"/>
                </a:rPr>
                <a:t>Deloitte follows “</a:t>
              </a:r>
              <a:r>
                <a:rPr kumimoji="0" lang="en-US" sz="700" b="1" i="0" u="none" strike="noStrike" kern="1200" cap="none" spc="0" normalizeH="0" baseline="0" noProof="0">
                  <a:ln>
                    <a:noFill/>
                  </a:ln>
                  <a:solidFill>
                    <a:prstClr val="white"/>
                  </a:solidFill>
                  <a:effectLst/>
                  <a:uLnTx/>
                  <a:uFillTx/>
                  <a:latin typeface="Aptos" panose="020B0004020202020204" pitchFamily="34" charset="0"/>
                  <a:ea typeface="+mn-ea"/>
                  <a:cs typeface="+mn-cs"/>
                </a:rPr>
                <a:t>Digital Foundry</a:t>
              </a:r>
              <a:r>
                <a:rPr kumimoji="0" lang="en-US" sz="700" b="0" i="0" u="none" strike="noStrike" kern="1200" cap="none" spc="0" normalizeH="0" baseline="0" noProof="0">
                  <a:ln>
                    <a:noFill/>
                  </a:ln>
                  <a:solidFill>
                    <a:prstClr val="white"/>
                  </a:solidFill>
                  <a:effectLst/>
                  <a:uLnTx/>
                  <a:uFillTx/>
                  <a:latin typeface="Aptos" panose="020B0004020202020204" pitchFamily="34" charset="0"/>
                  <a:ea typeface="+mn-ea"/>
                  <a:cs typeface="+mn-cs"/>
                </a:rPr>
                <a:t>” approach an aggregation of services that blends strategic expertise, governance, agile delivery methods, and innovative thinking with enabling technologies.</a:t>
              </a:r>
            </a:p>
          </p:txBody>
        </p:sp>
      </p:grpSp>
      <p:grpSp>
        <p:nvGrpSpPr>
          <p:cNvPr id="2" name="Group 1">
            <a:extLst>
              <a:ext uri="{FF2B5EF4-FFF2-40B4-BE49-F238E27FC236}">
                <a16:creationId xmlns:a16="http://schemas.microsoft.com/office/drawing/2014/main" id="{5F868DD1-A04E-14CF-FCC4-D123B7BC654B}"/>
              </a:ext>
            </a:extLst>
          </p:cNvPr>
          <p:cNvGrpSpPr/>
          <p:nvPr/>
        </p:nvGrpSpPr>
        <p:grpSpPr>
          <a:xfrm>
            <a:off x="5640038" y="4683220"/>
            <a:ext cx="2207817" cy="1225336"/>
            <a:chOff x="9159175" y="4883627"/>
            <a:chExt cx="1682175" cy="933605"/>
          </a:xfrm>
        </p:grpSpPr>
        <p:grpSp>
          <p:nvGrpSpPr>
            <p:cNvPr id="526" name="Group 525">
              <a:extLst>
                <a:ext uri="{FF2B5EF4-FFF2-40B4-BE49-F238E27FC236}">
                  <a16:creationId xmlns:a16="http://schemas.microsoft.com/office/drawing/2014/main" id="{F2263AA5-ED70-461D-A064-A78457695E98}"/>
                </a:ext>
              </a:extLst>
            </p:cNvPr>
            <p:cNvGrpSpPr/>
            <p:nvPr/>
          </p:nvGrpSpPr>
          <p:grpSpPr>
            <a:xfrm>
              <a:off x="9159175" y="4883627"/>
              <a:ext cx="1682175" cy="933605"/>
              <a:chOff x="3823566" y="5346888"/>
              <a:chExt cx="2259854" cy="1080000"/>
            </a:xfrm>
          </p:grpSpPr>
          <p:sp>
            <p:nvSpPr>
              <p:cNvPr id="527" name="Rectangle 11">
                <a:extLst>
                  <a:ext uri="{FF2B5EF4-FFF2-40B4-BE49-F238E27FC236}">
                    <a16:creationId xmlns:a16="http://schemas.microsoft.com/office/drawing/2014/main" id="{CD1EE01A-CA8D-4D35-BEF7-9B545EC54504}"/>
                  </a:ext>
                </a:extLst>
              </p:cNvPr>
              <p:cNvSpPr>
                <a:spLocks noChangeArrowheads="1"/>
              </p:cNvSpPr>
              <p:nvPr/>
            </p:nvSpPr>
            <p:spPr bwMode="auto">
              <a:xfrm>
                <a:off x="3823566" y="5424111"/>
                <a:ext cx="2259854" cy="912660"/>
              </a:xfrm>
              <a:custGeom>
                <a:avLst/>
                <a:gdLst>
                  <a:gd name="connsiteX0" fmla="*/ 0 w 2558958"/>
                  <a:gd name="connsiteY0" fmla="*/ 0 h 849160"/>
                  <a:gd name="connsiteX1" fmla="*/ 2375675 w 2558958"/>
                  <a:gd name="connsiteY1" fmla="*/ 0 h 849160"/>
                  <a:gd name="connsiteX2" fmla="*/ 2558958 w 2558958"/>
                  <a:gd name="connsiteY2" fmla="*/ 424580 h 849160"/>
                  <a:gd name="connsiteX3" fmla="*/ 2375675 w 2558958"/>
                  <a:gd name="connsiteY3" fmla="*/ 849160 h 849160"/>
                  <a:gd name="connsiteX4" fmla="*/ 0 w 2558958"/>
                  <a:gd name="connsiteY4" fmla="*/ 849160 h 849160"/>
                  <a:gd name="connsiteX5" fmla="*/ 0 w 2558958"/>
                  <a:gd name="connsiteY5" fmla="*/ 0 h 849160"/>
                  <a:gd name="connsiteX0" fmla="*/ 266700 w 2558958"/>
                  <a:gd name="connsiteY0" fmla="*/ 0 h 861860"/>
                  <a:gd name="connsiteX1" fmla="*/ 2375675 w 2558958"/>
                  <a:gd name="connsiteY1" fmla="*/ 12700 h 861860"/>
                  <a:gd name="connsiteX2" fmla="*/ 2558958 w 2558958"/>
                  <a:gd name="connsiteY2" fmla="*/ 437280 h 861860"/>
                  <a:gd name="connsiteX3" fmla="*/ 2375675 w 2558958"/>
                  <a:gd name="connsiteY3" fmla="*/ 861860 h 861860"/>
                  <a:gd name="connsiteX4" fmla="*/ 0 w 2558958"/>
                  <a:gd name="connsiteY4" fmla="*/ 861860 h 861860"/>
                  <a:gd name="connsiteX5" fmla="*/ 266700 w 2558958"/>
                  <a:gd name="connsiteY5" fmla="*/ 0 h 861860"/>
                  <a:gd name="connsiteX0" fmla="*/ 266700 w 2914558"/>
                  <a:gd name="connsiteY0" fmla="*/ 0 h 861860"/>
                  <a:gd name="connsiteX1" fmla="*/ 2375675 w 2914558"/>
                  <a:gd name="connsiteY1" fmla="*/ 12700 h 861860"/>
                  <a:gd name="connsiteX2" fmla="*/ 2914558 w 2914558"/>
                  <a:gd name="connsiteY2" fmla="*/ 437280 h 861860"/>
                  <a:gd name="connsiteX3" fmla="*/ 2375675 w 2914558"/>
                  <a:gd name="connsiteY3" fmla="*/ 861860 h 861860"/>
                  <a:gd name="connsiteX4" fmla="*/ 0 w 2914558"/>
                  <a:gd name="connsiteY4" fmla="*/ 861860 h 861860"/>
                  <a:gd name="connsiteX5" fmla="*/ 266700 w 2914558"/>
                  <a:gd name="connsiteY5" fmla="*/ 0 h 861860"/>
                  <a:gd name="connsiteX0" fmla="*/ 0 w 3244758"/>
                  <a:gd name="connsiteY0" fmla="*/ 0 h 874560"/>
                  <a:gd name="connsiteX1" fmla="*/ 2705875 w 3244758"/>
                  <a:gd name="connsiteY1" fmla="*/ 25400 h 874560"/>
                  <a:gd name="connsiteX2" fmla="*/ 3244758 w 3244758"/>
                  <a:gd name="connsiteY2" fmla="*/ 449980 h 874560"/>
                  <a:gd name="connsiteX3" fmla="*/ 2705875 w 3244758"/>
                  <a:gd name="connsiteY3" fmla="*/ 874560 h 874560"/>
                  <a:gd name="connsiteX4" fmla="*/ 330200 w 3244758"/>
                  <a:gd name="connsiteY4" fmla="*/ 874560 h 874560"/>
                  <a:gd name="connsiteX5" fmla="*/ 0 w 3244758"/>
                  <a:gd name="connsiteY5" fmla="*/ 0 h 874560"/>
                  <a:gd name="connsiteX0" fmla="*/ 63500 w 3308258"/>
                  <a:gd name="connsiteY0" fmla="*/ 0 h 912660"/>
                  <a:gd name="connsiteX1" fmla="*/ 2769375 w 3308258"/>
                  <a:gd name="connsiteY1" fmla="*/ 25400 h 912660"/>
                  <a:gd name="connsiteX2" fmla="*/ 3308258 w 3308258"/>
                  <a:gd name="connsiteY2" fmla="*/ 449980 h 912660"/>
                  <a:gd name="connsiteX3" fmla="*/ 2769375 w 3308258"/>
                  <a:gd name="connsiteY3" fmla="*/ 874560 h 912660"/>
                  <a:gd name="connsiteX4" fmla="*/ 0 w 3308258"/>
                  <a:gd name="connsiteY4" fmla="*/ 912660 h 912660"/>
                  <a:gd name="connsiteX5" fmla="*/ 63500 w 3308258"/>
                  <a:gd name="connsiteY5" fmla="*/ 0 h 912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8258" h="912660">
                    <a:moveTo>
                      <a:pt x="63500" y="0"/>
                    </a:moveTo>
                    <a:lnTo>
                      <a:pt x="2769375" y="25400"/>
                    </a:lnTo>
                    <a:lnTo>
                      <a:pt x="3308258" y="449980"/>
                    </a:lnTo>
                    <a:lnTo>
                      <a:pt x="2769375" y="874560"/>
                    </a:lnTo>
                    <a:lnTo>
                      <a:pt x="0" y="912660"/>
                    </a:lnTo>
                    <a:lnTo>
                      <a:pt x="63500" y="0"/>
                    </a:lnTo>
                    <a:close/>
                  </a:path>
                </a:pathLst>
              </a:custGeom>
              <a:solidFill>
                <a:srgbClr val="0D8390"/>
              </a:solidFill>
              <a:ln w="9525">
                <a:solidFill>
                  <a:schemeClr val="bg1"/>
                </a:solidFill>
                <a:miter lim="800000"/>
                <a:headEnd/>
                <a:tailEnd/>
              </a:ln>
            </p:spPr>
            <p:txBody>
              <a:bodyPr wrap="square" anchor="ctr">
                <a:no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marL="533400" marR="0" lvl="0" indent="0" algn="l" defTabSz="901700" rtl="0" eaLnBrk="1" fontAlgn="auto" latinLnBrk="0" hangingPunct="1">
                  <a:lnSpc>
                    <a:spcPct val="100000"/>
                  </a:lnSpc>
                  <a:spcBef>
                    <a:spcPts val="900"/>
                  </a:spcBef>
                  <a:spcAft>
                    <a:spcPts val="0"/>
                  </a:spcAft>
                  <a:buClr>
                    <a:srgbClr val="92D400"/>
                  </a:buClr>
                  <a:buSzTx/>
                  <a:buFontTx/>
                  <a:buNone/>
                  <a:tabLst/>
                  <a:defRPr/>
                </a:pPr>
                <a:endParaRPr kumimoji="0" lang="en-US" altLang="en-US" sz="1100" b="0" i="0" u="none" strike="noStrike" kern="1200" cap="none" spc="0" normalizeH="0" baseline="0" noProof="0">
                  <a:ln>
                    <a:noFill/>
                  </a:ln>
                  <a:solidFill>
                    <a:prstClr val="white"/>
                  </a:solidFill>
                  <a:effectLst/>
                  <a:uLnTx/>
                  <a:uFillTx/>
                  <a:latin typeface="Aptos" panose="020B0004020202020204" pitchFamily="34" charset="0"/>
                  <a:ea typeface="Verdana" panose="020B0604030504040204" pitchFamily="34" charset="0"/>
                  <a:cs typeface="Verdana" panose="020B0604030504040204" pitchFamily="34" charset="0"/>
                </a:endParaRPr>
              </a:p>
            </p:txBody>
          </p:sp>
          <p:sp>
            <p:nvSpPr>
              <p:cNvPr id="528" name="TextBox 527">
                <a:extLst>
                  <a:ext uri="{FF2B5EF4-FFF2-40B4-BE49-F238E27FC236}">
                    <a16:creationId xmlns:a16="http://schemas.microsoft.com/office/drawing/2014/main" id="{5B7DDE62-EA13-48F1-83EF-2E957A08CA1E}"/>
                  </a:ext>
                </a:extLst>
              </p:cNvPr>
              <p:cNvSpPr txBox="1"/>
              <p:nvPr/>
            </p:nvSpPr>
            <p:spPr>
              <a:xfrm>
                <a:off x="4558268" y="5568016"/>
                <a:ext cx="1525152" cy="43403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The team has worked extensively across all sub-sectors including generation, transmission and distribution sector.</a:t>
                </a:r>
              </a:p>
            </p:txBody>
          </p:sp>
          <p:sp>
            <p:nvSpPr>
              <p:cNvPr id="529" name="Parallelogram 528">
                <a:extLst>
                  <a:ext uri="{FF2B5EF4-FFF2-40B4-BE49-F238E27FC236}">
                    <a16:creationId xmlns:a16="http://schemas.microsoft.com/office/drawing/2014/main" id="{2D4147DE-0523-463D-B731-39A5BB17AEE5}"/>
                  </a:ext>
                </a:extLst>
              </p:cNvPr>
              <p:cNvSpPr/>
              <p:nvPr/>
            </p:nvSpPr>
            <p:spPr bwMode="gray">
              <a:xfrm>
                <a:off x="3915811" y="5346888"/>
                <a:ext cx="616186" cy="1080000"/>
              </a:xfrm>
              <a:prstGeom prst="parallelogram">
                <a:avLst>
                  <a:gd name="adj" fmla="val 18817"/>
                </a:avLst>
              </a:prstGeom>
              <a:solidFill>
                <a:schemeClr val="tx2">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20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sp>
          <p:nvSpPr>
            <p:cNvPr id="11" name="Freeform 59">
              <a:extLst>
                <a:ext uri="{FF2B5EF4-FFF2-40B4-BE49-F238E27FC236}">
                  <a16:creationId xmlns:a16="http://schemas.microsoft.com/office/drawing/2014/main" id="{0D1198C5-84C5-A66B-248E-C4E2C00C1895}"/>
                </a:ext>
              </a:extLst>
            </p:cNvPr>
            <p:cNvSpPr>
              <a:spLocks noChangeAspect="1" noEditPoints="1"/>
            </p:cNvSpPr>
            <p:nvPr/>
          </p:nvSpPr>
          <p:spPr bwMode="auto">
            <a:xfrm>
              <a:off x="9310797" y="5175672"/>
              <a:ext cx="316181" cy="31711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8" name="Freeform 5">
            <a:extLst>
              <a:ext uri="{FF2B5EF4-FFF2-40B4-BE49-F238E27FC236}">
                <a16:creationId xmlns:a16="http://schemas.microsoft.com/office/drawing/2014/main" id="{BE358BE8-7746-8AFF-4D30-BA1D2C7DAE93}"/>
              </a:ext>
            </a:extLst>
          </p:cNvPr>
          <p:cNvSpPr>
            <a:spLocks/>
          </p:cNvSpPr>
          <p:nvPr/>
        </p:nvSpPr>
        <p:spPr bwMode="auto">
          <a:xfrm>
            <a:off x="594208" y="1384356"/>
            <a:ext cx="5405695" cy="372643"/>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TextBox 38">
            <a:extLst>
              <a:ext uri="{FF2B5EF4-FFF2-40B4-BE49-F238E27FC236}">
                <a16:creationId xmlns:a16="http://schemas.microsoft.com/office/drawing/2014/main" id="{82780126-C8A0-AB06-D624-42EC451B4640}"/>
              </a:ext>
            </a:extLst>
          </p:cNvPr>
          <p:cNvSpPr txBox="1"/>
          <p:nvPr/>
        </p:nvSpPr>
        <p:spPr>
          <a:xfrm>
            <a:off x="1419043" y="1425350"/>
            <a:ext cx="216816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a:ln>
                  <a:noFill/>
                </a:ln>
                <a:solidFill>
                  <a:prstClr val="white"/>
                </a:solidFill>
                <a:effectLst/>
                <a:uLnTx/>
                <a:uFillTx/>
                <a:latin typeface="Aptos" panose="020B0004020202020204" pitchFamily="34" charset="0"/>
                <a:ea typeface="+mn-ea"/>
                <a:cs typeface="Arial" panose="020B0604020202020204" pitchFamily="34" charset="0"/>
              </a:rPr>
              <a:t>Deloitte</a:t>
            </a:r>
            <a:endParaRPr kumimoji="0" lang="en-IN" sz="1800" b="1" i="0" u="none" strike="noStrike" kern="1200" cap="none" spc="0" normalizeH="0" baseline="0" noProof="0">
              <a:ln>
                <a:noFill/>
              </a:ln>
              <a:solidFill>
                <a:prstClr val="white"/>
              </a:solidFill>
              <a:effectLst/>
              <a:uLnTx/>
              <a:uFillTx/>
              <a:latin typeface="Aptos" panose="020B0004020202020204" pitchFamily="34" charset="0"/>
              <a:ea typeface="+mn-ea"/>
              <a:cs typeface="Arial" panose="020B0604020202020204" pitchFamily="34" charset="0"/>
            </a:endParaRPr>
          </a:p>
        </p:txBody>
      </p:sp>
      <p:sp>
        <p:nvSpPr>
          <p:cNvPr id="41" name="椭圆 30">
            <a:extLst>
              <a:ext uri="{FF2B5EF4-FFF2-40B4-BE49-F238E27FC236}">
                <a16:creationId xmlns:a16="http://schemas.microsoft.com/office/drawing/2014/main" id="{17F8FEE1-2ADC-F549-264E-73E0E8892635}"/>
              </a:ext>
            </a:extLst>
          </p:cNvPr>
          <p:cNvSpPr/>
          <p:nvPr/>
        </p:nvSpPr>
        <p:spPr bwMode="gray">
          <a:xfrm>
            <a:off x="1361478" y="2051469"/>
            <a:ext cx="238621" cy="238621"/>
          </a:xfrm>
          <a:prstGeom prst="ellipse">
            <a:avLst/>
          </a:prstGeom>
          <a:solidFill>
            <a:schemeClr val="bg1"/>
          </a:solidFill>
          <a:ln w="28575" cmpd="sng" algn="ctr">
            <a:solidFill>
              <a:srgbClr val="000000"/>
            </a:solidFill>
            <a:prstDash val="solid"/>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2" name="椭圆 28">
            <a:extLst>
              <a:ext uri="{FF2B5EF4-FFF2-40B4-BE49-F238E27FC236}">
                <a16:creationId xmlns:a16="http://schemas.microsoft.com/office/drawing/2014/main" id="{630A5316-E2D7-ACF6-27C9-C1B1D7FD9984}"/>
              </a:ext>
            </a:extLst>
          </p:cNvPr>
          <p:cNvSpPr/>
          <p:nvPr/>
        </p:nvSpPr>
        <p:spPr bwMode="gray">
          <a:xfrm>
            <a:off x="1409202" y="2099193"/>
            <a:ext cx="143173" cy="143173"/>
          </a:xfrm>
          <a:prstGeom prst="ellipse">
            <a:avLst/>
          </a:prstGeom>
          <a:solidFill>
            <a:schemeClr val="bg1"/>
          </a:solidFill>
          <a:ln w="19050" cmpd="sng" algn="ctr">
            <a:solidFill>
              <a:srgbClr val="000000"/>
            </a:solidFill>
            <a:prstDash val="solid"/>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3" name="椭圆 30">
            <a:extLst>
              <a:ext uri="{FF2B5EF4-FFF2-40B4-BE49-F238E27FC236}">
                <a16:creationId xmlns:a16="http://schemas.microsoft.com/office/drawing/2014/main" id="{59527FD2-0BBD-FAB9-011C-2C7F08112FF6}"/>
              </a:ext>
            </a:extLst>
          </p:cNvPr>
          <p:cNvSpPr/>
          <p:nvPr/>
        </p:nvSpPr>
        <p:spPr bwMode="gray">
          <a:xfrm>
            <a:off x="1360693" y="2862939"/>
            <a:ext cx="238621" cy="238621"/>
          </a:xfrm>
          <a:prstGeom prst="ellipse">
            <a:avLst/>
          </a:prstGeom>
          <a:solidFill>
            <a:schemeClr val="bg1"/>
          </a:solidFill>
          <a:ln w="28575" cmpd="sng" algn="ctr">
            <a:solidFill>
              <a:srgbClr val="000000"/>
            </a:solidFill>
            <a:prstDash val="solid"/>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2" name="椭圆 28">
            <a:extLst>
              <a:ext uri="{FF2B5EF4-FFF2-40B4-BE49-F238E27FC236}">
                <a16:creationId xmlns:a16="http://schemas.microsoft.com/office/drawing/2014/main" id="{0C2B7EE5-FEFD-0038-CE7A-E2EC8782AC26}"/>
              </a:ext>
            </a:extLst>
          </p:cNvPr>
          <p:cNvSpPr/>
          <p:nvPr/>
        </p:nvSpPr>
        <p:spPr bwMode="gray">
          <a:xfrm>
            <a:off x="1408417" y="2910663"/>
            <a:ext cx="143173" cy="143173"/>
          </a:xfrm>
          <a:prstGeom prst="ellipse">
            <a:avLst/>
          </a:prstGeom>
          <a:solidFill>
            <a:schemeClr val="bg1"/>
          </a:solidFill>
          <a:ln w="19050" cmpd="sng" algn="ctr">
            <a:solidFill>
              <a:srgbClr val="000000"/>
            </a:solidFill>
            <a:prstDash val="solid"/>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5" name="椭圆 30">
            <a:extLst>
              <a:ext uri="{FF2B5EF4-FFF2-40B4-BE49-F238E27FC236}">
                <a16:creationId xmlns:a16="http://schemas.microsoft.com/office/drawing/2014/main" id="{351B8181-6C49-A5B0-D5BF-1576792DE805}"/>
              </a:ext>
            </a:extLst>
          </p:cNvPr>
          <p:cNvSpPr/>
          <p:nvPr/>
        </p:nvSpPr>
        <p:spPr bwMode="gray">
          <a:xfrm>
            <a:off x="1361478" y="3742965"/>
            <a:ext cx="238621" cy="238621"/>
          </a:xfrm>
          <a:prstGeom prst="ellipse">
            <a:avLst/>
          </a:prstGeom>
          <a:solidFill>
            <a:schemeClr val="bg1"/>
          </a:solidFill>
          <a:ln w="28575" cmpd="sng" algn="ctr">
            <a:solidFill>
              <a:srgbClr val="000000"/>
            </a:solidFill>
            <a:prstDash val="solid"/>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6" name="椭圆 28">
            <a:extLst>
              <a:ext uri="{FF2B5EF4-FFF2-40B4-BE49-F238E27FC236}">
                <a16:creationId xmlns:a16="http://schemas.microsoft.com/office/drawing/2014/main" id="{907944DB-C29F-A968-B1F6-FD2C2D3AF733}"/>
              </a:ext>
            </a:extLst>
          </p:cNvPr>
          <p:cNvSpPr/>
          <p:nvPr/>
        </p:nvSpPr>
        <p:spPr bwMode="gray">
          <a:xfrm>
            <a:off x="1409202" y="3790689"/>
            <a:ext cx="143173" cy="143173"/>
          </a:xfrm>
          <a:prstGeom prst="ellipse">
            <a:avLst/>
          </a:prstGeom>
          <a:solidFill>
            <a:schemeClr val="bg1"/>
          </a:solidFill>
          <a:ln w="19050" cmpd="sng" algn="ctr">
            <a:solidFill>
              <a:srgbClr val="000000"/>
            </a:solidFill>
            <a:prstDash val="solid"/>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8" name="椭圆 30">
            <a:extLst>
              <a:ext uri="{FF2B5EF4-FFF2-40B4-BE49-F238E27FC236}">
                <a16:creationId xmlns:a16="http://schemas.microsoft.com/office/drawing/2014/main" id="{3B3AA814-4B94-59D5-ED91-FDE9D65B360E}"/>
              </a:ext>
            </a:extLst>
          </p:cNvPr>
          <p:cNvSpPr/>
          <p:nvPr/>
        </p:nvSpPr>
        <p:spPr bwMode="gray">
          <a:xfrm>
            <a:off x="1361478" y="4390881"/>
            <a:ext cx="238621" cy="238621"/>
          </a:xfrm>
          <a:prstGeom prst="ellipse">
            <a:avLst/>
          </a:prstGeom>
          <a:solidFill>
            <a:schemeClr val="bg1"/>
          </a:solidFill>
          <a:ln w="28575" cmpd="sng" algn="ctr">
            <a:solidFill>
              <a:srgbClr val="000000"/>
            </a:solidFill>
            <a:prstDash val="solid"/>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9" name="椭圆 28">
            <a:extLst>
              <a:ext uri="{FF2B5EF4-FFF2-40B4-BE49-F238E27FC236}">
                <a16:creationId xmlns:a16="http://schemas.microsoft.com/office/drawing/2014/main" id="{61CB3F01-28A8-5088-CD8E-AC8947A74D8E}"/>
              </a:ext>
            </a:extLst>
          </p:cNvPr>
          <p:cNvSpPr/>
          <p:nvPr/>
        </p:nvSpPr>
        <p:spPr bwMode="gray">
          <a:xfrm>
            <a:off x="1409202" y="4438605"/>
            <a:ext cx="143173" cy="143173"/>
          </a:xfrm>
          <a:prstGeom prst="ellipse">
            <a:avLst/>
          </a:prstGeom>
          <a:solidFill>
            <a:schemeClr val="bg1"/>
          </a:solidFill>
          <a:ln w="19050" cmpd="sng" algn="ctr">
            <a:solidFill>
              <a:srgbClr val="000000"/>
            </a:solidFill>
            <a:prstDash val="solid"/>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0" name="Rectangle: Rounded Corners 459">
            <a:extLst>
              <a:ext uri="{FF2B5EF4-FFF2-40B4-BE49-F238E27FC236}">
                <a16:creationId xmlns:a16="http://schemas.microsoft.com/office/drawing/2014/main" id="{EB48CF1C-1D5B-344D-9033-BDC9985E8B79}"/>
              </a:ext>
            </a:extLst>
          </p:cNvPr>
          <p:cNvSpPr/>
          <p:nvPr/>
        </p:nvSpPr>
        <p:spPr bwMode="gray">
          <a:xfrm>
            <a:off x="1757196" y="1851804"/>
            <a:ext cx="3607284" cy="637951"/>
          </a:xfrm>
          <a:prstGeom prst="roundRect">
            <a:avLst/>
          </a:prstGeom>
          <a:noFill/>
          <a:ln w="3175" algn="ctr">
            <a:solidFill>
              <a:srgbClr val="75BDA7"/>
            </a:solidFill>
            <a:miter lim="800000"/>
            <a:headEnd/>
            <a:tailEnd/>
          </a:ln>
        </p:spPr>
        <p:txBody>
          <a:bodyPr wrap="square" lIns="88900" tIns="88900" rIns="88900" bIns="88900" rtlCol="0" anchor="ctr"/>
          <a:lstStyle/>
          <a:p>
            <a:pPr marL="285750" marR="0" lvl="0" indent="-285750" algn="l" defTabSz="914400" rtl="0" eaLnBrk="1" fontAlgn="auto" latinLnBrk="0" hangingPunct="1">
              <a:lnSpc>
                <a:spcPct val="106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rgest professional services firm globally across 150+ countries with &gt;$16Bn consulting revenue</a:t>
            </a:r>
          </a:p>
        </p:txBody>
      </p:sp>
      <p:sp>
        <p:nvSpPr>
          <p:cNvPr id="462" name="Rectangle: Rounded Corners 461">
            <a:extLst>
              <a:ext uri="{FF2B5EF4-FFF2-40B4-BE49-F238E27FC236}">
                <a16:creationId xmlns:a16="http://schemas.microsoft.com/office/drawing/2014/main" id="{CC25AB9F-4FB8-87DD-BB87-34DEDE23BDF6}"/>
              </a:ext>
            </a:extLst>
          </p:cNvPr>
          <p:cNvSpPr/>
          <p:nvPr/>
        </p:nvSpPr>
        <p:spPr bwMode="gray">
          <a:xfrm>
            <a:off x="1730777" y="2663274"/>
            <a:ext cx="3607284" cy="637951"/>
          </a:xfrm>
          <a:prstGeom prst="roundRect">
            <a:avLst/>
          </a:prstGeom>
          <a:noFill/>
          <a:ln w="3175" algn="ctr">
            <a:solidFill>
              <a:srgbClr val="75BDA7"/>
            </a:solidFill>
            <a:miter lim="800000"/>
            <a:headEnd/>
            <a:tailEnd/>
          </a:ln>
        </p:spPr>
        <p:txBody>
          <a:bodyPr wrap="square" lIns="88900" tIns="88900" rIns="88900" bIns="88900" rtlCol="0" anchor="ctr"/>
          <a:lstStyle/>
          <a:p>
            <a:pPr marL="285750" marR="0" lvl="0" indent="-285750" algn="l" defTabSz="914400" rtl="0" eaLnBrk="1" fontAlgn="auto" latinLnBrk="0" hangingPunct="1">
              <a:lnSpc>
                <a:spcPct val="106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Dedicated strategy practice, founded by Professor Michael Porter</a:t>
            </a:r>
          </a:p>
        </p:txBody>
      </p:sp>
      <p:sp>
        <p:nvSpPr>
          <p:cNvPr id="463" name="Rectangle: Rounded Corners 462">
            <a:extLst>
              <a:ext uri="{FF2B5EF4-FFF2-40B4-BE49-F238E27FC236}">
                <a16:creationId xmlns:a16="http://schemas.microsoft.com/office/drawing/2014/main" id="{48043D6D-C1A7-E7F3-44ED-9E35C7022FA2}"/>
              </a:ext>
            </a:extLst>
          </p:cNvPr>
          <p:cNvSpPr/>
          <p:nvPr/>
        </p:nvSpPr>
        <p:spPr bwMode="gray">
          <a:xfrm>
            <a:off x="1721350" y="3543300"/>
            <a:ext cx="3607284" cy="637951"/>
          </a:xfrm>
          <a:prstGeom prst="roundRect">
            <a:avLst/>
          </a:prstGeom>
          <a:noFill/>
          <a:ln w="3175" algn="ctr">
            <a:solidFill>
              <a:srgbClr val="75BDA7"/>
            </a:solidFill>
            <a:miter lim="800000"/>
            <a:headEnd/>
            <a:tailEnd/>
          </a:ln>
        </p:spPr>
        <p:txBody>
          <a:bodyPr wrap="square" lIns="88900" tIns="88900" rIns="88900" bIns="88900" rtlCol="0" anchor="ctr"/>
          <a:lstStyle/>
          <a:p>
            <a:pPr marL="285750" marR="0" lvl="0" indent="-285750" algn="l" defTabSz="914400" rtl="0" eaLnBrk="1" fontAlgn="auto" latinLnBrk="0" hangingPunct="1">
              <a:lnSpc>
                <a:spcPct val="106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Globally integrated energy and resources practice with more than 5000 practitioners</a:t>
            </a:r>
          </a:p>
        </p:txBody>
      </p:sp>
      <p:sp>
        <p:nvSpPr>
          <p:cNvPr id="464" name="Rectangle: Rounded Corners 463">
            <a:extLst>
              <a:ext uri="{FF2B5EF4-FFF2-40B4-BE49-F238E27FC236}">
                <a16:creationId xmlns:a16="http://schemas.microsoft.com/office/drawing/2014/main" id="{8E89DDC7-C67A-1D7E-1AB8-32ACA78732C7}"/>
              </a:ext>
            </a:extLst>
          </p:cNvPr>
          <p:cNvSpPr/>
          <p:nvPr/>
        </p:nvSpPr>
        <p:spPr bwMode="gray">
          <a:xfrm>
            <a:off x="1721350" y="4403808"/>
            <a:ext cx="3607284" cy="637951"/>
          </a:xfrm>
          <a:prstGeom prst="roundRect">
            <a:avLst/>
          </a:prstGeom>
          <a:noFill/>
          <a:ln w="3175" algn="ctr">
            <a:solidFill>
              <a:srgbClr val="75BDA7"/>
            </a:solidFill>
            <a:miter lim="800000"/>
            <a:headEnd/>
            <a:tailEnd/>
          </a:ln>
        </p:spPr>
        <p:txBody>
          <a:bodyPr wrap="square" lIns="88900" tIns="88900" rIns="88900" bIns="88900" rtlCol="0" anchor="ctr"/>
          <a:lstStyle/>
          <a:p>
            <a:pPr marL="285750" marR="0" lvl="0" indent="-285750" algn="l" defTabSz="914400" rtl="0" eaLnBrk="1" fontAlgn="auto" latinLnBrk="0" hangingPunct="1">
              <a:lnSpc>
                <a:spcPct val="106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Worked on multiple </a:t>
            </a:r>
            <a:r>
              <a:rPr kumimoji="0" lang="en-US" sz="1100" b="0" i="0" u="none" strike="noStrike" kern="1200" cap="none" spc="0" normalizeH="0" baseline="0" noProof="0">
                <a:ln>
                  <a:noFill/>
                </a:ln>
                <a:solidFill>
                  <a:srgbClr val="2683C6"/>
                </a:solidFill>
                <a:effectLst/>
                <a:uLnTx/>
                <a:uFillTx/>
                <a:latin typeface="Aptos" panose="020B0004020202020204" pitchFamily="34" charset="0"/>
                <a:ea typeface="+mn-ea"/>
                <a:cs typeface="+mn-cs"/>
              </a:rPr>
              <a:t>similar strategic assignments for leading energy clients</a:t>
            </a: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like BHEL, NTPC, OTPC, CIL, PGCIL, RE IPPs, etc...</a:t>
            </a:r>
          </a:p>
        </p:txBody>
      </p:sp>
      <p:sp>
        <p:nvSpPr>
          <p:cNvPr id="3" name="Rectangle 2">
            <a:extLst>
              <a:ext uri="{FF2B5EF4-FFF2-40B4-BE49-F238E27FC236}">
                <a16:creationId xmlns:a16="http://schemas.microsoft.com/office/drawing/2014/main" id="{411A8E3C-B370-3030-C718-B14AB3F2CD19}"/>
              </a:ext>
            </a:extLst>
          </p:cNvPr>
          <p:cNvSpPr/>
          <p:nvPr/>
        </p:nvSpPr>
        <p:spPr bwMode="gray">
          <a:xfrm>
            <a:off x="8638490" y="1781046"/>
            <a:ext cx="2709081" cy="174760"/>
          </a:xfrm>
          <a:prstGeom prst="rect">
            <a:avLst/>
          </a:prstGeom>
          <a:solidFill>
            <a:schemeClr val="bg1"/>
          </a:solidFill>
          <a:ln w="19050" algn="ctr">
            <a:noFill/>
            <a:prstDash val="dash"/>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rPr>
              <a:t>Generation advisory including flexible operations of thermal power plants</a:t>
            </a:r>
          </a:p>
          <a:p>
            <a:pPr marL="0" marR="0" lvl="0" indent="0" algn="l" defTabSz="914400" rtl="0" eaLnBrk="1" fontAlgn="auto" latinLnBrk="0" hangingPunct="1">
              <a:lnSpc>
                <a:spcPct val="100000"/>
              </a:lnSpc>
              <a:spcBef>
                <a:spcPts val="600"/>
              </a:spcBef>
              <a:spcAft>
                <a:spcPts val="600"/>
              </a:spcAft>
              <a:buClrTx/>
              <a:buSzTx/>
              <a:buFont typeface="Wingdings 2" pitchFamily="18" charset="2"/>
              <a:buNone/>
              <a:tabLst/>
              <a:defRPr/>
            </a:pPr>
            <a:endParaRPr kumimoji="0" lang="en-US" sz="1100" b="0" i="0" u="none" strike="noStrike" kern="1200" cap="none" spc="0" normalizeH="0" baseline="0" noProof="0">
              <a:ln>
                <a:noFill/>
              </a:ln>
              <a:solidFill>
                <a:prstClr val="black"/>
              </a:solidFill>
              <a:effectLst/>
              <a:uLnTx/>
              <a:uFillTx/>
              <a:latin typeface="Aptos" panose="020B0004020202020204" pitchFamily="34" charset="0"/>
              <a:ea typeface="Open Sans" charset="0"/>
              <a:cs typeface="Open Sans" charset="0"/>
            </a:endParaRPr>
          </a:p>
        </p:txBody>
      </p:sp>
    </p:spTree>
    <p:extLst>
      <p:ext uri="{BB962C8B-B14F-4D97-AF65-F5344CB8AC3E}">
        <p14:creationId xmlns:p14="http://schemas.microsoft.com/office/powerpoint/2010/main" val="119128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a:extLst>
              <a:ext uri="{FF2B5EF4-FFF2-40B4-BE49-F238E27FC236}">
                <a16:creationId xmlns:a16="http://schemas.microsoft.com/office/drawing/2014/main" id="{DFF91532-2258-4C72-AB6B-2BABFF8118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4" name="Object 53" hidden="1">
                        <a:extLst>
                          <a:ext uri="{FF2B5EF4-FFF2-40B4-BE49-F238E27FC236}">
                            <a16:creationId xmlns:a16="http://schemas.microsoft.com/office/drawing/2014/main" id="{DFF91532-2258-4C72-AB6B-2BABFF8118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D78924CA-9DAF-4EE5-ABDA-4022E6778FC8}"/>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AU" sz="2000" b="0" i="0" u="none" strike="noStrike" kern="1200" cap="none" spc="0" normalizeH="0" baseline="0" noProof="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37" name="Rectangle 36">
            <a:extLst>
              <a:ext uri="{FF2B5EF4-FFF2-40B4-BE49-F238E27FC236}">
                <a16:creationId xmlns:a16="http://schemas.microsoft.com/office/drawing/2014/main" id="{7E57B819-16FF-4BC7-BE26-2970F484D9AA}"/>
              </a:ext>
            </a:extLst>
          </p:cNvPr>
          <p:cNvSpPr/>
          <p:nvPr/>
        </p:nvSpPr>
        <p:spPr>
          <a:xfrm>
            <a:off x="8482604" y="7858410"/>
            <a:ext cx="3240000" cy="6685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AU" sz="850" b="0" i="1" u="none" strike="noStrike" kern="1200" cap="none" spc="0" normalizeH="0" baseline="0" noProof="0">
              <a:ln>
                <a:noFill/>
              </a:ln>
              <a:solidFill>
                <a:prstClr val="black"/>
              </a:solidFill>
              <a:effectLst/>
              <a:uLnTx/>
              <a:uFillTx/>
              <a:latin typeface="Aptos" panose="020B0004020202020204" pitchFamily="34" charset="0"/>
              <a:ea typeface="+mn-ea"/>
              <a:cs typeface="Calibri" panose="020F0502020204030204" pitchFamily="34" charset="0"/>
            </a:endParaRPr>
          </a:p>
        </p:txBody>
      </p:sp>
      <p:sp>
        <p:nvSpPr>
          <p:cNvPr id="5" name="Title 4">
            <a:extLst>
              <a:ext uri="{FF2B5EF4-FFF2-40B4-BE49-F238E27FC236}">
                <a16:creationId xmlns:a16="http://schemas.microsoft.com/office/drawing/2014/main" id="{0C4799C4-9F3C-163E-3CF3-766E1427834D}"/>
              </a:ext>
            </a:extLst>
          </p:cNvPr>
          <p:cNvSpPr>
            <a:spLocks noGrp="1"/>
          </p:cNvSpPr>
          <p:nvPr>
            <p:ph type="title"/>
          </p:nvPr>
        </p:nvSpPr>
        <p:spPr>
          <a:xfrm>
            <a:off x="476247" y="357501"/>
            <a:ext cx="9509760" cy="334099"/>
          </a:xfrm>
        </p:spPr>
        <p:txBody>
          <a:bodyPr vert="horz" lIns="0" tIns="0" rIns="0" bIns="0" rtlCol="0" anchor="t" anchorCtr="0">
            <a:noAutofit/>
          </a:bodyPr>
          <a:lstStyle/>
          <a:p>
            <a:pPr>
              <a:lnSpc>
                <a:spcPct val="90000"/>
              </a:lnSpc>
            </a:pPr>
            <a:r>
              <a:rPr lang="en-US" sz="2100">
                <a:solidFill>
                  <a:schemeClr val="tx1"/>
                </a:solidFill>
                <a:latin typeface="Aptos" panose="020B0004020202020204" pitchFamily="34" charset="0"/>
                <a:ea typeface="+mj-ea"/>
                <a:cs typeface="Calibri Light" panose="020F0302020204030204" pitchFamily="34" charset="0"/>
              </a:rPr>
              <a:t>Our value proposition</a:t>
            </a:r>
            <a:endParaRPr lang="en-IN" sz="2100">
              <a:solidFill>
                <a:schemeClr val="tx1"/>
              </a:solidFill>
              <a:latin typeface="Aptos" panose="020B0004020202020204" pitchFamily="34" charset="0"/>
              <a:ea typeface="+mj-ea"/>
              <a:cs typeface="Calibri Light" panose="020F0302020204030204" pitchFamily="34" charset="0"/>
            </a:endParaRPr>
          </a:p>
        </p:txBody>
      </p:sp>
      <p:sp>
        <p:nvSpPr>
          <p:cNvPr id="31" name="Text Placeholder 1">
            <a:extLst>
              <a:ext uri="{FF2B5EF4-FFF2-40B4-BE49-F238E27FC236}">
                <a16:creationId xmlns:a16="http://schemas.microsoft.com/office/drawing/2014/main" id="{7DF58B7B-1F44-A635-5117-DD6DF5D3BE0C}"/>
              </a:ext>
            </a:extLst>
          </p:cNvPr>
          <p:cNvSpPr txBox="1">
            <a:spLocks/>
          </p:cNvSpPr>
          <p:nvPr/>
        </p:nvSpPr>
        <p:spPr>
          <a:xfrm>
            <a:off x="388199" y="651979"/>
            <a:ext cx="11195049" cy="757255"/>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82880" indent="-18288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65760" indent="-18288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3pPr>
            <a:lvl4pPr marL="548640" indent="-182880" algn="l" defTabSz="914400" rtl="0" eaLnBrk="1" latinLnBrk="0" hangingPunct="1">
              <a:spcBef>
                <a:spcPts val="0"/>
              </a:spcBef>
              <a:spcAft>
                <a:spcPts val="1000"/>
              </a:spcAft>
              <a:buClrTx/>
              <a:buSzPct val="100000"/>
              <a:buFont typeface="Arial" panose="020B0604020202020204" pitchFamily="34" charset="0"/>
              <a:buChar char="◦"/>
              <a:defRPr lang="en-US" sz="1300" b="0" kern="1200" baseline="0" dirty="0" smtClean="0">
                <a:solidFill>
                  <a:schemeClr val="tx1"/>
                </a:solidFill>
                <a:latin typeface="+mn-lt"/>
                <a:ea typeface="+mn-ea"/>
                <a:cs typeface="Calibri Light" panose="020F0302020204030204" pitchFamily="34" charset="0"/>
              </a:defRPr>
            </a:lvl4pPr>
            <a:lvl5pPr marL="731520" indent="-182880" algn="l" defTabSz="798513" rtl="0" eaLnBrk="1" latinLnBrk="0" hangingPunct="1">
              <a:spcBef>
                <a:spcPts val="0"/>
              </a:spcBef>
              <a:spcAft>
                <a:spcPts val="1000"/>
              </a:spcAft>
              <a:buClrTx/>
              <a:buSzPct val="100000"/>
              <a:buFont typeface="Arial" panose="020B0604020202020204" pitchFamily="34" charset="0"/>
              <a:buChar char="−"/>
              <a:tabLst/>
              <a:defRPr lang="en-US" sz="1300" b="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400" b="0" i="1" u="none" strike="noStrike" kern="1200" cap="none" spc="0" normalizeH="0" baseline="0" noProof="0">
                <a:ln>
                  <a:noFill/>
                </a:ln>
                <a:solidFill>
                  <a:srgbClr val="575757"/>
                </a:solidFill>
                <a:effectLst/>
                <a:uLnTx/>
                <a:uFillTx/>
                <a:latin typeface="Aptos" panose="020B0004020202020204" pitchFamily="34" charset="0"/>
                <a:ea typeface="+mn-ea"/>
                <a:cs typeface="Calibri Light" panose="020F0302020204030204" pitchFamily="34" charset="0"/>
              </a:rPr>
              <a:t>We bring together deep sector knowledge with cutting edge technology implementation experience, which is critical for this assignment</a:t>
            </a:r>
          </a:p>
        </p:txBody>
      </p:sp>
      <p:sp>
        <p:nvSpPr>
          <p:cNvPr id="2" name="Rectangle 1">
            <a:extLst>
              <a:ext uri="{FF2B5EF4-FFF2-40B4-BE49-F238E27FC236}">
                <a16:creationId xmlns:a16="http://schemas.microsoft.com/office/drawing/2014/main" id="{AE4D30F1-9804-791B-95F3-2A18A6F29750}"/>
              </a:ext>
            </a:extLst>
          </p:cNvPr>
          <p:cNvSpPr/>
          <p:nvPr/>
        </p:nvSpPr>
        <p:spPr>
          <a:xfrm>
            <a:off x="349410" y="1578876"/>
            <a:ext cx="3840206" cy="400110"/>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a:ln>
                  <a:noFill/>
                </a:ln>
                <a:solidFill>
                  <a:srgbClr val="007CB0">
                    <a:lumMod val="75000"/>
                  </a:srgbClr>
                </a:solidFill>
                <a:effectLst/>
                <a:uLnTx/>
                <a:uFillTx/>
                <a:latin typeface="Aptos" panose="020B0004020202020204" pitchFamily="34" charset="0"/>
                <a:ea typeface="Open Sans" panose="020B0606030504020204" pitchFamily="34" charset="0"/>
                <a:cs typeface="Open Sans" panose="020B0606030504020204" pitchFamily="34" charset="0"/>
              </a:rPr>
              <a:t>Renew needs a partner who…</a:t>
            </a:r>
          </a:p>
        </p:txBody>
      </p:sp>
      <p:sp>
        <p:nvSpPr>
          <p:cNvPr id="3" name="Rectangle 2">
            <a:extLst>
              <a:ext uri="{FF2B5EF4-FFF2-40B4-BE49-F238E27FC236}">
                <a16:creationId xmlns:a16="http://schemas.microsoft.com/office/drawing/2014/main" id="{C41DEC52-11AC-958D-7822-92D6F80FE241}"/>
              </a:ext>
            </a:extLst>
          </p:cNvPr>
          <p:cNvSpPr/>
          <p:nvPr/>
        </p:nvSpPr>
        <p:spPr>
          <a:xfrm>
            <a:off x="728539" y="2094654"/>
            <a:ext cx="3586991" cy="738664"/>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Has extensive experience </a:t>
            </a: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in Indian Power Sector </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with deep understanding of </a:t>
            </a: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market structure, regulations and policy</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Text Placeholder 5">
            <a:extLst>
              <a:ext uri="{FF2B5EF4-FFF2-40B4-BE49-F238E27FC236}">
                <a16:creationId xmlns:a16="http://schemas.microsoft.com/office/drawing/2014/main" id="{FB9F1AD3-B3E2-ABEC-D958-A6FAFE698E47}"/>
              </a:ext>
            </a:extLst>
          </p:cNvPr>
          <p:cNvSpPr txBox="1">
            <a:spLocks/>
          </p:cNvSpPr>
          <p:nvPr>
            <p:custDataLst>
              <p:tags r:id="rId3"/>
            </p:custDataLst>
          </p:nvPr>
        </p:nvSpPr>
        <p:spPr>
          <a:xfrm>
            <a:off x="727313" y="2922839"/>
            <a:ext cx="3586991" cy="738665"/>
          </a:xfrm>
          <a:prstGeom prst="homePlate">
            <a:avLst>
              <a:gd name="adj" fmla="val 10610"/>
            </a:avLst>
          </a:prstGeom>
          <a:noFill/>
          <a:ln>
            <a:noFill/>
          </a:ln>
        </p:spPr>
        <p:txBody>
          <a:bodyPr wrap="square" lIns="72000" tIns="36000" rIns="72000" bIns="36000" anchor="t"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1233427" rtl="0" eaLnBrk="1" fontAlgn="auto" latinLnBrk="0" hangingPunct="1">
              <a:lnSpc>
                <a:spcPct val="100000"/>
              </a:lnSpc>
              <a:spcBef>
                <a:spcPts val="0"/>
              </a:spcBef>
              <a:spcAft>
                <a:spcPts val="400"/>
              </a:spcAft>
              <a:buClrTx/>
              <a:buSzTx/>
              <a:buFont typeface="Arial" charset="0"/>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Has implemented not only </a:t>
            </a: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portals but complex IT projects </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with multi level integration and cyber security concerns</a:t>
            </a:r>
          </a:p>
        </p:txBody>
      </p:sp>
      <p:sp>
        <p:nvSpPr>
          <p:cNvPr id="6" name="Text Placeholder 5">
            <a:extLst>
              <a:ext uri="{FF2B5EF4-FFF2-40B4-BE49-F238E27FC236}">
                <a16:creationId xmlns:a16="http://schemas.microsoft.com/office/drawing/2014/main" id="{C3B92605-651E-AC94-87B9-4000DA3F0374}"/>
              </a:ext>
            </a:extLst>
          </p:cNvPr>
          <p:cNvSpPr txBox="1">
            <a:spLocks/>
          </p:cNvSpPr>
          <p:nvPr>
            <p:custDataLst>
              <p:tags r:id="rId4"/>
            </p:custDataLst>
          </p:nvPr>
        </p:nvSpPr>
        <p:spPr>
          <a:xfrm>
            <a:off x="728539" y="3834001"/>
            <a:ext cx="3586991" cy="806227"/>
          </a:xfrm>
          <a:prstGeom prst="homePlate">
            <a:avLst>
              <a:gd name="adj" fmla="val 10408"/>
            </a:avLst>
          </a:prstGeom>
          <a:noFill/>
          <a:ln>
            <a:noFill/>
          </a:ln>
        </p:spPr>
        <p:txBody>
          <a:bodyPr wrap="square" lIns="72000" tIns="36000" rIns="72000" bIns="36000" anchor="t"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1233427" rtl="0" eaLnBrk="1" fontAlgn="auto" latinLnBrk="0" hangingPunct="1">
              <a:lnSpc>
                <a:spcPct val="100000"/>
              </a:lnSpc>
              <a:spcBef>
                <a:spcPts val="0"/>
              </a:spcBef>
              <a:spcAft>
                <a:spcPts val="400"/>
              </a:spcAft>
              <a:buClrTx/>
              <a:buSzTx/>
              <a:buFont typeface="Arial" charset="0"/>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Has expertise in emerging technologies like </a:t>
            </a: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Gen AI, Agentic AI and Blockchain </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which may be used to enhance portal in future  </a:t>
            </a:r>
          </a:p>
        </p:txBody>
      </p:sp>
      <p:sp>
        <p:nvSpPr>
          <p:cNvPr id="17" name="Text Placeholder 5">
            <a:extLst>
              <a:ext uri="{FF2B5EF4-FFF2-40B4-BE49-F238E27FC236}">
                <a16:creationId xmlns:a16="http://schemas.microsoft.com/office/drawing/2014/main" id="{AA6C71D0-284F-7A36-53D6-6A4248D1BAE4}"/>
              </a:ext>
            </a:extLst>
          </p:cNvPr>
          <p:cNvSpPr txBox="1">
            <a:spLocks/>
          </p:cNvSpPr>
          <p:nvPr>
            <p:custDataLst>
              <p:tags r:id="rId5"/>
            </p:custDataLst>
          </p:nvPr>
        </p:nvSpPr>
        <p:spPr>
          <a:xfrm>
            <a:off x="728538" y="4773673"/>
            <a:ext cx="3596350" cy="408783"/>
          </a:xfrm>
          <a:prstGeom prst="homePlate">
            <a:avLst>
              <a:gd name="adj" fmla="val 22028"/>
            </a:avLst>
          </a:prstGeom>
          <a:noFill/>
          <a:ln>
            <a:noFill/>
          </a:ln>
        </p:spPr>
        <p:txBody>
          <a:bodyPr wrap="square" lIns="72000" tIns="36000" rIns="72000" bIns="36000" anchor="t"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400"/>
              </a:spcBef>
              <a:spcAft>
                <a:spcPts val="0"/>
              </a:spcAft>
              <a:buClr>
                <a:prstClr val="white"/>
              </a:buClr>
              <a:buSzPct val="100000"/>
              <a:buFont typeface="Arial" charset="0"/>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Has multi functional team to support a complex integration IT project – </a:t>
            </a: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Cyber, cloud, UI/UX, DBM, Architect, Data Analyst etc... </a:t>
            </a:r>
          </a:p>
        </p:txBody>
      </p:sp>
      <p:sp>
        <p:nvSpPr>
          <p:cNvPr id="20" name="Text Placeholder 5">
            <a:extLst>
              <a:ext uri="{FF2B5EF4-FFF2-40B4-BE49-F238E27FC236}">
                <a16:creationId xmlns:a16="http://schemas.microsoft.com/office/drawing/2014/main" id="{740BDDBF-34E2-9E04-E273-E790B1485C83}"/>
              </a:ext>
            </a:extLst>
          </p:cNvPr>
          <p:cNvSpPr txBox="1">
            <a:spLocks/>
          </p:cNvSpPr>
          <p:nvPr>
            <p:custDataLst>
              <p:tags r:id="rId6"/>
            </p:custDataLst>
          </p:nvPr>
        </p:nvSpPr>
        <p:spPr>
          <a:xfrm>
            <a:off x="717953" y="5656728"/>
            <a:ext cx="3840205" cy="325581"/>
          </a:xfrm>
          <a:prstGeom prst="homePlate">
            <a:avLst>
              <a:gd name="adj" fmla="val 22028"/>
            </a:avLst>
          </a:prstGeom>
          <a:noFill/>
          <a:ln>
            <a:noFill/>
          </a:ln>
        </p:spPr>
        <p:txBody>
          <a:bodyPr wrap="square" lIns="72000" tIns="36000" rIns="72000" bIns="36000" anchor="t"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1233427" rtl="0" eaLnBrk="1" fontAlgn="auto" latinLnBrk="0" hangingPunct="1">
              <a:lnSpc>
                <a:spcPct val="100000"/>
              </a:lnSpc>
              <a:spcBef>
                <a:spcPts val="600"/>
              </a:spcBef>
              <a:spcAft>
                <a:spcPts val="600"/>
              </a:spcAft>
              <a:buClrTx/>
              <a:buSzTx/>
              <a:buFont typeface="Arial" charset="0"/>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Has </a:t>
            </a: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good track record of implementing and operating large complex IT projects </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with Govt</a:t>
            </a:r>
            <a:endParaRPr kumimoji="0" lang="en-IN" sz="1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27" name="Isosceles Triangle 26">
            <a:extLst>
              <a:ext uri="{FF2B5EF4-FFF2-40B4-BE49-F238E27FC236}">
                <a16:creationId xmlns:a16="http://schemas.microsoft.com/office/drawing/2014/main" id="{46201520-A66F-B672-C8A1-DAF0B75E9662}"/>
              </a:ext>
            </a:extLst>
          </p:cNvPr>
          <p:cNvSpPr/>
          <p:nvPr/>
        </p:nvSpPr>
        <p:spPr bwMode="gray">
          <a:xfrm rot="5400000">
            <a:off x="266665" y="2244464"/>
            <a:ext cx="405114" cy="162045"/>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8" name="Isosceles Triangle 27">
            <a:extLst>
              <a:ext uri="{FF2B5EF4-FFF2-40B4-BE49-F238E27FC236}">
                <a16:creationId xmlns:a16="http://schemas.microsoft.com/office/drawing/2014/main" id="{9FB89F1C-6C9A-E457-1801-98EF191513BB}"/>
              </a:ext>
            </a:extLst>
          </p:cNvPr>
          <p:cNvSpPr/>
          <p:nvPr/>
        </p:nvSpPr>
        <p:spPr bwMode="gray">
          <a:xfrm rot="5400000">
            <a:off x="266665" y="3045179"/>
            <a:ext cx="405114" cy="162045"/>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Isosceles Triangle 29">
            <a:extLst>
              <a:ext uri="{FF2B5EF4-FFF2-40B4-BE49-F238E27FC236}">
                <a16:creationId xmlns:a16="http://schemas.microsoft.com/office/drawing/2014/main" id="{D0B80B23-3282-8FD0-2641-8F6F46DBE870}"/>
              </a:ext>
            </a:extLst>
          </p:cNvPr>
          <p:cNvSpPr/>
          <p:nvPr/>
        </p:nvSpPr>
        <p:spPr bwMode="gray">
          <a:xfrm rot="5400000">
            <a:off x="266665" y="3945109"/>
            <a:ext cx="405114" cy="162045"/>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2" name="Isosceles Triangle 31">
            <a:extLst>
              <a:ext uri="{FF2B5EF4-FFF2-40B4-BE49-F238E27FC236}">
                <a16:creationId xmlns:a16="http://schemas.microsoft.com/office/drawing/2014/main" id="{C0EFC5AE-8675-2F7E-A43C-D81D6BBE4CCE}"/>
              </a:ext>
            </a:extLst>
          </p:cNvPr>
          <p:cNvSpPr/>
          <p:nvPr/>
        </p:nvSpPr>
        <p:spPr bwMode="gray">
          <a:xfrm rot="5400000">
            <a:off x="266665" y="4873938"/>
            <a:ext cx="405114" cy="162045"/>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3" name="Isosceles Triangle 32">
            <a:extLst>
              <a:ext uri="{FF2B5EF4-FFF2-40B4-BE49-F238E27FC236}">
                <a16:creationId xmlns:a16="http://schemas.microsoft.com/office/drawing/2014/main" id="{1DD2B139-E7C2-12A0-CC82-8A55BAFB57D2}"/>
              </a:ext>
            </a:extLst>
          </p:cNvPr>
          <p:cNvSpPr/>
          <p:nvPr/>
        </p:nvSpPr>
        <p:spPr bwMode="gray">
          <a:xfrm rot="5400000">
            <a:off x="266665" y="5703446"/>
            <a:ext cx="405114" cy="162045"/>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34" name="Group 33">
            <a:extLst>
              <a:ext uri="{FF2B5EF4-FFF2-40B4-BE49-F238E27FC236}">
                <a16:creationId xmlns:a16="http://schemas.microsoft.com/office/drawing/2014/main" id="{D47A2464-2485-4BB3-9525-B82366C7AEA7}"/>
              </a:ext>
            </a:extLst>
          </p:cNvPr>
          <p:cNvGrpSpPr/>
          <p:nvPr/>
        </p:nvGrpSpPr>
        <p:grpSpPr>
          <a:xfrm>
            <a:off x="5542747" y="2067932"/>
            <a:ext cx="1895056" cy="1226218"/>
            <a:chOff x="2641205" y="4993111"/>
            <a:chExt cx="1521533" cy="626366"/>
          </a:xfrm>
        </p:grpSpPr>
        <p:sp>
          <p:nvSpPr>
            <p:cNvPr id="35" name="Rectangle: Rounded Corners 34">
              <a:extLst>
                <a:ext uri="{FF2B5EF4-FFF2-40B4-BE49-F238E27FC236}">
                  <a16:creationId xmlns:a16="http://schemas.microsoft.com/office/drawing/2014/main" id="{1F43D53A-3688-9597-3A03-0FD28AADB201}"/>
                </a:ext>
              </a:extLst>
            </p:cNvPr>
            <p:cNvSpPr/>
            <p:nvPr/>
          </p:nvSpPr>
          <p:spPr>
            <a:xfrm>
              <a:off x="2694422" y="5030357"/>
              <a:ext cx="1468316" cy="589120"/>
            </a:xfrm>
            <a:prstGeom prst="roundRect">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 name="Freeform: Shape 35">
              <a:extLst>
                <a:ext uri="{FF2B5EF4-FFF2-40B4-BE49-F238E27FC236}">
                  <a16:creationId xmlns:a16="http://schemas.microsoft.com/office/drawing/2014/main" id="{C9C65A20-7E89-8EB3-A367-47AC84EBDEED}"/>
                </a:ext>
              </a:extLst>
            </p:cNvPr>
            <p:cNvSpPr/>
            <p:nvPr/>
          </p:nvSpPr>
          <p:spPr>
            <a:xfrm>
              <a:off x="2641205" y="4993111"/>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CB0">
                      <a:lumMod val="75000"/>
                    </a:srgbClr>
                  </a:solidFill>
                  <a:effectLst/>
                  <a:uLnTx/>
                  <a:uFillTx/>
                  <a:latin typeface="Aptos" panose="020B0004020202020204" pitchFamily="34" charset="0"/>
                  <a:ea typeface="+mn-ea"/>
                  <a:cs typeface="+mn-cs"/>
                </a:rPr>
                <a:t>Power Sector </a:t>
              </a:r>
              <a:r>
                <a:rPr kumimoji="0" lang="en-US" sz="1400" b="1" i="0" u="none" strike="noStrike" kern="1200" cap="none" spc="0" normalizeH="0" baseline="0" noProof="0">
                  <a:ln>
                    <a:noFill/>
                  </a:ln>
                  <a:solidFill>
                    <a:srgbClr val="ED8B00"/>
                  </a:solidFill>
                  <a:effectLst/>
                  <a:uLnTx/>
                  <a:uFillTx/>
                  <a:latin typeface="Aptos" panose="020B0004020202020204" pitchFamily="34" charset="0"/>
                  <a:ea typeface="+mn-ea"/>
                  <a:cs typeface="+mn-cs"/>
                </a:rPr>
                <a:t>Advisory projects</a:t>
              </a:r>
              <a:r>
                <a:rPr kumimoji="0" lang="en-US" sz="1400" b="1" i="0" u="none" strike="noStrike" kern="1200" cap="none" spc="0" normalizeH="0" baseline="0" noProof="0">
                  <a:ln>
                    <a:noFill/>
                  </a:ln>
                  <a:solidFill>
                    <a:srgbClr val="007CB0">
                      <a:lumMod val="75000"/>
                    </a:srgbClr>
                  </a:solidFill>
                  <a:effectLst/>
                  <a:uLnTx/>
                  <a:uFillTx/>
                  <a:latin typeface="Aptos" panose="020B0004020202020204" pitchFamily="34" charset="0"/>
                  <a:ea typeface="+mn-ea"/>
                  <a:cs typeface="+mn-cs"/>
                </a:rPr>
                <a:t> </a:t>
              </a:r>
              <a:r>
                <a:rPr kumimoji="0" lang="en-US" sz="1200" b="1" i="0" u="none" strike="noStrike" kern="1200" cap="none" spc="0" normalizeH="0" baseline="0" noProof="0">
                  <a:ln>
                    <a:noFill/>
                  </a:ln>
                  <a:solidFill>
                    <a:srgbClr val="007CB0">
                      <a:lumMod val="75000"/>
                    </a:srgbClr>
                  </a:solidFill>
                  <a:effectLst/>
                  <a:uLnTx/>
                  <a:uFillTx/>
                  <a:latin typeface="Aptos" panose="020B0004020202020204" pitchFamily="34" charset="0"/>
                  <a:ea typeface="+mn-ea"/>
                  <a:cs typeface="+mn-cs"/>
                </a:rPr>
                <a:t>in last 5 years</a:t>
              </a:r>
            </a:p>
          </p:txBody>
        </p:sp>
        <p:sp>
          <p:nvSpPr>
            <p:cNvPr id="38" name="Rectangle: Rounded Corners 37">
              <a:extLst>
                <a:ext uri="{FF2B5EF4-FFF2-40B4-BE49-F238E27FC236}">
                  <a16:creationId xmlns:a16="http://schemas.microsoft.com/office/drawing/2014/main" id="{A540D2B6-27B5-37F6-D338-2062E21E39C3}"/>
                </a:ext>
              </a:extLst>
            </p:cNvPr>
            <p:cNvSpPr/>
            <p:nvPr/>
          </p:nvSpPr>
          <p:spPr>
            <a:xfrm>
              <a:off x="3337311" y="5291845"/>
              <a:ext cx="809212" cy="278970"/>
            </a:xfrm>
            <a:prstGeom prst="roundRect">
              <a:avLst>
                <a:gd name="adj" fmla="val 50000"/>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Rectangle 38">
              <a:extLst>
                <a:ext uri="{FF2B5EF4-FFF2-40B4-BE49-F238E27FC236}">
                  <a16:creationId xmlns:a16="http://schemas.microsoft.com/office/drawing/2014/main" id="{3A37B377-3157-77DA-0D5A-330EDAC67B18}"/>
                </a:ext>
              </a:extLst>
            </p:cNvPr>
            <p:cNvSpPr/>
            <p:nvPr/>
          </p:nvSpPr>
          <p:spPr>
            <a:xfrm>
              <a:off x="3429329" y="5317347"/>
              <a:ext cx="723886" cy="232653"/>
            </a:xfrm>
            <a:prstGeom prst="rect">
              <a:avLst/>
            </a:prstGeom>
            <a:no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panose="020B0004020202020204" pitchFamily="34" charset="0"/>
                  <a:ea typeface="+mn-ea"/>
                  <a:cs typeface="+mn-cs"/>
                </a:rPr>
                <a:t>200+</a:t>
              </a:r>
            </a:p>
          </p:txBody>
        </p:sp>
      </p:grpSp>
      <p:cxnSp>
        <p:nvCxnSpPr>
          <p:cNvPr id="43" name="Straight Connector 42">
            <a:extLst>
              <a:ext uri="{FF2B5EF4-FFF2-40B4-BE49-F238E27FC236}">
                <a16:creationId xmlns:a16="http://schemas.microsoft.com/office/drawing/2014/main" id="{2A4302E4-3B0D-95FF-1F96-74099CBD3399}"/>
              </a:ext>
            </a:extLst>
          </p:cNvPr>
          <p:cNvCxnSpPr/>
          <p:nvPr/>
        </p:nvCxnSpPr>
        <p:spPr>
          <a:xfrm>
            <a:off x="4893733" y="1803400"/>
            <a:ext cx="0" cy="4478867"/>
          </a:xfrm>
          <a:prstGeom prst="line">
            <a:avLst/>
          </a:prstGeom>
          <a:ln>
            <a:prstDash val="dashDot"/>
          </a:ln>
        </p:spPr>
        <p:style>
          <a:lnRef idx="1">
            <a:schemeClr val="accent6"/>
          </a:lnRef>
          <a:fillRef idx="0">
            <a:schemeClr val="accent6"/>
          </a:fillRef>
          <a:effectRef idx="0">
            <a:schemeClr val="accent6"/>
          </a:effectRef>
          <a:fontRef idx="minor">
            <a:schemeClr val="tx1"/>
          </a:fontRef>
        </p:style>
      </p:cxnSp>
      <p:grpSp>
        <p:nvGrpSpPr>
          <p:cNvPr id="49" name="Group 48">
            <a:extLst>
              <a:ext uri="{FF2B5EF4-FFF2-40B4-BE49-F238E27FC236}">
                <a16:creationId xmlns:a16="http://schemas.microsoft.com/office/drawing/2014/main" id="{58DA6D0E-4447-856E-E1C3-F18D99908975}"/>
              </a:ext>
            </a:extLst>
          </p:cNvPr>
          <p:cNvGrpSpPr/>
          <p:nvPr/>
        </p:nvGrpSpPr>
        <p:grpSpPr>
          <a:xfrm>
            <a:off x="5542747" y="3633157"/>
            <a:ext cx="1895056" cy="1226218"/>
            <a:chOff x="2641205" y="4993111"/>
            <a:chExt cx="1521533" cy="626366"/>
          </a:xfrm>
        </p:grpSpPr>
        <p:sp>
          <p:nvSpPr>
            <p:cNvPr id="50" name="Rectangle: Rounded Corners 49">
              <a:extLst>
                <a:ext uri="{FF2B5EF4-FFF2-40B4-BE49-F238E27FC236}">
                  <a16:creationId xmlns:a16="http://schemas.microsoft.com/office/drawing/2014/main" id="{73C35E00-E498-7975-F597-DDD6FC746578}"/>
                </a:ext>
              </a:extLst>
            </p:cNvPr>
            <p:cNvSpPr/>
            <p:nvPr/>
          </p:nvSpPr>
          <p:spPr>
            <a:xfrm>
              <a:off x="2694422" y="5030357"/>
              <a:ext cx="1468316" cy="589120"/>
            </a:xfrm>
            <a:prstGeom prst="roundRect">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1" name="Freeform: Shape 50">
              <a:extLst>
                <a:ext uri="{FF2B5EF4-FFF2-40B4-BE49-F238E27FC236}">
                  <a16:creationId xmlns:a16="http://schemas.microsoft.com/office/drawing/2014/main" id="{5F00523F-5D11-6BE5-4189-6948DD72DDCD}"/>
                </a:ext>
              </a:extLst>
            </p:cNvPr>
            <p:cNvSpPr/>
            <p:nvPr/>
          </p:nvSpPr>
          <p:spPr>
            <a:xfrm>
              <a:off x="2641205" y="4993111"/>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D8B00"/>
                  </a:solidFill>
                  <a:effectLst/>
                  <a:uLnTx/>
                  <a:uFillTx/>
                  <a:latin typeface="Aptos" panose="020B0004020202020204" pitchFamily="34" charset="0"/>
                  <a:ea typeface="+mn-ea"/>
                  <a:cs typeface="+mn-cs"/>
                </a:rPr>
                <a:t>Policy/Regulatory </a:t>
              </a:r>
              <a:r>
                <a:rPr kumimoji="0" lang="en-US" sz="1200" b="1" i="0" u="none" strike="noStrike" kern="1200" cap="none" spc="0" normalizeH="0" baseline="0" noProof="0">
                  <a:ln>
                    <a:noFill/>
                  </a:ln>
                  <a:solidFill>
                    <a:srgbClr val="007CB0">
                      <a:lumMod val="75000"/>
                    </a:srgbClr>
                  </a:solidFill>
                  <a:effectLst/>
                  <a:uLnTx/>
                  <a:uFillTx/>
                  <a:latin typeface="Aptos" panose="020B0004020202020204" pitchFamily="34" charset="0"/>
                  <a:ea typeface="+mn-ea"/>
                  <a:cs typeface="+mn-cs"/>
                </a:rPr>
                <a:t>level work with Central Govt agencies </a:t>
              </a:r>
            </a:p>
          </p:txBody>
        </p:sp>
        <p:sp>
          <p:nvSpPr>
            <p:cNvPr id="52" name="Rectangle: Rounded Corners 51">
              <a:extLst>
                <a:ext uri="{FF2B5EF4-FFF2-40B4-BE49-F238E27FC236}">
                  <a16:creationId xmlns:a16="http://schemas.microsoft.com/office/drawing/2014/main" id="{CF5AF8CD-59C5-C4AF-6705-EABCC7217AD8}"/>
                </a:ext>
              </a:extLst>
            </p:cNvPr>
            <p:cNvSpPr/>
            <p:nvPr/>
          </p:nvSpPr>
          <p:spPr>
            <a:xfrm>
              <a:off x="3337311" y="5291845"/>
              <a:ext cx="809212" cy="278970"/>
            </a:xfrm>
            <a:prstGeom prst="roundRect">
              <a:avLst>
                <a:gd name="adj" fmla="val 50000"/>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Rectangle 54">
              <a:extLst>
                <a:ext uri="{FF2B5EF4-FFF2-40B4-BE49-F238E27FC236}">
                  <a16:creationId xmlns:a16="http://schemas.microsoft.com/office/drawing/2014/main" id="{C1CCDA24-B94E-337D-CA49-1935DAA1A6B9}"/>
                </a:ext>
              </a:extLst>
            </p:cNvPr>
            <p:cNvSpPr/>
            <p:nvPr/>
          </p:nvSpPr>
          <p:spPr>
            <a:xfrm>
              <a:off x="3429329" y="5317347"/>
              <a:ext cx="723886" cy="232653"/>
            </a:xfrm>
            <a:prstGeom prst="rect">
              <a:avLst/>
            </a:prstGeom>
            <a:no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panose="020B0004020202020204" pitchFamily="34" charset="0"/>
                  <a:ea typeface="+mn-ea"/>
                  <a:cs typeface="+mn-cs"/>
                </a:rPr>
                <a:t>20+</a:t>
              </a:r>
            </a:p>
          </p:txBody>
        </p:sp>
      </p:grpSp>
      <p:grpSp>
        <p:nvGrpSpPr>
          <p:cNvPr id="44" name="Group 43">
            <a:extLst>
              <a:ext uri="{FF2B5EF4-FFF2-40B4-BE49-F238E27FC236}">
                <a16:creationId xmlns:a16="http://schemas.microsoft.com/office/drawing/2014/main" id="{D9A5471A-5234-E1FB-5C93-A52D80A23C74}"/>
              </a:ext>
            </a:extLst>
          </p:cNvPr>
          <p:cNvGrpSpPr/>
          <p:nvPr/>
        </p:nvGrpSpPr>
        <p:grpSpPr>
          <a:xfrm>
            <a:off x="7655344" y="2081170"/>
            <a:ext cx="1895056" cy="1226218"/>
            <a:chOff x="2641205" y="4993111"/>
            <a:chExt cx="1521533" cy="626366"/>
          </a:xfrm>
        </p:grpSpPr>
        <p:sp>
          <p:nvSpPr>
            <p:cNvPr id="45" name="Rectangle: Rounded Corners 44">
              <a:extLst>
                <a:ext uri="{FF2B5EF4-FFF2-40B4-BE49-F238E27FC236}">
                  <a16:creationId xmlns:a16="http://schemas.microsoft.com/office/drawing/2014/main" id="{6207349A-0BA8-6983-A1FD-1BD7114DBD99}"/>
                </a:ext>
              </a:extLst>
            </p:cNvPr>
            <p:cNvSpPr/>
            <p:nvPr/>
          </p:nvSpPr>
          <p:spPr>
            <a:xfrm>
              <a:off x="2694422" y="5030357"/>
              <a:ext cx="1468316" cy="589120"/>
            </a:xfrm>
            <a:prstGeom prst="roundRect">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6" name="Freeform: Shape 45">
              <a:extLst>
                <a:ext uri="{FF2B5EF4-FFF2-40B4-BE49-F238E27FC236}">
                  <a16:creationId xmlns:a16="http://schemas.microsoft.com/office/drawing/2014/main" id="{6CBA23AD-E811-47A7-340C-A7E2F677BEB4}"/>
                </a:ext>
              </a:extLst>
            </p:cNvPr>
            <p:cNvSpPr/>
            <p:nvPr/>
          </p:nvSpPr>
          <p:spPr>
            <a:xfrm>
              <a:off x="2641205" y="4993111"/>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CB0">
                      <a:lumMod val="75000"/>
                    </a:srgbClr>
                  </a:solidFill>
                  <a:effectLst/>
                  <a:uLnTx/>
                  <a:uFillTx/>
                  <a:latin typeface="Aptos" panose="020B0004020202020204" pitchFamily="34" charset="0"/>
                  <a:ea typeface="+mn-ea"/>
                  <a:cs typeface="+mn-cs"/>
                </a:rPr>
                <a:t>Worked with </a:t>
              </a:r>
              <a:r>
                <a:rPr kumimoji="0" lang="en-US" sz="1400" b="1" i="0" u="none" strike="noStrike" kern="1200" cap="none" spc="0" normalizeH="0" baseline="0" noProof="0">
                  <a:ln>
                    <a:noFill/>
                  </a:ln>
                  <a:solidFill>
                    <a:srgbClr val="ED8B00"/>
                  </a:solidFill>
                  <a:effectLst/>
                  <a:uLnTx/>
                  <a:uFillTx/>
                  <a:latin typeface="Aptos" panose="020B0004020202020204" pitchFamily="34" charset="0"/>
                  <a:ea typeface="+mn-ea"/>
                  <a:cs typeface="+mn-cs"/>
                </a:rPr>
                <a:t>Power Sector clients </a:t>
              </a:r>
              <a:r>
                <a:rPr kumimoji="0" lang="en-US" sz="1200" b="1" i="0" u="none" strike="noStrike" kern="1200" cap="none" spc="0" normalizeH="0" baseline="0" noProof="0">
                  <a:ln>
                    <a:noFill/>
                  </a:ln>
                  <a:solidFill>
                    <a:srgbClr val="007CB0">
                      <a:lumMod val="75000"/>
                    </a:srgbClr>
                  </a:solidFill>
                  <a:effectLst/>
                  <a:uLnTx/>
                  <a:uFillTx/>
                  <a:latin typeface="Aptos" panose="020B0004020202020204" pitchFamily="34" charset="0"/>
                  <a:ea typeface="+mn-ea"/>
                  <a:cs typeface="+mn-cs"/>
                </a:rPr>
                <a:t>in India over last 5 years</a:t>
              </a:r>
            </a:p>
          </p:txBody>
        </p:sp>
        <p:sp>
          <p:nvSpPr>
            <p:cNvPr id="47" name="Rectangle: Rounded Corners 46">
              <a:extLst>
                <a:ext uri="{FF2B5EF4-FFF2-40B4-BE49-F238E27FC236}">
                  <a16:creationId xmlns:a16="http://schemas.microsoft.com/office/drawing/2014/main" id="{D54C94C8-1394-17DE-DB09-00AF4F98AFF6}"/>
                </a:ext>
              </a:extLst>
            </p:cNvPr>
            <p:cNvSpPr/>
            <p:nvPr/>
          </p:nvSpPr>
          <p:spPr>
            <a:xfrm>
              <a:off x="3337311" y="5291845"/>
              <a:ext cx="809212" cy="278970"/>
            </a:xfrm>
            <a:prstGeom prst="roundRect">
              <a:avLst>
                <a:gd name="adj" fmla="val 50000"/>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8" name="Rectangle 47">
              <a:extLst>
                <a:ext uri="{FF2B5EF4-FFF2-40B4-BE49-F238E27FC236}">
                  <a16:creationId xmlns:a16="http://schemas.microsoft.com/office/drawing/2014/main" id="{938CB2EB-2580-1A13-323D-102A79512385}"/>
                </a:ext>
              </a:extLst>
            </p:cNvPr>
            <p:cNvSpPr/>
            <p:nvPr/>
          </p:nvSpPr>
          <p:spPr>
            <a:xfrm>
              <a:off x="3429329" y="5317347"/>
              <a:ext cx="723886" cy="232653"/>
            </a:xfrm>
            <a:prstGeom prst="rect">
              <a:avLst/>
            </a:prstGeom>
            <a:no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panose="020B0004020202020204" pitchFamily="34" charset="0"/>
                  <a:ea typeface="+mn-ea"/>
                  <a:cs typeface="+mn-cs"/>
                </a:rPr>
                <a:t>100+</a:t>
              </a:r>
            </a:p>
          </p:txBody>
        </p:sp>
      </p:grpSp>
      <p:sp>
        <p:nvSpPr>
          <p:cNvPr id="71" name="Rectangle 70">
            <a:extLst>
              <a:ext uri="{FF2B5EF4-FFF2-40B4-BE49-F238E27FC236}">
                <a16:creationId xmlns:a16="http://schemas.microsoft.com/office/drawing/2014/main" id="{AC33320A-5246-5EF2-7232-5295857D691A}"/>
              </a:ext>
            </a:extLst>
          </p:cNvPr>
          <p:cNvSpPr/>
          <p:nvPr/>
        </p:nvSpPr>
        <p:spPr>
          <a:xfrm>
            <a:off x="10295520" y="3166639"/>
            <a:ext cx="1409146" cy="3575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t"/>
          <a:lstStyle/>
          <a:p>
            <a:pPr marL="0" marR="0" lvl="0" indent="0" algn="ctr" defTabSz="108847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55A11"/>
                </a:solidFill>
                <a:effectLst/>
                <a:uLnTx/>
                <a:uFillTx/>
                <a:latin typeface="Aptos" panose="020B0004020202020204" pitchFamily="34" charset="0"/>
                <a:ea typeface="Open Sans" panose="020B0606030504020204" pitchFamily="34" charset="0"/>
                <a:cs typeface="Open Sans" panose="020B0606030504020204" pitchFamily="34" charset="0"/>
              </a:rPr>
              <a:t>500+</a:t>
            </a:r>
          </a:p>
          <a:p>
            <a:pPr marL="0" marR="0" lvl="0" indent="0" algn="ctr" defTabSz="1088474"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72" name="Rectangle 71">
            <a:extLst>
              <a:ext uri="{FF2B5EF4-FFF2-40B4-BE49-F238E27FC236}">
                <a16:creationId xmlns:a16="http://schemas.microsoft.com/office/drawing/2014/main" id="{8C941268-212C-D25E-5F41-BEEF47C5F362}"/>
              </a:ext>
            </a:extLst>
          </p:cNvPr>
          <p:cNvSpPr/>
          <p:nvPr/>
        </p:nvSpPr>
        <p:spPr>
          <a:xfrm>
            <a:off x="10098091" y="3434928"/>
            <a:ext cx="1804004" cy="2585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lumMod val="75000"/>
                    <a:lumOff val="25000"/>
                  </a:srgbClr>
                </a:solidFill>
                <a:effectLst/>
                <a:uLnTx/>
                <a:uFillTx/>
                <a:latin typeface="Aptos" panose="020B0004020202020204" pitchFamily="34" charset="0"/>
                <a:ea typeface="Open Sans" panose="020B0606030504020204" pitchFamily="34" charset="0"/>
                <a:cs typeface="Open Sans" panose="020B0606030504020204" pitchFamily="34" charset="0"/>
              </a:rPr>
              <a:t>Cloud Practitioners </a:t>
            </a:r>
          </a:p>
        </p:txBody>
      </p:sp>
      <p:sp>
        <p:nvSpPr>
          <p:cNvPr id="73" name="Rectangle 72">
            <a:extLst>
              <a:ext uri="{FF2B5EF4-FFF2-40B4-BE49-F238E27FC236}">
                <a16:creationId xmlns:a16="http://schemas.microsoft.com/office/drawing/2014/main" id="{7214F9E7-9A74-5265-3F33-5D25FF33B900}"/>
              </a:ext>
            </a:extLst>
          </p:cNvPr>
          <p:cNvSpPr/>
          <p:nvPr/>
        </p:nvSpPr>
        <p:spPr>
          <a:xfrm>
            <a:off x="10295520" y="3861555"/>
            <a:ext cx="1409146" cy="3575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t"/>
          <a:lstStyle/>
          <a:p>
            <a:pPr marL="0" marR="0" lvl="0" indent="0" algn="ctr" defTabSz="108847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55A11"/>
                </a:solidFill>
                <a:effectLst/>
                <a:uLnTx/>
                <a:uFillTx/>
                <a:latin typeface="Aptos" panose="020B0004020202020204" pitchFamily="34" charset="0"/>
                <a:ea typeface="Open Sans" panose="020B0606030504020204" pitchFamily="34" charset="0"/>
                <a:cs typeface="Open Sans" panose="020B0606030504020204" pitchFamily="34" charset="0"/>
              </a:rPr>
              <a:t>150+</a:t>
            </a:r>
          </a:p>
          <a:p>
            <a:pPr marL="0" marR="0" lvl="0" indent="0" algn="ctr" defTabSz="1088474"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74" name="Rectangle 73">
            <a:extLst>
              <a:ext uri="{FF2B5EF4-FFF2-40B4-BE49-F238E27FC236}">
                <a16:creationId xmlns:a16="http://schemas.microsoft.com/office/drawing/2014/main" id="{894EF0E8-AD74-2BF2-0C75-BA16AF4214B5}"/>
              </a:ext>
            </a:extLst>
          </p:cNvPr>
          <p:cNvSpPr/>
          <p:nvPr/>
        </p:nvSpPr>
        <p:spPr>
          <a:xfrm>
            <a:off x="10098091" y="4171404"/>
            <a:ext cx="1804004" cy="425758"/>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lumMod val="75000"/>
                    <a:lumOff val="25000"/>
                  </a:srgbClr>
                </a:solidFill>
                <a:effectLst/>
                <a:uLnTx/>
                <a:uFillTx/>
                <a:latin typeface="Aptos" panose="020B0004020202020204" pitchFamily="34" charset="0"/>
                <a:ea typeface="Open Sans" panose="020B0606030504020204" pitchFamily="34" charset="0"/>
                <a:cs typeface="Open Sans" panose="020B0606030504020204" pitchFamily="34" charset="0"/>
              </a:rPr>
              <a:t>Database Administrator </a:t>
            </a:r>
          </a:p>
        </p:txBody>
      </p:sp>
      <p:sp>
        <p:nvSpPr>
          <p:cNvPr id="75" name="Rectangle 74">
            <a:extLst>
              <a:ext uri="{FF2B5EF4-FFF2-40B4-BE49-F238E27FC236}">
                <a16:creationId xmlns:a16="http://schemas.microsoft.com/office/drawing/2014/main" id="{C1C0EB1C-460C-3658-4CE7-0EE35A7CBEA6}"/>
              </a:ext>
            </a:extLst>
          </p:cNvPr>
          <p:cNvSpPr/>
          <p:nvPr/>
        </p:nvSpPr>
        <p:spPr>
          <a:xfrm>
            <a:off x="10295520" y="4578767"/>
            <a:ext cx="1409146" cy="3575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t"/>
          <a:lstStyle/>
          <a:p>
            <a:pPr marL="0" marR="0" lvl="0" indent="0" algn="ctr" defTabSz="108847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55A11"/>
                </a:solidFill>
                <a:effectLst/>
                <a:uLnTx/>
                <a:uFillTx/>
                <a:latin typeface="Aptos" panose="020B0004020202020204" pitchFamily="34" charset="0"/>
                <a:ea typeface="Open Sans" panose="020B0606030504020204" pitchFamily="34" charset="0"/>
                <a:cs typeface="Open Sans" panose="020B0606030504020204" pitchFamily="34" charset="0"/>
              </a:rPr>
              <a:t>50+</a:t>
            </a:r>
          </a:p>
          <a:p>
            <a:pPr marL="0" marR="0" lvl="0" indent="0" algn="ctr" defTabSz="1088474"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76" name="Rectangle 75">
            <a:extLst>
              <a:ext uri="{FF2B5EF4-FFF2-40B4-BE49-F238E27FC236}">
                <a16:creationId xmlns:a16="http://schemas.microsoft.com/office/drawing/2014/main" id="{15340921-667E-0CE9-4430-65695B68E3C1}"/>
              </a:ext>
            </a:extLst>
          </p:cNvPr>
          <p:cNvSpPr/>
          <p:nvPr/>
        </p:nvSpPr>
        <p:spPr>
          <a:xfrm>
            <a:off x="10098091" y="4847049"/>
            <a:ext cx="1804004" cy="2585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lumMod val="75000"/>
                    <a:lumOff val="25000"/>
                  </a:srgbClr>
                </a:solidFill>
                <a:effectLst/>
                <a:uLnTx/>
                <a:uFillTx/>
                <a:latin typeface="Aptos" panose="020B0004020202020204" pitchFamily="34" charset="0"/>
                <a:ea typeface="Open Sans" panose="020B0606030504020204" pitchFamily="34" charset="0"/>
                <a:cs typeface="Open Sans" panose="020B0606030504020204" pitchFamily="34" charset="0"/>
              </a:rPr>
              <a:t>Solution Architect</a:t>
            </a:r>
          </a:p>
        </p:txBody>
      </p:sp>
      <p:sp>
        <p:nvSpPr>
          <p:cNvPr id="77" name="Rectangle 76">
            <a:extLst>
              <a:ext uri="{FF2B5EF4-FFF2-40B4-BE49-F238E27FC236}">
                <a16:creationId xmlns:a16="http://schemas.microsoft.com/office/drawing/2014/main" id="{6C1D77EF-FB7E-3D22-06D9-02931066C908}"/>
              </a:ext>
            </a:extLst>
          </p:cNvPr>
          <p:cNvSpPr/>
          <p:nvPr/>
        </p:nvSpPr>
        <p:spPr>
          <a:xfrm>
            <a:off x="10295520" y="5157804"/>
            <a:ext cx="1409146" cy="3575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t"/>
          <a:lstStyle/>
          <a:p>
            <a:pPr marL="0" marR="0" lvl="0" indent="0" algn="ctr" defTabSz="108847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55A11"/>
                </a:solidFill>
                <a:effectLst/>
                <a:uLnTx/>
                <a:uFillTx/>
                <a:latin typeface="Aptos" panose="020B0004020202020204" pitchFamily="34" charset="0"/>
                <a:ea typeface="Open Sans" panose="020B0606030504020204" pitchFamily="34" charset="0"/>
                <a:cs typeface="Open Sans" panose="020B0606030504020204" pitchFamily="34" charset="0"/>
              </a:rPr>
              <a:t>5000+</a:t>
            </a:r>
          </a:p>
          <a:p>
            <a:pPr marL="0" marR="0" lvl="0" indent="0" algn="ctr" defTabSz="1088474"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78" name="Rectangle 77">
            <a:extLst>
              <a:ext uri="{FF2B5EF4-FFF2-40B4-BE49-F238E27FC236}">
                <a16:creationId xmlns:a16="http://schemas.microsoft.com/office/drawing/2014/main" id="{AA3E5AE9-96F6-6533-E516-5C9C47966350}"/>
              </a:ext>
            </a:extLst>
          </p:cNvPr>
          <p:cNvSpPr/>
          <p:nvPr/>
        </p:nvSpPr>
        <p:spPr>
          <a:xfrm>
            <a:off x="10098091" y="5417772"/>
            <a:ext cx="1804004" cy="2585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lumMod val="75000"/>
                    <a:lumOff val="25000"/>
                  </a:srgbClr>
                </a:solidFill>
                <a:effectLst/>
                <a:uLnTx/>
                <a:uFillTx/>
                <a:latin typeface="Aptos" panose="020B0004020202020204" pitchFamily="34" charset="0"/>
                <a:ea typeface="Open Sans" panose="020B0606030504020204" pitchFamily="34" charset="0"/>
                <a:cs typeface="Open Sans" panose="020B0606030504020204" pitchFamily="34" charset="0"/>
              </a:rPr>
              <a:t>Software Engineers</a:t>
            </a:r>
          </a:p>
        </p:txBody>
      </p:sp>
      <p:grpSp>
        <p:nvGrpSpPr>
          <p:cNvPr id="79" name="Group 78">
            <a:extLst>
              <a:ext uri="{FF2B5EF4-FFF2-40B4-BE49-F238E27FC236}">
                <a16:creationId xmlns:a16="http://schemas.microsoft.com/office/drawing/2014/main" id="{086D9FE2-2CE4-33F2-98EF-CBFCFFC967E7}"/>
              </a:ext>
            </a:extLst>
          </p:cNvPr>
          <p:cNvGrpSpPr/>
          <p:nvPr/>
        </p:nvGrpSpPr>
        <p:grpSpPr>
          <a:xfrm>
            <a:off x="5542747" y="5156486"/>
            <a:ext cx="1895056" cy="1226218"/>
            <a:chOff x="2641205" y="4993111"/>
            <a:chExt cx="1521533" cy="626366"/>
          </a:xfrm>
        </p:grpSpPr>
        <p:sp>
          <p:nvSpPr>
            <p:cNvPr id="80" name="Rectangle: Rounded Corners 79">
              <a:extLst>
                <a:ext uri="{FF2B5EF4-FFF2-40B4-BE49-F238E27FC236}">
                  <a16:creationId xmlns:a16="http://schemas.microsoft.com/office/drawing/2014/main" id="{BA69F9E4-C0D3-2968-ABA0-B1BF47165D13}"/>
                </a:ext>
              </a:extLst>
            </p:cNvPr>
            <p:cNvSpPr/>
            <p:nvPr/>
          </p:nvSpPr>
          <p:spPr>
            <a:xfrm>
              <a:off x="2694422" y="5030357"/>
              <a:ext cx="1468316" cy="589120"/>
            </a:xfrm>
            <a:prstGeom prst="roundRect">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1" name="Freeform: Shape 80">
              <a:extLst>
                <a:ext uri="{FF2B5EF4-FFF2-40B4-BE49-F238E27FC236}">
                  <a16:creationId xmlns:a16="http://schemas.microsoft.com/office/drawing/2014/main" id="{9B6322C2-EC75-FF1A-3A3F-5F8B3F8AE9A7}"/>
                </a:ext>
              </a:extLst>
            </p:cNvPr>
            <p:cNvSpPr/>
            <p:nvPr/>
          </p:nvSpPr>
          <p:spPr>
            <a:xfrm>
              <a:off x="2641205" y="4993111"/>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D8B00"/>
                  </a:solidFill>
                  <a:effectLst/>
                  <a:uLnTx/>
                  <a:uFillTx/>
                  <a:latin typeface="Aptos" panose="020B0004020202020204" pitchFamily="34" charset="0"/>
                  <a:ea typeface="+mn-ea"/>
                  <a:cs typeface="+mn-cs"/>
                </a:rPr>
                <a:t>Certifications</a:t>
              </a:r>
              <a:r>
                <a:rPr kumimoji="0" lang="en-US" sz="1400" b="1" i="0" u="none" strike="noStrike" kern="1200" cap="none" spc="0" normalizeH="0" baseline="0" noProof="0">
                  <a:ln>
                    <a:noFill/>
                  </a:ln>
                  <a:solidFill>
                    <a:srgbClr val="86BC25">
                      <a:lumMod val="50000"/>
                    </a:srgbClr>
                  </a:solidFill>
                  <a:effectLst/>
                  <a:uLnTx/>
                  <a:uFillTx/>
                  <a:latin typeface="Aptos" panose="020B0004020202020204" pitchFamily="34" charset="0"/>
                  <a:ea typeface="+mn-ea"/>
                  <a:cs typeface="+mn-cs"/>
                </a:rPr>
                <a:t> </a:t>
              </a:r>
              <a:r>
                <a:rPr kumimoji="0" lang="en-US" sz="1200" b="1" i="0" u="none" strike="noStrike" kern="1200" cap="none" spc="0" normalizeH="0" baseline="0" noProof="0">
                  <a:ln>
                    <a:noFill/>
                  </a:ln>
                  <a:solidFill>
                    <a:srgbClr val="86BC25">
                      <a:lumMod val="50000"/>
                    </a:srgbClr>
                  </a:solidFill>
                  <a:effectLst/>
                  <a:uLnTx/>
                  <a:uFillTx/>
                  <a:latin typeface="Aptos" panose="020B0004020202020204" pitchFamily="34" charset="0"/>
                  <a:ea typeface="+mn-ea"/>
                  <a:cs typeface="+mn-cs"/>
                </a:rPr>
                <a:t>needed for such complex IT work incl </a:t>
              </a:r>
              <a:r>
                <a:rPr kumimoji="0" lang="en-US" sz="1200" b="1" i="0" u="none" strike="noStrike" kern="1200" cap="none" spc="0" normalizeH="0" baseline="0" noProof="0" err="1">
                  <a:ln>
                    <a:noFill/>
                  </a:ln>
                  <a:solidFill>
                    <a:srgbClr val="ED8B00"/>
                  </a:solidFill>
                  <a:effectLst/>
                  <a:uLnTx/>
                  <a:uFillTx/>
                  <a:latin typeface="Aptos" panose="020B0004020202020204" pitchFamily="34" charset="0"/>
                  <a:ea typeface="+mn-ea"/>
                  <a:cs typeface="+mn-cs"/>
                </a:rPr>
                <a:t>CMMi</a:t>
              </a:r>
              <a:r>
                <a:rPr kumimoji="0" lang="en-US" sz="1200" b="1" i="0" u="none" strike="noStrike" kern="1200" cap="none" spc="0" normalizeH="0" baseline="0" noProof="0">
                  <a:ln>
                    <a:noFill/>
                  </a:ln>
                  <a:solidFill>
                    <a:srgbClr val="ED8B00"/>
                  </a:solidFill>
                  <a:effectLst/>
                  <a:uLnTx/>
                  <a:uFillTx/>
                  <a:latin typeface="Aptos" panose="020B0004020202020204" pitchFamily="34" charset="0"/>
                  <a:ea typeface="+mn-ea"/>
                  <a:cs typeface="+mn-cs"/>
                </a:rPr>
                <a:t> 5</a:t>
              </a:r>
            </a:p>
          </p:txBody>
        </p:sp>
        <p:sp>
          <p:nvSpPr>
            <p:cNvPr id="82" name="Rectangle: Rounded Corners 81">
              <a:extLst>
                <a:ext uri="{FF2B5EF4-FFF2-40B4-BE49-F238E27FC236}">
                  <a16:creationId xmlns:a16="http://schemas.microsoft.com/office/drawing/2014/main" id="{9391C60C-483C-3200-3228-20E0F842CD09}"/>
                </a:ext>
              </a:extLst>
            </p:cNvPr>
            <p:cNvSpPr/>
            <p:nvPr/>
          </p:nvSpPr>
          <p:spPr>
            <a:xfrm>
              <a:off x="3337311" y="5291845"/>
              <a:ext cx="809212" cy="278970"/>
            </a:xfrm>
            <a:prstGeom prst="roundRect">
              <a:avLst>
                <a:gd name="adj" fmla="val 50000"/>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3" name="Rectangle 82">
              <a:extLst>
                <a:ext uri="{FF2B5EF4-FFF2-40B4-BE49-F238E27FC236}">
                  <a16:creationId xmlns:a16="http://schemas.microsoft.com/office/drawing/2014/main" id="{FB7BBA9B-1D8E-A8ED-6F06-30EC3A4E08D3}"/>
                </a:ext>
              </a:extLst>
            </p:cNvPr>
            <p:cNvSpPr/>
            <p:nvPr/>
          </p:nvSpPr>
          <p:spPr>
            <a:xfrm>
              <a:off x="3429329" y="5317347"/>
              <a:ext cx="723886" cy="232653"/>
            </a:xfrm>
            <a:prstGeom prst="rect">
              <a:avLst/>
            </a:prstGeom>
            <a:no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panose="020B0004020202020204" pitchFamily="34" charset="0"/>
                  <a:ea typeface="+mn-ea"/>
                  <a:cs typeface="+mn-cs"/>
                </a:rPr>
                <a:t>5+</a:t>
              </a:r>
            </a:p>
          </p:txBody>
        </p:sp>
      </p:grpSp>
      <p:sp>
        <p:nvSpPr>
          <p:cNvPr id="89" name="Rectangle: Rounded Corners 88">
            <a:extLst>
              <a:ext uri="{FF2B5EF4-FFF2-40B4-BE49-F238E27FC236}">
                <a16:creationId xmlns:a16="http://schemas.microsoft.com/office/drawing/2014/main" id="{7EE502B5-C0DE-5E41-F79B-BCED6F6797CE}"/>
              </a:ext>
            </a:extLst>
          </p:cNvPr>
          <p:cNvSpPr/>
          <p:nvPr/>
        </p:nvSpPr>
        <p:spPr bwMode="gray">
          <a:xfrm>
            <a:off x="10085714" y="2211256"/>
            <a:ext cx="1828759" cy="3781436"/>
          </a:xfrm>
          <a:prstGeom prst="roundRect">
            <a:avLst/>
          </a:prstGeom>
          <a:noFill/>
          <a:ln w="19050" algn="ctr">
            <a:solidFill>
              <a:schemeClr val="tx1">
                <a:lumMod val="95000"/>
                <a:lumOff val="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84" name="Group 83">
            <a:extLst>
              <a:ext uri="{FF2B5EF4-FFF2-40B4-BE49-F238E27FC236}">
                <a16:creationId xmlns:a16="http://schemas.microsoft.com/office/drawing/2014/main" id="{591D80FA-9B82-98C8-5397-3B336B50DA29}"/>
              </a:ext>
            </a:extLst>
          </p:cNvPr>
          <p:cNvGrpSpPr/>
          <p:nvPr/>
        </p:nvGrpSpPr>
        <p:grpSpPr>
          <a:xfrm>
            <a:off x="7655344" y="3549963"/>
            <a:ext cx="1895056" cy="1226218"/>
            <a:chOff x="2641205" y="4993111"/>
            <a:chExt cx="1521533" cy="626366"/>
          </a:xfrm>
        </p:grpSpPr>
        <p:sp>
          <p:nvSpPr>
            <p:cNvPr id="85" name="Rectangle: Rounded Corners 84">
              <a:extLst>
                <a:ext uri="{FF2B5EF4-FFF2-40B4-BE49-F238E27FC236}">
                  <a16:creationId xmlns:a16="http://schemas.microsoft.com/office/drawing/2014/main" id="{9CA2BABD-0068-6C0A-D8BB-37673BC61C4B}"/>
                </a:ext>
              </a:extLst>
            </p:cNvPr>
            <p:cNvSpPr/>
            <p:nvPr/>
          </p:nvSpPr>
          <p:spPr>
            <a:xfrm>
              <a:off x="2694422" y="5030357"/>
              <a:ext cx="1468316" cy="589120"/>
            </a:xfrm>
            <a:prstGeom prst="roundRect">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6" name="Freeform: Shape 85">
              <a:extLst>
                <a:ext uri="{FF2B5EF4-FFF2-40B4-BE49-F238E27FC236}">
                  <a16:creationId xmlns:a16="http://schemas.microsoft.com/office/drawing/2014/main" id="{6D1BE966-2A3C-FA1C-3B08-B551C3A7A39C}"/>
                </a:ext>
              </a:extLst>
            </p:cNvPr>
            <p:cNvSpPr/>
            <p:nvPr/>
          </p:nvSpPr>
          <p:spPr>
            <a:xfrm>
              <a:off x="2641205" y="4993111"/>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D8B00"/>
                  </a:solidFill>
                  <a:effectLst/>
                  <a:uLnTx/>
                  <a:uFillTx/>
                  <a:latin typeface="Aptos" panose="020B0004020202020204" pitchFamily="34" charset="0"/>
                  <a:ea typeface="+mn-ea"/>
                  <a:cs typeface="+mn-cs"/>
                </a:rPr>
                <a:t>Portals &amp; sites </a:t>
              </a:r>
              <a:r>
                <a:rPr kumimoji="0" lang="en-US" sz="1200" b="1" i="0" u="none" strike="noStrike" kern="1200" cap="none" spc="0" normalizeH="0" baseline="0" noProof="0">
                  <a:ln>
                    <a:noFill/>
                  </a:ln>
                  <a:solidFill>
                    <a:srgbClr val="86BC25">
                      <a:lumMod val="50000"/>
                    </a:srgbClr>
                  </a:solidFill>
                  <a:effectLst/>
                  <a:uLnTx/>
                  <a:uFillTx/>
                  <a:latin typeface="Aptos" panose="020B0004020202020204" pitchFamily="34" charset="0"/>
                  <a:ea typeface="+mn-ea"/>
                  <a:cs typeface="+mn-cs"/>
                </a:rPr>
                <a:t>developments for Govt and Priv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6BC25">
                      <a:lumMod val="50000"/>
                    </a:srgbClr>
                  </a:solidFill>
                  <a:effectLst/>
                  <a:uLnTx/>
                  <a:uFillTx/>
                  <a:latin typeface="Aptos" panose="020B0004020202020204" pitchFamily="34" charset="0"/>
                  <a:ea typeface="+mn-ea"/>
                  <a:cs typeface="+mn-cs"/>
                </a:rPr>
                <a:t>clients </a:t>
              </a:r>
            </a:p>
          </p:txBody>
        </p:sp>
        <p:sp>
          <p:nvSpPr>
            <p:cNvPr id="87" name="Rectangle: Rounded Corners 86">
              <a:extLst>
                <a:ext uri="{FF2B5EF4-FFF2-40B4-BE49-F238E27FC236}">
                  <a16:creationId xmlns:a16="http://schemas.microsoft.com/office/drawing/2014/main" id="{7ADCBB11-84AB-7945-8225-24EA63E33BBC}"/>
                </a:ext>
              </a:extLst>
            </p:cNvPr>
            <p:cNvSpPr/>
            <p:nvPr/>
          </p:nvSpPr>
          <p:spPr>
            <a:xfrm>
              <a:off x="3337311" y="5291845"/>
              <a:ext cx="809212" cy="278970"/>
            </a:xfrm>
            <a:prstGeom prst="roundRect">
              <a:avLst>
                <a:gd name="adj" fmla="val 50000"/>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8" name="Rectangle 87">
              <a:extLst>
                <a:ext uri="{FF2B5EF4-FFF2-40B4-BE49-F238E27FC236}">
                  <a16:creationId xmlns:a16="http://schemas.microsoft.com/office/drawing/2014/main" id="{EF369E3C-9C86-B1D5-BE0D-72F3122DD75E}"/>
                </a:ext>
              </a:extLst>
            </p:cNvPr>
            <p:cNvSpPr/>
            <p:nvPr/>
          </p:nvSpPr>
          <p:spPr>
            <a:xfrm>
              <a:off x="3429329" y="5317347"/>
              <a:ext cx="723886" cy="232653"/>
            </a:xfrm>
            <a:prstGeom prst="rect">
              <a:avLst/>
            </a:prstGeom>
            <a:no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panose="020B0004020202020204" pitchFamily="34" charset="0"/>
                  <a:ea typeface="+mn-ea"/>
                  <a:cs typeface="+mn-cs"/>
                </a:rPr>
                <a:t>25+</a:t>
              </a:r>
            </a:p>
          </p:txBody>
        </p:sp>
      </p:grpSp>
      <p:sp>
        <p:nvSpPr>
          <p:cNvPr id="90" name="Rectangle 89">
            <a:extLst>
              <a:ext uri="{FF2B5EF4-FFF2-40B4-BE49-F238E27FC236}">
                <a16:creationId xmlns:a16="http://schemas.microsoft.com/office/drawing/2014/main" id="{8888D8BD-A6C6-A309-C4F7-FF461F31DE34}"/>
              </a:ext>
            </a:extLst>
          </p:cNvPr>
          <p:cNvSpPr/>
          <p:nvPr/>
        </p:nvSpPr>
        <p:spPr>
          <a:xfrm>
            <a:off x="10295520" y="2233235"/>
            <a:ext cx="1409146" cy="3575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t"/>
          <a:lstStyle/>
          <a:p>
            <a:pPr marL="0" marR="0" lvl="0" indent="0" algn="ctr" defTabSz="108847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55A11"/>
                </a:solidFill>
                <a:effectLst/>
                <a:uLnTx/>
                <a:uFillTx/>
                <a:latin typeface="Aptos" panose="020B0004020202020204" pitchFamily="34" charset="0"/>
                <a:ea typeface="Open Sans" panose="020B0606030504020204" pitchFamily="34" charset="0"/>
                <a:cs typeface="Open Sans" panose="020B0606030504020204" pitchFamily="34" charset="0"/>
              </a:rPr>
              <a:t>400+</a:t>
            </a:r>
          </a:p>
          <a:p>
            <a:pPr marL="0" marR="0" lvl="0" indent="0" algn="ctr" defTabSz="1088474"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91" name="Rectangle 90">
            <a:extLst>
              <a:ext uri="{FF2B5EF4-FFF2-40B4-BE49-F238E27FC236}">
                <a16:creationId xmlns:a16="http://schemas.microsoft.com/office/drawing/2014/main" id="{D1842371-7FF0-6694-AD10-0A5705DAA3FF}"/>
              </a:ext>
            </a:extLst>
          </p:cNvPr>
          <p:cNvSpPr/>
          <p:nvPr/>
        </p:nvSpPr>
        <p:spPr>
          <a:xfrm>
            <a:off x="10098091" y="2501524"/>
            <a:ext cx="1804004" cy="4247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lumMod val="75000"/>
                    <a:lumOff val="25000"/>
                  </a:srgbClr>
                </a:solidFill>
                <a:effectLst/>
                <a:uLnTx/>
                <a:uFillTx/>
                <a:latin typeface="Aptos" panose="020B0004020202020204" pitchFamily="34" charset="0"/>
                <a:ea typeface="Open Sans" panose="020B0606030504020204" pitchFamily="34" charset="0"/>
                <a:cs typeface="Open Sans" panose="020B0606030504020204" pitchFamily="34" charset="0"/>
              </a:rPr>
              <a:t>Dedicated Power Sector Professionals</a:t>
            </a:r>
          </a:p>
        </p:txBody>
      </p:sp>
      <p:sp>
        <p:nvSpPr>
          <p:cNvPr id="92" name="Rectangle 91">
            <a:extLst>
              <a:ext uri="{FF2B5EF4-FFF2-40B4-BE49-F238E27FC236}">
                <a16:creationId xmlns:a16="http://schemas.microsoft.com/office/drawing/2014/main" id="{19374E1E-247B-2E04-CE06-664B48C79532}"/>
              </a:ext>
            </a:extLst>
          </p:cNvPr>
          <p:cNvSpPr/>
          <p:nvPr/>
        </p:nvSpPr>
        <p:spPr>
          <a:xfrm>
            <a:off x="6778840" y="1490630"/>
            <a:ext cx="3840206" cy="400110"/>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a:ln>
                  <a:noFill/>
                </a:ln>
                <a:solidFill>
                  <a:srgbClr val="007CB0">
                    <a:lumMod val="75000"/>
                  </a:srgbClr>
                </a:solidFill>
                <a:effectLst/>
                <a:uLnTx/>
                <a:uFillTx/>
                <a:latin typeface="Aptos" panose="020B0004020202020204" pitchFamily="34" charset="0"/>
                <a:ea typeface="Open Sans" panose="020B0606030504020204" pitchFamily="34" charset="0"/>
                <a:cs typeface="Open Sans" panose="020B0606030504020204" pitchFamily="34" charset="0"/>
              </a:rPr>
              <a:t>Deloitte’s Commitment </a:t>
            </a:r>
          </a:p>
        </p:txBody>
      </p:sp>
      <p:grpSp>
        <p:nvGrpSpPr>
          <p:cNvPr id="93" name="Group 92">
            <a:extLst>
              <a:ext uri="{FF2B5EF4-FFF2-40B4-BE49-F238E27FC236}">
                <a16:creationId xmlns:a16="http://schemas.microsoft.com/office/drawing/2014/main" id="{559C48FC-A1E1-D4FA-B9B6-AA94F99EAD33}"/>
              </a:ext>
            </a:extLst>
          </p:cNvPr>
          <p:cNvGrpSpPr/>
          <p:nvPr/>
        </p:nvGrpSpPr>
        <p:grpSpPr>
          <a:xfrm>
            <a:off x="7655344" y="5156486"/>
            <a:ext cx="1895056" cy="1226218"/>
            <a:chOff x="2641205" y="4993111"/>
            <a:chExt cx="1521533" cy="626366"/>
          </a:xfrm>
        </p:grpSpPr>
        <p:sp>
          <p:nvSpPr>
            <p:cNvPr id="94" name="Rectangle: Rounded Corners 93">
              <a:extLst>
                <a:ext uri="{FF2B5EF4-FFF2-40B4-BE49-F238E27FC236}">
                  <a16:creationId xmlns:a16="http://schemas.microsoft.com/office/drawing/2014/main" id="{56155D07-1B69-07F2-30FE-85F91B71D819}"/>
                </a:ext>
              </a:extLst>
            </p:cNvPr>
            <p:cNvSpPr/>
            <p:nvPr/>
          </p:nvSpPr>
          <p:spPr>
            <a:xfrm>
              <a:off x="2694422" y="5030357"/>
              <a:ext cx="1468316" cy="589120"/>
            </a:xfrm>
            <a:prstGeom prst="roundRect">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5" name="Freeform: Shape 94">
              <a:extLst>
                <a:ext uri="{FF2B5EF4-FFF2-40B4-BE49-F238E27FC236}">
                  <a16:creationId xmlns:a16="http://schemas.microsoft.com/office/drawing/2014/main" id="{54EBBA47-F0F0-834F-D2B7-3582039DE47C}"/>
                </a:ext>
              </a:extLst>
            </p:cNvPr>
            <p:cNvSpPr/>
            <p:nvPr/>
          </p:nvSpPr>
          <p:spPr>
            <a:xfrm>
              <a:off x="2641205" y="4993111"/>
              <a:ext cx="1353588" cy="572901"/>
            </a:xfrm>
            <a:custGeom>
              <a:avLst/>
              <a:gdLst>
                <a:gd name="connsiteX0" fmla="*/ 3475717 w 3475716"/>
                <a:gd name="connsiteY0" fmla="*/ 278057 h 2046094"/>
                <a:gd name="connsiteX1" fmla="*/ 3475717 w 3475716"/>
                <a:gd name="connsiteY1" fmla="*/ 1034399 h 2046094"/>
                <a:gd name="connsiteX2" fmla="*/ 3367988 w 3475716"/>
                <a:gd name="connsiteY2" fmla="*/ 1258546 h 2046094"/>
                <a:gd name="connsiteX3" fmla="*/ 2878024 w 3475716"/>
                <a:gd name="connsiteY3" fmla="*/ 1881185 h 2046094"/>
                <a:gd name="connsiteX4" fmla="*/ 2618280 w 3475716"/>
                <a:gd name="connsiteY4" fmla="*/ 2046095 h 2046094"/>
                <a:gd name="connsiteX5" fmla="*/ 278151 w 3475716"/>
                <a:gd name="connsiteY5" fmla="*/ 2046095 h 2046094"/>
                <a:gd name="connsiteX6" fmla="*/ 0 w 3475716"/>
                <a:gd name="connsiteY6" fmla="*/ 1767944 h 2046094"/>
                <a:gd name="connsiteX7" fmla="*/ 0 w 3475716"/>
                <a:gd name="connsiteY7" fmla="*/ 278151 h 2046094"/>
                <a:gd name="connsiteX8" fmla="*/ 278151 w 3475716"/>
                <a:gd name="connsiteY8" fmla="*/ 0 h 2046094"/>
                <a:gd name="connsiteX9" fmla="*/ 3197473 w 3475716"/>
                <a:gd name="connsiteY9" fmla="*/ 0 h 2046094"/>
                <a:gd name="connsiteX10" fmla="*/ 3475623 w 3475716"/>
                <a:gd name="connsiteY10" fmla="*/ 278151 h 20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16" h="2046094">
                  <a:moveTo>
                    <a:pt x="3475717" y="278057"/>
                  </a:moveTo>
                  <a:lnTo>
                    <a:pt x="3475717" y="1034399"/>
                  </a:lnTo>
                  <a:cubicBezTo>
                    <a:pt x="3475717" y="1121573"/>
                    <a:pt x="3435634" y="1203420"/>
                    <a:pt x="3367988" y="1258546"/>
                  </a:cubicBezTo>
                  <a:cubicBezTo>
                    <a:pt x="3164023" y="1424577"/>
                    <a:pt x="2993321" y="1638165"/>
                    <a:pt x="2878024" y="1881185"/>
                  </a:cubicBezTo>
                  <a:cubicBezTo>
                    <a:pt x="2830373" y="1981626"/>
                    <a:pt x="2729559" y="2046095"/>
                    <a:pt x="2618280" y="2046095"/>
                  </a:cubicBezTo>
                  <a:lnTo>
                    <a:pt x="278151" y="2046095"/>
                  </a:lnTo>
                  <a:cubicBezTo>
                    <a:pt x="124546" y="2046095"/>
                    <a:pt x="0" y="1921548"/>
                    <a:pt x="0" y="1767944"/>
                  </a:cubicBezTo>
                  <a:lnTo>
                    <a:pt x="0" y="278151"/>
                  </a:lnTo>
                  <a:cubicBezTo>
                    <a:pt x="0" y="124547"/>
                    <a:pt x="124546" y="0"/>
                    <a:pt x="278151" y="0"/>
                  </a:cubicBezTo>
                  <a:lnTo>
                    <a:pt x="3197473" y="0"/>
                  </a:lnTo>
                  <a:cubicBezTo>
                    <a:pt x="3351077" y="0"/>
                    <a:pt x="3475623" y="124547"/>
                    <a:pt x="3475623" y="278151"/>
                  </a:cubicBezTo>
                  <a:close/>
                </a:path>
              </a:pathLst>
            </a:custGeom>
            <a:solidFill>
              <a:schemeClr val="bg1"/>
            </a:solidFill>
            <a:ln w="9339" cap="flat">
              <a:noFill/>
              <a:prstDash val="solid"/>
              <a:miter/>
            </a:ln>
            <a:effectLst>
              <a:outerShdw blurRad="50800" dist="254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D8B00"/>
                  </a:solidFill>
                  <a:effectLst/>
                  <a:uLnTx/>
                  <a:uFillTx/>
                  <a:latin typeface="Aptos" panose="020B0004020202020204" pitchFamily="34" charset="0"/>
                  <a:ea typeface="+mn-ea"/>
                  <a:cs typeface="+mn-cs"/>
                </a:rPr>
                <a:t>INR 500 Cr. + </a:t>
              </a:r>
              <a:r>
                <a:rPr kumimoji="0" lang="en-US" sz="1200" b="1" i="0" u="none" strike="noStrike" kern="1200" cap="none" spc="0" normalizeH="0" baseline="0" noProof="0">
                  <a:ln>
                    <a:noFill/>
                  </a:ln>
                  <a:solidFill>
                    <a:srgbClr val="86BC25">
                      <a:lumMod val="50000"/>
                    </a:srgbClr>
                  </a:solidFill>
                  <a:effectLst/>
                  <a:uLnTx/>
                  <a:uFillTx/>
                  <a:latin typeface="Aptos" panose="020B0004020202020204" pitchFamily="34" charset="0"/>
                  <a:ea typeface="+mn-ea"/>
                  <a:cs typeface="+mn-cs"/>
                </a:rPr>
                <a:t>complex IT projects incl Implement and Operate </a:t>
              </a:r>
            </a:p>
          </p:txBody>
        </p:sp>
        <p:sp>
          <p:nvSpPr>
            <p:cNvPr id="96" name="Rectangle: Rounded Corners 95">
              <a:extLst>
                <a:ext uri="{FF2B5EF4-FFF2-40B4-BE49-F238E27FC236}">
                  <a16:creationId xmlns:a16="http://schemas.microsoft.com/office/drawing/2014/main" id="{5DF75DA6-736D-AEC6-3FDD-65F3F337E311}"/>
                </a:ext>
              </a:extLst>
            </p:cNvPr>
            <p:cNvSpPr/>
            <p:nvPr/>
          </p:nvSpPr>
          <p:spPr>
            <a:xfrm>
              <a:off x="3337311" y="5291845"/>
              <a:ext cx="809212" cy="278970"/>
            </a:xfrm>
            <a:prstGeom prst="roundRect">
              <a:avLst>
                <a:gd name="adj" fmla="val 50000"/>
              </a:avLst>
            </a:prstGeom>
            <a:solidFill>
              <a:srgbClr val="00ABAB"/>
            </a:solidFill>
            <a:ln w="9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Rectangle 96">
              <a:extLst>
                <a:ext uri="{FF2B5EF4-FFF2-40B4-BE49-F238E27FC236}">
                  <a16:creationId xmlns:a16="http://schemas.microsoft.com/office/drawing/2014/main" id="{E71E661E-92C2-0069-8CDB-76EEA1C4F504}"/>
                </a:ext>
              </a:extLst>
            </p:cNvPr>
            <p:cNvSpPr/>
            <p:nvPr/>
          </p:nvSpPr>
          <p:spPr>
            <a:xfrm>
              <a:off x="3429329" y="5317347"/>
              <a:ext cx="723886" cy="232653"/>
            </a:xfrm>
            <a:prstGeom prst="rect">
              <a:avLst/>
            </a:prstGeom>
            <a:no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panose="020B0004020202020204" pitchFamily="34" charset="0"/>
                  <a:ea typeface="+mn-ea"/>
                  <a:cs typeface="+mn-cs"/>
                </a:rPr>
                <a:t>10+</a:t>
              </a:r>
            </a:p>
          </p:txBody>
        </p:sp>
      </p:grpSp>
    </p:spTree>
    <p:extLst>
      <p:ext uri="{BB962C8B-B14F-4D97-AF65-F5344CB8AC3E}">
        <p14:creationId xmlns:p14="http://schemas.microsoft.com/office/powerpoint/2010/main" val="8622889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40A44B-AA51-43C0-AC14-907B85ACC621}"/>
              </a:ext>
            </a:extLst>
          </p:cNvPr>
          <p:cNvSpPr>
            <a:spLocks noGrp="1"/>
          </p:cNvSpPr>
          <p:nvPr>
            <p:ph type="body" sz="quarter" idx="13"/>
          </p:nvPr>
        </p:nvSpPr>
        <p:spPr/>
        <p:txBody>
          <a:bodyPr/>
          <a:lstStyle/>
          <a:p>
            <a:r>
              <a:rPr lang="en-US" sz="1600">
                <a:latin typeface="Aptos" panose="020B0004020202020204" pitchFamily="34" charset="0"/>
              </a:rPr>
              <a:t>Presence across various states and clients in India</a:t>
            </a:r>
          </a:p>
        </p:txBody>
      </p:sp>
      <p:sp>
        <p:nvSpPr>
          <p:cNvPr id="3" name="Title 2">
            <a:extLst>
              <a:ext uri="{FF2B5EF4-FFF2-40B4-BE49-F238E27FC236}">
                <a16:creationId xmlns:a16="http://schemas.microsoft.com/office/drawing/2014/main" id="{A7D28933-EB0D-4607-A0C6-9A98B2D39EA0}"/>
              </a:ext>
            </a:extLst>
          </p:cNvPr>
          <p:cNvSpPr>
            <a:spLocks noGrp="1"/>
          </p:cNvSpPr>
          <p:nvPr>
            <p:ph type="title"/>
          </p:nvPr>
        </p:nvSpPr>
        <p:spPr>
          <a:xfrm>
            <a:off x="469900" y="274995"/>
            <a:ext cx="11252200" cy="698501"/>
          </a:xfrm>
        </p:spPr>
        <p:txBody>
          <a:bodyPr vert="horz" lIns="0" tIns="0" rIns="0" bIns="0" rtlCol="0" anchor="t" anchorCtr="0">
            <a:noAutofit/>
          </a:bodyPr>
          <a:lstStyle/>
          <a:p>
            <a:pPr defTabSz="685800"/>
            <a:r>
              <a:rPr lang="en-US" sz="2100" b="1">
                <a:latin typeface="Aptos ExtraBold" panose="020B0004020202020204" pitchFamily="34" charset="0"/>
              </a:rPr>
              <a:t>Our</a:t>
            </a:r>
            <a:r>
              <a:rPr lang="en-US" sz="2400" b="1">
                <a:solidFill>
                  <a:schemeClr val="accent2"/>
                </a:solidFill>
                <a:latin typeface="Aptos ExtraBold" panose="020B0004020202020204" pitchFamily="34" charset="0"/>
              </a:rPr>
              <a:t> </a:t>
            </a:r>
            <a:r>
              <a:rPr lang="en-US" sz="2100" b="1">
                <a:latin typeface="Aptos ExtraBold" panose="020B0004020202020204" pitchFamily="34" charset="0"/>
              </a:rPr>
              <a:t>Presence in Indian Power Sector</a:t>
            </a:r>
          </a:p>
        </p:txBody>
      </p:sp>
      <p:sp>
        <p:nvSpPr>
          <p:cNvPr id="7" name="AutoShape 276">
            <a:extLst>
              <a:ext uri="{FF2B5EF4-FFF2-40B4-BE49-F238E27FC236}">
                <a16:creationId xmlns:a16="http://schemas.microsoft.com/office/drawing/2014/main" id="{17495F14-E3BE-40FC-A7BC-A7177072274A}"/>
              </a:ext>
            </a:extLst>
          </p:cNvPr>
          <p:cNvSpPr>
            <a:spLocks noChangeAspect="1" noChangeArrowheads="1" noTextEdit="1"/>
          </p:cNvSpPr>
          <p:nvPr/>
        </p:nvSpPr>
        <p:spPr bwMode="auto">
          <a:xfrm>
            <a:off x="528408" y="2232535"/>
            <a:ext cx="3301227" cy="3669930"/>
          </a:xfrm>
          <a:prstGeom prst="rect">
            <a:avLst/>
          </a:prstGeom>
          <a:noFill/>
          <a:ln>
            <a:noFill/>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78">
            <a:extLst>
              <a:ext uri="{FF2B5EF4-FFF2-40B4-BE49-F238E27FC236}">
                <a16:creationId xmlns:a16="http://schemas.microsoft.com/office/drawing/2014/main" id="{842A36B6-B22A-49DD-9260-F962CB9F04DB}"/>
              </a:ext>
            </a:extLst>
          </p:cNvPr>
          <p:cNvSpPr>
            <a:spLocks/>
          </p:cNvSpPr>
          <p:nvPr/>
        </p:nvSpPr>
        <p:spPr bwMode="auto">
          <a:xfrm>
            <a:off x="3552129" y="3502374"/>
            <a:ext cx="0" cy="223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 name="Freeform 279">
            <a:extLst>
              <a:ext uri="{FF2B5EF4-FFF2-40B4-BE49-F238E27FC236}">
                <a16:creationId xmlns:a16="http://schemas.microsoft.com/office/drawing/2014/main" id="{91FB2522-5FBB-4E0C-9AD1-7A346D82789A}"/>
              </a:ext>
            </a:extLst>
          </p:cNvPr>
          <p:cNvSpPr>
            <a:spLocks/>
          </p:cNvSpPr>
          <p:nvPr/>
        </p:nvSpPr>
        <p:spPr bwMode="auto">
          <a:xfrm>
            <a:off x="3416704" y="366421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 name="Freeform 280">
            <a:extLst>
              <a:ext uri="{FF2B5EF4-FFF2-40B4-BE49-F238E27FC236}">
                <a16:creationId xmlns:a16="http://schemas.microsoft.com/office/drawing/2014/main" id="{DA2F3FA8-FC06-47FF-8121-E004B47EDAD7}"/>
              </a:ext>
            </a:extLst>
          </p:cNvPr>
          <p:cNvSpPr>
            <a:spLocks/>
          </p:cNvSpPr>
          <p:nvPr/>
        </p:nvSpPr>
        <p:spPr bwMode="auto">
          <a:xfrm>
            <a:off x="3277951" y="3636313"/>
            <a:ext cx="5551" cy="2233"/>
          </a:xfrm>
          <a:custGeom>
            <a:avLst/>
            <a:gdLst>
              <a:gd name="T0" fmla="*/ 2 w 2"/>
              <a:gd name="T1" fmla="*/ 0 h 1"/>
              <a:gd name="T2" fmla="*/ 0 w 2"/>
              <a:gd name="T3" fmla="*/ 1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1" y="1"/>
                </a:cubicBezTo>
                <a:cubicBezTo>
                  <a:pt x="2" y="1"/>
                  <a:pt x="2" y="1"/>
                  <a:pt x="2"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 name="Freeform 281">
            <a:extLst>
              <a:ext uri="{FF2B5EF4-FFF2-40B4-BE49-F238E27FC236}">
                <a16:creationId xmlns:a16="http://schemas.microsoft.com/office/drawing/2014/main" id="{3FFCD5D1-1ED4-4DA7-873A-CB9DA554B2CC}"/>
              </a:ext>
            </a:extLst>
          </p:cNvPr>
          <p:cNvSpPr>
            <a:spLocks/>
          </p:cNvSpPr>
          <p:nvPr/>
        </p:nvSpPr>
        <p:spPr bwMode="auto">
          <a:xfrm>
            <a:off x="526189" y="3557067"/>
            <a:ext cx="731509" cy="574822"/>
          </a:xfrm>
          <a:custGeom>
            <a:avLst/>
            <a:gdLst>
              <a:gd name="T0" fmla="*/ 274 w 296"/>
              <a:gd name="T1" fmla="*/ 80 h 231"/>
              <a:gd name="T2" fmla="*/ 250 w 296"/>
              <a:gd name="T3" fmla="*/ 57 h 231"/>
              <a:gd name="T4" fmla="*/ 244 w 296"/>
              <a:gd name="T5" fmla="*/ 27 h 231"/>
              <a:gd name="T6" fmla="*/ 217 w 296"/>
              <a:gd name="T7" fmla="*/ 17 h 231"/>
              <a:gd name="T8" fmla="*/ 192 w 296"/>
              <a:gd name="T9" fmla="*/ 9 h 231"/>
              <a:gd name="T10" fmla="*/ 164 w 296"/>
              <a:gd name="T11" fmla="*/ 4 h 231"/>
              <a:gd name="T12" fmla="*/ 146 w 296"/>
              <a:gd name="T13" fmla="*/ 6 h 231"/>
              <a:gd name="T14" fmla="*/ 146 w 296"/>
              <a:gd name="T15" fmla="*/ 19 h 231"/>
              <a:gd name="T16" fmla="*/ 118 w 296"/>
              <a:gd name="T17" fmla="*/ 13 h 231"/>
              <a:gd name="T18" fmla="*/ 89 w 296"/>
              <a:gd name="T19" fmla="*/ 22 h 231"/>
              <a:gd name="T20" fmla="*/ 63 w 296"/>
              <a:gd name="T21" fmla="*/ 13 h 231"/>
              <a:gd name="T22" fmla="*/ 42 w 296"/>
              <a:gd name="T23" fmla="*/ 14 h 231"/>
              <a:gd name="T24" fmla="*/ 16 w 296"/>
              <a:gd name="T25" fmla="*/ 25 h 231"/>
              <a:gd name="T26" fmla="*/ 3 w 296"/>
              <a:gd name="T27" fmla="*/ 37 h 231"/>
              <a:gd name="T28" fmla="*/ 22 w 296"/>
              <a:gd name="T29" fmla="*/ 36 h 231"/>
              <a:gd name="T30" fmla="*/ 18 w 296"/>
              <a:gd name="T31" fmla="*/ 40 h 231"/>
              <a:gd name="T32" fmla="*/ 21 w 296"/>
              <a:gd name="T33" fmla="*/ 54 h 231"/>
              <a:gd name="T34" fmla="*/ 27 w 296"/>
              <a:gd name="T35" fmla="*/ 60 h 231"/>
              <a:gd name="T36" fmla="*/ 51 w 296"/>
              <a:gd name="T37" fmla="*/ 86 h 231"/>
              <a:gd name="T38" fmla="*/ 79 w 296"/>
              <a:gd name="T39" fmla="*/ 88 h 231"/>
              <a:gd name="T40" fmla="*/ 99 w 296"/>
              <a:gd name="T41" fmla="*/ 79 h 231"/>
              <a:gd name="T42" fmla="*/ 107 w 296"/>
              <a:gd name="T43" fmla="*/ 92 h 231"/>
              <a:gd name="T44" fmla="*/ 87 w 296"/>
              <a:gd name="T45" fmla="*/ 102 h 231"/>
              <a:gd name="T46" fmla="*/ 78 w 296"/>
              <a:gd name="T47" fmla="*/ 110 h 231"/>
              <a:gd name="T48" fmla="*/ 66 w 296"/>
              <a:gd name="T49" fmla="*/ 113 h 231"/>
              <a:gd name="T50" fmla="*/ 52 w 296"/>
              <a:gd name="T51" fmla="*/ 112 h 231"/>
              <a:gd name="T52" fmla="*/ 40 w 296"/>
              <a:gd name="T53" fmla="*/ 107 h 231"/>
              <a:gd name="T54" fmla="*/ 38 w 296"/>
              <a:gd name="T55" fmla="*/ 117 h 231"/>
              <a:gd name="T56" fmla="*/ 72 w 296"/>
              <a:gd name="T57" fmla="*/ 157 h 231"/>
              <a:gd name="T58" fmla="*/ 101 w 296"/>
              <a:gd name="T59" fmla="*/ 186 h 231"/>
              <a:gd name="T60" fmla="*/ 127 w 296"/>
              <a:gd name="T61" fmla="*/ 196 h 231"/>
              <a:gd name="T62" fmla="*/ 156 w 296"/>
              <a:gd name="T63" fmla="*/ 186 h 231"/>
              <a:gd name="T64" fmla="*/ 180 w 296"/>
              <a:gd name="T65" fmla="*/ 177 h 231"/>
              <a:gd name="T66" fmla="*/ 192 w 296"/>
              <a:gd name="T67" fmla="*/ 147 h 231"/>
              <a:gd name="T68" fmla="*/ 194 w 296"/>
              <a:gd name="T69" fmla="*/ 129 h 231"/>
              <a:gd name="T70" fmla="*/ 212 w 296"/>
              <a:gd name="T71" fmla="*/ 128 h 231"/>
              <a:gd name="T72" fmla="*/ 204 w 296"/>
              <a:gd name="T73" fmla="*/ 135 h 231"/>
              <a:gd name="T74" fmla="*/ 204 w 296"/>
              <a:gd name="T75" fmla="*/ 146 h 231"/>
              <a:gd name="T76" fmla="*/ 205 w 296"/>
              <a:gd name="T77" fmla="*/ 160 h 231"/>
              <a:gd name="T78" fmla="*/ 209 w 296"/>
              <a:gd name="T79" fmla="*/ 166 h 231"/>
              <a:gd name="T80" fmla="*/ 205 w 296"/>
              <a:gd name="T81" fmla="*/ 181 h 231"/>
              <a:gd name="T82" fmla="*/ 210 w 296"/>
              <a:gd name="T83" fmla="*/ 190 h 231"/>
              <a:gd name="T84" fmla="*/ 212 w 296"/>
              <a:gd name="T85" fmla="*/ 201 h 231"/>
              <a:gd name="T86" fmla="*/ 201 w 296"/>
              <a:gd name="T87" fmla="*/ 223 h 231"/>
              <a:gd name="T88" fmla="*/ 224 w 296"/>
              <a:gd name="T89" fmla="*/ 230 h 231"/>
              <a:gd name="T90" fmla="*/ 235 w 296"/>
              <a:gd name="T91" fmla="*/ 206 h 231"/>
              <a:gd name="T92" fmla="*/ 257 w 296"/>
              <a:gd name="T93" fmla="*/ 208 h 231"/>
              <a:gd name="T94" fmla="*/ 247 w 296"/>
              <a:gd name="T95" fmla="*/ 185 h 231"/>
              <a:gd name="T96" fmla="*/ 272 w 296"/>
              <a:gd name="T97" fmla="*/ 174 h 231"/>
              <a:gd name="T98" fmla="*/ 263 w 296"/>
              <a:gd name="T99" fmla="*/ 161 h 231"/>
              <a:gd name="T100" fmla="*/ 275 w 296"/>
              <a:gd name="T101" fmla="*/ 149 h 231"/>
              <a:gd name="T102" fmla="*/ 284 w 296"/>
              <a:gd name="T103" fmla="*/ 129 h 231"/>
              <a:gd name="T104" fmla="*/ 292 w 296"/>
              <a:gd name="T105" fmla="*/ 10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6" h="231">
                <a:moveTo>
                  <a:pt x="289" y="93"/>
                </a:moveTo>
                <a:cubicBezTo>
                  <a:pt x="289" y="93"/>
                  <a:pt x="289" y="93"/>
                  <a:pt x="289" y="93"/>
                </a:cubicBezTo>
                <a:cubicBezTo>
                  <a:pt x="289" y="91"/>
                  <a:pt x="289" y="88"/>
                  <a:pt x="287" y="88"/>
                </a:cubicBezTo>
                <a:cubicBezTo>
                  <a:pt x="286" y="88"/>
                  <a:pt x="281" y="90"/>
                  <a:pt x="281" y="87"/>
                </a:cubicBezTo>
                <a:cubicBezTo>
                  <a:pt x="282" y="84"/>
                  <a:pt x="283" y="83"/>
                  <a:pt x="281" y="81"/>
                </a:cubicBezTo>
                <a:cubicBezTo>
                  <a:pt x="279" y="79"/>
                  <a:pt x="276" y="80"/>
                  <a:pt x="274" y="80"/>
                </a:cubicBezTo>
                <a:cubicBezTo>
                  <a:pt x="274" y="79"/>
                  <a:pt x="274" y="79"/>
                  <a:pt x="274" y="79"/>
                </a:cubicBezTo>
                <a:cubicBezTo>
                  <a:pt x="271" y="80"/>
                  <a:pt x="271" y="76"/>
                  <a:pt x="269" y="75"/>
                </a:cubicBezTo>
                <a:cubicBezTo>
                  <a:pt x="267" y="75"/>
                  <a:pt x="263" y="76"/>
                  <a:pt x="262" y="74"/>
                </a:cubicBezTo>
                <a:cubicBezTo>
                  <a:pt x="258" y="71"/>
                  <a:pt x="265" y="61"/>
                  <a:pt x="256" y="66"/>
                </a:cubicBezTo>
                <a:cubicBezTo>
                  <a:pt x="254" y="64"/>
                  <a:pt x="256" y="61"/>
                  <a:pt x="254" y="59"/>
                </a:cubicBezTo>
                <a:cubicBezTo>
                  <a:pt x="253" y="58"/>
                  <a:pt x="251" y="59"/>
                  <a:pt x="250" y="57"/>
                </a:cubicBezTo>
                <a:cubicBezTo>
                  <a:pt x="248" y="54"/>
                  <a:pt x="255" y="50"/>
                  <a:pt x="256" y="48"/>
                </a:cubicBezTo>
                <a:cubicBezTo>
                  <a:pt x="257" y="44"/>
                  <a:pt x="253" y="39"/>
                  <a:pt x="250" y="43"/>
                </a:cubicBezTo>
                <a:cubicBezTo>
                  <a:pt x="247" y="46"/>
                  <a:pt x="245" y="44"/>
                  <a:pt x="246" y="40"/>
                </a:cubicBezTo>
                <a:cubicBezTo>
                  <a:pt x="243" y="41"/>
                  <a:pt x="241" y="37"/>
                  <a:pt x="241" y="34"/>
                </a:cubicBezTo>
                <a:cubicBezTo>
                  <a:pt x="242" y="30"/>
                  <a:pt x="245" y="30"/>
                  <a:pt x="248" y="28"/>
                </a:cubicBezTo>
                <a:cubicBezTo>
                  <a:pt x="247" y="27"/>
                  <a:pt x="245" y="28"/>
                  <a:pt x="244" y="27"/>
                </a:cubicBezTo>
                <a:cubicBezTo>
                  <a:pt x="243" y="26"/>
                  <a:pt x="244" y="24"/>
                  <a:pt x="244" y="22"/>
                </a:cubicBezTo>
                <a:cubicBezTo>
                  <a:pt x="242" y="21"/>
                  <a:pt x="239" y="20"/>
                  <a:pt x="238" y="22"/>
                </a:cubicBezTo>
                <a:cubicBezTo>
                  <a:pt x="237" y="24"/>
                  <a:pt x="237" y="29"/>
                  <a:pt x="234" y="28"/>
                </a:cubicBezTo>
                <a:cubicBezTo>
                  <a:pt x="233" y="24"/>
                  <a:pt x="227" y="26"/>
                  <a:pt x="224" y="26"/>
                </a:cubicBezTo>
                <a:cubicBezTo>
                  <a:pt x="224" y="24"/>
                  <a:pt x="224" y="23"/>
                  <a:pt x="224" y="21"/>
                </a:cubicBezTo>
                <a:cubicBezTo>
                  <a:pt x="221" y="21"/>
                  <a:pt x="219" y="16"/>
                  <a:pt x="217" y="17"/>
                </a:cubicBezTo>
                <a:cubicBezTo>
                  <a:pt x="216" y="19"/>
                  <a:pt x="215" y="20"/>
                  <a:pt x="213" y="21"/>
                </a:cubicBezTo>
                <a:cubicBezTo>
                  <a:pt x="213" y="18"/>
                  <a:pt x="213" y="17"/>
                  <a:pt x="211" y="16"/>
                </a:cubicBezTo>
                <a:cubicBezTo>
                  <a:pt x="209" y="14"/>
                  <a:pt x="209" y="13"/>
                  <a:pt x="208" y="11"/>
                </a:cubicBezTo>
                <a:cubicBezTo>
                  <a:pt x="207" y="9"/>
                  <a:pt x="203" y="11"/>
                  <a:pt x="201" y="10"/>
                </a:cubicBezTo>
                <a:cubicBezTo>
                  <a:pt x="199" y="9"/>
                  <a:pt x="199" y="7"/>
                  <a:pt x="199" y="5"/>
                </a:cubicBezTo>
                <a:cubicBezTo>
                  <a:pt x="197" y="5"/>
                  <a:pt x="193" y="7"/>
                  <a:pt x="192" y="9"/>
                </a:cubicBezTo>
                <a:cubicBezTo>
                  <a:pt x="191" y="9"/>
                  <a:pt x="190" y="8"/>
                  <a:pt x="190" y="7"/>
                </a:cubicBezTo>
                <a:cubicBezTo>
                  <a:pt x="189" y="7"/>
                  <a:pt x="188" y="9"/>
                  <a:pt x="188" y="11"/>
                </a:cubicBezTo>
                <a:cubicBezTo>
                  <a:pt x="186" y="11"/>
                  <a:pt x="185" y="9"/>
                  <a:pt x="184" y="8"/>
                </a:cubicBezTo>
                <a:cubicBezTo>
                  <a:pt x="184" y="5"/>
                  <a:pt x="181" y="5"/>
                  <a:pt x="179" y="6"/>
                </a:cubicBezTo>
                <a:cubicBezTo>
                  <a:pt x="177" y="6"/>
                  <a:pt x="175" y="5"/>
                  <a:pt x="173" y="4"/>
                </a:cubicBezTo>
                <a:cubicBezTo>
                  <a:pt x="170" y="3"/>
                  <a:pt x="167" y="4"/>
                  <a:pt x="164" y="4"/>
                </a:cubicBezTo>
                <a:cubicBezTo>
                  <a:pt x="164" y="5"/>
                  <a:pt x="164" y="6"/>
                  <a:pt x="164" y="7"/>
                </a:cubicBezTo>
                <a:cubicBezTo>
                  <a:pt x="162" y="7"/>
                  <a:pt x="160" y="7"/>
                  <a:pt x="160" y="5"/>
                </a:cubicBezTo>
                <a:cubicBezTo>
                  <a:pt x="159" y="4"/>
                  <a:pt x="160" y="2"/>
                  <a:pt x="159" y="1"/>
                </a:cubicBezTo>
                <a:cubicBezTo>
                  <a:pt x="158" y="0"/>
                  <a:pt x="154" y="1"/>
                  <a:pt x="151" y="2"/>
                </a:cubicBezTo>
                <a:cubicBezTo>
                  <a:pt x="151" y="2"/>
                  <a:pt x="151" y="3"/>
                  <a:pt x="151" y="3"/>
                </a:cubicBezTo>
                <a:cubicBezTo>
                  <a:pt x="149" y="3"/>
                  <a:pt x="146" y="4"/>
                  <a:pt x="146" y="6"/>
                </a:cubicBezTo>
                <a:cubicBezTo>
                  <a:pt x="146" y="6"/>
                  <a:pt x="146" y="7"/>
                  <a:pt x="147" y="7"/>
                </a:cubicBezTo>
                <a:cubicBezTo>
                  <a:pt x="147" y="9"/>
                  <a:pt x="145" y="12"/>
                  <a:pt x="146" y="14"/>
                </a:cubicBezTo>
                <a:cubicBezTo>
                  <a:pt x="148" y="14"/>
                  <a:pt x="150" y="14"/>
                  <a:pt x="152" y="14"/>
                </a:cubicBezTo>
                <a:cubicBezTo>
                  <a:pt x="152" y="15"/>
                  <a:pt x="152" y="15"/>
                  <a:pt x="152" y="15"/>
                </a:cubicBezTo>
                <a:cubicBezTo>
                  <a:pt x="152" y="16"/>
                  <a:pt x="152" y="16"/>
                  <a:pt x="151" y="16"/>
                </a:cubicBezTo>
                <a:cubicBezTo>
                  <a:pt x="150" y="16"/>
                  <a:pt x="148" y="18"/>
                  <a:pt x="146" y="19"/>
                </a:cubicBezTo>
                <a:cubicBezTo>
                  <a:pt x="146" y="18"/>
                  <a:pt x="144" y="18"/>
                  <a:pt x="143" y="18"/>
                </a:cubicBezTo>
                <a:cubicBezTo>
                  <a:pt x="142" y="19"/>
                  <a:pt x="142" y="19"/>
                  <a:pt x="142" y="19"/>
                </a:cubicBezTo>
                <a:cubicBezTo>
                  <a:pt x="140" y="19"/>
                  <a:pt x="139" y="21"/>
                  <a:pt x="139" y="23"/>
                </a:cubicBezTo>
                <a:cubicBezTo>
                  <a:pt x="135" y="23"/>
                  <a:pt x="131" y="23"/>
                  <a:pt x="128" y="22"/>
                </a:cubicBezTo>
                <a:cubicBezTo>
                  <a:pt x="124" y="21"/>
                  <a:pt x="127" y="16"/>
                  <a:pt x="126" y="13"/>
                </a:cubicBezTo>
                <a:cubicBezTo>
                  <a:pt x="124" y="13"/>
                  <a:pt x="121" y="13"/>
                  <a:pt x="118" y="13"/>
                </a:cubicBezTo>
                <a:cubicBezTo>
                  <a:pt x="117" y="13"/>
                  <a:pt x="115" y="13"/>
                  <a:pt x="114" y="13"/>
                </a:cubicBezTo>
                <a:cubicBezTo>
                  <a:pt x="113" y="14"/>
                  <a:pt x="112" y="15"/>
                  <a:pt x="110" y="15"/>
                </a:cubicBezTo>
                <a:cubicBezTo>
                  <a:pt x="109" y="16"/>
                  <a:pt x="108" y="16"/>
                  <a:pt x="107" y="16"/>
                </a:cubicBezTo>
                <a:cubicBezTo>
                  <a:pt x="104" y="16"/>
                  <a:pt x="104" y="16"/>
                  <a:pt x="103" y="17"/>
                </a:cubicBezTo>
                <a:cubicBezTo>
                  <a:pt x="101" y="19"/>
                  <a:pt x="99" y="20"/>
                  <a:pt x="98" y="21"/>
                </a:cubicBezTo>
                <a:cubicBezTo>
                  <a:pt x="97" y="23"/>
                  <a:pt x="91" y="22"/>
                  <a:pt x="89" y="22"/>
                </a:cubicBezTo>
                <a:cubicBezTo>
                  <a:pt x="85" y="22"/>
                  <a:pt x="83" y="21"/>
                  <a:pt x="81" y="18"/>
                </a:cubicBezTo>
                <a:cubicBezTo>
                  <a:pt x="80" y="17"/>
                  <a:pt x="79" y="14"/>
                  <a:pt x="78" y="14"/>
                </a:cubicBezTo>
                <a:cubicBezTo>
                  <a:pt x="77" y="13"/>
                  <a:pt x="74" y="14"/>
                  <a:pt x="73" y="14"/>
                </a:cubicBezTo>
                <a:cubicBezTo>
                  <a:pt x="72" y="14"/>
                  <a:pt x="70" y="13"/>
                  <a:pt x="69" y="13"/>
                </a:cubicBezTo>
                <a:cubicBezTo>
                  <a:pt x="67" y="13"/>
                  <a:pt x="67" y="12"/>
                  <a:pt x="66" y="15"/>
                </a:cubicBezTo>
                <a:cubicBezTo>
                  <a:pt x="65" y="15"/>
                  <a:pt x="64" y="14"/>
                  <a:pt x="63" y="13"/>
                </a:cubicBezTo>
                <a:cubicBezTo>
                  <a:pt x="62" y="13"/>
                  <a:pt x="62" y="13"/>
                  <a:pt x="60" y="13"/>
                </a:cubicBezTo>
                <a:cubicBezTo>
                  <a:pt x="59" y="14"/>
                  <a:pt x="57" y="15"/>
                  <a:pt x="54" y="14"/>
                </a:cubicBezTo>
                <a:cubicBezTo>
                  <a:pt x="53" y="13"/>
                  <a:pt x="52" y="12"/>
                  <a:pt x="52" y="12"/>
                </a:cubicBezTo>
                <a:cubicBezTo>
                  <a:pt x="51" y="12"/>
                  <a:pt x="50" y="13"/>
                  <a:pt x="49" y="13"/>
                </a:cubicBezTo>
                <a:cubicBezTo>
                  <a:pt x="46" y="14"/>
                  <a:pt x="46" y="12"/>
                  <a:pt x="45" y="10"/>
                </a:cubicBezTo>
                <a:cubicBezTo>
                  <a:pt x="44" y="9"/>
                  <a:pt x="42" y="13"/>
                  <a:pt x="42" y="14"/>
                </a:cubicBezTo>
                <a:cubicBezTo>
                  <a:pt x="39" y="14"/>
                  <a:pt x="40" y="10"/>
                  <a:pt x="39" y="9"/>
                </a:cubicBezTo>
                <a:cubicBezTo>
                  <a:pt x="38" y="5"/>
                  <a:pt x="37" y="10"/>
                  <a:pt x="37" y="12"/>
                </a:cubicBezTo>
                <a:cubicBezTo>
                  <a:pt x="37" y="15"/>
                  <a:pt x="37" y="17"/>
                  <a:pt x="36" y="19"/>
                </a:cubicBezTo>
                <a:cubicBezTo>
                  <a:pt x="35" y="21"/>
                  <a:pt x="35" y="24"/>
                  <a:pt x="34" y="25"/>
                </a:cubicBezTo>
                <a:cubicBezTo>
                  <a:pt x="29" y="26"/>
                  <a:pt x="24" y="25"/>
                  <a:pt x="19" y="25"/>
                </a:cubicBezTo>
                <a:cubicBezTo>
                  <a:pt x="18" y="25"/>
                  <a:pt x="17" y="25"/>
                  <a:pt x="16" y="25"/>
                </a:cubicBezTo>
                <a:cubicBezTo>
                  <a:pt x="15" y="25"/>
                  <a:pt x="14" y="24"/>
                  <a:pt x="13" y="24"/>
                </a:cubicBezTo>
                <a:cubicBezTo>
                  <a:pt x="12" y="24"/>
                  <a:pt x="12" y="25"/>
                  <a:pt x="11" y="26"/>
                </a:cubicBezTo>
                <a:cubicBezTo>
                  <a:pt x="10" y="26"/>
                  <a:pt x="9" y="26"/>
                  <a:pt x="8" y="26"/>
                </a:cubicBezTo>
                <a:cubicBezTo>
                  <a:pt x="8" y="27"/>
                  <a:pt x="7" y="27"/>
                  <a:pt x="6" y="28"/>
                </a:cubicBezTo>
                <a:cubicBezTo>
                  <a:pt x="6" y="30"/>
                  <a:pt x="7" y="31"/>
                  <a:pt x="5" y="32"/>
                </a:cubicBezTo>
                <a:cubicBezTo>
                  <a:pt x="5" y="33"/>
                  <a:pt x="4" y="35"/>
                  <a:pt x="3" y="37"/>
                </a:cubicBezTo>
                <a:cubicBezTo>
                  <a:pt x="3" y="37"/>
                  <a:pt x="3" y="37"/>
                  <a:pt x="2" y="37"/>
                </a:cubicBezTo>
                <a:cubicBezTo>
                  <a:pt x="2" y="38"/>
                  <a:pt x="2" y="38"/>
                  <a:pt x="2" y="38"/>
                </a:cubicBezTo>
                <a:cubicBezTo>
                  <a:pt x="2" y="40"/>
                  <a:pt x="0" y="40"/>
                  <a:pt x="2" y="41"/>
                </a:cubicBezTo>
                <a:cubicBezTo>
                  <a:pt x="3" y="42"/>
                  <a:pt x="7" y="43"/>
                  <a:pt x="9" y="43"/>
                </a:cubicBezTo>
                <a:cubicBezTo>
                  <a:pt x="13" y="43"/>
                  <a:pt x="12" y="39"/>
                  <a:pt x="14" y="37"/>
                </a:cubicBezTo>
                <a:cubicBezTo>
                  <a:pt x="16" y="35"/>
                  <a:pt x="19" y="36"/>
                  <a:pt x="22" y="36"/>
                </a:cubicBezTo>
                <a:cubicBezTo>
                  <a:pt x="23" y="35"/>
                  <a:pt x="25" y="34"/>
                  <a:pt x="26" y="34"/>
                </a:cubicBezTo>
                <a:cubicBezTo>
                  <a:pt x="27" y="33"/>
                  <a:pt x="28" y="31"/>
                  <a:pt x="29" y="32"/>
                </a:cubicBezTo>
                <a:cubicBezTo>
                  <a:pt x="29" y="33"/>
                  <a:pt x="29" y="35"/>
                  <a:pt x="28" y="36"/>
                </a:cubicBezTo>
                <a:cubicBezTo>
                  <a:pt x="27" y="37"/>
                  <a:pt x="25" y="36"/>
                  <a:pt x="24" y="37"/>
                </a:cubicBezTo>
                <a:cubicBezTo>
                  <a:pt x="23" y="37"/>
                  <a:pt x="22" y="38"/>
                  <a:pt x="21" y="39"/>
                </a:cubicBezTo>
                <a:cubicBezTo>
                  <a:pt x="20" y="40"/>
                  <a:pt x="20" y="40"/>
                  <a:pt x="18" y="40"/>
                </a:cubicBezTo>
                <a:cubicBezTo>
                  <a:pt x="16" y="40"/>
                  <a:pt x="16" y="40"/>
                  <a:pt x="16" y="40"/>
                </a:cubicBezTo>
                <a:cubicBezTo>
                  <a:pt x="15" y="41"/>
                  <a:pt x="15" y="41"/>
                  <a:pt x="15" y="41"/>
                </a:cubicBezTo>
                <a:cubicBezTo>
                  <a:pt x="14" y="43"/>
                  <a:pt x="14" y="47"/>
                  <a:pt x="15" y="48"/>
                </a:cubicBezTo>
                <a:cubicBezTo>
                  <a:pt x="16" y="48"/>
                  <a:pt x="18" y="48"/>
                  <a:pt x="18" y="50"/>
                </a:cubicBezTo>
                <a:cubicBezTo>
                  <a:pt x="19" y="52"/>
                  <a:pt x="18" y="51"/>
                  <a:pt x="16" y="52"/>
                </a:cubicBezTo>
                <a:cubicBezTo>
                  <a:pt x="18" y="52"/>
                  <a:pt x="20" y="53"/>
                  <a:pt x="21" y="54"/>
                </a:cubicBezTo>
                <a:cubicBezTo>
                  <a:pt x="24" y="55"/>
                  <a:pt x="20" y="57"/>
                  <a:pt x="20" y="59"/>
                </a:cubicBezTo>
                <a:cubicBezTo>
                  <a:pt x="22" y="59"/>
                  <a:pt x="22" y="57"/>
                  <a:pt x="24" y="56"/>
                </a:cubicBezTo>
                <a:cubicBezTo>
                  <a:pt x="24" y="58"/>
                  <a:pt x="24" y="59"/>
                  <a:pt x="23" y="60"/>
                </a:cubicBezTo>
                <a:cubicBezTo>
                  <a:pt x="22" y="60"/>
                  <a:pt x="21" y="60"/>
                  <a:pt x="22" y="62"/>
                </a:cubicBezTo>
                <a:cubicBezTo>
                  <a:pt x="23" y="61"/>
                  <a:pt x="25" y="58"/>
                  <a:pt x="27" y="59"/>
                </a:cubicBezTo>
                <a:cubicBezTo>
                  <a:pt x="27" y="60"/>
                  <a:pt x="27" y="60"/>
                  <a:pt x="27" y="60"/>
                </a:cubicBezTo>
                <a:cubicBezTo>
                  <a:pt x="24" y="60"/>
                  <a:pt x="25" y="64"/>
                  <a:pt x="23" y="63"/>
                </a:cubicBezTo>
                <a:cubicBezTo>
                  <a:pt x="24" y="65"/>
                  <a:pt x="25" y="66"/>
                  <a:pt x="26" y="68"/>
                </a:cubicBezTo>
                <a:cubicBezTo>
                  <a:pt x="29" y="68"/>
                  <a:pt x="32" y="72"/>
                  <a:pt x="34" y="73"/>
                </a:cubicBezTo>
                <a:cubicBezTo>
                  <a:pt x="38" y="75"/>
                  <a:pt x="40" y="76"/>
                  <a:pt x="43" y="79"/>
                </a:cubicBezTo>
                <a:cubicBezTo>
                  <a:pt x="44" y="80"/>
                  <a:pt x="46" y="81"/>
                  <a:pt x="47" y="82"/>
                </a:cubicBezTo>
                <a:cubicBezTo>
                  <a:pt x="48" y="83"/>
                  <a:pt x="49" y="85"/>
                  <a:pt x="51" y="86"/>
                </a:cubicBezTo>
                <a:cubicBezTo>
                  <a:pt x="54" y="86"/>
                  <a:pt x="58" y="85"/>
                  <a:pt x="58" y="89"/>
                </a:cubicBezTo>
                <a:cubicBezTo>
                  <a:pt x="59" y="89"/>
                  <a:pt x="61" y="89"/>
                  <a:pt x="62" y="89"/>
                </a:cubicBezTo>
                <a:cubicBezTo>
                  <a:pt x="61" y="87"/>
                  <a:pt x="67" y="89"/>
                  <a:pt x="69" y="89"/>
                </a:cubicBezTo>
                <a:cubicBezTo>
                  <a:pt x="71" y="89"/>
                  <a:pt x="72" y="90"/>
                  <a:pt x="74" y="89"/>
                </a:cubicBezTo>
                <a:cubicBezTo>
                  <a:pt x="76" y="89"/>
                  <a:pt x="77" y="88"/>
                  <a:pt x="78" y="89"/>
                </a:cubicBezTo>
                <a:cubicBezTo>
                  <a:pt x="79" y="88"/>
                  <a:pt x="79" y="88"/>
                  <a:pt x="79" y="88"/>
                </a:cubicBezTo>
                <a:cubicBezTo>
                  <a:pt x="81" y="86"/>
                  <a:pt x="85" y="88"/>
                  <a:pt x="88" y="87"/>
                </a:cubicBezTo>
                <a:cubicBezTo>
                  <a:pt x="90" y="86"/>
                  <a:pt x="90" y="84"/>
                  <a:pt x="93" y="84"/>
                </a:cubicBezTo>
                <a:cubicBezTo>
                  <a:pt x="94" y="83"/>
                  <a:pt x="96" y="84"/>
                  <a:pt x="97" y="84"/>
                </a:cubicBezTo>
                <a:cubicBezTo>
                  <a:pt x="97" y="83"/>
                  <a:pt x="99" y="81"/>
                  <a:pt x="98" y="81"/>
                </a:cubicBezTo>
                <a:cubicBezTo>
                  <a:pt x="97" y="81"/>
                  <a:pt x="97" y="81"/>
                  <a:pt x="96" y="81"/>
                </a:cubicBezTo>
                <a:cubicBezTo>
                  <a:pt x="96" y="80"/>
                  <a:pt x="97" y="78"/>
                  <a:pt x="99" y="79"/>
                </a:cubicBezTo>
                <a:cubicBezTo>
                  <a:pt x="101" y="80"/>
                  <a:pt x="99" y="82"/>
                  <a:pt x="102" y="80"/>
                </a:cubicBezTo>
                <a:cubicBezTo>
                  <a:pt x="102" y="77"/>
                  <a:pt x="106" y="75"/>
                  <a:pt x="109" y="76"/>
                </a:cubicBezTo>
                <a:cubicBezTo>
                  <a:pt x="109" y="79"/>
                  <a:pt x="112" y="80"/>
                  <a:pt x="114" y="78"/>
                </a:cubicBezTo>
                <a:cubicBezTo>
                  <a:pt x="113" y="79"/>
                  <a:pt x="113" y="80"/>
                  <a:pt x="112" y="81"/>
                </a:cubicBezTo>
                <a:cubicBezTo>
                  <a:pt x="111" y="82"/>
                  <a:pt x="110" y="82"/>
                  <a:pt x="109" y="84"/>
                </a:cubicBezTo>
                <a:cubicBezTo>
                  <a:pt x="108" y="86"/>
                  <a:pt x="107" y="89"/>
                  <a:pt x="107" y="92"/>
                </a:cubicBezTo>
                <a:cubicBezTo>
                  <a:pt x="104" y="93"/>
                  <a:pt x="102" y="96"/>
                  <a:pt x="100" y="97"/>
                </a:cubicBezTo>
                <a:cubicBezTo>
                  <a:pt x="99" y="98"/>
                  <a:pt x="97" y="99"/>
                  <a:pt x="97" y="100"/>
                </a:cubicBezTo>
                <a:cubicBezTo>
                  <a:pt x="96" y="101"/>
                  <a:pt x="97" y="102"/>
                  <a:pt x="96" y="103"/>
                </a:cubicBezTo>
                <a:cubicBezTo>
                  <a:pt x="94" y="103"/>
                  <a:pt x="93" y="103"/>
                  <a:pt x="91" y="103"/>
                </a:cubicBezTo>
                <a:cubicBezTo>
                  <a:pt x="90" y="103"/>
                  <a:pt x="91" y="104"/>
                  <a:pt x="89" y="104"/>
                </a:cubicBezTo>
                <a:cubicBezTo>
                  <a:pt x="88" y="104"/>
                  <a:pt x="88" y="102"/>
                  <a:pt x="87" y="102"/>
                </a:cubicBezTo>
                <a:cubicBezTo>
                  <a:pt x="87" y="102"/>
                  <a:pt x="85" y="102"/>
                  <a:pt x="85" y="102"/>
                </a:cubicBezTo>
                <a:cubicBezTo>
                  <a:pt x="83" y="102"/>
                  <a:pt x="82" y="103"/>
                  <a:pt x="81" y="104"/>
                </a:cubicBezTo>
                <a:cubicBezTo>
                  <a:pt x="82" y="104"/>
                  <a:pt x="83" y="104"/>
                  <a:pt x="84" y="104"/>
                </a:cubicBezTo>
                <a:cubicBezTo>
                  <a:pt x="84" y="106"/>
                  <a:pt x="80" y="107"/>
                  <a:pt x="80" y="109"/>
                </a:cubicBezTo>
                <a:cubicBezTo>
                  <a:pt x="79" y="109"/>
                  <a:pt x="79" y="110"/>
                  <a:pt x="78" y="109"/>
                </a:cubicBezTo>
                <a:cubicBezTo>
                  <a:pt x="78" y="110"/>
                  <a:pt x="78" y="110"/>
                  <a:pt x="78" y="110"/>
                </a:cubicBezTo>
                <a:cubicBezTo>
                  <a:pt x="77" y="110"/>
                  <a:pt x="77" y="110"/>
                  <a:pt x="76" y="110"/>
                </a:cubicBezTo>
                <a:cubicBezTo>
                  <a:pt x="77" y="106"/>
                  <a:pt x="72" y="108"/>
                  <a:pt x="71" y="109"/>
                </a:cubicBezTo>
                <a:cubicBezTo>
                  <a:pt x="71" y="110"/>
                  <a:pt x="71" y="110"/>
                  <a:pt x="71" y="110"/>
                </a:cubicBezTo>
                <a:cubicBezTo>
                  <a:pt x="70" y="111"/>
                  <a:pt x="70" y="110"/>
                  <a:pt x="69" y="111"/>
                </a:cubicBezTo>
                <a:cubicBezTo>
                  <a:pt x="68" y="111"/>
                  <a:pt x="67" y="110"/>
                  <a:pt x="67" y="112"/>
                </a:cubicBezTo>
                <a:cubicBezTo>
                  <a:pt x="66" y="113"/>
                  <a:pt x="66" y="113"/>
                  <a:pt x="66" y="113"/>
                </a:cubicBezTo>
                <a:cubicBezTo>
                  <a:pt x="66" y="112"/>
                  <a:pt x="66" y="111"/>
                  <a:pt x="66" y="111"/>
                </a:cubicBezTo>
                <a:cubicBezTo>
                  <a:pt x="63" y="110"/>
                  <a:pt x="61" y="111"/>
                  <a:pt x="58" y="111"/>
                </a:cubicBezTo>
                <a:cubicBezTo>
                  <a:pt x="59" y="111"/>
                  <a:pt x="59" y="111"/>
                  <a:pt x="59" y="111"/>
                </a:cubicBezTo>
                <a:cubicBezTo>
                  <a:pt x="59" y="112"/>
                  <a:pt x="59" y="113"/>
                  <a:pt x="59" y="113"/>
                </a:cubicBezTo>
                <a:cubicBezTo>
                  <a:pt x="57" y="114"/>
                  <a:pt x="57" y="112"/>
                  <a:pt x="55" y="111"/>
                </a:cubicBezTo>
                <a:cubicBezTo>
                  <a:pt x="54" y="111"/>
                  <a:pt x="53" y="112"/>
                  <a:pt x="52" y="112"/>
                </a:cubicBezTo>
                <a:cubicBezTo>
                  <a:pt x="50" y="113"/>
                  <a:pt x="49" y="113"/>
                  <a:pt x="47" y="113"/>
                </a:cubicBezTo>
                <a:cubicBezTo>
                  <a:pt x="46" y="114"/>
                  <a:pt x="46" y="115"/>
                  <a:pt x="44" y="115"/>
                </a:cubicBezTo>
                <a:cubicBezTo>
                  <a:pt x="45" y="114"/>
                  <a:pt x="47" y="114"/>
                  <a:pt x="47" y="112"/>
                </a:cubicBezTo>
                <a:cubicBezTo>
                  <a:pt x="41" y="112"/>
                  <a:pt x="46" y="108"/>
                  <a:pt x="47" y="106"/>
                </a:cubicBezTo>
                <a:cubicBezTo>
                  <a:pt x="46" y="107"/>
                  <a:pt x="45" y="106"/>
                  <a:pt x="43" y="106"/>
                </a:cubicBezTo>
                <a:cubicBezTo>
                  <a:pt x="42" y="106"/>
                  <a:pt x="41" y="107"/>
                  <a:pt x="40" y="107"/>
                </a:cubicBezTo>
                <a:cubicBezTo>
                  <a:pt x="38" y="107"/>
                  <a:pt x="37" y="105"/>
                  <a:pt x="39" y="104"/>
                </a:cubicBezTo>
                <a:cubicBezTo>
                  <a:pt x="40" y="103"/>
                  <a:pt x="42" y="104"/>
                  <a:pt x="42" y="102"/>
                </a:cubicBezTo>
                <a:cubicBezTo>
                  <a:pt x="40" y="102"/>
                  <a:pt x="38" y="102"/>
                  <a:pt x="37" y="103"/>
                </a:cubicBezTo>
                <a:cubicBezTo>
                  <a:pt x="37" y="103"/>
                  <a:pt x="37" y="104"/>
                  <a:pt x="37" y="105"/>
                </a:cubicBezTo>
                <a:cubicBezTo>
                  <a:pt x="37" y="106"/>
                  <a:pt x="36" y="106"/>
                  <a:pt x="36" y="107"/>
                </a:cubicBezTo>
                <a:cubicBezTo>
                  <a:pt x="31" y="108"/>
                  <a:pt x="37" y="115"/>
                  <a:pt x="38" y="117"/>
                </a:cubicBezTo>
                <a:cubicBezTo>
                  <a:pt x="39" y="119"/>
                  <a:pt x="40" y="121"/>
                  <a:pt x="41" y="123"/>
                </a:cubicBezTo>
                <a:cubicBezTo>
                  <a:pt x="44" y="128"/>
                  <a:pt x="49" y="132"/>
                  <a:pt x="52" y="136"/>
                </a:cubicBezTo>
                <a:cubicBezTo>
                  <a:pt x="54" y="138"/>
                  <a:pt x="54" y="140"/>
                  <a:pt x="57" y="141"/>
                </a:cubicBezTo>
                <a:cubicBezTo>
                  <a:pt x="59" y="143"/>
                  <a:pt x="60" y="145"/>
                  <a:pt x="63" y="147"/>
                </a:cubicBezTo>
                <a:cubicBezTo>
                  <a:pt x="65" y="149"/>
                  <a:pt x="66" y="150"/>
                  <a:pt x="68" y="153"/>
                </a:cubicBezTo>
                <a:cubicBezTo>
                  <a:pt x="69" y="155"/>
                  <a:pt x="70" y="157"/>
                  <a:pt x="72" y="157"/>
                </a:cubicBezTo>
                <a:cubicBezTo>
                  <a:pt x="72" y="157"/>
                  <a:pt x="72" y="157"/>
                  <a:pt x="71" y="157"/>
                </a:cubicBezTo>
                <a:cubicBezTo>
                  <a:pt x="72" y="162"/>
                  <a:pt x="78" y="167"/>
                  <a:pt x="81" y="170"/>
                </a:cubicBezTo>
                <a:cubicBezTo>
                  <a:pt x="83" y="172"/>
                  <a:pt x="85" y="174"/>
                  <a:pt x="87" y="176"/>
                </a:cubicBezTo>
                <a:cubicBezTo>
                  <a:pt x="89" y="177"/>
                  <a:pt x="90" y="177"/>
                  <a:pt x="91" y="179"/>
                </a:cubicBezTo>
                <a:cubicBezTo>
                  <a:pt x="92" y="180"/>
                  <a:pt x="93" y="181"/>
                  <a:pt x="94" y="182"/>
                </a:cubicBezTo>
                <a:cubicBezTo>
                  <a:pt x="96" y="184"/>
                  <a:pt x="99" y="185"/>
                  <a:pt x="101" y="186"/>
                </a:cubicBezTo>
                <a:cubicBezTo>
                  <a:pt x="102" y="187"/>
                  <a:pt x="103" y="189"/>
                  <a:pt x="104" y="189"/>
                </a:cubicBezTo>
                <a:cubicBezTo>
                  <a:pt x="105" y="190"/>
                  <a:pt x="106" y="190"/>
                  <a:pt x="108" y="190"/>
                </a:cubicBezTo>
                <a:cubicBezTo>
                  <a:pt x="110" y="191"/>
                  <a:pt x="111" y="194"/>
                  <a:pt x="114" y="194"/>
                </a:cubicBezTo>
                <a:cubicBezTo>
                  <a:pt x="116" y="194"/>
                  <a:pt x="116" y="193"/>
                  <a:pt x="117" y="193"/>
                </a:cubicBezTo>
                <a:cubicBezTo>
                  <a:pt x="119" y="193"/>
                  <a:pt x="119" y="194"/>
                  <a:pt x="121" y="194"/>
                </a:cubicBezTo>
                <a:cubicBezTo>
                  <a:pt x="123" y="193"/>
                  <a:pt x="125" y="195"/>
                  <a:pt x="127" y="196"/>
                </a:cubicBezTo>
                <a:cubicBezTo>
                  <a:pt x="128" y="194"/>
                  <a:pt x="130" y="194"/>
                  <a:pt x="131" y="193"/>
                </a:cubicBezTo>
                <a:cubicBezTo>
                  <a:pt x="134" y="193"/>
                  <a:pt x="136" y="193"/>
                  <a:pt x="138" y="192"/>
                </a:cubicBezTo>
                <a:cubicBezTo>
                  <a:pt x="140" y="191"/>
                  <a:pt x="140" y="191"/>
                  <a:pt x="142" y="190"/>
                </a:cubicBezTo>
                <a:cubicBezTo>
                  <a:pt x="144" y="190"/>
                  <a:pt x="145" y="190"/>
                  <a:pt x="146" y="190"/>
                </a:cubicBezTo>
                <a:cubicBezTo>
                  <a:pt x="147" y="189"/>
                  <a:pt x="148" y="188"/>
                  <a:pt x="151" y="187"/>
                </a:cubicBezTo>
                <a:cubicBezTo>
                  <a:pt x="152" y="187"/>
                  <a:pt x="156" y="188"/>
                  <a:pt x="156" y="186"/>
                </a:cubicBezTo>
                <a:cubicBezTo>
                  <a:pt x="154" y="186"/>
                  <a:pt x="152" y="186"/>
                  <a:pt x="152" y="187"/>
                </a:cubicBezTo>
                <a:cubicBezTo>
                  <a:pt x="150" y="185"/>
                  <a:pt x="156" y="184"/>
                  <a:pt x="157" y="184"/>
                </a:cubicBezTo>
                <a:cubicBezTo>
                  <a:pt x="160" y="184"/>
                  <a:pt x="162" y="185"/>
                  <a:pt x="165" y="183"/>
                </a:cubicBezTo>
                <a:cubicBezTo>
                  <a:pt x="166" y="181"/>
                  <a:pt x="168" y="182"/>
                  <a:pt x="170" y="181"/>
                </a:cubicBezTo>
                <a:cubicBezTo>
                  <a:pt x="172" y="181"/>
                  <a:pt x="174" y="180"/>
                  <a:pt x="175" y="179"/>
                </a:cubicBezTo>
                <a:cubicBezTo>
                  <a:pt x="177" y="178"/>
                  <a:pt x="178" y="176"/>
                  <a:pt x="180" y="177"/>
                </a:cubicBezTo>
                <a:cubicBezTo>
                  <a:pt x="180" y="176"/>
                  <a:pt x="180" y="175"/>
                  <a:pt x="181" y="174"/>
                </a:cubicBezTo>
                <a:cubicBezTo>
                  <a:pt x="181" y="174"/>
                  <a:pt x="181" y="174"/>
                  <a:pt x="181" y="174"/>
                </a:cubicBezTo>
                <a:cubicBezTo>
                  <a:pt x="183" y="170"/>
                  <a:pt x="185" y="168"/>
                  <a:pt x="188" y="166"/>
                </a:cubicBezTo>
                <a:cubicBezTo>
                  <a:pt x="191" y="163"/>
                  <a:pt x="190" y="159"/>
                  <a:pt x="191" y="156"/>
                </a:cubicBezTo>
                <a:cubicBezTo>
                  <a:pt x="193" y="155"/>
                  <a:pt x="192" y="152"/>
                  <a:pt x="192" y="150"/>
                </a:cubicBezTo>
                <a:cubicBezTo>
                  <a:pt x="192" y="149"/>
                  <a:pt x="192" y="148"/>
                  <a:pt x="192" y="147"/>
                </a:cubicBezTo>
                <a:cubicBezTo>
                  <a:pt x="192" y="146"/>
                  <a:pt x="191" y="145"/>
                  <a:pt x="191" y="144"/>
                </a:cubicBezTo>
                <a:cubicBezTo>
                  <a:pt x="190" y="142"/>
                  <a:pt x="191" y="140"/>
                  <a:pt x="192" y="139"/>
                </a:cubicBezTo>
                <a:cubicBezTo>
                  <a:pt x="193" y="138"/>
                  <a:pt x="194" y="136"/>
                  <a:pt x="195" y="135"/>
                </a:cubicBezTo>
                <a:cubicBezTo>
                  <a:pt x="195" y="135"/>
                  <a:pt x="195" y="134"/>
                  <a:pt x="196" y="134"/>
                </a:cubicBezTo>
                <a:cubicBezTo>
                  <a:pt x="194" y="134"/>
                  <a:pt x="193" y="134"/>
                  <a:pt x="192" y="133"/>
                </a:cubicBezTo>
                <a:cubicBezTo>
                  <a:pt x="194" y="132"/>
                  <a:pt x="194" y="131"/>
                  <a:pt x="194" y="129"/>
                </a:cubicBezTo>
                <a:cubicBezTo>
                  <a:pt x="197" y="128"/>
                  <a:pt x="197" y="131"/>
                  <a:pt x="199" y="131"/>
                </a:cubicBezTo>
                <a:cubicBezTo>
                  <a:pt x="201" y="131"/>
                  <a:pt x="201" y="129"/>
                  <a:pt x="203" y="129"/>
                </a:cubicBezTo>
                <a:cubicBezTo>
                  <a:pt x="204" y="129"/>
                  <a:pt x="204" y="128"/>
                  <a:pt x="204" y="128"/>
                </a:cubicBezTo>
                <a:cubicBezTo>
                  <a:pt x="202" y="128"/>
                  <a:pt x="200" y="128"/>
                  <a:pt x="199" y="128"/>
                </a:cubicBezTo>
                <a:cubicBezTo>
                  <a:pt x="199" y="127"/>
                  <a:pt x="201" y="127"/>
                  <a:pt x="202" y="127"/>
                </a:cubicBezTo>
                <a:cubicBezTo>
                  <a:pt x="203" y="121"/>
                  <a:pt x="210" y="127"/>
                  <a:pt x="212" y="128"/>
                </a:cubicBezTo>
                <a:cubicBezTo>
                  <a:pt x="215" y="130"/>
                  <a:pt x="220" y="130"/>
                  <a:pt x="224" y="128"/>
                </a:cubicBezTo>
                <a:cubicBezTo>
                  <a:pt x="222" y="129"/>
                  <a:pt x="220" y="132"/>
                  <a:pt x="219" y="132"/>
                </a:cubicBezTo>
                <a:cubicBezTo>
                  <a:pt x="217" y="133"/>
                  <a:pt x="217" y="132"/>
                  <a:pt x="216" y="132"/>
                </a:cubicBezTo>
                <a:cubicBezTo>
                  <a:pt x="215" y="131"/>
                  <a:pt x="213" y="132"/>
                  <a:pt x="212" y="131"/>
                </a:cubicBezTo>
                <a:cubicBezTo>
                  <a:pt x="210" y="129"/>
                  <a:pt x="209" y="126"/>
                  <a:pt x="206" y="129"/>
                </a:cubicBezTo>
                <a:cubicBezTo>
                  <a:pt x="205" y="131"/>
                  <a:pt x="206" y="134"/>
                  <a:pt x="204" y="135"/>
                </a:cubicBezTo>
                <a:cubicBezTo>
                  <a:pt x="205" y="136"/>
                  <a:pt x="206" y="136"/>
                  <a:pt x="206" y="137"/>
                </a:cubicBezTo>
                <a:cubicBezTo>
                  <a:pt x="204" y="138"/>
                  <a:pt x="204" y="142"/>
                  <a:pt x="204" y="144"/>
                </a:cubicBezTo>
                <a:cubicBezTo>
                  <a:pt x="205" y="144"/>
                  <a:pt x="206" y="144"/>
                  <a:pt x="207" y="144"/>
                </a:cubicBezTo>
                <a:cubicBezTo>
                  <a:pt x="208" y="142"/>
                  <a:pt x="215" y="142"/>
                  <a:pt x="217" y="143"/>
                </a:cubicBezTo>
                <a:cubicBezTo>
                  <a:pt x="215" y="144"/>
                  <a:pt x="213" y="145"/>
                  <a:pt x="210" y="145"/>
                </a:cubicBezTo>
                <a:cubicBezTo>
                  <a:pt x="208" y="145"/>
                  <a:pt x="205" y="144"/>
                  <a:pt x="204" y="146"/>
                </a:cubicBezTo>
                <a:cubicBezTo>
                  <a:pt x="204" y="148"/>
                  <a:pt x="204" y="150"/>
                  <a:pt x="204" y="151"/>
                </a:cubicBezTo>
                <a:cubicBezTo>
                  <a:pt x="204" y="153"/>
                  <a:pt x="203" y="155"/>
                  <a:pt x="203" y="156"/>
                </a:cubicBezTo>
                <a:cubicBezTo>
                  <a:pt x="204" y="156"/>
                  <a:pt x="212" y="157"/>
                  <a:pt x="212" y="158"/>
                </a:cubicBezTo>
                <a:cubicBezTo>
                  <a:pt x="212" y="159"/>
                  <a:pt x="212" y="159"/>
                  <a:pt x="212" y="159"/>
                </a:cubicBezTo>
                <a:cubicBezTo>
                  <a:pt x="210" y="159"/>
                  <a:pt x="207" y="158"/>
                  <a:pt x="204" y="159"/>
                </a:cubicBezTo>
                <a:cubicBezTo>
                  <a:pt x="204" y="159"/>
                  <a:pt x="204" y="160"/>
                  <a:pt x="205" y="160"/>
                </a:cubicBezTo>
                <a:cubicBezTo>
                  <a:pt x="205" y="161"/>
                  <a:pt x="205" y="161"/>
                  <a:pt x="205" y="162"/>
                </a:cubicBezTo>
                <a:cubicBezTo>
                  <a:pt x="208" y="162"/>
                  <a:pt x="209" y="162"/>
                  <a:pt x="211" y="161"/>
                </a:cubicBezTo>
                <a:cubicBezTo>
                  <a:pt x="213" y="160"/>
                  <a:pt x="213" y="158"/>
                  <a:pt x="215" y="159"/>
                </a:cubicBezTo>
                <a:cubicBezTo>
                  <a:pt x="214" y="159"/>
                  <a:pt x="214" y="159"/>
                  <a:pt x="214" y="159"/>
                </a:cubicBezTo>
                <a:cubicBezTo>
                  <a:pt x="214" y="161"/>
                  <a:pt x="212" y="162"/>
                  <a:pt x="210" y="164"/>
                </a:cubicBezTo>
                <a:cubicBezTo>
                  <a:pt x="210" y="165"/>
                  <a:pt x="210" y="165"/>
                  <a:pt x="209" y="166"/>
                </a:cubicBezTo>
                <a:cubicBezTo>
                  <a:pt x="208" y="167"/>
                  <a:pt x="206" y="166"/>
                  <a:pt x="206" y="168"/>
                </a:cubicBezTo>
                <a:cubicBezTo>
                  <a:pt x="207" y="168"/>
                  <a:pt x="207" y="168"/>
                  <a:pt x="207" y="168"/>
                </a:cubicBezTo>
                <a:cubicBezTo>
                  <a:pt x="207" y="170"/>
                  <a:pt x="207" y="171"/>
                  <a:pt x="206" y="173"/>
                </a:cubicBezTo>
                <a:cubicBezTo>
                  <a:pt x="206" y="174"/>
                  <a:pt x="205" y="174"/>
                  <a:pt x="205" y="175"/>
                </a:cubicBezTo>
                <a:cubicBezTo>
                  <a:pt x="205" y="176"/>
                  <a:pt x="205" y="177"/>
                  <a:pt x="206" y="177"/>
                </a:cubicBezTo>
                <a:cubicBezTo>
                  <a:pt x="205" y="178"/>
                  <a:pt x="205" y="179"/>
                  <a:pt x="205" y="181"/>
                </a:cubicBezTo>
                <a:cubicBezTo>
                  <a:pt x="206" y="181"/>
                  <a:pt x="210" y="180"/>
                  <a:pt x="210" y="182"/>
                </a:cubicBezTo>
                <a:cubicBezTo>
                  <a:pt x="208" y="182"/>
                  <a:pt x="207" y="183"/>
                  <a:pt x="207" y="184"/>
                </a:cubicBezTo>
                <a:cubicBezTo>
                  <a:pt x="209" y="184"/>
                  <a:pt x="211" y="184"/>
                  <a:pt x="213" y="184"/>
                </a:cubicBezTo>
                <a:cubicBezTo>
                  <a:pt x="213" y="185"/>
                  <a:pt x="213" y="185"/>
                  <a:pt x="213" y="185"/>
                </a:cubicBezTo>
                <a:cubicBezTo>
                  <a:pt x="211" y="185"/>
                  <a:pt x="210" y="185"/>
                  <a:pt x="209" y="186"/>
                </a:cubicBezTo>
                <a:cubicBezTo>
                  <a:pt x="210" y="187"/>
                  <a:pt x="210" y="189"/>
                  <a:pt x="210" y="190"/>
                </a:cubicBezTo>
                <a:cubicBezTo>
                  <a:pt x="212" y="190"/>
                  <a:pt x="214" y="190"/>
                  <a:pt x="215" y="190"/>
                </a:cubicBezTo>
                <a:cubicBezTo>
                  <a:pt x="215" y="191"/>
                  <a:pt x="215" y="192"/>
                  <a:pt x="215" y="193"/>
                </a:cubicBezTo>
                <a:cubicBezTo>
                  <a:pt x="213" y="193"/>
                  <a:pt x="212" y="193"/>
                  <a:pt x="210" y="194"/>
                </a:cubicBezTo>
                <a:cubicBezTo>
                  <a:pt x="210" y="195"/>
                  <a:pt x="211" y="197"/>
                  <a:pt x="212" y="198"/>
                </a:cubicBezTo>
                <a:cubicBezTo>
                  <a:pt x="213" y="199"/>
                  <a:pt x="214" y="198"/>
                  <a:pt x="216" y="198"/>
                </a:cubicBezTo>
                <a:cubicBezTo>
                  <a:pt x="216" y="201"/>
                  <a:pt x="213" y="200"/>
                  <a:pt x="212" y="201"/>
                </a:cubicBezTo>
                <a:cubicBezTo>
                  <a:pt x="212" y="205"/>
                  <a:pt x="212" y="208"/>
                  <a:pt x="210" y="212"/>
                </a:cubicBezTo>
                <a:cubicBezTo>
                  <a:pt x="210" y="212"/>
                  <a:pt x="210" y="213"/>
                  <a:pt x="209" y="214"/>
                </a:cubicBezTo>
                <a:cubicBezTo>
                  <a:pt x="209" y="215"/>
                  <a:pt x="209" y="216"/>
                  <a:pt x="208" y="217"/>
                </a:cubicBezTo>
                <a:cubicBezTo>
                  <a:pt x="208" y="217"/>
                  <a:pt x="207" y="217"/>
                  <a:pt x="206" y="218"/>
                </a:cubicBezTo>
                <a:cubicBezTo>
                  <a:pt x="205" y="219"/>
                  <a:pt x="206" y="221"/>
                  <a:pt x="205" y="222"/>
                </a:cubicBezTo>
                <a:cubicBezTo>
                  <a:pt x="204" y="223"/>
                  <a:pt x="201" y="222"/>
                  <a:pt x="201" y="223"/>
                </a:cubicBezTo>
                <a:cubicBezTo>
                  <a:pt x="201" y="225"/>
                  <a:pt x="202" y="226"/>
                  <a:pt x="202" y="227"/>
                </a:cubicBezTo>
                <a:cubicBezTo>
                  <a:pt x="202" y="228"/>
                  <a:pt x="202" y="228"/>
                  <a:pt x="201" y="228"/>
                </a:cubicBezTo>
                <a:cubicBezTo>
                  <a:pt x="203" y="229"/>
                  <a:pt x="204" y="229"/>
                  <a:pt x="206" y="229"/>
                </a:cubicBezTo>
                <a:cubicBezTo>
                  <a:pt x="206" y="227"/>
                  <a:pt x="207" y="226"/>
                  <a:pt x="209" y="225"/>
                </a:cubicBezTo>
                <a:cubicBezTo>
                  <a:pt x="210" y="225"/>
                  <a:pt x="212" y="225"/>
                  <a:pt x="213" y="226"/>
                </a:cubicBezTo>
                <a:cubicBezTo>
                  <a:pt x="224" y="230"/>
                  <a:pt x="224" y="230"/>
                  <a:pt x="224" y="230"/>
                </a:cubicBezTo>
                <a:cubicBezTo>
                  <a:pt x="225" y="230"/>
                  <a:pt x="227" y="231"/>
                  <a:pt x="228" y="230"/>
                </a:cubicBezTo>
                <a:cubicBezTo>
                  <a:pt x="229" y="230"/>
                  <a:pt x="229" y="228"/>
                  <a:pt x="229" y="228"/>
                </a:cubicBezTo>
                <a:cubicBezTo>
                  <a:pt x="231" y="228"/>
                  <a:pt x="232" y="229"/>
                  <a:pt x="233" y="228"/>
                </a:cubicBezTo>
                <a:cubicBezTo>
                  <a:pt x="233" y="227"/>
                  <a:pt x="232" y="223"/>
                  <a:pt x="235" y="222"/>
                </a:cubicBezTo>
                <a:cubicBezTo>
                  <a:pt x="237" y="221"/>
                  <a:pt x="235" y="218"/>
                  <a:pt x="236" y="216"/>
                </a:cubicBezTo>
                <a:cubicBezTo>
                  <a:pt x="236" y="214"/>
                  <a:pt x="240" y="207"/>
                  <a:pt x="235" y="206"/>
                </a:cubicBezTo>
                <a:cubicBezTo>
                  <a:pt x="236" y="205"/>
                  <a:pt x="236" y="204"/>
                  <a:pt x="237" y="203"/>
                </a:cubicBezTo>
                <a:cubicBezTo>
                  <a:pt x="239" y="203"/>
                  <a:pt x="239" y="204"/>
                  <a:pt x="240" y="206"/>
                </a:cubicBezTo>
                <a:cubicBezTo>
                  <a:pt x="242" y="207"/>
                  <a:pt x="244" y="207"/>
                  <a:pt x="246" y="207"/>
                </a:cubicBezTo>
                <a:cubicBezTo>
                  <a:pt x="246" y="208"/>
                  <a:pt x="246" y="209"/>
                  <a:pt x="246" y="210"/>
                </a:cubicBezTo>
                <a:cubicBezTo>
                  <a:pt x="248" y="210"/>
                  <a:pt x="248" y="211"/>
                  <a:pt x="249" y="212"/>
                </a:cubicBezTo>
                <a:cubicBezTo>
                  <a:pt x="250" y="209"/>
                  <a:pt x="256" y="212"/>
                  <a:pt x="257" y="208"/>
                </a:cubicBezTo>
                <a:cubicBezTo>
                  <a:pt x="257" y="207"/>
                  <a:pt x="255" y="206"/>
                  <a:pt x="255" y="205"/>
                </a:cubicBezTo>
                <a:cubicBezTo>
                  <a:pt x="255" y="204"/>
                  <a:pt x="260" y="204"/>
                  <a:pt x="261" y="204"/>
                </a:cubicBezTo>
                <a:cubicBezTo>
                  <a:pt x="262" y="198"/>
                  <a:pt x="261" y="194"/>
                  <a:pt x="256" y="190"/>
                </a:cubicBezTo>
                <a:cubicBezTo>
                  <a:pt x="254" y="188"/>
                  <a:pt x="254" y="187"/>
                  <a:pt x="250" y="187"/>
                </a:cubicBezTo>
                <a:cubicBezTo>
                  <a:pt x="250" y="187"/>
                  <a:pt x="248" y="187"/>
                  <a:pt x="247" y="187"/>
                </a:cubicBezTo>
                <a:cubicBezTo>
                  <a:pt x="247" y="185"/>
                  <a:pt x="247" y="185"/>
                  <a:pt x="247" y="185"/>
                </a:cubicBezTo>
                <a:cubicBezTo>
                  <a:pt x="249" y="185"/>
                  <a:pt x="251" y="185"/>
                  <a:pt x="254" y="185"/>
                </a:cubicBezTo>
                <a:cubicBezTo>
                  <a:pt x="255" y="185"/>
                  <a:pt x="256" y="184"/>
                  <a:pt x="257" y="183"/>
                </a:cubicBezTo>
                <a:cubicBezTo>
                  <a:pt x="260" y="183"/>
                  <a:pt x="258" y="180"/>
                  <a:pt x="259" y="179"/>
                </a:cubicBezTo>
                <a:cubicBezTo>
                  <a:pt x="261" y="176"/>
                  <a:pt x="265" y="177"/>
                  <a:pt x="267" y="177"/>
                </a:cubicBezTo>
                <a:cubicBezTo>
                  <a:pt x="267" y="176"/>
                  <a:pt x="267" y="175"/>
                  <a:pt x="267" y="174"/>
                </a:cubicBezTo>
                <a:cubicBezTo>
                  <a:pt x="269" y="174"/>
                  <a:pt x="271" y="175"/>
                  <a:pt x="272" y="174"/>
                </a:cubicBezTo>
                <a:cubicBezTo>
                  <a:pt x="272" y="173"/>
                  <a:pt x="273" y="172"/>
                  <a:pt x="274" y="172"/>
                </a:cubicBezTo>
                <a:cubicBezTo>
                  <a:pt x="275" y="171"/>
                  <a:pt x="277" y="172"/>
                  <a:pt x="279" y="172"/>
                </a:cubicBezTo>
                <a:cubicBezTo>
                  <a:pt x="281" y="172"/>
                  <a:pt x="282" y="171"/>
                  <a:pt x="284" y="171"/>
                </a:cubicBezTo>
                <a:cubicBezTo>
                  <a:pt x="280" y="168"/>
                  <a:pt x="273" y="164"/>
                  <a:pt x="268" y="168"/>
                </a:cubicBezTo>
                <a:cubicBezTo>
                  <a:pt x="262" y="173"/>
                  <a:pt x="264" y="164"/>
                  <a:pt x="261" y="164"/>
                </a:cubicBezTo>
                <a:cubicBezTo>
                  <a:pt x="260" y="163"/>
                  <a:pt x="262" y="161"/>
                  <a:pt x="263" y="161"/>
                </a:cubicBezTo>
                <a:cubicBezTo>
                  <a:pt x="263" y="159"/>
                  <a:pt x="263" y="158"/>
                  <a:pt x="263" y="157"/>
                </a:cubicBezTo>
                <a:cubicBezTo>
                  <a:pt x="262" y="156"/>
                  <a:pt x="259" y="156"/>
                  <a:pt x="260" y="154"/>
                </a:cubicBezTo>
                <a:cubicBezTo>
                  <a:pt x="262" y="154"/>
                  <a:pt x="263" y="155"/>
                  <a:pt x="265" y="154"/>
                </a:cubicBezTo>
                <a:cubicBezTo>
                  <a:pt x="267" y="154"/>
                  <a:pt x="267" y="151"/>
                  <a:pt x="269" y="151"/>
                </a:cubicBezTo>
                <a:cubicBezTo>
                  <a:pt x="270" y="151"/>
                  <a:pt x="271" y="151"/>
                  <a:pt x="272" y="151"/>
                </a:cubicBezTo>
                <a:cubicBezTo>
                  <a:pt x="273" y="151"/>
                  <a:pt x="274" y="149"/>
                  <a:pt x="275" y="149"/>
                </a:cubicBezTo>
                <a:cubicBezTo>
                  <a:pt x="276" y="149"/>
                  <a:pt x="276" y="149"/>
                  <a:pt x="277" y="149"/>
                </a:cubicBezTo>
                <a:cubicBezTo>
                  <a:pt x="276" y="149"/>
                  <a:pt x="276" y="149"/>
                  <a:pt x="276" y="149"/>
                </a:cubicBezTo>
                <a:cubicBezTo>
                  <a:pt x="275" y="148"/>
                  <a:pt x="275" y="147"/>
                  <a:pt x="274" y="145"/>
                </a:cubicBezTo>
                <a:cubicBezTo>
                  <a:pt x="274" y="143"/>
                  <a:pt x="277" y="141"/>
                  <a:pt x="276" y="139"/>
                </a:cubicBezTo>
                <a:cubicBezTo>
                  <a:pt x="275" y="137"/>
                  <a:pt x="274" y="135"/>
                  <a:pt x="272" y="133"/>
                </a:cubicBezTo>
                <a:cubicBezTo>
                  <a:pt x="269" y="129"/>
                  <a:pt x="283" y="129"/>
                  <a:pt x="284" y="129"/>
                </a:cubicBezTo>
                <a:cubicBezTo>
                  <a:pt x="285" y="121"/>
                  <a:pt x="272" y="127"/>
                  <a:pt x="274" y="119"/>
                </a:cubicBezTo>
                <a:cubicBezTo>
                  <a:pt x="277" y="119"/>
                  <a:pt x="279" y="121"/>
                  <a:pt x="281" y="119"/>
                </a:cubicBezTo>
                <a:cubicBezTo>
                  <a:pt x="283" y="118"/>
                  <a:pt x="283" y="116"/>
                  <a:pt x="284" y="115"/>
                </a:cubicBezTo>
                <a:cubicBezTo>
                  <a:pt x="288" y="114"/>
                  <a:pt x="289" y="115"/>
                  <a:pt x="292" y="112"/>
                </a:cubicBezTo>
                <a:cubicBezTo>
                  <a:pt x="294" y="110"/>
                  <a:pt x="296" y="108"/>
                  <a:pt x="296" y="105"/>
                </a:cubicBezTo>
                <a:cubicBezTo>
                  <a:pt x="296" y="102"/>
                  <a:pt x="294" y="103"/>
                  <a:pt x="292" y="102"/>
                </a:cubicBezTo>
                <a:cubicBezTo>
                  <a:pt x="289" y="101"/>
                  <a:pt x="289" y="98"/>
                  <a:pt x="289" y="96"/>
                </a:cubicBezTo>
                <a:cubicBezTo>
                  <a:pt x="289" y="95"/>
                  <a:pt x="289" y="94"/>
                  <a:pt x="289" y="93"/>
                </a:cubicBezTo>
                <a:close/>
              </a:path>
            </a:pathLst>
          </a:custGeom>
          <a:solidFill>
            <a:schemeClr val="accent3"/>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 name="Freeform 282">
            <a:extLst>
              <a:ext uri="{FF2B5EF4-FFF2-40B4-BE49-F238E27FC236}">
                <a16:creationId xmlns:a16="http://schemas.microsoft.com/office/drawing/2014/main" id="{8815D731-BDBB-4A48-9C69-6B1FE852B817}"/>
              </a:ext>
            </a:extLst>
          </p:cNvPr>
          <p:cNvSpPr>
            <a:spLocks/>
          </p:cNvSpPr>
          <p:nvPr/>
        </p:nvSpPr>
        <p:spPr bwMode="auto">
          <a:xfrm>
            <a:off x="3193589" y="3004568"/>
            <a:ext cx="636047" cy="530176"/>
          </a:xfrm>
          <a:custGeom>
            <a:avLst/>
            <a:gdLst>
              <a:gd name="T0" fmla="*/ 154 w 257"/>
              <a:gd name="T1" fmla="*/ 192 h 213"/>
              <a:gd name="T2" fmla="*/ 161 w 257"/>
              <a:gd name="T3" fmla="*/ 181 h 213"/>
              <a:gd name="T4" fmla="*/ 162 w 257"/>
              <a:gd name="T5" fmla="*/ 161 h 213"/>
              <a:gd name="T6" fmla="*/ 166 w 257"/>
              <a:gd name="T7" fmla="*/ 142 h 213"/>
              <a:gd name="T8" fmla="*/ 184 w 257"/>
              <a:gd name="T9" fmla="*/ 129 h 213"/>
              <a:gd name="T10" fmla="*/ 208 w 257"/>
              <a:gd name="T11" fmla="*/ 107 h 213"/>
              <a:gd name="T12" fmla="*/ 224 w 257"/>
              <a:gd name="T13" fmla="*/ 100 h 213"/>
              <a:gd name="T14" fmla="*/ 237 w 257"/>
              <a:gd name="T15" fmla="*/ 103 h 213"/>
              <a:gd name="T16" fmla="*/ 246 w 257"/>
              <a:gd name="T17" fmla="*/ 104 h 213"/>
              <a:gd name="T18" fmla="*/ 238 w 257"/>
              <a:gd name="T19" fmla="*/ 96 h 213"/>
              <a:gd name="T20" fmla="*/ 256 w 257"/>
              <a:gd name="T21" fmla="*/ 72 h 213"/>
              <a:gd name="T22" fmla="*/ 252 w 257"/>
              <a:gd name="T23" fmla="*/ 56 h 213"/>
              <a:gd name="T24" fmla="*/ 237 w 257"/>
              <a:gd name="T25" fmla="*/ 52 h 213"/>
              <a:gd name="T26" fmla="*/ 216 w 257"/>
              <a:gd name="T27" fmla="*/ 48 h 213"/>
              <a:gd name="T28" fmla="*/ 208 w 257"/>
              <a:gd name="T29" fmla="*/ 48 h 213"/>
              <a:gd name="T30" fmla="*/ 216 w 257"/>
              <a:gd name="T31" fmla="*/ 33 h 213"/>
              <a:gd name="T32" fmla="*/ 201 w 257"/>
              <a:gd name="T33" fmla="*/ 25 h 213"/>
              <a:gd name="T34" fmla="*/ 196 w 257"/>
              <a:gd name="T35" fmla="*/ 19 h 213"/>
              <a:gd name="T36" fmla="*/ 199 w 257"/>
              <a:gd name="T37" fmla="*/ 10 h 213"/>
              <a:gd name="T38" fmla="*/ 188 w 257"/>
              <a:gd name="T39" fmla="*/ 3 h 213"/>
              <a:gd name="T40" fmla="*/ 168 w 257"/>
              <a:gd name="T41" fmla="*/ 16 h 213"/>
              <a:gd name="T42" fmla="*/ 161 w 257"/>
              <a:gd name="T43" fmla="*/ 25 h 213"/>
              <a:gd name="T44" fmla="*/ 127 w 257"/>
              <a:gd name="T45" fmla="*/ 14 h 213"/>
              <a:gd name="T46" fmla="*/ 107 w 257"/>
              <a:gd name="T47" fmla="*/ 34 h 213"/>
              <a:gd name="T48" fmla="*/ 92 w 257"/>
              <a:gd name="T49" fmla="*/ 46 h 213"/>
              <a:gd name="T50" fmla="*/ 69 w 257"/>
              <a:gd name="T51" fmla="*/ 52 h 213"/>
              <a:gd name="T52" fmla="*/ 62 w 257"/>
              <a:gd name="T53" fmla="*/ 69 h 213"/>
              <a:gd name="T54" fmla="*/ 48 w 257"/>
              <a:gd name="T55" fmla="*/ 79 h 213"/>
              <a:gd name="T56" fmla="*/ 31 w 257"/>
              <a:gd name="T57" fmla="*/ 93 h 213"/>
              <a:gd name="T58" fmla="*/ 21 w 257"/>
              <a:gd name="T59" fmla="*/ 97 h 213"/>
              <a:gd name="T60" fmla="*/ 0 w 257"/>
              <a:gd name="T61" fmla="*/ 104 h 213"/>
              <a:gd name="T62" fmla="*/ 14 w 257"/>
              <a:gd name="T63" fmla="*/ 114 h 213"/>
              <a:gd name="T64" fmla="*/ 24 w 257"/>
              <a:gd name="T65" fmla="*/ 121 h 213"/>
              <a:gd name="T66" fmla="*/ 27 w 257"/>
              <a:gd name="T67" fmla="*/ 140 h 213"/>
              <a:gd name="T68" fmla="*/ 42 w 257"/>
              <a:gd name="T69" fmla="*/ 136 h 213"/>
              <a:gd name="T70" fmla="*/ 62 w 257"/>
              <a:gd name="T71" fmla="*/ 133 h 213"/>
              <a:gd name="T72" fmla="*/ 88 w 257"/>
              <a:gd name="T73" fmla="*/ 132 h 213"/>
              <a:gd name="T74" fmla="*/ 100 w 257"/>
              <a:gd name="T75" fmla="*/ 126 h 213"/>
              <a:gd name="T76" fmla="*/ 110 w 257"/>
              <a:gd name="T77" fmla="*/ 113 h 213"/>
              <a:gd name="T78" fmla="*/ 119 w 257"/>
              <a:gd name="T79" fmla="*/ 105 h 213"/>
              <a:gd name="T80" fmla="*/ 124 w 257"/>
              <a:gd name="T81" fmla="*/ 100 h 213"/>
              <a:gd name="T82" fmla="*/ 142 w 257"/>
              <a:gd name="T83" fmla="*/ 93 h 213"/>
              <a:gd name="T84" fmla="*/ 147 w 257"/>
              <a:gd name="T85" fmla="*/ 90 h 213"/>
              <a:gd name="T86" fmla="*/ 157 w 257"/>
              <a:gd name="T87" fmla="*/ 85 h 213"/>
              <a:gd name="T88" fmla="*/ 165 w 257"/>
              <a:gd name="T89" fmla="*/ 82 h 213"/>
              <a:gd name="T90" fmla="*/ 182 w 257"/>
              <a:gd name="T91" fmla="*/ 76 h 213"/>
              <a:gd name="T92" fmla="*/ 188 w 257"/>
              <a:gd name="T93" fmla="*/ 82 h 213"/>
              <a:gd name="T94" fmla="*/ 195 w 257"/>
              <a:gd name="T95" fmla="*/ 101 h 213"/>
              <a:gd name="T96" fmla="*/ 185 w 257"/>
              <a:gd name="T97" fmla="*/ 111 h 213"/>
              <a:gd name="T98" fmla="*/ 169 w 257"/>
              <a:gd name="T99" fmla="*/ 120 h 213"/>
              <a:gd name="T100" fmla="*/ 160 w 257"/>
              <a:gd name="T101" fmla="*/ 126 h 213"/>
              <a:gd name="T102" fmla="*/ 148 w 257"/>
              <a:gd name="T103" fmla="*/ 135 h 213"/>
              <a:gd name="T104" fmla="*/ 127 w 257"/>
              <a:gd name="T105" fmla="*/ 153 h 213"/>
              <a:gd name="T106" fmla="*/ 116 w 257"/>
              <a:gd name="T107" fmla="*/ 160 h 213"/>
              <a:gd name="T108" fmla="*/ 103 w 257"/>
              <a:gd name="T109" fmla="*/ 182 h 213"/>
              <a:gd name="T110" fmla="*/ 92 w 257"/>
              <a:gd name="T111" fmla="*/ 192 h 213"/>
              <a:gd name="T112" fmla="*/ 90 w 257"/>
              <a:gd name="T113" fmla="*/ 205 h 213"/>
              <a:gd name="T114" fmla="*/ 105 w 257"/>
              <a:gd name="T115" fmla="*/ 205 h 213"/>
              <a:gd name="T116" fmla="*/ 120 w 257"/>
              <a:gd name="T117" fmla="*/ 199 h 213"/>
              <a:gd name="T118" fmla="*/ 134 w 257"/>
              <a:gd name="T119" fmla="*/ 197 h 213"/>
              <a:gd name="T120" fmla="*/ 140 w 257"/>
              <a:gd name="T121" fmla="*/ 19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7" h="213">
                <a:moveTo>
                  <a:pt x="145" y="200"/>
                </a:moveTo>
                <a:cubicBezTo>
                  <a:pt x="146" y="198"/>
                  <a:pt x="146" y="197"/>
                  <a:pt x="146" y="198"/>
                </a:cubicBezTo>
                <a:cubicBezTo>
                  <a:pt x="147" y="197"/>
                  <a:pt x="148" y="197"/>
                  <a:pt x="150" y="197"/>
                </a:cubicBezTo>
                <a:cubicBezTo>
                  <a:pt x="151" y="196"/>
                  <a:pt x="150" y="196"/>
                  <a:pt x="151" y="195"/>
                </a:cubicBezTo>
                <a:cubicBezTo>
                  <a:pt x="151" y="193"/>
                  <a:pt x="153" y="193"/>
                  <a:pt x="154" y="192"/>
                </a:cubicBezTo>
                <a:cubicBezTo>
                  <a:pt x="154" y="192"/>
                  <a:pt x="154" y="192"/>
                  <a:pt x="155" y="191"/>
                </a:cubicBezTo>
                <a:cubicBezTo>
                  <a:pt x="155" y="191"/>
                  <a:pt x="155" y="190"/>
                  <a:pt x="155" y="190"/>
                </a:cubicBezTo>
                <a:cubicBezTo>
                  <a:pt x="156" y="189"/>
                  <a:pt x="156" y="188"/>
                  <a:pt x="156" y="187"/>
                </a:cubicBezTo>
                <a:cubicBezTo>
                  <a:pt x="157" y="186"/>
                  <a:pt x="157" y="185"/>
                  <a:pt x="158" y="185"/>
                </a:cubicBezTo>
                <a:cubicBezTo>
                  <a:pt x="159" y="183"/>
                  <a:pt x="161" y="183"/>
                  <a:pt x="161" y="181"/>
                </a:cubicBezTo>
                <a:cubicBezTo>
                  <a:pt x="161" y="178"/>
                  <a:pt x="159" y="177"/>
                  <a:pt x="160" y="175"/>
                </a:cubicBezTo>
                <a:cubicBezTo>
                  <a:pt x="161" y="173"/>
                  <a:pt x="162" y="173"/>
                  <a:pt x="163" y="171"/>
                </a:cubicBezTo>
                <a:cubicBezTo>
                  <a:pt x="165" y="170"/>
                  <a:pt x="165" y="168"/>
                  <a:pt x="165" y="166"/>
                </a:cubicBezTo>
                <a:cubicBezTo>
                  <a:pt x="162" y="166"/>
                  <a:pt x="163" y="164"/>
                  <a:pt x="163" y="163"/>
                </a:cubicBezTo>
                <a:cubicBezTo>
                  <a:pt x="163" y="162"/>
                  <a:pt x="163" y="161"/>
                  <a:pt x="162" y="161"/>
                </a:cubicBezTo>
                <a:cubicBezTo>
                  <a:pt x="162" y="160"/>
                  <a:pt x="162" y="160"/>
                  <a:pt x="162" y="159"/>
                </a:cubicBezTo>
                <a:cubicBezTo>
                  <a:pt x="161" y="157"/>
                  <a:pt x="160" y="156"/>
                  <a:pt x="160" y="155"/>
                </a:cubicBezTo>
                <a:cubicBezTo>
                  <a:pt x="160" y="151"/>
                  <a:pt x="160" y="150"/>
                  <a:pt x="162" y="148"/>
                </a:cubicBezTo>
                <a:cubicBezTo>
                  <a:pt x="162" y="147"/>
                  <a:pt x="163" y="146"/>
                  <a:pt x="163" y="145"/>
                </a:cubicBezTo>
                <a:cubicBezTo>
                  <a:pt x="164" y="144"/>
                  <a:pt x="165" y="143"/>
                  <a:pt x="166" y="142"/>
                </a:cubicBezTo>
                <a:cubicBezTo>
                  <a:pt x="167" y="141"/>
                  <a:pt x="168" y="140"/>
                  <a:pt x="170" y="139"/>
                </a:cubicBezTo>
                <a:cubicBezTo>
                  <a:pt x="171" y="139"/>
                  <a:pt x="173" y="139"/>
                  <a:pt x="174" y="139"/>
                </a:cubicBezTo>
                <a:cubicBezTo>
                  <a:pt x="174" y="136"/>
                  <a:pt x="177" y="135"/>
                  <a:pt x="178" y="132"/>
                </a:cubicBezTo>
                <a:cubicBezTo>
                  <a:pt x="179" y="131"/>
                  <a:pt x="180" y="130"/>
                  <a:pt x="182" y="129"/>
                </a:cubicBezTo>
                <a:cubicBezTo>
                  <a:pt x="183" y="129"/>
                  <a:pt x="183" y="129"/>
                  <a:pt x="184" y="129"/>
                </a:cubicBezTo>
                <a:cubicBezTo>
                  <a:pt x="185" y="128"/>
                  <a:pt x="185" y="128"/>
                  <a:pt x="186" y="128"/>
                </a:cubicBezTo>
                <a:cubicBezTo>
                  <a:pt x="189" y="126"/>
                  <a:pt x="189" y="121"/>
                  <a:pt x="193" y="121"/>
                </a:cubicBezTo>
                <a:cubicBezTo>
                  <a:pt x="196" y="121"/>
                  <a:pt x="196" y="120"/>
                  <a:pt x="197" y="118"/>
                </a:cubicBezTo>
                <a:cubicBezTo>
                  <a:pt x="198" y="115"/>
                  <a:pt x="202" y="110"/>
                  <a:pt x="205" y="109"/>
                </a:cubicBezTo>
                <a:cubicBezTo>
                  <a:pt x="206" y="108"/>
                  <a:pt x="207" y="108"/>
                  <a:pt x="208" y="107"/>
                </a:cubicBezTo>
                <a:cubicBezTo>
                  <a:pt x="209" y="107"/>
                  <a:pt x="211" y="106"/>
                  <a:pt x="212" y="106"/>
                </a:cubicBezTo>
                <a:cubicBezTo>
                  <a:pt x="213" y="106"/>
                  <a:pt x="214" y="106"/>
                  <a:pt x="215" y="106"/>
                </a:cubicBezTo>
                <a:cubicBezTo>
                  <a:pt x="215" y="106"/>
                  <a:pt x="216" y="105"/>
                  <a:pt x="217" y="105"/>
                </a:cubicBezTo>
                <a:cubicBezTo>
                  <a:pt x="219" y="104"/>
                  <a:pt x="221" y="104"/>
                  <a:pt x="222" y="104"/>
                </a:cubicBezTo>
                <a:cubicBezTo>
                  <a:pt x="224" y="103"/>
                  <a:pt x="223" y="101"/>
                  <a:pt x="224" y="100"/>
                </a:cubicBezTo>
                <a:cubicBezTo>
                  <a:pt x="225" y="101"/>
                  <a:pt x="226" y="102"/>
                  <a:pt x="227" y="102"/>
                </a:cubicBezTo>
                <a:cubicBezTo>
                  <a:pt x="228" y="102"/>
                  <a:pt x="227" y="101"/>
                  <a:pt x="229" y="101"/>
                </a:cubicBezTo>
                <a:cubicBezTo>
                  <a:pt x="230" y="100"/>
                  <a:pt x="232" y="100"/>
                  <a:pt x="233" y="101"/>
                </a:cubicBezTo>
                <a:cubicBezTo>
                  <a:pt x="234" y="101"/>
                  <a:pt x="234" y="102"/>
                  <a:pt x="234" y="102"/>
                </a:cubicBezTo>
                <a:cubicBezTo>
                  <a:pt x="235" y="103"/>
                  <a:pt x="236" y="103"/>
                  <a:pt x="237" y="103"/>
                </a:cubicBezTo>
                <a:cubicBezTo>
                  <a:pt x="238" y="105"/>
                  <a:pt x="237" y="106"/>
                  <a:pt x="237" y="108"/>
                </a:cubicBezTo>
                <a:cubicBezTo>
                  <a:pt x="240" y="108"/>
                  <a:pt x="242" y="109"/>
                  <a:pt x="244" y="110"/>
                </a:cubicBezTo>
                <a:cubicBezTo>
                  <a:pt x="245" y="111"/>
                  <a:pt x="247" y="112"/>
                  <a:pt x="248" y="112"/>
                </a:cubicBezTo>
                <a:cubicBezTo>
                  <a:pt x="249" y="111"/>
                  <a:pt x="249" y="110"/>
                  <a:pt x="250" y="110"/>
                </a:cubicBezTo>
                <a:cubicBezTo>
                  <a:pt x="250" y="108"/>
                  <a:pt x="247" y="105"/>
                  <a:pt x="246" y="104"/>
                </a:cubicBezTo>
                <a:cubicBezTo>
                  <a:pt x="246" y="103"/>
                  <a:pt x="245" y="103"/>
                  <a:pt x="244" y="102"/>
                </a:cubicBezTo>
                <a:cubicBezTo>
                  <a:pt x="244" y="101"/>
                  <a:pt x="242" y="100"/>
                  <a:pt x="242" y="100"/>
                </a:cubicBezTo>
                <a:cubicBezTo>
                  <a:pt x="242" y="99"/>
                  <a:pt x="241" y="99"/>
                  <a:pt x="241" y="98"/>
                </a:cubicBezTo>
                <a:cubicBezTo>
                  <a:pt x="240" y="98"/>
                  <a:pt x="240" y="97"/>
                  <a:pt x="240" y="96"/>
                </a:cubicBezTo>
                <a:cubicBezTo>
                  <a:pt x="239" y="96"/>
                  <a:pt x="238" y="96"/>
                  <a:pt x="238" y="96"/>
                </a:cubicBezTo>
                <a:cubicBezTo>
                  <a:pt x="237" y="94"/>
                  <a:pt x="234" y="85"/>
                  <a:pt x="238" y="85"/>
                </a:cubicBezTo>
                <a:cubicBezTo>
                  <a:pt x="239" y="84"/>
                  <a:pt x="240" y="82"/>
                  <a:pt x="241" y="82"/>
                </a:cubicBezTo>
                <a:cubicBezTo>
                  <a:pt x="242" y="80"/>
                  <a:pt x="248" y="77"/>
                  <a:pt x="247" y="74"/>
                </a:cubicBezTo>
                <a:cubicBezTo>
                  <a:pt x="249" y="73"/>
                  <a:pt x="249" y="72"/>
                  <a:pt x="251" y="72"/>
                </a:cubicBezTo>
                <a:cubicBezTo>
                  <a:pt x="253" y="72"/>
                  <a:pt x="254" y="72"/>
                  <a:pt x="256" y="72"/>
                </a:cubicBezTo>
                <a:cubicBezTo>
                  <a:pt x="256" y="70"/>
                  <a:pt x="256" y="68"/>
                  <a:pt x="256" y="66"/>
                </a:cubicBezTo>
                <a:cubicBezTo>
                  <a:pt x="257" y="66"/>
                  <a:pt x="257" y="66"/>
                  <a:pt x="257" y="66"/>
                </a:cubicBezTo>
                <a:cubicBezTo>
                  <a:pt x="257" y="64"/>
                  <a:pt x="255" y="64"/>
                  <a:pt x="254" y="63"/>
                </a:cubicBezTo>
                <a:cubicBezTo>
                  <a:pt x="254" y="62"/>
                  <a:pt x="254" y="60"/>
                  <a:pt x="254" y="59"/>
                </a:cubicBezTo>
                <a:cubicBezTo>
                  <a:pt x="254" y="57"/>
                  <a:pt x="254" y="57"/>
                  <a:pt x="252" y="56"/>
                </a:cubicBezTo>
                <a:cubicBezTo>
                  <a:pt x="251" y="55"/>
                  <a:pt x="250" y="55"/>
                  <a:pt x="250" y="53"/>
                </a:cubicBezTo>
                <a:cubicBezTo>
                  <a:pt x="249" y="53"/>
                  <a:pt x="249" y="53"/>
                  <a:pt x="248" y="52"/>
                </a:cubicBezTo>
                <a:cubicBezTo>
                  <a:pt x="247" y="52"/>
                  <a:pt x="247" y="50"/>
                  <a:pt x="246" y="50"/>
                </a:cubicBezTo>
                <a:cubicBezTo>
                  <a:pt x="245" y="49"/>
                  <a:pt x="242" y="50"/>
                  <a:pt x="241" y="50"/>
                </a:cubicBezTo>
                <a:cubicBezTo>
                  <a:pt x="239" y="50"/>
                  <a:pt x="238" y="52"/>
                  <a:pt x="237" y="52"/>
                </a:cubicBezTo>
                <a:cubicBezTo>
                  <a:pt x="236" y="52"/>
                  <a:pt x="235" y="50"/>
                  <a:pt x="234" y="50"/>
                </a:cubicBezTo>
                <a:cubicBezTo>
                  <a:pt x="233" y="50"/>
                  <a:pt x="233" y="50"/>
                  <a:pt x="232" y="50"/>
                </a:cubicBezTo>
                <a:cubicBezTo>
                  <a:pt x="230" y="51"/>
                  <a:pt x="229" y="51"/>
                  <a:pt x="227" y="50"/>
                </a:cubicBezTo>
                <a:cubicBezTo>
                  <a:pt x="225" y="49"/>
                  <a:pt x="223" y="47"/>
                  <a:pt x="221" y="47"/>
                </a:cubicBezTo>
                <a:cubicBezTo>
                  <a:pt x="220" y="47"/>
                  <a:pt x="217" y="48"/>
                  <a:pt x="216" y="48"/>
                </a:cubicBezTo>
                <a:cubicBezTo>
                  <a:pt x="215" y="49"/>
                  <a:pt x="213" y="50"/>
                  <a:pt x="212" y="51"/>
                </a:cubicBezTo>
                <a:cubicBezTo>
                  <a:pt x="211" y="52"/>
                  <a:pt x="212" y="53"/>
                  <a:pt x="211" y="54"/>
                </a:cubicBezTo>
                <a:cubicBezTo>
                  <a:pt x="210" y="54"/>
                  <a:pt x="209" y="54"/>
                  <a:pt x="208" y="53"/>
                </a:cubicBezTo>
                <a:cubicBezTo>
                  <a:pt x="207" y="53"/>
                  <a:pt x="206" y="53"/>
                  <a:pt x="205" y="53"/>
                </a:cubicBezTo>
                <a:cubicBezTo>
                  <a:pt x="204" y="50"/>
                  <a:pt x="208" y="50"/>
                  <a:pt x="208" y="48"/>
                </a:cubicBezTo>
                <a:cubicBezTo>
                  <a:pt x="206" y="48"/>
                  <a:pt x="207" y="44"/>
                  <a:pt x="208" y="43"/>
                </a:cubicBezTo>
                <a:cubicBezTo>
                  <a:pt x="209" y="43"/>
                  <a:pt x="210" y="42"/>
                  <a:pt x="211" y="41"/>
                </a:cubicBezTo>
                <a:cubicBezTo>
                  <a:pt x="212" y="40"/>
                  <a:pt x="211" y="41"/>
                  <a:pt x="211" y="39"/>
                </a:cubicBezTo>
                <a:cubicBezTo>
                  <a:pt x="211" y="36"/>
                  <a:pt x="215" y="36"/>
                  <a:pt x="216" y="34"/>
                </a:cubicBezTo>
                <a:cubicBezTo>
                  <a:pt x="216" y="34"/>
                  <a:pt x="216" y="33"/>
                  <a:pt x="216" y="33"/>
                </a:cubicBezTo>
                <a:cubicBezTo>
                  <a:pt x="217" y="32"/>
                  <a:pt x="218" y="33"/>
                  <a:pt x="218" y="32"/>
                </a:cubicBezTo>
                <a:cubicBezTo>
                  <a:pt x="218" y="31"/>
                  <a:pt x="214" y="29"/>
                  <a:pt x="213" y="28"/>
                </a:cubicBezTo>
                <a:cubicBezTo>
                  <a:pt x="212" y="27"/>
                  <a:pt x="211" y="25"/>
                  <a:pt x="210" y="24"/>
                </a:cubicBezTo>
                <a:cubicBezTo>
                  <a:pt x="210" y="22"/>
                  <a:pt x="210" y="21"/>
                  <a:pt x="210" y="20"/>
                </a:cubicBezTo>
                <a:cubicBezTo>
                  <a:pt x="206" y="19"/>
                  <a:pt x="201" y="21"/>
                  <a:pt x="201" y="25"/>
                </a:cubicBezTo>
                <a:cubicBezTo>
                  <a:pt x="201" y="27"/>
                  <a:pt x="201" y="28"/>
                  <a:pt x="200" y="28"/>
                </a:cubicBezTo>
                <a:cubicBezTo>
                  <a:pt x="199" y="29"/>
                  <a:pt x="198" y="28"/>
                  <a:pt x="198" y="27"/>
                </a:cubicBezTo>
                <a:cubicBezTo>
                  <a:pt x="197" y="26"/>
                  <a:pt x="199" y="24"/>
                  <a:pt x="198" y="22"/>
                </a:cubicBezTo>
                <a:cubicBezTo>
                  <a:pt x="197" y="22"/>
                  <a:pt x="195" y="22"/>
                  <a:pt x="194" y="22"/>
                </a:cubicBezTo>
                <a:cubicBezTo>
                  <a:pt x="194" y="20"/>
                  <a:pt x="195" y="20"/>
                  <a:pt x="196" y="19"/>
                </a:cubicBezTo>
                <a:cubicBezTo>
                  <a:pt x="196" y="19"/>
                  <a:pt x="197" y="19"/>
                  <a:pt x="197" y="19"/>
                </a:cubicBezTo>
                <a:cubicBezTo>
                  <a:pt x="197" y="18"/>
                  <a:pt x="200" y="14"/>
                  <a:pt x="201" y="14"/>
                </a:cubicBezTo>
                <a:cubicBezTo>
                  <a:pt x="202" y="13"/>
                  <a:pt x="203" y="14"/>
                  <a:pt x="204" y="13"/>
                </a:cubicBezTo>
                <a:cubicBezTo>
                  <a:pt x="204" y="12"/>
                  <a:pt x="203" y="11"/>
                  <a:pt x="203" y="10"/>
                </a:cubicBezTo>
                <a:cubicBezTo>
                  <a:pt x="202" y="10"/>
                  <a:pt x="201" y="10"/>
                  <a:pt x="199" y="10"/>
                </a:cubicBezTo>
                <a:cubicBezTo>
                  <a:pt x="197" y="11"/>
                  <a:pt x="196" y="9"/>
                  <a:pt x="195" y="7"/>
                </a:cubicBezTo>
                <a:cubicBezTo>
                  <a:pt x="195" y="6"/>
                  <a:pt x="195" y="7"/>
                  <a:pt x="194" y="6"/>
                </a:cubicBezTo>
                <a:cubicBezTo>
                  <a:pt x="194" y="5"/>
                  <a:pt x="192" y="5"/>
                  <a:pt x="192" y="4"/>
                </a:cubicBezTo>
                <a:cubicBezTo>
                  <a:pt x="191" y="3"/>
                  <a:pt x="191" y="1"/>
                  <a:pt x="189" y="0"/>
                </a:cubicBezTo>
                <a:cubicBezTo>
                  <a:pt x="189" y="2"/>
                  <a:pt x="189" y="2"/>
                  <a:pt x="188" y="3"/>
                </a:cubicBezTo>
                <a:cubicBezTo>
                  <a:pt x="187" y="3"/>
                  <a:pt x="187" y="4"/>
                  <a:pt x="187" y="4"/>
                </a:cubicBezTo>
                <a:cubicBezTo>
                  <a:pt x="186" y="5"/>
                  <a:pt x="185" y="5"/>
                  <a:pt x="185" y="5"/>
                </a:cubicBezTo>
                <a:cubicBezTo>
                  <a:pt x="182" y="7"/>
                  <a:pt x="180" y="8"/>
                  <a:pt x="178" y="9"/>
                </a:cubicBezTo>
                <a:cubicBezTo>
                  <a:pt x="175" y="10"/>
                  <a:pt x="173" y="12"/>
                  <a:pt x="171" y="13"/>
                </a:cubicBezTo>
                <a:cubicBezTo>
                  <a:pt x="170" y="14"/>
                  <a:pt x="168" y="15"/>
                  <a:pt x="168" y="16"/>
                </a:cubicBezTo>
                <a:cubicBezTo>
                  <a:pt x="168" y="16"/>
                  <a:pt x="169" y="17"/>
                  <a:pt x="169" y="18"/>
                </a:cubicBezTo>
                <a:cubicBezTo>
                  <a:pt x="169" y="18"/>
                  <a:pt x="169" y="19"/>
                  <a:pt x="169" y="19"/>
                </a:cubicBezTo>
                <a:cubicBezTo>
                  <a:pt x="168" y="19"/>
                  <a:pt x="167" y="19"/>
                  <a:pt x="166" y="19"/>
                </a:cubicBezTo>
                <a:cubicBezTo>
                  <a:pt x="167" y="20"/>
                  <a:pt x="167" y="23"/>
                  <a:pt x="166" y="24"/>
                </a:cubicBezTo>
                <a:cubicBezTo>
                  <a:pt x="165" y="25"/>
                  <a:pt x="163" y="25"/>
                  <a:pt x="161" y="25"/>
                </a:cubicBezTo>
                <a:cubicBezTo>
                  <a:pt x="159" y="25"/>
                  <a:pt x="157" y="24"/>
                  <a:pt x="155" y="22"/>
                </a:cubicBezTo>
                <a:cubicBezTo>
                  <a:pt x="153" y="21"/>
                  <a:pt x="151" y="21"/>
                  <a:pt x="149" y="21"/>
                </a:cubicBezTo>
                <a:cubicBezTo>
                  <a:pt x="147" y="20"/>
                  <a:pt x="145" y="21"/>
                  <a:pt x="143" y="21"/>
                </a:cubicBezTo>
                <a:cubicBezTo>
                  <a:pt x="140" y="21"/>
                  <a:pt x="139" y="21"/>
                  <a:pt x="136" y="19"/>
                </a:cubicBezTo>
                <a:cubicBezTo>
                  <a:pt x="134" y="17"/>
                  <a:pt x="130" y="14"/>
                  <a:pt x="127" y="14"/>
                </a:cubicBezTo>
                <a:cubicBezTo>
                  <a:pt x="127" y="17"/>
                  <a:pt x="127" y="18"/>
                  <a:pt x="124" y="19"/>
                </a:cubicBezTo>
                <a:cubicBezTo>
                  <a:pt x="122" y="20"/>
                  <a:pt x="120" y="20"/>
                  <a:pt x="118" y="20"/>
                </a:cubicBezTo>
                <a:cubicBezTo>
                  <a:pt x="115" y="21"/>
                  <a:pt x="115" y="23"/>
                  <a:pt x="113" y="25"/>
                </a:cubicBezTo>
                <a:cubicBezTo>
                  <a:pt x="111" y="26"/>
                  <a:pt x="110" y="27"/>
                  <a:pt x="109" y="29"/>
                </a:cubicBezTo>
                <a:cubicBezTo>
                  <a:pt x="109" y="30"/>
                  <a:pt x="108" y="34"/>
                  <a:pt x="107" y="34"/>
                </a:cubicBezTo>
                <a:cubicBezTo>
                  <a:pt x="106" y="34"/>
                  <a:pt x="103" y="33"/>
                  <a:pt x="103" y="34"/>
                </a:cubicBezTo>
                <a:cubicBezTo>
                  <a:pt x="102" y="35"/>
                  <a:pt x="104" y="36"/>
                  <a:pt x="104" y="37"/>
                </a:cubicBezTo>
                <a:cubicBezTo>
                  <a:pt x="104" y="38"/>
                  <a:pt x="99" y="40"/>
                  <a:pt x="98" y="40"/>
                </a:cubicBezTo>
                <a:cubicBezTo>
                  <a:pt x="99" y="42"/>
                  <a:pt x="96" y="43"/>
                  <a:pt x="94" y="44"/>
                </a:cubicBezTo>
                <a:cubicBezTo>
                  <a:pt x="93" y="45"/>
                  <a:pt x="93" y="45"/>
                  <a:pt x="92" y="46"/>
                </a:cubicBezTo>
                <a:cubicBezTo>
                  <a:pt x="91" y="47"/>
                  <a:pt x="90" y="48"/>
                  <a:pt x="89" y="48"/>
                </a:cubicBezTo>
                <a:cubicBezTo>
                  <a:pt x="88" y="49"/>
                  <a:pt x="86" y="48"/>
                  <a:pt x="84" y="48"/>
                </a:cubicBezTo>
                <a:cubicBezTo>
                  <a:pt x="83" y="49"/>
                  <a:pt x="83" y="49"/>
                  <a:pt x="82" y="49"/>
                </a:cubicBezTo>
                <a:cubicBezTo>
                  <a:pt x="80" y="50"/>
                  <a:pt x="77" y="51"/>
                  <a:pt x="75" y="52"/>
                </a:cubicBezTo>
                <a:cubicBezTo>
                  <a:pt x="73" y="53"/>
                  <a:pt x="71" y="52"/>
                  <a:pt x="69" y="52"/>
                </a:cubicBezTo>
                <a:cubicBezTo>
                  <a:pt x="67" y="53"/>
                  <a:pt x="68" y="55"/>
                  <a:pt x="68" y="57"/>
                </a:cubicBezTo>
                <a:cubicBezTo>
                  <a:pt x="68" y="59"/>
                  <a:pt x="68" y="61"/>
                  <a:pt x="67" y="63"/>
                </a:cubicBezTo>
                <a:cubicBezTo>
                  <a:pt x="66" y="63"/>
                  <a:pt x="66" y="64"/>
                  <a:pt x="65" y="65"/>
                </a:cubicBezTo>
                <a:cubicBezTo>
                  <a:pt x="65" y="66"/>
                  <a:pt x="64" y="66"/>
                  <a:pt x="63" y="66"/>
                </a:cubicBezTo>
                <a:cubicBezTo>
                  <a:pt x="63" y="67"/>
                  <a:pt x="63" y="68"/>
                  <a:pt x="62" y="69"/>
                </a:cubicBezTo>
                <a:cubicBezTo>
                  <a:pt x="61" y="69"/>
                  <a:pt x="60" y="69"/>
                  <a:pt x="59" y="70"/>
                </a:cubicBezTo>
                <a:cubicBezTo>
                  <a:pt x="58" y="71"/>
                  <a:pt x="58" y="72"/>
                  <a:pt x="57" y="72"/>
                </a:cubicBezTo>
                <a:cubicBezTo>
                  <a:pt x="56" y="73"/>
                  <a:pt x="56" y="73"/>
                  <a:pt x="55" y="74"/>
                </a:cubicBezTo>
                <a:cubicBezTo>
                  <a:pt x="53" y="74"/>
                  <a:pt x="50" y="75"/>
                  <a:pt x="49" y="76"/>
                </a:cubicBezTo>
                <a:cubicBezTo>
                  <a:pt x="49" y="77"/>
                  <a:pt x="49" y="78"/>
                  <a:pt x="48" y="79"/>
                </a:cubicBezTo>
                <a:cubicBezTo>
                  <a:pt x="47" y="80"/>
                  <a:pt x="46" y="80"/>
                  <a:pt x="46" y="82"/>
                </a:cubicBezTo>
                <a:cubicBezTo>
                  <a:pt x="47" y="82"/>
                  <a:pt x="49" y="83"/>
                  <a:pt x="49" y="84"/>
                </a:cubicBezTo>
                <a:cubicBezTo>
                  <a:pt x="52" y="88"/>
                  <a:pt x="40" y="89"/>
                  <a:pt x="41" y="93"/>
                </a:cubicBezTo>
                <a:cubicBezTo>
                  <a:pt x="39" y="94"/>
                  <a:pt x="36" y="92"/>
                  <a:pt x="35" y="93"/>
                </a:cubicBezTo>
                <a:cubicBezTo>
                  <a:pt x="32" y="95"/>
                  <a:pt x="32" y="96"/>
                  <a:pt x="31" y="93"/>
                </a:cubicBezTo>
                <a:cubicBezTo>
                  <a:pt x="30" y="93"/>
                  <a:pt x="29" y="93"/>
                  <a:pt x="28" y="93"/>
                </a:cubicBezTo>
                <a:cubicBezTo>
                  <a:pt x="29" y="93"/>
                  <a:pt x="29" y="93"/>
                  <a:pt x="29" y="93"/>
                </a:cubicBezTo>
                <a:cubicBezTo>
                  <a:pt x="29" y="94"/>
                  <a:pt x="29" y="94"/>
                  <a:pt x="29" y="95"/>
                </a:cubicBezTo>
                <a:cubicBezTo>
                  <a:pt x="26" y="95"/>
                  <a:pt x="25" y="95"/>
                  <a:pt x="23" y="96"/>
                </a:cubicBezTo>
                <a:cubicBezTo>
                  <a:pt x="22" y="96"/>
                  <a:pt x="21" y="96"/>
                  <a:pt x="21" y="97"/>
                </a:cubicBezTo>
                <a:cubicBezTo>
                  <a:pt x="20" y="98"/>
                  <a:pt x="20" y="99"/>
                  <a:pt x="19" y="100"/>
                </a:cubicBezTo>
                <a:cubicBezTo>
                  <a:pt x="18" y="100"/>
                  <a:pt x="17" y="100"/>
                  <a:pt x="16" y="100"/>
                </a:cubicBezTo>
                <a:cubicBezTo>
                  <a:pt x="14" y="99"/>
                  <a:pt x="12" y="99"/>
                  <a:pt x="10" y="99"/>
                </a:cubicBezTo>
                <a:cubicBezTo>
                  <a:pt x="7" y="99"/>
                  <a:pt x="5" y="98"/>
                  <a:pt x="3" y="98"/>
                </a:cubicBezTo>
                <a:cubicBezTo>
                  <a:pt x="2" y="100"/>
                  <a:pt x="3" y="104"/>
                  <a:pt x="0" y="104"/>
                </a:cubicBezTo>
                <a:cubicBezTo>
                  <a:pt x="1" y="105"/>
                  <a:pt x="2" y="106"/>
                  <a:pt x="2" y="107"/>
                </a:cubicBezTo>
                <a:cubicBezTo>
                  <a:pt x="2" y="108"/>
                  <a:pt x="2" y="110"/>
                  <a:pt x="3" y="110"/>
                </a:cubicBezTo>
                <a:cubicBezTo>
                  <a:pt x="4" y="112"/>
                  <a:pt x="5" y="112"/>
                  <a:pt x="7" y="113"/>
                </a:cubicBezTo>
                <a:cubicBezTo>
                  <a:pt x="9" y="114"/>
                  <a:pt x="8" y="114"/>
                  <a:pt x="9" y="116"/>
                </a:cubicBezTo>
                <a:cubicBezTo>
                  <a:pt x="10" y="114"/>
                  <a:pt x="11" y="114"/>
                  <a:pt x="14" y="114"/>
                </a:cubicBezTo>
                <a:cubicBezTo>
                  <a:pt x="16" y="114"/>
                  <a:pt x="17" y="113"/>
                  <a:pt x="18" y="113"/>
                </a:cubicBezTo>
                <a:cubicBezTo>
                  <a:pt x="20" y="112"/>
                  <a:pt x="20" y="113"/>
                  <a:pt x="21" y="114"/>
                </a:cubicBezTo>
                <a:cubicBezTo>
                  <a:pt x="22" y="116"/>
                  <a:pt x="23" y="117"/>
                  <a:pt x="24" y="118"/>
                </a:cubicBezTo>
                <a:cubicBezTo>
                  <a:pt x="25" y="118"/>
                  <a:pt x="26" y="119"/>
                  <a:pt x="26" y="120"/>
                </a:cubicBezTo>
                <a:cubicBezTo>
                  <a:pt x="25" y="121"/>
                  <a:pt x="24" y="121"/>
                  <a:pt x="24" y="121"/>
                </a:cubicBezTo>
                <a:cubicBezTo>
                  <a:pt x="23" y="122"/>
                  <a:pt x="24" y="123"/>
                  <a:pt x="24" y="124"/>
                </a:cubicBezTo>
                <a:cubicBezTo>
                  <a:pt x="23" y="124"/>
                  <a:pt x="22" y="124"/>
                  <a:pt x="21" y="125"/>
                </a:cubicBezTo>
                <a:cubicBezTo>
                  <a:pt x="21" y="126"/>
                  <a:pt x="21" y="128"/>
                  <a:pt x="21" y="129"/>
                </a:cubicBezTo>
                <a:cubicBezTo>
                  <a:pt x="21" y="130"/>
                  <a:pt x="24" y="132"/>
                  <a:pt x="26" y="133"/>
                </a:cubicBezTo>
                <a:cubicBezTo>
                  <a:pt x="26" y="135"/>
                  <a:pt x="28" y="137"/>
                  <a:pt x="27" y="140"/>
                </a:cubicBezTo>
                <a:cubicBezTo>
                  <a:pt x="27" y="140"/>
                  <a:pt x="28" y="139"/>
                  <a:pt x="29" y="139"/>
                </a:cubicBezTo>
                <a:cubicBezTo>
                  <a:pt x="30" y="139"/>
                  <a:pt x="31" y="139"/>
                  <a:pt x="33" y="138"/>
                </a:cubicBezTo>
                <a:cubicBezTo>
                  <a:pt x="33" y="138"/>
                  <a:pt x="34" y="138"/>
                  <a:pt x="35" y="138"/>
                </a:cubicBezTo>
                <a:cubicBezTo>
                  <a:pt x="36" y="138"/>
                  <a:pt x="37" y="137"/>
                  <a:pt x="38" y="137"/>
                </a:cubicBezTo>
                <a:cubicBezTo>
                  <a:pt x="39" y="136"/>
                  <a:pt x="41" y="136"/>
                  <a:pt x="42" y="136"/>
                </a:cubicBezTo>
                <a:cubicBezTo>
                  <a:pt x="44" y="136"/>
                  <a:pt x="45" y="135"/>
                  <a:pt x="47" y="134"/>
                </a:cubicBezTo>
                <a:cubicBezTo>
                  <a:pt x="48" y="134"/>
                  <a:pt x="48" y="133"/>
                  <a:pt x="49" y="133"/>
                </a:cubicBezTo>
                <a:cubicBezTo>
                  <a:pt x="50" y="133"/>
                  <a:pt x="50" y="133"/>
                  <a:pt x="51" y="133"/>
                </a:cubicBezTo>
                <a:cubicBezTo>
                  <a:pt x="52" y="132"/>
                  <a:pt x="52" y="131"/>
                  <a:pt x="54" y="131"/>
                </a:cubicBezTo>
                <a:cubicBezTo>
                  <a:pt x="57" y="131"/>
                  <a:pt x="59" y="132"/>
                  <a:pt x="62" y="133"/>
                </a:cubicBezTo>
                <a:cubicBezTo>
                  <a:pt x="63" y="133"/>
                  <a:pt x="65" y="133"/>
                  <a:pt x="66" y="134"/>
                </a:cubicBezTo>
                <a:cubicBezTo>
                  <a:pt x="68" y="135"/>
                  <a:pt x="70" y="135"/>
                  <a:pt x="72" y="135"/>
                </a:cubicBezTo>
                <a:cubicBezTo>
                  <a:pt x="73" y="135"/>
                  <a:pt x="75" y="135"/>
                  <a:pt x="76" y="134"/>
                </a:cubicBezTo>
                <a:cubicBezTo>
                  <a:pt x="79" y="132"/>
                  <a:pt x="81" y="132"/>
                  <a:pt x="84" y="132"/>
                </a:cubicBezTo>
                <a:cubicBezTo>
                  <a:pt x="85" y="132"/>
                  <a:pt x="87" y="132"/>
                  <a:pt x="88" y="132"/>
                </a:cubicBezTo>
                <a:cubicBezTo>
                  <a:pt x="88" y="132"/>
                  <a:pt x="89" y="131"/>
                  <a:pt x="90" y="131"/>
                </a:cubicBezTo>
                <a:cubicBezTo>
                  <a:pt x="90" y="131"/>
                  <a:pt x="91" y="131"/>
                  <a:pt x="91" y="131"/>
                </a:cubicBezTo>
                <a:cubicBezTo>
                  <a:pt x="93" y="131"/>
                  <a:pt x="94" y="131"/>
                  <a:pt x="95" y="131"/>
                </a:cubicBezTo>
                <a:cubicBezTo>
                  <a:pt x="97" y="131"/>
                  <a:pt x="98" y="130"/>
                  <a:pt x="99" y="129"/>
                </a:cubicBezTo>
                <a:cubicBezTo>
                  <a:pt x="99" y="128"/>
                  <a:pt x="100" y="127"/>
                  <a:pt x="100" y="126"/>
                </a:cubicBezTo>
                <a:cubicBezTo>
                  <a:pt x="101" y="125"/>
                  <a:pt x="102" y="125"/>
                  <a:pt x="103" y="125"/>
                </a:cubicBezTo>
                <a:cubicBezTo>
                  <a:pt x="104" y="124"/>
                  <a:pt x="103" y="123"/>
                  <a:pt x="103" y="122"/>
                </a:cubicBezTo>
                <a:cubicBezTo>
                  <a:pt x="103" y="121"/>
                  <a:pt x="104" y="120"/>
                  <a:pt x="104" y="119"/>
                </a:cubicBezTo>
                <a:cubicBezTo>
                  <a:pt x="106" y="117"/>
                  <a:pt x="107" y="116"/>
                  <a:pt x="108" y="114"/>
                </a:cubicBezTo>
                <a:cubicBezTo>
                  <a:pt x="109" y="114"/>
                  <a:pt x="109" y="114"/>
                  <a:pt x="110" y="113"/>
                </a:cubicBezTo>
                <a:cubicBezTo>
                  <a:pt x="110" y="113"/>
                  <a:pt x="110" y="113"/>
                  <a:pt x="111" y="112"/>
                </a:cubicBezTo>
                <a:cubicBezTo>
                  <a:pt x="112" y="111"/>
                  <a:pt x="113" y="111"/>
                  <a:pt x="113" y="110"/>
                </a:cubicBezTo>
                <a:cubicBezTo>
                  <a:pt x="114" y="109"/>
                  <a:pt x="115" y="109"/>
                  <a:pt x="116" y="108"/>
                </a:cubicBezTo>
                <a:cubicBezTo>
                  <a:pt x="116" y="107"/>
                  <a:pt x="117" y="106"/>
                  <a:pt x="118" y="106"/>
                </a:cubicBezTo>
                <a:cubicBezTo>
                  <a:pt x="118" y="105"/>
                  <a:pt x="118" y="105"/>
                  <a:pt x="119" y="105"/>
                </a:cubicBezTo>
                <a:cubicBezTo>
                  <a:pt x="119" y="104"/>
                  <a:pt x="119" y="101"/>
                  <a:pt x="118" y="100"/>
                </a:cubicBezTo>
                <a:cubicBezTo>
                  <a:pt x="117" y="99"/>
                  <a:pt x="117" y="100"/>
                  <a:pt x="116" y="99"/>
                </a:cubicBezTo>
                <a:cubicBezTo>
                  <a:pt x="116" y="98"/>
                  <a:pt x="117" y="98"/>
                  <a:pt x="117" y="98"/>
                </a:cubicBezTo>
                <a:cubicBezTo>
                  <a:pt x="118" y="97"/>
                  <a:pt x="120" y="98"/>
                  <a:pt x="121" y="98"/>
                </a:cubicBezTo>
                <a:cubicBezTo>
                  <a:pt x="122" y="99"/>
                  <a:pt x="123" y="100"/>
                  <a:pt x="124" y="100"/>
                </a:cubicBezTo>
                <a:cubicBezTo>
                  <a:pt x="126" y="100"/>
                  <a:pt x="126" y="99"/>
                  <a:pt x="128" y="99"/>
                </a:cubicBezTo>
                <a:cubicBezTo>
                  <a:pt x="129" y="99"/>
                  <a:pt x="131" y="99"/>
                  <a:pt x="131" y="98"/>
                </a:cubicBezTo>
                <a:cubicBezTo>
                  <a:pt x="132" y="97"/>
                  <a:pt x="133" y="98"/>
                  <a:pt x="135" y="97"/>
                </a:cubicBezTo>
                <a:cubicBezTo>
                  <a:pt x="136" y="96"/>
                  <a:pt x="137" y="95"/>
                  <a:pt x="139" y="95"/>
                </a:cubicBezTo>
                <a:cubicBezTo>
                  <a:pt x="140" y="94"/>
                  <a:pt x="141" y="94"/>
                  <a:pt x="142" y="93"/>
                </a:cubicBezTo>
                <a:cubicBezTo>
                  <a:pt x="142" y="92"/>
                  <a:pt x="143" y="92"/>
                  <a:pt x="144" y="91"/>
                </a:cubicBezTo>
                <a:cubicBezTo>
                  <a:pt x="145" y="91"/>
                  <a:pt x="145" y="91"/>
                  <a:pt x="145" y="91"/>
                </a:cubicBezTo>
                <a:cubicBezTo>
                  <a:pt x="145" y="91"/>
                  <a:pt x="145" y="91"/>
                  <a:pt x="146" y="91"/>
                </a:cubicBezTo>
                <a:cubicBezTo>
                  <a:pt x="146" y="91"/>
                  <a:pt x="146" y="91"/>
                  <a:pt x="146" y="91"/>
                </a:cubicBezTo>
                <a:cubicBezTo>
                  <a:pt x="147" y="90"/>
                  <a:pt x="147" y="90"/>
                  <a:pt x="147" y="90"/>
                </a:cubicBezTo>
                <a:cubicBezTo>
                  <a:pt x="148" y="90"/>
                  <a:pt x="149" y="90"/>
                  <a:pt x="149" y="89"/>
                </a:cubicBezTo>
                <a:cubicBezTo>
                  <a:pt x="150" y="89"/>
                  <a:pt x="150" y="89"/>
                  <a:pt x="151" y="88"/>
                </a:cubicBezTo>
                <a:cubicBezTo>
                  <a:pt x="152" y="88"/>
                  <a:pt x="152" y="88"/>
                  <a:pt x="152" y="87"/>
                </a:cubicBezTo>
                <a:cubicBezTo>
                  <a:pt x="153" y="87"/>
                  <a:pt x="154" y="87"/>
                  <a:pt x="156" y="86"/>
                </a:cubicBezTo>
                <a:cubicBezTo>
                  <a:pt x="156" y="86"/>
                  <a:pt x="157" y="86"/>
                  <a:pt x="157" y="85"/>
                </a:cubicBezTo>
                <a:cubicBezTo>
                  <a:pt x="158" y="85"/>
                  <a:pt x="159" y="85"/>
                  <a:pt x="159" y="85"/>
                </a:cubicBezTo>
                <a:cubicBezTo>
                  <a:pt x="160" y="85"/>
                  <a:pt x="160" y="85"/>
                  <a:pt x="161" y="84"/>
                </a:cubicBezTo>
                <a:cubicBezTo>
                  <a:pt x="161" y="84"/>
                  <a:pt x="162" y="83"/>
                  <a:pt x="162" y="83"/>
                </a:cubicBezTo>
                <a:cubicBezTo>
                  <a:pt x="163" y="83"/>
                  <a:pt x="164" y="83"/>
                  <a:pt x="164" y="83"/>
                </a:cubicBezTo>
                <a:cubicBezTo>
                  <a:pt x="165" y="82"/>
                  <a:pt x="164" y="82"/>
                  <a:pt x="165" y="82"/>
                </a:cubicBezTo>
                <a:cubicBezTo>
                  <a:pt x="166" y="81"/>
                  <a:pt x="168" y="81"/>
                  <a:pt x="169" y="81"/>
                </a:cubicBezTo>
                <a:cubicBezTo>
                  <a:pt x="170" y="81"/>
                  <a:pt x="171" y="81"/>
                  <a:pt x="172" y="80"/>
                </a:cubicBezTo>
                <a:cubicBezTo>
                  <a:pt x="174" y="79"/>
                  <a:pt x="174" y="79"/>
                  <a:pt x="176" y="79"/>
                </a:cubicBezTo>
                <a:cubicBezTo>
                  <a:pt x="177" y="78"/>
                  <a:pt x="177" y="78"/>
                  <a:pt x="179" y="77"/>
                </a:cubicBezTo>
                <a:cubicBezTo>
                  <a:pt x="180" y="76"/>
                  <a:pt x="181" y="76"/>
                  <a:pt x="182" y="76"/>
                </a:cubicBezTo>
                <a:cubicBezTo>
                  <a:pt x="184" y="76"/>
                  <a:pt x="185" y="75"/>
                  <a:pt x="186" y="75"/>
                </a:cubicBezTo>
                <a:cubicBezTo>
                  <a:pt x="188" y="75"/>
                  <a:pt x="192" y="74"/>
                  <a:pt x="193" y="76"/>
                </a:cubicBezTo>
                <a:cubicBezTo>
                  <a:pt x="194" y="77"/>
                  <a:pt x="192" y="78"/>
                  <a:pt x="192" y="79"/>
                </a:cubicBezTo>
                <a:cubicBezTo>
                  <a:pt x="191" y="80"/>
                  <a:pt x="191" y="80"/>
                  <a:pt x="190" y="81"/>
                </a:cubicBezTo>
                <a:cubicBezTo>
                  <a:pt x="189" y="81"/>
                  <a:pt x="188" y="81"/>
                  <a:pt x="188" y="82"/>
                </a:cubicBezTo>
                <a:cubicBezTo>
                  <a:pt x="187" y="83"/>
                  <a:pt x="187" y="85"/>
                  <a:pt x="187" y="87"/>
                </a:cubicBezTo>
                <a:cubicBezTo>
                  <a:pt x="187" y="90"/>
                  <a:pt x="187" y="93"/>
                  <a:pt x="191" y="94"/>
                </a:cubicBezTo>
                <a:cubicBezTo>
                  <a:pt x="191" y="96"/>
                  <a:pt x="191" y="97"/>
                  <a:pt x="191" y="98"/>
                </a:cubicBezTo>
                <a:cubicBezTo>
                  <a:pt x="192" y="99"/>
                  <a:pt x="192" y="100"/>
                  <a:pt x="193" y="102"/>
                </a:cubicBezTo>
                <a:cubicBezTo>
                  <a:pt x="193" y="102"/>
                  <a:pt x="194" y="102"/>
                  <a:pt x="195" y="101"/>
                </a:cubicBezTo>
                <a:cubicBezTo>
                  <a:pt x="196" y="101"/>
                  <a:pt x="196" y="100"/>
                  <a:pt x="197" y="100"/>
                </a:cubicBezTo>
                <a:cubicBezTo>
                  <a:pt x="199" y="99"/>
                  <a:pt x="198" y="102"/>
                  <a:pt x="198" y="104"/>
                </a:cubicBezTo>
                <a:cubicBezTo>
                  <a:pt x="197" y="107"/>
                  <a:pt x="194" y="109"/>
                  <a:pt x="191" y="108"/>
                </a:cubicBezTo>
                <a:cubicBezTo>
                  <a:pt x="191" y="109"/>
                  <a:pt x="189" y="109"/>
                  <a:pt x="188" y="110"/>
                </a:cubicBezTo>
                <a:cubicBezTo>
                  <a:pt x="187" y="110"/>
                  <a:pt x="186" y="110"/>
                  <a:pt x="185" y="111"/>
                </a:cubicBezTo>
                <a:cubicBezTo>
                  <a:pt x="184" y="111"/>
                  <a:pt x="179" y="111"/>
                  <a:pt x="178" y="110"/>
                </a:cubicBezTo>
                <a:cubicBezTo>
                  <a:pt x="176" y="110"/>
                  <a:pt x="176" y="110"/>
                  <a:pt x="175" y="112"/>
                </a:cubicBezTo>
                <a:cubicBezTo>
                  <a:pt x="175" y="113"/>
                  <a:pt x="175" y="115"/>
                  <a:pt x="175" y="116"/>
                </a:cubicBezTo>
                <a:cubicBezTo>
                  <a:pt x="175" y="116"/>
                  <a:pt x="172" y="117"/>
                  <a:pt x="172" y="117"/>
                </a:cubicBezTo>
                <a:cubicBezTo>
                  <a:pt x="171" y="118"/>
                  <a:pt x="169" y="120"/>
                  <a:pt x="169" y="120"/>
                </a:cubicBezTo>
                <a:cubicBezTo>
                  <a:pt x="169" y="120"/>
                  <a:pt x="169" y="120"/>
                  <a:pt x="169" y="120"/>
                </a:cubicBezTo>
                <a:cubicBezTo>
                  <a:pt x="169" y="121"/>
                  <a:pt x="168" y="121"/>
                  <a:pt x="167" y="122"/>
                </a:cubicBezTo>
                <a:cubicBezTo>
                  <a:pt x="166" y="122"/>
                  <a:pt x="165" y="121"/>
                  <a:pt x="164" y="122"/>
                </a:cubicBezTo>
                <a:cubicBezTo>
                  <a:pt x="163" y="122"/>
                  <a:pt x="163" y="123"/>
                  <a:pt x="162" y="123"/>
                </a:cubicBezTo>
                <a:cubicBezTo>
                  <a:pt x="162" y="124"/>
                  <a:pt x="160" y="125"/>
                  <a:pt x="160" y="126"/>
                </a:cubicBezTo>
                <a:cubicBezTo>
                  <a:pt x="159" y="126"/>
                  <a:pt x="158" y="127"/>
                  <a:pt x="158" y="127"/>
                </a:cubicBezTo>
                <a:cubicBezTo>
                  <a:pt x="157" y="128"/>
                  <a:pt x="156" y="127"/>
                  <a:pt x="155" y="128"/>
                </a:cubicBezTo>
                <a:cubicBezTo>
                  <a:pt x="154" y="128"/>
                  <a:pt x="152" y="128"/>
                  <a:pt x="151" y="129"/>
                </a:cubicBezTo>
                <a:cubicBezTo>
                  <a:pt x="150" y="129"/>
                  <a:pt x="151" y="131"/>
                  <a:pt x="150" y="132"/>
                </a:cubicBezTo>
                <a:cubicBezTo>
                  <a:pt x="149" y="132"/>
                  <a:pt x="148" y="134"/>
                  <a:pt x="148" y="135"/>
                </a:cubicBezTo>
                <a:cubicBezTo>
                  <a:pt x="147" y="136"/>
                  <a:pt x="145" y="137"/>
                  <a:pt x="144" y="137"/>
                </a:cubicBezTo>
                <a:cubicBezTo>
                  <a:pt x="140" y="140"/>
                  <a:pt x="134" y="141"/>
                  <a:pt x="132" y="146"/>
                </a:cubicBezTo>
                <a:cubicBezTo>
                  <a:pt x="131" y="147"/>
                  <a:pt x="131" y="148"/>
                  <a:pt x="131" y="149"/>
                </a:cubicBezTo>
                <a:cubicBezTo>
                  <a:pt x="131" y="151"/>
                  <a:pt x="129" y="151"/>
                  <a:pt x="128" y="152"/>
                </a:cubicBezTo>
                <a:cubicBezTo>
                  <a:pt x="128" y="153"/>
                  <a:pt x="128" y="153"/>
                  <a:pt x="127" y="153"/>
                </a:cubicBezTo>
                <a:cubicBezTo>
                  <a:pt x="126" y="154"/>
                  <a:pt x="126" y="153"/>
                  <a:pt x="125" y="153"/>
                </a:cubicBezTo>
                <a:cubicBezTo>
                  <a:pt x="125" y="152"/>
                  <a:pt x="126" y="150"/>
                  <a:pt x="125" y="149"/>
                </a:cubicBezTo>
                <a:cubicBezTo>
                  <a:pt x="125" y="149"/>
                  <a:pt x="123" y="149"/>
                  <a:pt x="123" y="150"/>
                </a:cubicBezTo>
                <a:cubicBezTo>
                  <a:pt x="121" y="152"/>
                  <a:pt x="122" y="155"/>
                  <a:pt x="120" y="158"/>
                </a:cubicBezTo>
                <a:cubicBezTo>
                  <a:pt x="119" y="159"/>
                  <a:pt x="118" y="159"/>
                  <a:pt x="116" y="160"/>
                </a:cubicBezTo>
                <a:cubicBezTo>
                  <a:pt x="116" y="161"/>
                  <a:pt x="112" y="168"/>
                  <a:pt x="112" y="168"/>
                </a:cubicBezTo>
                <a:cubicBezTo>
                  <a:pt x="113" y="170"/>
                  <a:pt x="115" y="170"/>
                  <a:pt x="113" y="172"/>
                </a:cubicBezTo>
                <a:cubicBezTo>
                  <a:pt x="111" y="174"/>
                  <a:pt x="111" y="174"/>
                  <a:pt x="111" y="176"/>
                </a:cubicBezTo>
                <a:cubicBezTo>
                  <a:pt x="112" y="180"/>
                  <a:pt x="111" y="183"/>
                  <a:pt x="107" y="183"/>
                </a:cubicBezTo>
                <a:cubicBezTo>
                  <a:pt x="105" y="184"/>
                  <a:pt x="104" y="184"/>
                  <a:pt x="103" y="182"/>
                </a:cubicBezTo>
                <a:cubicBezTo>
                  <a:pt x="103" y="181"/>
                  <a:pt x="102" y="179"/>
                  <a:pt x="103" y="178"/>
                </a:cubicBezTo>
                <a:cubicBezTo>
                  <a:pt x="102" y="179"/>
                  <a:pt x="100" y="179"/>
                  <a:pt x="98" y="180"/>
                </a:cubicBezTo>
                <a:cubicBezTo>
                  <a:pt x="98" y="181"/>
                  <a:pt x="98" y="182"/>
                  <a:pt x="99" y="183"/>
                </a:cubicBezTo>
                <a:cubicBezTo>
                  <a:pt x="98" y="186"/>
                  <a:pt x="94" y="186"/>
                  <a:pt x="92" y="188"/>
                </a:cubicBezTo>
                <a:cubicBezTo>
                  <a:pt x="91" y="189"/>
                  <a:pt x="92" y="190"/>
                  <a:pt x="92" y="192"/>
                </a:cubicBezTo>
                <a:cubicBezTo>
                  <a:pt x="91" y="193"/>
                  <a:pt x="90" y="193"/>
                  <a:pt x="90" y="195"/>
                </a:cubicBezTo>
                <a:cubicBezTo>
                  <a:pt x="88" y="195"/>
                  <a:pt x="85" y="196"/>
                  <a:pt x="84" y="197"/>
                </a:cubicBezTo>
                <a:cubicBezTo>
                  <a:pt x="84" y="199"/>
                  <a:pt x="84" y="198"/>
                  <a:pt x="85" y="199"/>
                </a:cubicBezTo>
                <a:cubicBezTo>
                  <a:pt x="86" y="201"/>
                  <a:pt x="86" y="201"/>
                  <a:pt x="86" y="201"/>
                </a:cubicBezTo>
                <a:cubicBezTo>
                  <a:pt x="89" y="203"/>
                  <a:pt x="90" y="201"/>
                  <a:pt x="90" y="205"/>
                </a:cubicBezTo>
                <a:cubicBezTo>
                  <a:pt x="90" y="206"/>
                  <a:pt x="90" y="208"/>
                  <a:pt x="91" y="210"/>
                </a:cubicBezTo>
                <a:cubicBezTo>
                  <a:pt x="92" y="210"/>
                  <a:pt x="93" y="210"/>
                  <a:pt x="94" y="211"/>
                </a:cubicBezTo>
                <a:cubicBezTo>
                  <a:pt x="96" y="212"/>
                  <a:pt x="97" y="213"/>
                  <a:pt x="99" y="213"/>
                </a:cubicBezTo>
                <a:cubicBezTo>
                  <a:pt x="100" y="211"/>
                  <a:pt x="100" y="209"/>
                  <a:pt x="102" y="207"/>
                </a:cubicBezTo>
                <a:cubicBezTo>
                  <a:pt x="103" y="206"/>
                  <a:pt x="104" y="206"/>
                  <a:pt x="105" y="205"/>
                </a:cubicBezTo>
                <a:cubicBezTo>
                  <a:pt x="106" y="203"/>
                  <a:pt x="105" y="201"/>
                  <a:pt x="103" y="201"/>
                </a:cubicBezTo>
                <a:cubicBezTo>
                  <a:pt x="104" y="199"/>
                  <a:pt x="106" y="199"/>
                  <a:pt x="108" y="199"/>
                </a:cubicBezTo>
                <a:cubicBezTo>
                  <a:pt x="110" y="198"/>
                  <a:pt x="111" y="198"/>
                  <a:pt x="113" y="198"/>
                </a:cubicBezTo>
                <a:cubicBezTo>
                  <a:pt x="114" y="198"/>
                  <a:pt x="116" y="198"/>
                  <a:pt x="117" y="198"/>
                </a:cubicBezTo>
                <a:cubicBezTo>
                  <a:pt x="118" y="199"/>
                  <a:pt x="119" y="199"/>
                  <a:pt x="120" y="199"/>
                </a:cubicBezTo>
                <a:cubicBezTo>
                  <a:pt x="120" y="199"/>
                  <a:pt x="121" y="198"/>
                  <a:pt x="121" y="198"/>
                </a:cubicBezTo>
                <a:cubicBezTo>
                  <a:pt x="123" y="198"/>
                  <a:pt x="122" y="199"/>
                  <a:pt x="123" y="199"/>
                </a:cubicBezTo>
                <a:cubicBezTo>
                  <a:pt x="124" y="199"/>
                  <a:pt x="124" y="199"/>
                  <a:pt x="125" y="198"/>
                </a:cubicBezTo>
                <a:cubicBezTo>
                  <a:pt x="127" y="198"/>
                  <a:pt x="128" y="197"/>
                  <a:pt x="130" y="197"/>
                </a:cubicBezTo>
                <a:cubicBezTo>
                  <a:pt x="131" y="197"/>
                  <a:pt x="133" y="198"/>
                  <a:pt x="134" y="197"/>
                </a:cubicBezTo>
                <a:cubicBezTo>
                  <a:pt x="134" y="196"/>
                  <a:pt x="134" y="195"/>
                  <a:pt x="134" y="195"/>
                </a:cubicBezTo>
                <a:cubicBezTo>
                  <a:pt x="135" y="194"/>
                  <a:pt x="135" y="194"/>
                  <a:pt x="135" y="193"/>
                </a:cubicBezTo>
                <a:cubicBezTo>
                  <a:pt x="136" y="193"/>
                  <a:pt x="138" y="189"/>
                  <a:pt x="139" y="189"/>
                </a:cubicBezTo>
                <a:cubicBezTo>
                  <a:pt x="139" y="190"/>
                  <a:pt x="139" y="190"/>
                  <a:pt x="140" y="190"/>
                </a:cubicBezTo>
                <a:cubicBezTo>
                  <a:pt x="140" y="193"/>
                  <a:pt x="140" y="196"/>
                  <a:pt x="140" y="198"/>
                </a:cubicBezTo>
                <a:cubicBezTo>
                  <a:pt x="142" y="198"/>
                  <a:pt x="144" y="199"/>
                  <a:pt x="145" y="200"/>
                </a:cubicBezTo>
                <a:close/>
              </a:path>
            </a:pathLst>
          </a:custGeom>
          <a:solidFill>
            <a:schemeClr val="accent5"/>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 name="Freeform 283">
            <a:extLst>
              <a:ext uri="{FF2B5EF4-FFF2-40B4-BE49-F238E27FC236}">
                <a16:creationId xmlns:a16="http://schemas.microsoft.com/office/drawing/2014/main" id="{381E10FD-B41B-4A0B-B647-BADA52A0D06B}"/>
              </a:ext>
            </a:extLst>
          </p:cNvPr>
          <p:cNvSpPr>
            <a:spLocks/>
          </p:cNvSpPr>
          <p:nvPr/>
        </p:nvSpPr>
        <p:spPr bwMode="auto">
          <a:xfrm>
            <a:off x="3290162" y="3626269"/>
            <a:ext cx="144303" cy="305828"/>
          </a:xfrm>
          <a:custGeom>
            <a:avLst/>
            <a:gdLst>
              <a:gd name="T0" fmla="*/ 5 w 58"/>
              <a:gd name="T1" fmla="*/ 45 h 123"/>
              <a:gd name="T2" fmla="*/ 5 w 58"/>
              <a:gd name="T3" fmla="*/ 52 h 123"/>
              <a:gd name="T4" fmla="*/ 8 w 58"/>
              <a:gd name="T5" fmla="*/ 65 h 123"/>
              <a:gd name="T6" fmla="*/ 9 w 58"/>
              <a:gd name="T7" fmla="*/ 74 h 123"/>
              <a:gd name="T8" fmla="*/ 12 w 58"/>
              <a:gd name="T9" fmla="*/ 81 h 123"/>
              <a:gd name="T10" fmla="*/ 15 w 58"/>
              <a:gd name="T11" fmla="*/ 90 h 123"/>
              <a:gd name="T12" fmla="*/ 18 w 58"/>
              <a:gd name="T13" fmla="*/ 96 h 123"/>
              <a:gd name="T14" fmla="*/ 20 w 58"/>
              <a:gd name="T15" fmla="*/ 114 h 123"/>
              <a:gd name="T16" fmla="*/ 24 w 58"/>
              <a:gd name="T17" fmla="*/ 120 h 123"/>
              <a:gd name="T18" fmla="*/ 26 w 58"/>
              <a:gd name="T19" fmla="*/ 113 h 123"/>
              <a:gd name="T20" fmla="*/ 30 w 58"/>
              <a:gd name="T21" fmla="*/ 116 h 123"/>
              <a:gd name="T22" fmla="*/ 34 w 58"/>
              <a:gd name="T23" fmla="*/ 122 h 123"/>
              <a:gd name="T24" fmla="*/ 40 w 58"/>
              <a:gd name="T25" fmla="*/ 117 h 123"/>
              <a:gd name="T26" fmla="*/ 44 w 58"/>
              <a:gd name="T27" fmla="*/ 111 h 123"/>
              <a:gd name="T28" fmla="*/ 49 w 58"/>
              <a:gd name="T29" fmla="*/ 110 h 123"/>
              <a:gd name="T30" fmla="*/ 51 w 58"/>
              <a:gd name="T31" fmla="*/ 102 h 123"/>
              <a:gd name="T32" fmla="*/ 48 w 58"/>
              <a:gd name="T33" fmla="*/ 98 h 123"/>
              <a:gd name="T34" fmla="*/ 46 w 58"/>
              <a:gd name="T35" fmla="*/ 86 h 123"/>
              <a:gd name="T36" fmla="*/ 43 w 58"/>
              <a:gd name="T37" fmla="*/ 78 h 123"/>
              <a:gd name="T38" fmla="*/ 46 w 58"/>
              <a:gd name="T39" fmla="*/ 74 h 123"/>
              <a:gd name="T40" fmla="*/ 53 w 58"/>
              <a:gd name="T41" fmla="*/ 72 h 123"/>
              <a:gd name="T42" fmla="*/ 56 w 58"/>
              <a:gd name="T43" fmla="*/ 66 h 123"/>
              <a:gd name="T44" fmla="*/ 58 w 58"/>
              <a:gd name="T45" fmla="*/ 49 h 123"/>
              <a:gd name="T46" fmla="*/ 54 w 58"/>
              <a:gd name="T47" fmla="*/ 33 h 123"/>
              <a:gd name="T48" fmla="*/ 50 w 58"/>
              <a:gd name="T49" fmla="*/ 25 h 123"/>
              <a:gd name="T50" fmla="*/ 49 w 58"/>
              <a:gd name="T51" fmla="*/ 19 h 123"/>
              <a:gd name="T52" fmla="*/ 45 w 58"/>
              <a:gd name="T53" fmla="*/ 17 h 123"/>
              <a:gd name="T54" fmla="*/ 39 w 58"/>
              <a:gd name="T55" fmla="*/ 15 h 123"/>
              <a:gd name="T56" fmla="*/ 34 w 58"/>
              <a:gd name="T57" fmla="*/ 11 h 123"/>
              <a:gd name="T58" fmla="*/ 34 w 58"/>
              <a:gd name="T59" fmla="*/ 2 h 123"/>
              <a:gd name="T60" fmla="*/ 33 w 58"/>
              <a:gd name="T61" fmla="*/ 4 h 123"/>
              <a:gd name="T62" fmla="*/ 24 w 58"/>
              <a:gd name="T63" fmla="*/ 6 h 123"/>
              <a:gd name="T64" fmla="*/ 18 w 58"/>
              <a:gd name="T65" fmla="*/ 7 h 123"/>
              <a:gd name="T66" fmla="*/ 15 w 58"/>
              <a:gd name="T67" fmla="*/ 12 h 123"/>
              <a:gd name="T68" fmla="*/ 11 w 58"/>
              <a:gd name="T69" fmla="*/ 16 h 123"/>
              <a:gd name="T70" fmla="*/ 6 w 58"/>
              <a:gd name="T71" fmla="*/ 12 h 123"/>
              <a:gd name="T72" fmla="*/ 1 w 58"/>
              <a:gd name="T73" fmla="*/ 18 h 123"/>
              <a:gd name="T74" fmla="*/ 2 w 58"/>
              <a:gd name="T75" fmla="*/ 25 h 123"/>
              <a:gd name="T76" fmla="*/ 2 w 58"/>
              <a:gd name="T77" fmla="*/ 3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123">
                <a:moveTo>
                  <a:pt x="2" y="39"/>
                </a:moveTo>
                <a:cubicBezTo>
                  <a:pt x="4" y="40"/>
                  <a:pt x="4" y="44"/>
                  <a:pt x="5" y="45"/>
                </a:cubicBezTo>
                <a:cubicBezTo>
                  <a:pt x="5" y="46"/>
                  <a:pt x="5" y="47"/>
                  <a:pt x="5" y="49"/>
                </a:cubicBezTo>
                <a:cubicBezTo>
                  <a:pt x="5" y="50"/>
                  <a:pt x="4" y="51"/>
                  <a:pt x="5" y="52"/>
                </a:cubicBezTo>
                <a:cubicBezTo>
                  <a:pt x="6" y="54"/>
                  <a:pt x="8" y="54"/>
                  <a:pt x="8" y="56"/>
                </a:cubicBezTo>
                <a:cubicBezTo>
                  <a:pt x="8" y="59"/>
                  <a:pt x="8" y="62"/>
                  <a:pt x="8" y="65"/>
                </a:cubicBezTo>
                <a:cubicBezTo>
                  <a:pt x="7" y="66"/>
                  <a:pt x="7" y="68"/>
                  <a:pt x="7" y="69"/>
                </a:cubicBezTo>
                <a:cubicBezTo>
                  <a:pt x="7" y="71"/>
                  <a:pt x="8" y="72"/>
                  <a:pt x="9" y="74"/>
                </a:cubicBezTo>
                <a:cubicBezTo>
                  <a:pt x="9" y="76"/>
                  <a:pt x="9" y="77"/>
                  <a:pt x="10" y="79"/>
                </a:cubicBezTo>
                <a:cubicBezTo>
                  <a:pt x="11" y="80"/>
                  <a:pt x="11" y="80"/>
                  <a:pt x="12" y="81"/>
                </a:cubicBezTo>
                <a:cubicBezTo>
                  <a:pt x="13" y="83"/>
                  <a:pt x="14" y="86"/>
                  <a:pt x="15" y="88"/>
                </a:cubicBezTo>
                <a:cubicBezTo>
                  <a:pt x="15" y="89"/>
                  <a:pt x="15" y="90"/>
                  <a:pt x="15" y="90"/>
                </a:cubicBezTo>
                <a:cubicBezTo>
                  <a:pt x="16" y="92"/>
                  <a:pt x="16" y="93"/>
                  <a:pt x="17" y="94"/>
                </a:cubicBezTo>
                <a:cubicBezTo>
                  <a:pt x="17" y="94"/>
                  <a:pt x="18" y="95"/>
                  <a:pt x="18" y="96"/>
                </a:cubicBezTo>
                <a:cubicBezTo>
                  <a:pt x="18" y="98"/>
                  <a:pt x="19" y="99"/>
                  <a:pt x="19" y="101"/>
                </a:cubicBezTo>
                <a:cubicBezTo>
                  <a:pt x="19" y="105"/>
                  <a:pt x="20" y="110"/>
                  <a:pt x="20" y="114"/>
                </a:cubicBezTo>
                <a:cubicBezTo>
                  <a:pt x="20" y="116"/>
                  <a:pt x="22" y="116"/>
                  <a:pt x="22" y="118"/>
                </a:cubicBezTo>
                <a:cubicBezTo>
                  <a:pt x="22" y="120"/>
                  <a:pt x="22" y="120"/>
                  <a:pt x="24" y="120"/>
                </a:cubicBezTo>
                <a:cubicBezTo>
                  <a:pt x="26" y="119"/>
                  <a:pt x="25" y="118"/>
                  <a:pt x="25" y="117"/>
                </a:cubicBezTo>
                <a:cubicBezTo>
                  <a:pt x="25" y="115"/>
                  <a:pt x="25" y="113"/>
                  <a:pt x="26" y="113"/>
                </a:cubicBezTo>
                <a:cubicBezTo>
                  <a:pt x="27" y="113"/>
                  <a:pt x="27" y="114"/>
                  <a:pt x="28" y="114"/>
                </a:cubicBezTo>
                <a:cubicBezTo>
                  <a:pt x="28" y="115"/>
                  <a:pt x="29" y="115"/>
                  <a:pt x="30" y="116"/>
                </a:cubicBezTo>
                <a:cubicBezTo>
                  <a:pt x="31" y="117"/>
                  <a:pt x="32" y="118"/>
                  <a:pt x="32" y="120"/>
                </a:cubicBezTo>
                <a:cubicBezTo>
                  <a:pt x="33" y="121"/>
                  <a:pt x="33" y="122"/>
                  <a:pt x="34" y="122"/>
                </a:cubicBezTo>
                <a:cubicBezTo>
                  <a:pt x="36" y="123"/>
                  <a:pt x="37" y="122"/>
                  <a:pt x="38" y="122"/>
                </a:cubicBezTo>
                <a:cubicBezTo>
                  <a:pt x="39" y="121"/>
                  <a:pt x="39" y="119"/>
                  <a:pt x="40" y="117"/>
                </a:cubicBezTo>
                <a:cubicBezTo>
                  <a:pt x="41" y="116"/>
                  <a:pt x="42" y="117"/>
                  <a:pt x="43" y="115"/>
                </a:cubicBezTo>
                <a:cubicBezTo>
                  <a:pt x="43" y="114"/>
                  <a:pt x="42" y="112"/>
                  <a:pt x="44" y="111"/>
                </a:cubicBezTo>
                <a:cubicBezTo>
                  <a:pt x="45" y="110"/>
                  <a:pt x="47" y="113"/>
                  <a:pt x="48" y="112"/>
                </a:cubicBezTo>
                <a:cubicBezTo>
                  <a:pt x="49" y="110"/>
                  <a:pt x="49" y="110"/>
                  <a:pt x="49" y="110"/>
                </a:cubicBezTo>
                <a:cubicBezTo>
                  <a:pt x="49" y="110"/>
                  <a:pt x="49" y="110"/>
                  <a:pt x="50" y="109"/>
                </a:cubicBezTo>
                <a:cubicBezTo>
                  <a:pt x="50" y="108"/>
                  <a:pt x="49" y="103"/>
                  <a:pt x="51" y="102"/>
                </a:cubicBezTo>
                <a:cubicBezTo>
                  <a:pt x="51" y="101"/>
                  <a:pt x="50" y="101"/>
                  <a:pt x="50" y="100"/>
                </a:cubicBezTo>
                <a:cubicBezTo>
                  <a:pt x="49" y="99"/>
                  <a:pt x="48" y="98"/>
                  <a:pt x="48" y="98"/>
                </a:cubicBezTo>
                <a:cubicBezTo>
                  <a:pt x="46" y="96"/>
                  <a:pt x="47" y="94"/>
                  <a:pt x="46" y="92"/>
                </a:cubicBezTo>
                <a:cubicBezTo>
                  <a:pt x="46" y="90"/>
                  <a:pt x="45" y="88"/>
                  <a:pt x="46" y="86"/>
                </a:cubicBezTo>
                <a:cubicBezTo>
                  <a:pt x="47" y="84"/>
                  <a:pt x="46" y="82"/>
                  <a:pt x="46" y="79"/>
                </a:cubicBezTo>
                <a:cubicBezTo>
                  <a:pt x="45" y="80"/>
                  <a:pt x="44" y="80"/>
                  <a:pt x="43" y="78"/>
                </a:cubicBezTo>
                <a:cubicBezTo>
                  <a:pt x="43" y="77"/>
                  <a:pt x="42" y="75"/>
                  <a:pt x="43" y="74"/>
                </a:cubicBezTo>
                <a:cubicBezTo>
                  <a:pt x="44" y="73"/>
                  <a:pt x="44" y="74"/>
                  <a:pt x="46" y="74"/>
                </a:cubicBezTo>
                <a:cubicBezTo>
                  <a:pt x="47" y="74"/>
                  <a:pt x="48" y="74"/>
                  <a:pt x="50" y="74"/>
                </a:cubicBezTo>
                <a:cubicBezTo>
                  <a:pt x="51" y="74"/>
                  <a:pt x="53" y="74"/>
                  <a:pt x="53" y="72"/>
                </a:cubicBezTo>
                <a:cubicBezTo>
                  <a:pt x="54" y="71"/>
                  <a:pt x="54" y="69"/>
                  <a:pt x="55" y="68"/>
                </a:cubicBezTo>
                <a:cubicBezTo>
                  <a:pt x="55" y="67"/>
                  <a:pt x="56" y="67"/>
                  <a:pt x="56" y="66"/>
                </a:cubicBezTo>
                <a:cubicBezTo>
                  <a:pt x="56" y="64"/>
                  <a:pt x="57" y="62"/>
                  <a:pt x="57" y="60"/>
                </a:cubicBezTo>
                <a:cubicBezTo>
                  <a:pt x="57" y="56"/>
                  <a:pt x="58" y="52"/>
                  <a:pt x="58" y="49"/>
                </a:cubicBezTo>
                <a:cubicBezTo>
                  <a:pt x="58" y="45"/>
                  <a:pt x="57" y="42"/>
                  <a:pt x="56" y="40"/>
                </a:cubicBezTo>
                <a:cubicBezTo>
                  <a:pt x="55" y="37"/>
                  <a:pt x="55" y="35"/>
                  <a:pt x="54" y="33"/>
                </a:cubicBezTo>
                <a:cubicBezTo>
                  <a:pt x="53" y="31"/>
                  <a:pt x="51" y="29"/>
                  <a:pt x="51" y="28"/>
                </a:cubicBezTo>
                <a:cubicBezTo>
                  <a:pt x="50" y="27"/>
                  <a:pt x="50" y="26"/>
                  <a:pt x="50" y="25"/>
                </a:cubicBezTo>
                <a:cubicBezTo>
                  <a:pt x="50" y="23"/>
                  <a:pt x="50" y="23"/>
                  <a:pt x="49" y="22"/>
                </a:cubicBezTo>
                <a:cubicBezTo>
                  <a:pt x="47" y="21"/>
                  <a:pt x="49" y="20"/>
                  <a:pt x="49" y="19"/>
                </a:cubicBezTo>
                <a:cubicBezTo>
                  <a:pt x="50" y="18"/>
                  <a:pt x="50" y="17"/>
                  <a:pt x="50" y="16"/>
                </a:cubicBezTo>
                <a:cubicBezTo>
                  <a:pt x="48" y="16"/>
                  <a:pt x="46" y="17"/>
                  <a:pt x="45" y="17"/>
                </a:cubicBezTo>
                <a:cubicBezTo>
                  <a:pt x="44" y="17"/>
                  <a:pt x="42" y="17"/>
                  <a:pt x="41" y="16"/>
                </a:cubicBezTo>
                <a:cubicBezTo>
                  <a:pt x="40" y="16"/>
                  <a:pt x="40" y="16"/>
                  <a:pt x="39" y="15"/>
                </a:cubicBezTo>
                <a:cubicBezTo>
                  <a:pt x="36" y="15"/>
                  <a:pt x="35" y="15"/>
                  <a:pt x="32" y="14"/>
                </a:cubicBezTo>
                <a:cubicBezTo>
                  <a:pt x="32" y="13"/>
                  <a:pt x="33" y="13"/>
                  <a:pt x="34" y="11"/>
                </a:cubicBezTo>
                <a:cubicBezTo>
                  <a:pt x="35" y="11"/>
                  <a:pt x="34" y="9"/>
                  <a:pt x="34" y="8"/>
                </a:cubicBezTo>
                <a:cubicBezTo>
                  <a:pt x="34" y="6"/>
                  <a:pt x="35" y="4"/>
                  <a:pt x="34" y="2"/>
                </a:cubicBezTo>
                <a:cubicBezTo>
                  <a:pt x="34" y="1"/>
                  <a:pt x="34" y="1"/>
                  <a:pt x="34" y="1"/>
                </a:cubicBezTo>
                <a:cubicBezTo>
                  <a:pt x="33" y="2"/>
                  <a:pt x="33" y="3"/>
                  <a:pt x="33" y="4"/>
                </a:cubicBezTo>
                <a:cubicBezTo>
                  <a:pt x="32" y="4"/>
                  <a:pt x="30" y="3"/>
                  <a:pt x="28" y="4"/>
                </a:cubicBezTo>
                <a:cubicBezTo>
                  <a:pt x="27" y="4"/>
                  <a:pt x="26" y="6"/>
                  <a:pt x="24" y="6"/>
                </a:cubicBezTo>
                <a:cubicBezTo>
                  <a:pt x="23" y="3"/>
                  <a:pt x="20" y="2"/>
                  <a:pt x="19" y="0"/>
                </a:cubicBezTo>
                <a:cubicBezTo>
                  <a:pt x="19" y="2"/>
                  <a:pt x="19" y="5"/>
                  <a:pt x="18" y="7"/>
                </a:cubicBezTo>
                <a:cubicBezTo>
                  <a:pt x="17" y="8"/>
                  <a:pt x="16" y="7"/>
                  <a:pt x="15" y="9"/>
                </a:cubicBezTo>
                <a:cubicBezTo>
                  <a:pt x="15" y="9"/>
                  <a:pt x="15" y="11"/>
                  <a:pt x="15" y="12"/>
                </a:cubicBezTo>
                <a:cubicBezTo>
                  <a:pt x="14" y="12"/>
                  <a:pt x="13" y="12"/>
                  <a:pt x="12" y="12"/>
                </a:cubicBezTo>
                <a:cubicBezTo>
                  <a:pt x="12" y="14"/>
                  <a:pt x="12" y="15"/>
                  <a:pt x="11" y="16"/>
                </a:cubicBezTo>
                <a:cubicBezTo>
                  <a:pt x="10" y="17"/>
                  <a:pt x="8" y="18"/>
                  <a:pt x="6" y="18"/>
                </a:cubicBezTo>
                <a:cubicBezTo>
                  <a:pt x="6" y="16"/>
                  <a:pt x="6" y="14"/>
                  <a:pt x="6" y="12"/>
                </a:cubicBezTo>
                <a:cubicBezTo>
                  <a:pt x="6" y="12"/>
                  <a:pt x="3" y="13"/>
                  <a:pt x="1" y="13"/>
                </a:cubicBezTo>
                <a:cubicBezTo>
                  <a:pt x="0" y="15"/>
                  <a:pt x="0" y="16"/>
                  <a:pt x="1" y="18"/>
                </a:cubicBezTo>
                <a:cubicBezTo>
                  <a:pt x="1" y="19"/>
                  <a:pt x="3" y="19"/>
                  <a:pt x="3" y="21"/>
                </a:cubicBezTo>
                <a:cubicBezTo>
                  <a:pt x="3" y="22"/>
                  <a:pt x="2" y="23"/>
                  <a:pt x="2" y="25"/>
                </a:cubicBezTo>
                <a:cubicBezTo>
                  <a:pt x="3" y="26"/>
                  <a:pt x="4" y="27"/>
                  <a:pt x="4" y="29"/>
                </a:cubicBezTo>
                <a:cubicBezTo>
                  <a:pt x="4" y="32"/>
                  <a:pt x="3" y="35"/>
                  <a:pt x="2" y="39"/>
                </a:cubicBezTo>
                <a:close/>
              </a:path>
            </a:pathLst>
          </a:custGeom>
          <a:solidFill>
            <a:schemeClr val="accent5"/>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 name="Freeform 284">
            <a:extLst>
              <a:ext uri="{FF2B5EF4-FFF2-40B4-BE49-F238E27FC236}">
                <a16:creationId xmlns:a16="http://schemas.microsoft.com/office/drawing/2014/main" id="{41029C92-A9E9-40E7-BB26-DF48EC020E91}"/>
              </a:ext>
            </a:extLst>
          </p:cNvPr>
          <p:cNvSpPr>
            <a:spLocks/>
          </p:cNvSpPr>
          <p:nvPr/>
        </p:nvSpPr>
        <p:spPr bwMode="auto">
          <a:xfrm>
            <a:off x="3003773" y="3447684"/>
            <a:ext cx="344109" cy="123894"/>
          </a:xfrm>
          <a:custGeom>
            <a:avLst/>
            <a:gdLst>
              <a:gd name="T0" fmla="*/ 2 w 139"/>
              <a:gd name="T1" fmla="*/ 39 h 50"/>
              <a:gd name="T2" fmla="*/ 16 w 139"/>
              <a:gd name="T3" fmla="*/ 43 h 50"/>
              <a:gd name="T4" fmla="*/ 28 w 139"/>
              <a:gd name="T5" fmla="*/ 46 h 50"/>
              <a:gd name="T6" fmla="*/ 54 w 139"/>
              <a:gd name="T7" fmla="*/ 45 h 50"/>
              <a:gd name="T8" fmla="*/ 65 w 139"/>
              <a:gd name="T9" fmla="*/ 46 h 50"/>
              <a:gd name="T10" fmla="*/ 77 w 139"/>
              <a:gd name="T11" fmla="*/ 47 h 50"/>
              <a:gd name="T12" fmla="*/ 82 w 139"/>
              <a:gd name="T13" fmla="*/ 47 h 50"/>
              <a:gd name="T14" fmla="*/ 89 w 139"/>
              <a:gd name="T15" fmla="*/ 47 h 50"/>
              <a:gd name="T16" fmla="*/ 94 w 139"/>
              <a:gd name="T17" fmla="*/ 45 h 50"/>
              <a:gd name="T18" fmla="*/ 115 w 139"/>
              <a:gd name="T19" fmla="*/ 49 h 50"/>
              <a:gd name="T20" fmla="*/ 123 w 139"/>
              <a:gd name="T21" fmla="*/ 47 h 50"/>
              <a:gd name="T22" fmla="*/ 135 w 139"/>
              <a:gd name="T23" fmla="*/ 40 h 50"/>
              <a:gd name="T24" fmla="*/ 138 w 139"/>
              <a:gd name="T25" fmla="*/ 33 h 50"/>
              <a:gd name="T26" fmla="*/ 133 w 139"/>
              <a:gd name="T27" fmla="*/ 21 h 50"/>
              <a:gd name="T28" fmla="*/ 123 w 139"/>
              <a:gd name="T29" fmla="*/ 16 h 50"/>
              <a:gd name="T30" fmla="*/ 111 w 139"/>
              <a:gd name="T31" fmla="*/ 18 h 50"/>
              <a:gd name="T32" fmla="*/ 109 w 139"/>
              <a:gd name="T33" fmla="*/ 7 h 50"/>
              <a:gd name="T34" fmla="*/ 114 w 139"/>
              <a:gd name="T35" fmla="*/ 2 h 50"/>
              <a:gd name="T36" fmla="*/ 103 w 139"/>
              <a:gd name="T37" fmla="*/ 2 h 50"/>
              <a:gd name="T38" fmla="*/ 91 w 139"/>
              <a:gd name="T39" fmla="*/ 6 h 50"/>
              <a:gd name="T40" fmla="*/ 87 w 139"/>
              <a:gd name="T41" fmla="*/ 6 h 50"/>
              <a:gd name="T42" fmla="*/ 80 w 139"/>
              <a:gd name="T43" fmla="*/ 9 h 50"/>
              <a:gd name="T44" fmla="*/ 73 w 139"/>
              <a:gd name="T45" fmla="*/ 16 h 50"/>
              <a:gd name="T46" fmla="*/ 70 w 139"/>
              <a:gd name="T47" fmla="*/ 19 h 50"/>
              <a:gd name="T48" fmla="*/ 66 w 139"/>
              <a:gd name="T49" fmla="*/ 13 h 50"/>
              <a:gd name="T50" fmla="*/ 60 w 139"/>
              <a:gd name="T51" fmla="*/ 16 h 50"/>
              <a:gd name="T52" fmla="*/ 53 w 139"/>
              <a:gd name="T53" fmla="*/ 11 h 50"/>
              <a:gd name="T54" fmla="*/ 43 w 139"/>
              <a:gd name="T55" fmla="*/ 10 h 50"/>
              <a:gd name="T56" fmla="*/ 33 w 139"/>
              <a:gd name="T57" fmla="*/ 8 h 50"/>
              <a:gd name="T58" fmla="*/ 22 w 139"/>
              <a:gd name="T59" fmla="*/ 9 h 50"/>
              <a:gd name="T60" fmla="*/ 9 w 139"/>
              <a:gd name="T61" fmla="*/ 13 h 50"/>
              <a:gd name="T62" fmla="*/ 5 w 139"/>
              <a:gd name="T63" fmla="*/ 20 h 50"/>
              <a:gd name="T64" fmla="*/ 7 w 139"/>
              <a:gd name="T65"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50">
                <a:moveTo>
                  <a:pt x="0" y="27"/>
                </a:moveTo>
                <a:cubicBezTo>
                  <a:pt x="0" y="31"/>
                  <a:pt x="0" y="36"/>
                  <a:pt x="2" y="39"/>
                </a:cubicBezTo>
                <a:cubicBezTo>
                  <a:pt x="3" y="41"/>
                  <a:pt x="6" y="40"/>
                  <a:pt x="9" y="40"/>
                </a:cubicBezTo>
                <a:cubicBezTo>
                  <a:pt x="12" y="39"/>
                  <a:pt x="13" y="42"/>
                  <a:pt x="16" y="43"/>
                </a:cubicBezTo>
                <a:cubicBezTo>
                  <a:pt x="17" y="43"/>
                  <a:pt x="20" y="44"/>
                  <a:pt x="22" y="44"/>
                </a:cubicBezTo>
                <a:cubicBezTo>
                  <a:pt x="24" y="45"/>
                  <a:pt x="26" y="45"/>
                  <a:pt x="28" y="46"/>
                </a:cubicBezTo>
                <a:cubicBezTo>
                  <a:pt x="32" y="46"/>
                  <a:pt x="37" y="46"/>
                  <a:pt x="41" y="45"/>
                </a:cubicBezTo>
                <a:cubicBezTo>
                  <a:pt x="45" y="45"/>
                  <a:pt x="50" y="45"/>
                  <a:pt x="54" y="45"/>
                </a:cubicBezTo>
                <a:cubicBezTo>
                  <a:pt x="56" y="45"/>
                  <a:pt x="58" y="45"/>
                  <a:pt x="59" y="45"/>
                </a:cubicBezTo>
                <a:cubicBezTo>
                  <a:pt x="61" y="45"/>
                  <a:pt x="63" y="46"/>
                  <a:pt x="65" y="46"/>
                </a:cubicBezTo>
                <a:cubicBezTo>
                  <a:pt x="67" y="46"/>
                  <a:pt x="69" y="44"/>
                  <a:pt x="71" y="44"/>
                </a:cubicBezTo>
                <a:cubicBezTo>
                  <a:pt x="73" y="44"/>
                  <a:pt x="75" y="47"/>
                  <a:pt x="77" y="47"/>
                </a:cubicBezTo>
                <a:cubicBezTo>
                  <a:pt x="78" y="47"/>
                  <a:pt x="80" y="45"/>
                  <a:pt x="81" y="46"/>
                </a:cubicBezTo>
                <a:cubicBezTo>
                  <a:pt x="82" y="47"/>
                  <a:pt x="82" y="47"/>
                  <a:pt x="82" y="47"/>
                </a:cubicBezTo>
                <a:cubicBezTo>
                  <a:pt x="83" y="47"/>
                  <a:pt x="83" y="47"/>
                  <a:pt x="83" y="47"/>
                </a:cubicBezTo>
                <a:cubicBezTo>
                  <a:pt x="84" y="47"/>
                  <a:pt x="88" y="47"/>
                  <a:pt x="89" y="47"/>
                </a:cubicBezTo>
                <a:cubicBezTo>
                  <a:pt x="90" y="46"/>
                  <a:pt x="89" y="45"/>
                  <a:pt x="91" y="45"/>
                </a:cubicBezTo>
                <a:cubicBezTo>
                  <a:pt x="92" y="44"/>
                  <a:pt x="93" y="45"/>
                  <a:pt x="94" y="45"/>
                </a:cubicBezTo>
                <a:cubicBezTo>
                  <a:pt x="98" y="44"/>
                  <a:pt x="102" y="45"/>
                  <a:pt x="106" y="45"/>
                </a:cubicBezTo>
                <a:cubicBezTo>
                  <a:pt x="110" y="45"/>
                  <a:pt x="113" y="46"/>
                  <a:pt x="115" y="49"/>
                </a:cubicBezTo>
                <a:cubicBezTo>
                  <a:pt x="117" y="49"/>
                  <a:pt x="120" y="49"/>
                  <a:pt x="122" y="50"/>
                </a:cubicBezTo>
                <a:cubicBezTo>
                  <a:pt x="122" y="49"/>
                  <a:pt x="122" y="48"/>
                  <a:pt x="123" y="47"/>
                </a:cubicBezTo>
                <a:cubicBezTo>
                  <a:pt x="125" y="46"/>
                  <a:pt x="127" y="46"/>
                  <a:pt x="129" y="45"/>
                </a:cubicBezTo>
                <a:cubicBezTo>
                  <a:pt x="132" y="44"/>
                  <a:pt x="133" y="41"/>
                  <a:pt x="135" y="40"/>
                </a:cubicBezTo>
                <a:cubicBezTo>
                  <a:pt x="136" y="39"/>
                  <a:pt x="138" y="39"/>
                  <a:pt x="138" y="39"/>
                </a:cubicBezTo>
                <a:cubicBezTo>
                  <a:pt x="139" y="37"/>
                  <a:pt x="139" y="35"/>
                  <a:pt x="138" y="33"/>
                </a:cubicBezTo>
                <a:cubicBezTo>
                  <a:pt x="136" y="31"/>
                  <a:pt x="132" y="31"/>
                  <a:pt x="131" y="28"/>
                </a:cubicBezTo>
                <a:cubicBezTo>
                  <a:pt x="131" y="26"/>
                  <a:pt x="131" y="21"/>
                  <a:pt x="133" y="21"/>
                </a:cubicBezTo>
                <a:cubicBezTo>
                  <a:pt x="131" y="21"/>
                  <a:pt x="128" y="21"/>
                  <a:pt x="127" y="20"/>
                </a:cubicBezTo>
                <a:cubicBezTo>
                  <a:pt x="125" y="19"/>
                  <a:pt x="125" y="16"/>
                  <a:pt x="123" y="16"/>
                </a:cubicBezTo>
                <a:cubicBezTo>
                  <a:pt x="121" y="15"/>
                  <a:pt x="118" y="16"/>
                  <a:pt x="116" y="16"/>
                </a:cubicBezTo>
                <a:cubicBezTo>
                  <a:pt x="114" y="17"/>
                  <a:pt x="113" y="19"/>
                  <a:pt x="111" y="18"/>
                </a:cubicBezTo>
                <a:cubicBezTo>
                  <a:pt x="110" y="16"/>
                  <a:pt x="111" y="14"/>
                  <a:pt x="111" y="12"/>
                </a:cubicBezTo>
                <a:cubicBezTo>
                  <a:pt x="112" y="10"/>
                  <a:pt x="112" y="8"/>
                  <a:pt x="109" y="7"/>
                </a:cubicBezTo>
                <a:cubicBezTo>
                  <a:pt x="109" y="6"/>
                  <a:pt x="110" y="4"/>
                  <a:pt x="111" y="4"/>
                </a:cubicBezTo>
                <a:cubicBezTo>
                  <a:pt x="112" y="3"/>
                  <a:pt x="114" y="4"/>
                  <a:pt x="114" y="2"/>
                </a:cubicBezTo>
                <a:cubicBezTo>
                  <a:pt x="112" y="2"/>
                  <a:pt x="110" y="2"/>
                  <a:pt x="108" y="2"/>
                </a:cubicBezTo>
                <a:cubicBezTo>
                  <a:pt x="106" y="2"/>
                  <a:pt x="104" y="2"/>
                  <a:pt x="103" y="2"/>
                </a:cubicBezTo>
                <a:cubicBezTo>
                  <a:pt x="100" y="6"/>
                  <a:pt x="96" y="0"/>
                  <a:pt x="93" y="2"/>
                </a:cubicBezTo>
                <a:cubicBezTo>
                  <a:pt x="91" y="3"/>
                  <a:pt x="92" y="4"/>
                  <a:pt x="91" y="6"/>
                </a:cubicBezTo>
                <a:cubicBezTo>
                  <a:pt x="91" y="8"/>
                  <a:pt x="90" y="8"/>
                  <a:pt x="90" y="10"/>
                </a:cubicBezTo>
                <a:cubicBezTo>
                  <a:pt x="88" y="10"/>
                  <a:pt x="88" y="7"/>
                  <a:pt x="87" y="6"/>
                </a:cubicBezTo>
                <a:cubicBezTo>
                  <a:pt x="86" y="5"/>
                  <a:pt x="84" y="5"/>
                  <a:pt x="83" y="5"/>
                </a:cubicBezTo>
                <a:cubicBezTo>
                  <a:pt x="83" y="7"/>
                  <a:pt x="80" y="7"/>
                  <a:pt x="80" y="9"/>
                </a:cubicBezTo>
                <a:cubicBezTo>
                  <a:pt x="79" y="11"/>
                  <a:pt x="83" y="12"/>
                  <a:pt x="79" y="13"/>
                </a:cubicBezTo>
                <a:cubicBezTo>
                  <a:pt x="77" y="13"/>
                  <a:pt x="74" y="12"/>
                  <a:pt x="73" y="16"/>
                </a:cubicBezTo>
                <a:cubicBezTo>
                  <a:pt x="73" y="16"/>
                  <a:pt x="72" y="16"/>
                  <a:pt x="71" y="16"/>
                </a:cubicBezTo>
                <a:cubicBezTo>
                  <a:pt x="70" y="17"/>
                  <a:pt x="70" y="18"/>
                  <a:pt x="70" y="19"/>
                </a:cubicBezTo>
                <a:cubicBezTo>
                  <a:pt x="68" y="19"/>
                  <a:pt x="67" y="20"/>
                  <a:pt x="66" y="18"/>
                </a:cubicBezTo>
                <a:cubicBezTo>
                  <a:pt x="65" y="16"/>
                  <a:pt x="66" y="14"/>
                  <a:pt x="66" y="13"/>
                </a:cubicBezTo>
                <a:cubicBezTo>
                  <a:pt x="65" y="13"/>
                  <a:pt x="64" y="13"/>
                  <a:pt x="63" y="13"/>
                </a:cubicBezTo>
                <a:cubicBezTo>
                  <a:pt x="62" y="14"/>
                  <a:pt x="62" y="16"/>
                  <a:pt x="60" y="16"/>
                </a:cubicBezTo>
                <a:cubicBezTo>
                  <a:pt x="59" y="15"/>
                  <a:pt x="59" y="13"/>
                  <a:pt x="58" y="12"/>
                </a:cubicBezTo>
                <a:cubicBezTo>
                  <a:pt x="56" y="10"/>
                  <a:pt x="55" y="12"/>
                  <a:pt x="53" y="11"/>
                </a:cubicBezTo>
                <a:cubicBezTo>
                  <a:pt x="51" y="10"/>
                  <a:pt x="50" y="9"/>
                  <a:pt x="48" y="9"/>
                </a:cubicBezTo>
                <a:cubicBezTo>
                  <a:pt x="46" y="9"/>
                  <a:pt x="45" y="10"/>
                  <a:pt x="43" y="10"/>
                </a:cubicBezTo>
                <a:cubicBezTo>
                  <a:pt x="41" y="10"/>
                  <a:pt x="38" y="10"/>
                  <a:pt x="36" y="10"/>
                </a:cubicBezTo>
                <a:cubicBezTo>
                  <a:pt x="35" y="10"/>
                  <a:pt x="34" y="9"/>
                  <a:pt x="33" y="8"/>
                </a:cubicBezTo>
                <a:cubicBezTo>
                  <a:pt x="31" y="8"/>
                  <a:pt x="30" y="8"/>
                  <a:pt x="28" y="8"/>
                </a:cubicBezTo>
                <a:cubicBezTo>
                  <a:pt x="26" y="9"/>
                  <a:pt x="24" y="9"/>
                  <a:pt x="22" y="9"/>
                </a:cubicBezTo>
                <a:cubicBezTo>
                  <a:pt x="22" y="13"/>
                  <a:pt x="14" y="11"/>
                  <a:pt x="12" y="12"/>
                </a:cubicBezTo>
                <a:cubicBezTo>
                  <a:pt x="10" y="12"/>
                  <a:pt x="10" y="12"/>
                  <a:pt x="9" y="13"/>
                </a:cubicBezTo>
                <a:cubicBezTo>
                  <a:pt x="8" y="14"/>
                  <a:pt x="7" y="16"/>
                  <a:pt x="5" y="16"/>
                </a:cubicBezTo>
                <a:cubicBezTo>
                  <a:pt x="5" y="18"/>
                  <a:pt x="5" y="19"/>
                  <a:pt x="5" y="20"/>
                </a:cubicBezTo>
                <a:cubicBezTo>
                  <a:pt x="5" y="20"/>
                  <a:pt x="6" y="20"/>
                  <a:pt x="6" y="20"/>
                </a:cubicBezTo>
                <a:cubicBezTo>
                  <a:pt x="7" y="21"/>
                  <a:pt x="9" y="26"/>
                  <a:pt x="7" y="27"/>
                </a:cubicBezTo>
                <a:cubicBezTo>
                  <a:pt x="6" y="28"/>
                  <a:pt x="3" y="28"/>
                  <a:pt x="0" y="27"/>
                </a:cubicBezTo>
                <a:close/>
              </a:path>
            </a:pathLst>
          </a:custGeom>
          <a:solidFill>
            <a:schemeClr val="accent5"/>
          </a:solidFill>
          <a:ln w="3175">
            <a:solidFill>
              <a:schemeClr val="accent1"/>
            </a:solid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 name="Line 285">
            <a:extLst>
              <a:ext uri="{FF2B5EF4-FFF2-40B4-BE49-F238E27FC236}">
                <a16:creationId xmlns:a16="http://schemas.microsoft.com/office/drawing/2014/main" id="{4D70718A-4814-46BB-8308-86A2ACC194A9}"/>
              </a:ext>
            </a:extLst>
          </p:cNvPr>
          <p:cNvSpPr>
            <a:spLocks noChangeShapeType="1"/>
          </p:cNvSpPr>
          <p:nvPr/>
        </p:nvSpPr>
        <p:spPr bwMode="auto">
          <a:xfrm>
            <a:off x="3199139" y="3561532"/>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 name="Line 286">
            <a:extLst>
              <a:ext uri="{FF2B5EF4-FFF2-40B4-BE49-F238E27FC236}">
                <a16:creationId xmlns:a16="http://schemas.microsoft.com/office/drawing/2014/main" id="{FD918A81-A877-46EE-97AC-685938FEA918}"/>
              </a:ext>
            </a:extLst>
          </p:cNvPr>
          <p:cNvSpPr>
            <a:spLocks noChangeShapeType="1"/>
          </p:cNvSpPr>
          <p:nvPr/>
        </p:nvSpPr>
        <p:spPr bwMode="auto">
          <a:xfrm>
            <a:off x="3199139" y="3561532"/>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 name="Freeform 287">
            <a:extLst>
              <a:ext uri="{FF2B5EF4-FFF2-40B4-BE49-F238E27FC236}">
                <a16:creationId xmlns:a16="http://schemas.microsoft.com/office/drawing/2014/main" id="{44FCB0AB-BE4E-4953-B37E-5544E3A3FF93}"/>
              </a:ext>
            </a:extLst>
          </p:cNvPr>
          <p:cNvSpPr>
            <a:spLocks/>
          </p:cNvSpPr>
          <p:nvPr/>
        </p:nvSpPr>
        <p:spPr bwMode="auto">
          <a:xfrm>
            <a:off x="2778438" y="357492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 name="Freeform 288">
            <a:extLst>
              <a:ext uri="{FF2B5EF4-FFF2-40B4-BE49-F238E27FC236}">
                <a16:creationId xmlns:a16="http://schemas.microsoft.com/office/drawing/2014/main" id="{CD2F825B-1B9E-4E18-B56C-AA3ACF2C9A14}"/>
              </a:ext>
            </a:extLst>
          </p:cNvPr>
          <p:cNvSpPr>
            <a:spLocks/>
          </p:cNvSpPr>
          <p:nvPr/>
        </p:nvSpPr>
        <p:spPr bwMode="auto">
          <a:xfrm>
            <a:off x="2778438" y="3574924"/>
            <a:ext cx="0" cy="2233"/>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 name="Freeform 289">
            <a:extLst>
              <a:ext uri="{FF2B5EF4-FFF2-40B4-BE49-F238E27FC236}">
                <a16:creationId xmlns:a16="http://schemas.microsoft.com/office/drawing/2014/main" id="{99AC10A9-7C7F-473C-BC20-224FD1D62099}"/>
              </a:ext>
            </a:extLst>
          </p:cNvPr>
          <p:cNvSpPr>
            <a:spLocks/>
          </p:cNvSpPr>
          <p:nvPr/>
        </p:nvSpPr>
        <p:spPr bwMode="auto">
          <a:xfrm>
            <a:off x="2778438" y="35771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 name="Freeform 290">
            <a:extLst>
              <a:ext uri="{FF2B5EF4-FFF2-40B4-BE49-F238E27FC236}">
                <a16:creationId xmlns:a16="http://schemas.microsoft.com/office/drawing/2014/main" id="{AD6AE082-574E-4539-A415-4F2C00E8BEF6}"/>
              </a:ext>
            </a:extLst>
          </p:cNvPr>
          <p:cNvSpPr>
            <a:spLocks/>
          </p:cNvSpPr>
          <p:nvPr/>
        </p:nvSpPr>
        <p:spPr bwMode="auto">
          <a:xfrm>
            <a:off x="2778438" y="35771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 name="Freeform 291">
            <a:extLst>
              <a:ext uri="{FF2B5EF4-FFF2-40B4-BE49-F238E27FC236}">
                <a16:creationId xmlns:a16="http://schemas.microsoft.com/office/drawing/2014/main" id="{8A33F2CB-FA8D-421D-A288-111405C62726}"/>
              </a:ext>
            </a:extLst>
          </p:cNvPr>
          <p:cNvSpPr>
            <a:spLocks/>
          </p:cNvSpPr>
          <p:nvPr/>
        </p:nvSpPr>
        <p:spPr bwMode="auto">
          <a:xfrm>
            <a:off x="2276705" y="3293654"/>
            <a:ext cx="553904" cy="397353"/>
          </a:xfrm>
          <a:custGeom>
            <a:avLst/>
            <a:gdLst>
              <a:gd name="T0" fmla="*/ 26 w 224"/>
              <a:gd name="T1" fmla="*/ 5 h 160"/>
              <a:gd name="T2" fmla="*/ 40 w 224"/>
              <a:gd name="T3" fmla="*/ 2 h 160"/>
              <a:gd name="T4" fmla="*/ 60 w 224"/>
              <a:gd name="T5" fmla="*/ 9 h 160"/>
              <a:gd name="T6" fmla="*/ 63 w 224"/>
              <a:gd name="T7" fmla="*/ 26 h 160"/>
              <a:gd name="T8" fmla="*/ 84 w 224"/>
              <a:gd name="T9" fmla="*/ 32 h 160"/>
              <a:gd name="T10" fmla="*/ 96 w 224"/>
              <a:gd name="T11" fmla="*/ 36 h 160"/>
              <a:gd name="T12" fmla="*/ 107 w 224"/>
              <a:gd name="T13" fmla="*/ 43 h 160"/>
              <a:gd name="T14" fmla="*/ 117 w 224"/>
              <a:gd name="T15" fmla="*/ 45 h 160"/>
              <a:gd name="T16" fmla="*/ 126 w 224"/>
              <a:gd name="T17" fmla="*/ 44 h 160"/>
              <a:gd name="T18" fmla="*/ 142 w 224"/>
              <a:gd name="T19" fmla="*/ 46 h 160"/>
              <a:gd name="T20" fmla="*/ 153 w 224"/>
              <a:gd name="T21" fmla="*/ 53 h 160"/>
              <a:gd name="T22" fmla="*/ 163 w 224"/>
              <a:gd name="T23" fmla="*/ 47 h 160"/>
              <a:gd name="T24" fmla="*/ 169 w 224"/>
              <a:gd name="T25" fmla="*/ 53 h 160"/>
              <a:gd name="T26" fmla="*/ 179 w 224"/>
              <a:gd name="T27" fmla="*/ 56 h 160"/>
              <a:gd name="T28" fmla="*/ 194 w 224"/>
              <a:gd name="T29" fmla="*/ 52 h 160"/>
              <a:gd name="T30" fmla="*/ 209 w 224"/>
              <a:gd name="T31" fmla="*/ 54 h 160"/>
              <a:gd name="T32" fmla="*/ 213 w 224"/>
              <a:gd name="T33" fmla="*/ 46 h 160"/>
              <a:gd name="T34" fmla="*/ 217 w 224"/>
              <a:gd name="T35" fmla="*/ 40 h 160"/>
              <a:gd name="T36" fmla="*/ 221 w 224"/>
              <a:gd name="T37" fmla="*/ 58 h 160"/>
              <a:gd name="T38" fmla="*/ 211 w 224"/>
              <a:gd name="T39" fmla="*/ 66 h 160"/>
              <a:gd name="T40" fmla="*/ 203 w 224"/>
              <a:gd name="T41" fmla="*/ 79 h 160"/>
              <a:gd name="T42" fmla="*/ 210 w 224"/>
              <a:gd name="T43" fmla="*/ 94 h 160"/>
              <a:gd name="T44" fmla="*/ 207 w 224"/>
              <a:gd name="T45" fmla="*/ 108 h 160"/>
              <a:gd name="T46" fmla="*/ 203 w 224"/>
              <a:gd name="T47" fmla="*/ 114 h 160"/>
              <a:gd name="T48" fmla="*/ 189 w 224"/>
              <a:gd name="T49" fmla="*/ 112 h 160"/>
              <a:gd name="T50" fmla="*/ 175 w 224"/>
              <a:gd name="T51" fmla="*/ 122 h 160"/>
              <a:gd name="T52" fmla="*/ 168 w 224"/>
              <a:gd name="T53" fmla="*/ 143 h 160"/>
              <a:gd name="T54" fmla="*/ 157 w 224"/>
              <a:gd name="T55" fmla="*/ 145 h 160"/>
              <a:gd name="T56" fmla="*/ 147 w 224"/>
              <a:gd name="T57" fmla="*/ 148 h 160"/>
              <a:gd name="T58" fmla="*/ 136 w 224"/>
              <a:gd name="T59" fmla="*/ 155 h 160"/>
              <a:gd name="T60" fmla="*/ 128 w 224"/>
              <a:gd name="T61" fmla="*/ 141 h 160"/>
              <a:gd name="T62" fmla="*/ 115 w 224"/>
              <a:gd name="T63" fmla="*/ 136 h 160"/>
              <a:gd name="T64" fmla="*/ 107 w 224"/>
              <a:gd name="T65" fmla="*/ 143 h 160"/>
              <a:gd name="T66" fmla="*/ 102 w 224"/>
              <a:gd name="T67" fmla="*/ 148 h 160"/>
              <a:gd name="T68" fmla="*/ 83 w 224"/>
              <a:gd name="T69" fmla="*/ 155 h 160"/>
              <a:gd name="T70" fmla="*/ 70 w 224"/>
              <a:gd name="T71" fmla="*/ 151 h 160"/>
              <a:gd name="T72" fmla="*/ 60 w 224"/>
              <a:gd name="T73" fmla="*/ 160 h 160"/>
              <a:gd name="T74" fmla="*/ 38 w 224"/>
              <a:gd name="T75" fmla="*/ 151 h 160"/>
              <a:gd name="T76" fmla="*/ 8 w 224"/>
              <a:gd name="T77" fmla="*/ 147 h 160"/>
              <a:gd name="T78" fmla="*/ 5 w 224"/>
              <a:gd name="T79" fmla="*/ 133 h 160"/>
              <a:gd name="T80" fmla="*/ 7 w 224"/>
              <a:gd name="T81" fmla="*/ 108 h 160"/>
              <a:gd name="T82" fmla="*/ 29 w 224"/>
              <a:gd name="T83" fmla="*/ 94 h 160"/>
              <a:gd name="T84" fmla="*/ 41 w 224"/>
              <a:gd name="T85" fmla="*/ 89 h 160"/>
              <a:gd name="T86" fmla="*/ 55 w 224"/>
              <a:gd name="T87" fmla="*/ 81 h 160"/>
              <a:gd name="T88" fmla="*/ 38 w 224"/>
              <a:gd name="T89" fmla="*/ 69 h 160"/>
              <a:gd name="T90" fmla="*/ 39 w 224"/>
              <a:gd name="T91" fmla="*/ 55 h 160"/>
              <a:gd name="T92" fmla="*/ 31 w 224"/>
              <a:gd name="T93" fmla="*/ 47 h 160"/>
              <a:gd name="T94" fmla="*/ 49 w 224"/>
              <a:gd name="T95" fmla="*/ 41 h 160"/>
              <a:gd name="T96" fmla="*/ 42 w 224"/>
              <a:gd name="T97" fmla="*/ 32 h 160"/>
              <a:gd name="T98" fmla="*/ 29 w 224"/>
              <a:gd name="T99" fmla="*/ 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 h="160">
                <a:moveTo>
                  <a:pt x="23" y="7"/>
                </a:moveTo>
                <a:cubicBezTo>
                  <a:pt x="23" y="6"/>
                  <a:pt x="23" y="6"/>
                  <a:pt x="23" y="6"/>
                </a:cubicBezTo>
                <a:cubicBezTo>
                  <a:pt x="24" y="6"/>
                  <a:pt x="25" y="5"/>
                  <a:pt x="26" y="5"/>
                </a:cubicBezTo>
                <a:cubicBezTo>
                  <a:pt x="28" y="4"/>
                  <a:pt x="30" y="4"/>
                  <a:pt x="33" y="3"/>
                </a:cubicBezTo>
                <a:cubicBezTo>
                  <a:pt x="36" y="3"/>
                  <a:pt x="35" y="3"/>
                  <a:pt x="36" y="1"/>
                </a:cubicBezTo>
                <a:cubicBezTo>
                  <a:pt x="38" y="0"/>
                  <a:pt x="38" y="2"/>
                  <a:pt x="40" y="2"/>
                </a:cubicBezTo>
                <a:cubicBezTo>
                  <a:pt x="41" y="3"/>
                  <a:pt x="42" y="2"/>
                  <a:pt x="43" y="3"/>
                </a:cubicBezTo>
                <a:cubicBezTo>
                  <a:pt x="44" y="3"/>
                  <a:pt x="44" y="5"/>
                  <a:pt x="45" y="6"/>
                </a:cubicBezTo>
                <a:cubicBezTo>
                  <a:pt x="48" y="10"/>
                  <a:pt x="56" y="8"/>
                  <a:pt x="60" y="9"/>
                </a:cubicBezTo>
                <a:cubicBezTo>
                  <a:pt x="60" y="11"/>
                  <a:pt x="61" y="13"/>
                  <a:pt x="62" y="14"/>
                </a:cubicBezTo>
                <a:cubicBezTo>
                  <a:pt x="62" y="16"/>
                  <a:pt x="62" y="17"/>
                  <a:pt x="61" y="19"/>
                </a:cubicBezTo>
                <a:cubicBezTo>
                  <a:pt x="60" y="22"/>
                  <a:pt x="58" y="25"/>
                  <a:pt x="63" y="26"/>
                </a:cubicBezTo>
                <a:cubicBezTo>
                  <a:pt x="66" y="27"/>
                  <a:pt x="70" y="25"/>
                  <a:pt x="73" y="27"/>
                </a:cubicBezTo>
                <a:cubicBezTo>
                  <a:pt x="75" y="28"/>
                  <a:pt x="78" y="29"/>
                  <a:pt x="79" y="32"/>
                </a:cubicBezTo>
                <a:cubicBezTo>
                  <a:pt x="80" y="32"/>
                  <a:pt x="83" y="32"/>
                  <a:pt x="84" y="32"/>
                </a:cubicBezTo>
                <a:cubicBezTo>
                  <a:pt x="86" y="33"/>
                  <a:pt x="85" y="35"/>
                  <a:pt x="86" y="37"/>
                </a:cubicBezTo>
                <a:cubicBezTo>
                  <a:pt x="87" y="38"/>
                  <a:pt x="89" y="38"/>
                  <a:pt x="91" y="38"/>
                </a:cubicBezTo>
                <a:cubicBezTo>
                  <a:pt x="94" y="38"/>
                  <a:pt x="94" y="37"/>
                  <a:pt x="96" y="36"/>
                </a:cubicBezTo>
                <a:cubicBezTo>
                  <a:pt x="96" y="35"/>
                  <a:pt x="100" y="33"/>
                  <a:pt x="101" y="33"/>
                </a:cubicBezTo>
                <a:cubicBezTo>
                  <a:pt x="103" y="32"/>
                  <a:pt x="106" y="32"/>
                  <a:pt x="108" y="32"/>
                </a:cubicBezTo>
                <a:cubicBezTo>
                  <a:pt x="108" y="36"/>
                  <a:pt x="107" y="40"/>
                  <a:pt x="107" y="43"/>
                </a:cubicBezTo>
                <a:cubicBezTo>
                  <a:pt x="109" y="43"/>
                  <a:pt x="110" y="44"/>
                  <a:pt x="111" y="44"/>
                </a:cubicBezTo>
                <a:cubicBezTo>
                  <a:pt x="112" y="45"/>
                  <a:pt x="113" y="47"/>
                  <a:pt x="114" y="47"/>
                </a:cubicBezTo>
                <a:cubicBezTo>
                  <a:pt x="114" y="47"/>
                  <a:pt x="116" y="45"/>
                  <a:pt x="117" y="45"/>
                </a:cubicBezTo>
                <a:cubicBezTo>
                  <a:pt x="118" y="44"/>
                  <a:pt x="118" y="44"/>
                  <a:pt x="119" y="43"/>
                </a:cubicBezTo>
                <a:cubicBezTo>
                  <a:pt x="121" y="42"/>
                  <a:pt x="120" y="42"/>
                  <a:pt x="122" y="42"/>
                </a:cubicBezTo>
                <a:cubicBezTo>
                  <a:pt x="124" y="42"/>
                  <a:pt x="125" y="43"/>
                  <a:pt x="126" y="44"/>
                </a:cubicBezTo>
                <a:cubicBezTo>
                  <a:pt x="128" y="45"/>
                  <a:pt x="130" y="45"/>
                  <a:pt x="133" y="44"/>
                </a:cubicBezTo>
                <a:cubicBezTo>
                  <a:pt x="133" y="43"/>
                  <a:pt x="137" y="45"/>
                  <a:pt x="139" y="46"/>
                </a:cubicBezTo>
                <a:cubicBezTo>
                  <a:pt x="140" y="46"/>
                  <a:pt x="141" y="46"/>
                  <a:pt x="142" y="46"/>
                </a:cubicBezTo>
                <a:cubicBezTo>
                  <a:pt x="143" y="46"/>
                  <a:pt x="143" y="47"/>
                  <a:pt x="144" y="47"/>
                </a:cubicBezTo>
                <a:cubicBezTo>
                  <a:pt x="145" y="48"/>
                  <a:pt x="148" y="49"/>
                  <a:pt x="149" y="50"/>
                </a:cubicBezTo>
                <a:cubicBezTo>
                  <a:pt x="150" y="51"/>
                  <a:pt x="151" y="53"/>
                  <a:pt x="153" y="53"/>
                </a:cubicBezTo>
                <a:cubicBezTo>
                  <a:pt x="153" y="53"/>
                  <a:pt x="154" y="52"/>
                  <a:pt x="154" y="52"/>
                </a:cubicBezTo>
                <a:cubicBezTo>
                  <a:pt x="158" y="52"/>
                  <a:pt x="159" y="51"/>
                  <a:pt x="162" y="49"/>
                </a:cubicBezTo>
                <a:cubicBezTo>
                  <a:pt x="162" y="48"/>
                  <a:pt x="162" y="48"/>
                  <a:pt x="163" y="47"/>
                </a:cubicBezTo>
                <a:cubicBezTo>
                  <a:pt x="164" y="47"/>
                  <a:pt x="165" y="47"/>
                  <a:pt x="165" y="47"/>
                </a:cubicBezTo>
                <a:cubicBezTo>
                  <a:pt x="167" y="46"/>
                  <a:pt x="166" y="44"/>
                  <a:pt x="168" y="44"/>
                </a:cubicBezTo>
                <a:cubicBezTo>
                  <a:pt x="169" y="46"/>
                  <a:pt x="169" y="50"/>
                  <a:pt x="169" y="53"/>
                </a:cubicBezTo>
                <a:cubicBezTo>
                  <a:pt x="171" y="53"/>
                  <a:pt x="173" y="52"/>
                  <a:pt x="174" y="53"/>
                </a:cubicBezTo>
                <a:cubicBezTo>
                  <a:pt x="174" y="54"/>
                  <a:pt x="174" y="54"/>
                  <a:pt x="174" y="54"/>
                </a:cubicBezTo>
                <a:cubicBezTo>
                  <a:pt x="177" y="54"/>
                  <a:pt x="178" y="57"/>
                  <a:pt x="179" y="56"/>
                </a:cubicBezTo>
                <a:cubicBezTo>
                  <a:pt x="181" y="55"/>
                  <a:pt x="180" y="52"/>
                  <a:pt x="183" y="52"/>
                </a:cubicBezTo>
                <a:cubicBezTo>
                  <a:pt x="186" y="51"/>
                  <a:pt x="188" y="54"/>
                  <a:pt x="191" y="53"/>
                </a:cubicBezTo>
                <a:cubicBezTo>
                  <a:pt x="192" y="53"/>
                  <a:pt x="193" y="52"/>
                  <a:pt x="194" y="52"/>
                </a:cubicBezTo>
                <a:cubicBezTo>
                  <a:pt x="194" y="52"/>
                  <a:pt x="202" y="50"/>
                  <a:pt x="202" y="51"/>
                </a:cubicBezTo>
                <a:cubicBezTo>
                  <a:pt x="202" y="50"/>
                  <a:pt x="203" y="50"/>
                  <a:pt x="203" y="49"/>
                </a:cubicBezTo>
                <a:cubicBezTo>
                  <a:pt x="205" y="50"/>
                  <a:pt x="208" y="55"/>
                  <a:pt x="209" y="54"/>
                </a:cubicBezTo>
                <a:cubicBezTo>
                  <a:pt x="210" y="53"/>
                  <a:pt x="211" y="51"/>
                  <a:pt x="211" y="50"/>
                </a:cubicBezTo>
                <a:cubicBezTo>
                  <a:pt x="212" y="48"/>
                  <a:pt x="211" y="46"/>
                  <a:pt x="213" y="45"/>
                </a:cubicBezTo>
                <a:cubicBezTo>
                  <a:pt x="212" y="45"/>
                  <a:pt x="213" y="46"/>
                  <a:pt x="213" y="46"/>
                </a:cubicBezTo>
                <a:cubicBezTo>
                  <a:pt x="216" y="47"/>
                  <a:pt x="217" y="46"/>
                  <a:pt x="217" y="42"/>
                </a:cubicBezTo>
                <a:cubicBezTo>
                  <a:pt x="217" y="42"/>
                  <a:pt x="217" y="41"/>
                  <a:pt x="217" y="40"/>
                </a:cubicBezTo>
                <a:cubicBezTo>
                  <a:pt x="217" y="40"/>
                  <a:pt x="217" y="40"/>
                  <a:pt x="217" y="40"/>
                </a:cubicBezTo>
                <a:cubicBezTo>
                  <a:pt x="221" y="44"/>
                  <a:pt x="221" y="44"/>
                  <a:pt x="221" y="44"/>
                </a:cubicBezTo>
                <a:cubicBezTo>
                  <a:pt x="221" y="45"/>
                  <a:pt x="220" y="46"/>
                  <a:pt x="220" y="47"/>
                </a:cubicBezTo>
                <a:cubicBezTo>
                  <a:pt x="220" y="51"/>
                  <a:pt x="224" y="55"/>
                  <a:pt x="221" y="58"/>
                </a:cubicBezTo>
                <a:cubicBezTo>
                  <a:pt x="220" y="59"/>
                  <a:pt x="219" y="60"/>
                  <a:pt x="217" y="61"/>
                </a:cubicBezTo>
                <a:cubicBezTo>
                  <a:pt x="216" y="61"/>
                  <a:pt x="215" y="63"/>
                  <a:pt x="214" y="64"/>
                </a:cubicBezTo>
                <a:cubicBezTo>
                  <a:pt x="214" y="65"/>
                  <a:pt x="212" y="65"/>
                  <a:pt x="211" y="66"/>
                </a:cubicBezTo>
                <a:cubicBezTo>
                  <a:pt x="210" y="67"/>
                  <a:pt x="210" y="69"/>
                  <a:pt x="209" y="70"/>
                </a:cubicBezTo>
                <a:cubicBezTo>
                  <a:pt x="208" y="70"/>
                  <a:pt x="206" y="70"/>
                  <a:pt x="205" y="70"/>
                </a:cubicBezTo>
                <a:cubicBezTo>
                  <a:pt x="205" y="73"/>
                  <a:pt x="202" y="76"/>
                  <a:pt x="203" y="79"/>
                </a:cubicBezTo>
                <a:cubicBezTo>
                  <a:pt x="204" y="81"/>
                  <a:pt x="207" y="81"/>
                  <a:pt x="207" y="83"/>
                </a:cubicBezTo>
                <a:cubicBezTo>
                  <a:pt x="214" y="84"/>
                  <a:pt x="215" y="91"/>
                  <a:pt x="215" y="96"/>
                </a:cubicBezTo>
                <a:cubicBezTo>
                  <a:pt x="213" y="96"/>
                  <a:pt x="212" y="94"/>
                  <a:pt x="210" y="94"/>
                </a:cubicBezTo>
                <a:cubicBezTo>
                  <a:pt x="207" y="95"/>
                  <a:pt x="207" y="97"/>
                  <a:pt x="207" y="99"/>
                </a:cubicBezTo>
                <a:cubicBezTo>
                  <a:pt x="205" y="99"/>
                  <a:pt x="204" y="99"/>
                  <a:pt x="202" y="99"/>
                </a:cubicBezTo>
                <a:cubicBezTo>
                  <a:pt x="202" y="101"/>
                  <a:pt x="205" y="108"/>
                  <a:pt x="207" y="108"/>
                </a:cubicBezTo>
                <a:cubicBezTo>
                  <a:pt x="206" y="110"/>
                  <a:pt x="203" y="111"/>
                  <a:pt x="203" y="113"/>
                </a:cubicBezTo>
                <a:cubicBezTo>
                  <a:pt x="204" y="114"/>
                  <a:pt x="204" y="114"/>
                  <a:pt x="204" y="114"/>
                </a:cubicBezTo>
                <a:cubicBezTo>
                  <a:pt x="203" y="114"/>
                  <a:pt x="203" y="114"/>
                  <a:pt x="203" y="114"/>
                </a:cubicBezTo>
                <a:cubicBezTo>
                  <a:pt x="201" y="114"/>
                  <a:pt x="200" y="112"/>
                  <a:pt x="198" y="111"/>
                </a:cubicBezTo>
                <a:cubicBezTo>
                  <a:pt x="196" y="109"/>
                  <a:pt x="192" y="108"/>
                  <a:pt x="189" y="108"/>
                </a:cubicBezTo>
                <a:cubicBezTo>
                  <a:pt x="189" y="112"/>
                  <a:pt x="189" y="112"/>
                  <a:pt x="189" y="112"/>
                </a:cubicBezTo>
                <a:cubicBezTo>
                  <a:pt x="187" y="112"/>
                  <a:pt x="188" y="113"/>
                  <a:pt x="188" y="115"/>
                </a:cubicBezTo>
                <a:cubicBezTo>
                  <a:pt x="185" y="115"/>
                  <a:pt x="183" y="114"/>
                  <a:pt x="180" y="115"/>
                </a:cubicBezTo>
                <a:cubicBezTo>
                  <a:pt x="179" y="117"/>
                  <a:pt x="179" y="122"/>
                  <a:pt x="175" y="122"/>
                </a:cubicBezTo>
                <a:cubicBezTo>
                  <a:pt x="170" y="123"/>
                  <a:pt x="174" y="129"/>
                  <a:pt x="172" y="132"/>
                </a:cubicBezTo>
                <a:cubicBezTo>
                  <a:pt x="171" y="134"/>
                  <a:pt x="169" y="133"/>
                  <a:pt x="169" y="136"/>
                </a:cubicBezTo>
                <a:cubicBezTo>
                  <a:pt x="169" y="138"/>
                  <a:pt x="169" y="141"/>
                  <a:pt x="168" y="143"/>
                </a:cubicBezTo>
                <a:cubicBezTo>
                  <a:pt x="167" y="144"/>
                  <a:pt x="165" y="144"/>
                  <a:pt x="164" y="144"/>
                </a:cubicBezTo>
                <a:cubicBezTo>
                  <a:pt x="162" y="145"/>
                  <a:pt x="164" y="146"/>
                  <a:pt x="163" y="148"/>
                </a:cubicBezTo>
                <a:cubicBezTo>
                  <a:pt x="161" y="149"/>
                  <a:pt x="159" y="145"/>
                  <a:pt x="157" y="145"/>
                </a:cubicBezTo>
                <a:cubicBezTo>
                  <a:pt x="157" y="147"/>
                  <a:pt x="153" y="149"/>
                  <a:pt x="151" y="149"/>
                </a:cubicBezTo>
                <a:cubicBezTo>
                  <a:pt x="151" y="147"/>
                  <a:pt x="150" y="144"/>
                  <a:pt x="148" y="146"/>
                </a:cubicBezTo>
                <a:cubicBezTo>
                  <a:pt x="147" y="146"/>
                  <a:pt x="148" y="147"/>
                  <a:pt x="147" y="148"/>
                </a:cubicBezTo>
                <a:cubicBezTo>
                  <a:pt x="146" y="149"/>
                  <a:pt x="145" y="149"/>
                  <a:pt x="145" y="150"/>
                </a:cubicBezTo>
                <a:cubicBezTo>
                  <a:pt x="144" y="152"/>
                  <a:pt x="145" y="158"/>
                  <a:pt x="140" y="157"/>
                </a:cubicBezTo>
                <a:cubicBezTo>
                  <a:pt x="140" y="154"/>
                  <a:pt x="137" y="156"/>
                  <a:pt x="136" y="155"/>
                </a:cubicBezTo>
                <a:cubicBezTo>
                  <a:pt x="135" y="154"/>
                  <a:pt x="136" y="151"/>
                  <a:pt x="136" y="150"/>
                </a:cubicBezTo>
                <a:cubicBezTo>
                  <a:pt x="136" y="144"/>
                  <a:pt x="132" y="149"/>
                  <a:pt x="129" y="148"/>
                </a:cubicBezTo>
                <a:cubicBezTo>
                  <a:pt x="128" y="146"/>
                  <a:pt x="130" y="143"/>
                  <a:pt x="128" y="141"/>
                </a:cubicBezTo>
                <a:cubicBezTo>
                  <a:pt x="127" y="140"/>
                  <a:pt x="125" y="140"/>
                  <a:pt x="125" y="138"/>
                </a:cubicBezTo>
                <a:cubicBezTo>
                  <a:pt x="125" y="137"/>
                  <a:pt x="125" y="138"/>
                  <a:pt x="124" y="137"/>
                </a:cubicBezTo>
                <a:cubicBezTo>
                  <a:pt x="123" y="137"/>
                  <a:pt x="115" y="140"/>
                  <a:pt x="115" y="136"/>
                </a:cubicBezTo>
                <a:cubicBezTo>
                  <a:pt x="114" y="136"/>
                  <a:pt x="111" y="135"/>
                  <a:pt x="110" y="136"/>
                </a:cubicBezTo>
                <a:cubicBezTo>
                  <a:pt x="108" y="137"/>
                  <a:pt x="110" y="139"/>
                  <a:pt x="109" y="140"/>
                </a:cubicBezTo>
                <a:cubicBezTo>
                  <a:pt x="109" y="141"/>
                  <a:pt x="107" y="141"/>
                  <a:pt x="107" y="143"/>
                </a:cubicBezTo>
                <a:cubicBezTo>
                  <a:pt x="107" y="144"/>
                  <a:pt x="107" y="144"/>
                  <a:pt x="107" y="145"/>
                </a:cubicBezTo>
                <a:cubicBezTo>
                  <a:pt x="107" y="146"/>
                  <a:pt x="106" y="146"/>
                  <a:pt x="105" y="147"/>
                </a:cubicBezTo>
                <a:cubicBezTo>
                  <a:pt x="103" y="147"/>
                  <a:pt x="103" y="147"/>
                  <a:pt x="102" y="148"/>
                </a:cubicBezTo>
                <a:cubicBezTo>
                  <a:pt x="102" y="149"/>
                  <a:pt x="101" y="150"/>
                  <a:pt x="100" y="150"/>
                </a:cubicBezTo>
                <a:cubicBezTo>
                  <a:pt x="97" y="151"/>
                  <a:pt x="93" y="150"/>
                  <a:pt x="89" y="152"/>
                </a:cubicBezTo>
                <a:cubicBezTo>
                  <a:pt x="90" y="156"/>
                  <a:pt x="85" y="155"/>
                  <a:pt x="83" y="155"/>
                </a:cubicBezTo>
                <a:cubicBezTo>
                  <a:pt x="81" y="156"/>
                  <a:pt x="81" y="157"/>
                  <a:pt x="80" y="158"/>
                </a:cubicBezTo>
                <a:cubicBezTo>
                  <a:pt x="79" y="158"/>
                  <a:pt x="77" y="157"/>
                  <a:pt x="76" y="157"/>
                </a:cubicBezTo>
                <a:cubicBezTo>
                  <a:pt x="73" y="155"/>
                  <a:pt x="73" y="150"/>
                  <a:pt x="70" y="151"/>
                </a:cubicBezTo>
                <a:cubicBezTo>
                  <a:pt x="67" y="151"/>
                  <a:pt x="67" y="153"/>
                  <a:pt x="66" y="155"/>
                </a:cubicBezTo>
                <a:cubicBezTo>
                  <a:pt x="65" y="156"/>
                  <a:pt x="63" y="156"/>
                  <a:pt x="61" y="156"/>
                </a:cubicBezTo>
                <a:cubicBezTo>
                  <a:pt x="61" y="157"/>
                  <a:pt x="61" y="159"/>
                  <a:pt x="60" y="160"/>
                </a:cubicBezTo>
                <a:cubicBezTo>
                  <a:pt x="57" y="160"/>
                  <a:pt x="50" y="160"/>
                  <a:pt x="50" y="156"/>
                </a:cubicBezTo>
                <a:cubicBezTo>
                  <a:pt x="49" y="153"/>
                  <a:pt x="50" y="148"/>
                  <a:pt x="46" y="149"/>
                </a:cubicBezTo>
                <a:cubicBezTo>
                  <a:pt x="44" y="150"/>
                  <a:pt x="40" y="154"/>
                  <a:pt x="38" y="151"/>
                </a:cubicBezTo>
                <a:cubicBezTo>
                  <a:pt x="37" y="148"/>
                  <a:pt x="36" y="145"/>
                  <a:pt x="32" y="145"/>
                </a:cubicBezTo>
                <a:cubicBezTo>
                  <a:pt x="32" y="150"/>
                  <a:pt x="29" y="149"/>
                  <a:pt x="24" y="149"/>
                </a:cubicBezTo>
                <a:cubicBezTo>
                  <a:pt x="19" y="149"/>
                  <a:pt x="13" y="150"/>
                  <a:pt x="8" y="147"/>
                </a:cubicBezTo>
                <a:cubicBezTo>
                  <a:pt x="7" y="146"/>
                  <a:pt x="6" y="146"/>
                  <a:pt x="4" y="145"/>
                </a:cubicBezTo>
                <a:cubicBezTo>
                  <a:pt x="7" y="145"/>
                  <a:pt x="10" y="144"/>
                  <a:pt x="10" y="140"/>
                </a:cubicBezTo>
                <a:cubicBezTo>
                  <a:pt x="10" y="137"/>
                  <a:pt x="8" y="135"/>
                  <a:pt x="5" y="133"/>
                </a:cubicBezTo>
                <a:cubicBezTo>
                  <a:pt x="2" y="131"/>
                  <a:pt x="3" y="127"/>
                  <a:pt x="2" y="124"/>
                </a:cubicBezTo>
                <a:cubicBezTo>
                  <a:pt x="0" y="121"/>
                  <a:pt x="0" y="118"/>
                  <a:pt x="2" y="114"/>
                </a:cubicBezTo>
                <a:cubicBezTo>
                  <a:pt x="3" y="112"/>
                  <a:pt x="4" y="109"/>
                  <a:pt x="7" y="108"/>
                </a:cubicBezTo>
                <a:cubicBezTo>
                  <a:pt x="11" y="108"/>
                  <a:pt x="12" y="106"/>
                  <a:pt x="16" y="104"/>
                </a:cubicBezTo>
                <a:cubicBezTo>
                  <a:pt x="18" y="103"/>
                  <a:pt x="22" y="103"/>
                  <a:pt x="23" y="100"/>
                </a:cubicBezTo>
                <a:cubicBezTo>
                  <a:pt x="25" y="98"/>
                  <a:pt x="26" y="94"/>
                  <a:pt x="29" y="94"/>
                </a:cubicBezTo>
                <a:cubicBezTo>
                  <a:pt x="30" y="93"/>
                  <a:pt x="32" y="93"/>
                  <a:pt x="33" y="92"/>
                </a:cubicBezTo>
                <a:cubicBezTo>
                  <a:pt x="35" y="91"/>
                  <a:pt x="35" y="90"/>
                  <a:pt x="35" y="88"/>
                </a:cubicBezTo>
                <a:cubicBezTo>
                  <a:pt x="36" y="85"/>
                  <a:pt x="41" y="86"/>
                  <a:pt x="41" y="89"/>
                </a:cubicBezTo>
                <a:cubicBezTo>
                  <a:pt x="43" y="90"/>
                  <a:pt x="44" y="88"/>
                  <a:pt x="45" y="87"/>
                </a:cubicBezTo>
                <a:cubicBezTo>
                  <a:pt x="48" y="85"/>
                  <a:pt x="51" y="88"/>
                  <a:pt x="54" y="88"/>
                </a:cubicBezTo>
                <a:cubicBezTo>
                  <a:pt x="60" y="89"/>
                  <a:pt x="60" y="83"/>
                  <a:pt x="55" y="81"/>
                </a:cubicBezTo>
                <a:cubicBezTo>
                  <a:pt x="50" y="80"/>
                  <a:pt x="47" y="77"/>
                  <a:pt x="43" y="75"/>
                </a:cubicBezTo>
                <a:cubicBezTo>
                  <a:pt x="41" y="74"/>
                  <a:pt x="40" y="74"/>
                  <a:pt x="39" y="73"/>
                </a:cubicBezTo>
                <a:cubicBezTo>
                  <a:pt x="38" y="72"/>
                  <a:pt x="38" y="71"/>
                  <a:pt x="38" y="69"/>
                </a:cubicBezTo>
                <a:cubicBezTo>
                  <a:pt x="36" y="66"/>
                  <a:pt x="33" y="65"/>
                  <a:pt x="31" y="62"/>
                </a:cubicBezTo>
                <a:cubicBezTo>
                  <a:pt x="34" y="62"/>
                  <a:pt x="37" y="61"/>
                  <a:pt x="39" y="60"/>
                </a:cubicBezTo>
                <a:cubicBezTo>
                  <a:pt x="40" y="59"/>
                  <a:pt x="39" y="57"/>
                  <a:pt x="39" y="55"/>
                </a:cubicBezTo>
                <a:cubicBezTo>
                  <a:pt x="38" y="54"/>
                  <a:pt x="37" y="54"/>
                  <a:pt x="35" y="54"/>
                </a:cubicBezTo>
                <a:cubicBezTo>
                  <a:pt x="33" y="53"/>
                  <a:pt x="31" y="52"/>
                  <a:pt x="29" y="52"/>
                </a:cubicBezTo>
                <a:cubicBezTo>
                  <a:pt x="27" y="49"/>
                  <a:pt x="28" y="47"/>
                  <a:pt x="31" y="47"/>
                </a:cubicBezTo>
                <a:cubicBezTo>
                  <a:pt x="35" y="46"/>
                  <a:pt x="33" y="45"/>
                  <a:pt x="36" y="44"/>
                </a:cubicBezTo>
                <a:cubicBezTo>
                  <a:pt x="40" y="43"/>
                  <a:pt x="44" y="44"/>
                  <a:pt x="47" y="44"/>
                </a:cubicBezTo>
                <a:cubicBezTo>
                  <a:pt x="49" y="44"/>
                  <a:pt x="50" y="43"/>
                  <a:pt x="49" y="41"/>
                </a:cubicBezTo>
                <a:cubicBezTo>
                  <a:pt x="48" y="40"/>
                  <a:pt x="46" y="40"/>
                  <a:pt x="45" y="40"/>
                </a:cubicBezTo>
                <a:cubicBezTo>
                  <a:pt x="45" y="39"/>
                  <a:pt x="44" y="38"/>
                  <a:pt x="43" y="38"/>
                </a:cubicBezTo>
                <a:cubicBezTo>
                  <a:pt x="42" y="36"/>
                  <a:pt x="42" y="34"/>
                  <a:pt x="42" y="32"/>
                </a:cubicBezTo>
                <a:cubicBezTo>
                  <a:pt x="40" y="32"/>
                  <a:pt x="37" y="33"/>
                  <a:pt x="34" y="31"/>
                </a:cubicBezTo>
                <a:cubicBezTo>
                  <a:pt x="32" y="29"/>
                  <a:pt x="34" y="26"/>
                  <a:pt x="33" y="23"/>
                </a:cubicBezTo>
                <a:cubicBezTo>
                  <a:pt x="32" y="20"/>
                  <a:pt x="28" y="21"/>
                  <a:pt x="29" y="18"/>
                </a:cubicBezTo>
                <a:cubicBezTo>
                  <a:pt x="30" y="15"/>
                  <a:pt x="26" y="13"/>
                  <a:pt x="27" y="10"/>
                </a:cubicBezTo>
                <a:cubicBezTo>
                  <a:pt x="24" y="10"/>
                  <a:pt x="23" y="8"/>
                  <a:pt x="23" y="7"/>
                </a:cubicBezTo>
                <a:close/>
              </a:path>
            </a:pathLst>
          </a:custGeom>
          <a:solidFill>
            <a:schemeClr val="accent1"/>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 name="Rectangle 292">
            <a:extLst>
              <a:ext uri="{FF2B5EF4-FFF2-40B4-BE49-F238E27FC236}">
                <a16:creationId xmlns:a16="http://schemas.microsoft.com/office/drawing/2014/main" id="{39F47C60-BF47-40A0-8538-DC06F67A7653}"/>
              </a:ext>
            </a:extLst>
          </p:cNvPr>
          <p:cNvSpPr>
            <a:spLocks noChangeArrowheads="1"/>
          </p:cNvSpPr>
          <p:nvPr/>
        </p:nvSpPr>
        <p:spPr bwMode="auto">
          <a:xfrm>
            <a:off x="2704065" y="3949955"/>
            <a:ext cx="1110" cy="1116"/>
          </a:xfrm>
          <a:prstGeom prst="rect">
            <a:avLst/>
          </a:prstGeom>
          <a:solidFill>
            <a:schemeClr val="bg1">
              <a:lumMod val="85000"/>
            </a:schemeClr>
          </a:solidFill>
          <a:ln w="3175">
            <a:noFill/>
            <a:miter lim="800000"/>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 name="Freeform 293">
            <a:extLst>
              <a:ext uri="{FF2B5EF4-FFF2-40B4-BE49-F238E27FC236}">
                <a16:creationId xmlns:a16="http://schemas.microsoft.com/office/drawing/2014/main" id="{C2982BE0-9AF3-4515-9363-1498749AF5FB}"/>
              </a:ext>
            </a:extLst>
          </p:cNvPr>
          <p:cNvSpPr>
            <a:spLocks/>
          </p:cNvSpPr>
          <p:nvPr/>
        </p:nvSpPr>
        <p:spPr bwMode="auto">
          <a:xfrm>
            <a:off x="2704065" y="394772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 name="Freeform 294">
            <a:extLst>
              <a:ext uri="{FF2B5EF4-FFF2-40B4-BE49-F238E27FC236}">
                <a16:creationId xmlns:a16="http://schemas.microsoft.com/office/drawing/2014/main" id="{933BF443-97CD-424D-94CF-EC70C6428AB4}"/>
              </a:ext>
            </a:extLst>
          </p:cNvPr>
          <p:cNvSpPr>
            <a:spLocks/>
          </p:cNvSpPr>
          <p:nvPr/>
        </p:nvSpPr>
        <p:spPr bwMode="auto">
          <a:xfrm>
            <a:off x="2026949" y="3887449"/>
            <a:ext cx="739279" cy="569241"/>
          </a:xfrm>
          <a:custGeom>
            <a:avLst/>
            <a:gdLst>
              <a:gd name="T0" fmla="*/ 278 w 299"/>
              <a:gd name="T1" fmla="*/ 32 h 229"/>
              <a:gd name="T2" fmla="*/ 259 w 299"/>
              <a:gd name="T3" fmla="*/ 16 h 229"/>
              <a:gd name="T4" fmla="*/ 232 w 299"/>
              <a:gd name="T5" fmla="*/ 4 h 229"/>
              <a:gd name="T6" fmla="*/ 224 w 299"/>
              <a:gd name="T7" fmla="*/ 27 h 229"/>
              <a:gd name="T8" fmla="*/ 198 w 299"/>
              <a:gd name="T9" fmla="*/ 19 h 229"/>
              <a:gd name="T10" fmla="*/ 184 w 299"/>
              <a:gd name="T11" fmla="*/ 17 h 229"/>
              <a:gd name="T12" fmla="*/ 160 w 299"/>
              <a:gd name="T13" fmla="*/ 6 h 229"/>
              <a:gd name="T14" fmla="*/ 132 w 299"/>
              <a:gd name="T15" fmla="*/ 0 h 229"/>
              <a:gd name="T16" fmla="*/ 113 w 299"/>
              <a:gd name="T17" fmla="*/ 20 h 229"/>
              <a:gd name="T18" fmla="*/ 106 w 299"/>
              <a:gd name="T19" fmla="*/ 41 h 229"/>
              <a:gd name="T20" fmla="*/ 94 w 299"/>
              <a:gd name="T21" fmla="*/ 58 h 229"/>
              <a:gd name="T22" fmla="*/ 81 w 299"/>
              <a:gd name="T23" fmla="*/ 66 h 229"/>
              <a:gd name="T24" fmla="*/ 55 w 299"/>
              <a:gd name="T25" fmla="*/ 78 h 229"/>
              <a:gd name="T26" fmla="*/ 54 w 299"/>
              <a:gd name="T27" fmla="*/ 100 h 229"/>
              <a:gd name="T28" fmla="*/ 67 w 299"/>
              <a:gd name="T29" fmla="*/ 123 h 229"/>
              <a:gd name="T30" fmla="*/ 52 w 299"/>
              <a:gd name="T31" fmla="*/ 130 h 229"/>
              <a:gd name="T32" fmla="*/ 28 w 299"/>
              <a:gd name="T33" fmla="*/ 129 h 229"/>
              <a:gd name="T34" fmla="*/ 37 w 299"/>
              <a:gd name="T35" fmla="*/ 147 h 229"/>
              <a:gd name="T36" fmla="*/ 40 w 299"/>
              <a:gd name="T37" fmla="*/ 176 h 229"/>
              <a:gd name="T38" fmla="*/ 30 w 299"/>
              <a:gd name="T39" fmla="*/ 194 h 229"/>
              <a:gd name="T40" fmla="*/ 13 w 299"/>
              <a:gd name="T41" fmla="*/ 205 h 229"/>
              <a:gd name="T42" fmla="*/ 0 w 299"/>
              <a:gd name="T43" fmla="*/ 229 h 229"/>
              <a:gd name="T44" fmla="*/ 20 w 299"/>
              <a:gd name="T45" fmla="*/ 227 h 229"/>
              <a:gd name="T46" fmla="*/ 42 w 299"/>
              <a:gd name="T47" fmla="*/ 220 h 229"/>
              <a:gd name="T48" fmla="*/ 51 w 299"/>
              <a:gd name="T49" fmla="*/ 216 h 229"/>
              <a:gd name="T50" fmla="*/ 51 w 299"/>
              <a:gd name="T51" fmla="*/ 207 h 229"/>
              <a:gd name="T52" fmla="*/ 62 w 299"/>
              <a:gd name="T53" fmla="*/ 205 h 229"/>
              <a:gd name="T54" fmla="*/ 75 w 299"/>
              <a:gd name="T55" fmla="*/ 203 h 229"/>
              <a:gd name="T56" fmla="*/ 86 w 299"/>
              <a:gd name="T57" fmla="*/ 199 h 229"/>
              <a:gd name="T58" fmla="*/ 86 w 299"/>
              <a:gd name="T59" fmla="*/ 185 h 229"/>
              <a:gd name="T60" fmla="*/ 100 w 299"/>
              <a:gd name="T61" fmla="*/ 179 h 229"/>
              <a:gd name="T62" fmla="*/ 107 w 299"/>
              <a:gd name="T63" fmla="*/ 174 h 229"/>
              <a:gd name="T64" fmla="*/ 117 w 299"/>
              <a:gd name="T65" fmla="*/ 174 h 229"/>
              <a:gd name="T66" fmla="*/ 136 w 299"/>
              <a:gd name="T67" fmla="*/ 186 h 229"/>
              <a:gd name="T68" fmla="*/ 148 w 299"/>
              <a:gd name="T69" fmla="*/ 176 h 229"/>
              <a:gd name="T70" fmla="*/ 159 w 299"/>
              <a:gd name="T71" fmla="*/ 169 h 229"/>
              <a:gd name="T72" fmla="*/ 165 w 299"/>
              <a:gd name="T73" fmla="*/ 172 h 229"/>
              <a:gd name="T74" fmla="*/ 183 w 299"/>
              <a:gd name="T75" fmla="*/ 154 h 229"/>
              <a:gd name="T76" fmla="*/ 190 w 299"/>
              <a:gd name="T77" fmla="*/ 145 h 229"/>
              <a:gd name="T78" fmla="*/ 184 w 299"/>
              <a:gd name="T79" fmla="*/ 147 h 229"/>
              <a:gd name="T80" fmla="*/ 193 w 299"/>
              <a:gd name="T81" fmla="*/ 135 h 229"/>
              <a:gd name="T82" fmla="*/ 193 w 299"/>
              <a:gd name="T83" fmla="*/ 145 h 229"/>
              <a:gd name="T84" fmla="*/ 218 w 299"/>
              <a:gd name="T85" fmla="*/ 135 h 229"/>
              <a:gd name="T86" fmla="*/ 255 w 299"/>
              <a:gd name="T87" fmla="*/ 114 h 229"/>
              <a:gd name="T88" fmla="*/ 267 w 299"/>
              <a:gd name="T89" fmla="*/ 98 h 229"/>
              <a:gd name="T90" fmla="*/ 270 w 299"/>
              <a:gd name="T91" fmla="*/ 90 h 229"/>
              <a:gd name="T92" fmla="*/ 269 w 299"/>
              <a:gd name="T93" fmla="*/ 88 h 229"/>
              <a:gd name="T94" fmla="*/ 271 w 299"/>
              <a:gd name="T95" fmla="*/ 58 h 229"/>
              <a:gd name="T96" fmla="*/ 294 w 299"/>
              <a:gd name="T97" fmla="*/ 5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9" h="229">
                <a:moveTo>
                  <a:pt x="293" y="38"/>
                </a:moveTo>
                <a:cubicBezTo>
                  <a:pt x="291" y="36"/>
                  <a:pt x="287" y="37"/>
                  <a:pt x="286" y="34"/>
                </a:cubicBezTo>
                <a:cubicBezTo>
                  <a:pt x="286" y="31"/>
                  <a:pt x="285" y="28"/>
                  <a:pt x="282" y="29"/>
                </a:cubicBezTo>
                <a:cubicBezTo>
                  <a:pt x="281" y="32"/>
                  <a:pt x="281" y="31"/>
                  <a:pt x="278" y="32"/>
                </a:cubicBezTo>
                <a:cubicBezTo>
                  <a:pt x="278" y="35"/>
                  <a:pt x="275" y="33"/>
                  <a:pt x="274" y="32"/>
                </a:cubicBezTo>
                <a:cubicBezTo>
                  <a:pt x="272" y="29"/>
                  <a:pt x="276" y="26"/>
                  <a:pt x="273" y="23"/>
                </a:cubicBezTo>
                <a:cubicBezTo>
                  <a:pt x="269" y="20"/>
                  <a:pt x="264" y="23"/>
                  <a:pt x="263" y="17"/>
                </a:cubicBezTo>
                <a:cubicBezTo>
                  <a:pt x="262" y="17"/>
                  <a:pt x="261" y="16"/>
                  <a:pt x="259" y="16"/>
                </a:cubicBezTo>
                <a:cubicBezTo>
                  <a:pt x="260" y="11"/>
                  <a:pt x="251" y="6"/>
                  <a:pt x="250" y="12"/>
                </a:cubicBezTo>
                <a:cubicBezTo>
                  <a:pt x="249" y="13"/>
                  <a:pt x="248" y="13"/>
                  <a:pt x="248" y="13"/>
                </a:cubicBezTo>
                <a:cubicBezTo>
                  <a:pt x="248" y="11"/>
                  <a:pt x="244" y="7"/>
                  <a:pt x="243" y="5"/>
                </a:cubicBezTo>
                <a:cubicBezTo>
                  <a:pt x="241" y="3"/>
                  <a:pt x="236" y="4"/>
                  <a:pt x="232" y="4"/>
                </a:cubicBezTo>
                <a:cubicBezTo>
                  <a:pt x="233" y="0"/>
                  <a:pt x="227" y="2"/>
                  <a:pt x="225" y="2"/>
                </a:cubicBezTo>
                <a:cubicBezTo>
                  <a:pt x="226" y="4"/>
                  <a:pt x="231" y="12"/>
                  <a:pt x="227" y="14"/>
                </a:cubicBezTo>
                <a:cubicBezTo>
                  <a:pt x="226" y="16"/>
                  <a:pt x="229" y="18"/>
                  <a:pt x="228" y="21"/>
                </a:cubicBezTo>
                <a:cubicBezTo>
                  <a:pt x="224" y="21"/>
                  <a:pt x="225" y="25"/>
                  <a:pt x="224" y="27"/>
                </a:cubicBezTo>
                <a:cubicBezTo>
                  <a:pt x="221" y="27"/>
                  <a:pt x="220" y="26"/>
                  <a:pt x="218" y="26"/>
                </a:cubicBezTo>
                <a:cubicBezTo>
                  <a:pt x="219" y="24"/>
                  <a:pt x="221" y="22"/>
                  <a:pt x="218" y="21"/>
                </a:cubicBezTo>
                <a:cubicBezTo>
                  <a:pt x="215" y="24"/>
                  <a:pt x="211" y="21"/>
                  <a:pt x="208" y="20"/>
                </a:cubicBezTo>
                <a:cubicBezTo>
                  <a:pt x="205" y="19"/>
                  <a:pt x="201" y="17"/>
                  <a:pt x="198" y="19"/>
                </a:cubicBezTo>
                <a:cubicBezTo>
                  <a:pt x="195" y="20"/>
                  <a:pt x="194" y="24"/>
                  <a:pt x="191" y="24"/>
                </a:cubicBezTo>
                <a:cubicBezTo>
                  <a:pt x="187" y="25"/>
                  <a:pt x="184" y="21"/>
                  <a:pt x="180" y="21"/>
                </a:cubicBezTo>
                <a:cubicBezTo>
                  <a:pt x="181" y="19"/>
                  <a:pt x="183" y="19"/>
                  <a:pt x="183" y="17"/>
                </a:cubicBezTo>
                <a:cubicBezTo>
                  <a:pt x="184" y="17"/>
                  <a:pt x="184" y="17"/>
                  <a:pt x="184" y="17"/>
                </a:cubicBezTo>
                <a:cubicBezTo>
                  <a:pt x="185" y="12"/>
                  <a:pt x="185" y="7"/>
                  <a:pt x="185" y="2"/>
                </a:cubicBezTo>
                <a:cubicBezTo>
                  <a:pt x="182" y="1"/>
                  <a:pt x="180" y="4"/>
                  <a:pt x="178" y="4"/>
                </a:cubicBezTo>
                <a:cubicBezTo>
                  <a:pt x="175" y="5"/>
                  <a:pt x="173" y="6"/>
                  <a:pt x="170" y="6"/>
                </a:cubicBezTo>
                <a:cubicBezTo>
                  <a:pt x="167" y="7"/>
                  <a:pt x="163" y="5"/>
                  <a:pt x="160" y="6"/>
                </a:cubicBezTo>
                <a:cubicBezTo>
                  <a:pt x="158" y="6"/>
                  <a:pt x="157" y="8"/>
                  <a:pt x="155" y="8"/>
                </a:cubicBezTo>
                <a:cubicBezTo>
                  <a:pt x="151" y="10"/>
                  <a:pt x="143" y="9"/>
                  <a:pt x="140" y="6"/>
                </a:cubicBezTo>
                <a:cubicBezTo>
                  <a:pt x="139" y="5"/>
                  <a:pt x="139" y="3"/>
                  <a:pt x="137" y="1"/>
                </a:cubicBezTo>
                <a:cubicBezTo>
                  <a:pt x="136" y="0"/>
                  <a:pt x="134" y="0"/>
                  <a:pt x="132" y="0"/>
                </a:cubicBezTo>
                <a:cubicBezTo>
                  <a:pt x="133" y="1"/>
                  <a:pt x="133" y="1"/>
                  <a:pt x="133" y="1"/>
                </a:cubicBezTo>
                <a:cubicBezTo>
                  <a:pt x="133" y="6"/>
                  <a:pt x="134" y="8"/>
                  <a:pt x="128" y="9"/>
                </a:cubicBezTo>
                <a:cubicBezTo>
                  <a:pt x="125" y="10"/>
                  <a:pt x="120" y="13"/>
                  <a:pt x="117" y="15"/>
                </a:cubicBezTo>
                <a:cubicBezTo>
                  <a:pt x="116" y="16"/>
                  <a:pt x="113" y="18"/>
                  <a:pt x="113" y="20"/>
                </a:cubicBezTo>
                <a:cubicBezTo>
                  <a:pt x="113" y="23"/>
                  <a:pt x="111" y="21"/>
                  <a:pt x="110" y="23"/>
                </a:cubicBezTo>
                <a:cubicBezTo>
                  <a:pt x="108" y="27"/>
                  <a:pt x="112" y="28"/>
                  <a:pt x="113" y="31"/>
                </a:cubicBezTo>
                <a:cubicBezTo>
                  <a:pt x="110" y="33"/>
                  <a:pt x="108" y="34"/>
                  <a:pt x="107" y="38"/>
                </a:cubicBezTo>
                <a:cubicBezTo>
                  <a:pt x="105" y="38"/>
                  <a:pt x="106" y="40"/>
                  <a:pt x="106" y="41"/>
                </a:cubicBezTo>
                <a:cubicBezTo>
                  <a:pt x="106" y="43"/>
                  <a:pt x="103" y="43"/>
                  <a:pt x="102" y="44"/>
                </a:cubicBezTo>
                <a:cubicBezTo>
                  <a:pt x="101" y="46"/>
                  <a:pt x="101" y="50"/>
                  <a:pt x="101" y="52"/>
                </a:cubicBezTo>
                <a:cubicBezTo>
                  <a:pt x="101" y="54"/>
                  <a:pt x="104" y="55"/>
                  <a:pt x="103" y="57"/>
                </a:cubicBezTo>
                <a:cubicBezTo>
                  <a:pt x="101" y="57"/>
                  <a:pt x="96" y="56"/>
                  <a:pt x="94" y="58"/>
                </a:cubicBezTo>
                <a:cubicBezTo>
                  <a:pt x="94" y="60"/>
                  <a:pt x="94" y="62"/>
                  <a:pt x="94" y="63"/>
                </a:cubicBezTo>
                <a:cubicBezTo>
                  <a:pt x="93" y="65"/>
                  <a:pt x="92" y="66"/>
                  <a:pt x="92" y="68"/>
                </a:cubicBezTo>
                <a:cubicBezTo>
                  <a:pt x="90" y="68"/>
                  <a:pt x="88" y="68"/>
                  <a:pt x="87" y="67"/>
                </a:cubicBezTo>
                <a:cubicBezTo>
                  <a:pt x="85" y="65"/>
                  <a:pt x="82" y="66"/>
                  <a:pt x="81" y="66"/>
                </a:cubicBezTo>
                <a:cubicBezTo>
                  <a:pt x="75" y="66"/>
                  <a:pt x="70" y="65"/>
                  <a:pt x="65" y="65"/>
                </a:cubicBezTo>
                <a:cubicBezTo>
                  <a:pt x="65" y="70"/>
                  <a:pt x="63" y="74"/>
                  <a:pt x="61" y="77"/>
                </a:cubicBezTo>
                <a:cubicBezTo>
                  <a:pt x="61" y="79"/>
                  <a:pt x="60" y="81"/>
                  <a:pt x="58" y="82"/>
                </a:cubicBezTo>
                <a:cubicBezTo>
                  <a:pt x="56" y="82"/>
                  <a:pt x="55" y="80"/>
                  <a:pt x="55" y="78"/>
                </a:cubicBezTo>
                <a:cubicBezTo>
                  <a:pt x="54" y="78"/>
                  <a:pt x="53" y="77"/>
                  <a:pt x="52" y="77"/>
                </a:cubicBezTo>
                <a:cubicBezTo>
                  <a:pt x="52" y="83"/>
                  <a:pt x="52" y="88"/>
                  <a:pt x="52" y="93"/>
                </a:cubicBezTo>
                <a:cubicBezTo>
                  <a:pt x="52" y="94"/>
                  <a:pt x="52" y="96"/>
                  <a:pt x="52" y="98"/>
                </a:cubicBezTo>
                <a:cubicBezTo>
                  <a:pt x="52" y="100"/>
                  <a:pt x="54" y="99"/>
                  <a:pt x="54" y="100"/>
                </a:cubicBezTo>
                <a:cubicBezTo>
                  <a:pt x="57" y="104"/>
                  <a:pt x="55" y="109"/>
                  <a:pt x="54" y="113"/>
                </a:cubicBezTo>
                <a:cubicBezTo>
                  <a:pt x="54" y="115"/>
                  <a:pt x="53" y="118"/>
                  <a:pt x="53" y="120"/>
                </a:cubicBezTo>
                <a:cubicBezTo>
                  <a:pt x="54" y="123"/>
                  <a:pt x="58" y="123"/>
                  <a:pt x="60" y="123"/>
                </a:cubicBezTo>
                <a:cubicBezTo>
                  <a:pt x="61" y="123"/>
                  <a:pt x="67" y="123"/>
                  <a:pt x="67" y="123"/>
                </a:cubicBezTo>
                <a:cubicBezTo>
                  <a:pt x="69" y="125"/>
                  <a:pt x="68" y="128"/>
                  <a:pt x="67" y="131"/>
                </a:cubicBezTo>
                <a:cubicBezTo>
                  <a:pt x="66" y="132"/>
                  <a:pt x="65" y="134"/>
                  <a:pt x="62" y="133"/>
                </a:cubicBezTo>
                <a:cubicBezTo>
                  <a:pt x="62" y="132"/>
                  <a:pt x="63" y="130"/>
                  <a:pt x="62" y="128"/>
                </a:cubicBezTo>
                <a:cubicBezTo>
                  <a:pt x="60" y="127"/>
                  <a:pt x="52" y="126"/>
                  <a:pt x="52" y="130"/>
                </a:cubicBezTo>
                <a:cubicBezTo>
                  <a:pt x="48" y="131"/>
                  <a:pt x="50" y="125"/>
                  <a:pt x="50" y="123"/>
                </a:cubicBezTo>
                <a:cubicBezTo>
                  <a:pt x="46" y="120"/>
                  <a:pt x="40" y="121"/>
                  <a:pt x="35" y="120"/>
                </a:cubicBezTo>
                <a:cubicBezTo>
                  <a:pt x="35" y="117"/>
                  <a:pt x="31" y="118"/>
                  <a:pt x="29" y="118"/>
                </a:cubicBezTo>
                <a:cubicBezTo>
                  <a:pt x="29" y="122"/>
                  <a:pt x="26" y="125"/>
                  <a:pt x="28" y="129"/>
                </a:cubicBezTo>
                <a:cubicBezTo>
                  <a:pt x="29" y="130"/>
                  <a:pt x="31" y="129"/>
                  <a:pt x="32" y="129"/>
                </a:cubicBezTo>
                <a:cubicBezTo>
                  <a:pt x="32" y="133"/>
                  <a:pt x="36" y="131"/>
                  <a:pt x="37" y="134"/>
                </a:cubicBezTo>
                <a:cubicBezTo>
                  <a:pt x="39" y="138"/>
                  <a:pt x="34" y="142"/>
                  <a:pt x="34" y="147"/>
                </a:cubicBezTo>
                <a:cubicBezTo>
                  <a:pt x="35" y="146"/>
                  <a:pt x="37" y="147"/>
                  <a:pt x="37" y="147"/>
                </a:cubicBezTo>
                <a:cubicBezTo>
                  <a:pt x="38" y="149"/>
                  <a:pt x="40" y="149"/>
                  <a:pt x="41" y="151"/>
                </a:cubicBezTo>
                <a:cubicBezTo>
                  <a:pt x="42" y="153"/>
                  <a:pt x="41" y="156"/>
                  <a:pt x="41" y="159"/>
                </a:cubicBezTo>
                <a:cubicBezTo>
                  <a:pt x="41" y="164"/>
                  <a:pt x="44" y="170"/>
                  <a:pt x="43" y="176"/>
                </a:cubicBezTo>
                <a:cubicBezTo>
                  <a:pt x="42" y="176"/>
                  <a:pt x="41" y="176"/>
                  <a:pt x="40" y="176"/>
                </a:cubicBezTo>
                <a:cubicBezTo>
                  <a:pt x="40" y="178"/>
                  <a:pt x="40" y="182"/>
                  <a:pt x="38" y="183"/>
                </a:cubicBezTo>
                <a:cubicBezTo>
                  <a:pt x="36" y="185"/>
                  <a:pt x="33" y="184"/>
                  <a:pt x="33" y="187"/>
                </a:cubicBezTo>
                <a:cubicBezTo>
                  <a:pt x="31" y="187"/>
                  <a:pt x="28" y="187"/>
                  <a:pt x="27" y="187"/>
                </a:cubicBezTo>
                <a:cubicBezTo>
                  <a:pt x="30" y="189"/>
                  <a:pt x="30" y="190"/>
                  <a:pt x="30" y="194"/>
                </a:cubicBezTo>
                <a:cubicBezTo>
                  <a:pt x="28" y="194"/>
                  <a:pt x="27" y="194"/>
                  <a:pt x="25" y="194"/>
                </a:cubicBezTo>
                <a:cubicBezTo>
                  <a:pt x="23" y="197"/>
                  <a:pt x="22" y="202"/>
                  <a:pt x="19" y="204"/>
                </a:cubicBezTo>
                <a:cubicBezTo>
                  <a:pt x="18" y="205"/>
                  <a:pt x="16" y="204"/>
                  <a:pt x="15" y="204"/>
                </a:cubicBezTo>
                <a:cubicBezTo>
                  <a:pt x="14" y="204"/>
                  <a:pt x="14" y="205"/>
                  <a:pt x="13" y="205"/>
                </a:cubicBezTo>
                <a:cubicBezTo>
                  <a:pt x="11" y="207"/>
                  <a:pt x="10" y="208"/>
                  <a:pt x="8" y="209"/>
                </a:cubicBezTo>
                <a:cubicBezTo>
                  <a:pt x="7" y="212"/>
                  <a:pt x="7" y="216"/>
                  <a:pt x="5" y="219"/>
                </a:cubicBezTo>
                <a:cubicBezTo>
                  <a:pt x="3" y="222"/>
                  <a:pt x="1" y="224"/>
                  <a:pt x="0" y="227"/>
                </a:cubicBezTo>
                <a:cubicBezTo>
                  <a:pt x="0" y="228"/>
                  <a:pt x="0" y="229"/>
                  <a:pt x="0" y="229"/>
                </a:cubicBezTo>
                <a:cubicBezTo>
                  <a:pt x="0" y="229"/>
                  <a:pt x="0" y="229"/>
                  <a:pt x="0" y="229"/>
                </a:cubicBezTo>
                <a:cubicBezTo>
                  <a:pt x="3" y="229"/>
                  <a:pt x="7" y="228"/>
                  <a:pt x="10" y="229"/>
                </a:cubicBezTo>
                <a:cubicBezTo>
                  <a:pt x="12" y="229"/>
                  <a:pt x="13" y="228"/>
                  <a:pt x="16" y="227"/>
                </a:cubicBezTo>
                <a:cubicBezTo>
                  <a:pt x="17" y="227"/>
                  <a:pt x="19" y="228"/>
                  <a:pt x="20" y="227"/>
                </a:cubicBezTo>
                <a:cubicBezTo>
                  <a:pt x="21" y="227"/>
                  <a:pt x="22" y="227"/>
                  <a:pt x="23" y="226"/>
                </a:cubicBezTo>
                <a:cubicBezTo>
                  <a:pt x="24" y="222"/>
                  <a:pt x="26" y="223"/>
                  <a:pt x="29" y="223"/>
                </a:cubicBezTo>
                <a:cubicBezTo>
                  <a:pt x="33" y="222"/>
                  <a:pt x="33" y="218"/>
                  <a:pt x="37" y="218"/>
                </a:cubicBezTo>
                <a:cubicBezTo>
                  <a:pt x="39" y="219"/>
                  <a:pt x="41" y="218"/>
                  <a:pt x="42" y="220"/>
                </a:cubicBezTo>
                <a:cubicBezTo>
                  <a:pt x="42" y="221"/>
                  <a:pt x="42" y="223"/>
                  <a:pt x="44" y="223"/>
                </a:cubicBezTo>
                <a:cubicBezTo>
                  <a:pt x="46" y="223"/>
                  <a:pt x="46" y="221"/>
                  <a:pt x="47" y="220"/>
                </a:cubicBezTo>
                <a:cubicBezTo>
                  <a:pt x="47" y="218"/>
                  <a:pt x="48" y="219"/>
                  <a:pt x="49" y="219"/>
                </a:cubicBezTo>
                <a:cubicBezTo>
                  <a:pt x="50" y="217"/>
                  <a:pt x="49" y="215"/>
                  <a:pt x="51" y="216"/>
                </a:cubicBezTo>
                <a:cubicBezTo>
                  <a:pt x="51" y="215"/>
                  <a:pt x="51" y="214"/>
                  <a:pt x="51" y="214"/>
                </a:cubicBezTo>
                <a:cubicBezTo>
                  <a:pt x="50" y="214"/>
                  <a:pt x="50" y="213"/>
                  <a:pt x="49" y="213"/>
                </a:cubicBezTo>
                <a:cubicBezTo>
                  <a:pt x="49" y="212"/>
                  <a:pt x="48" y="209"/>
                  <a:pt x="50" y="209"/>
                </a:cubicBezTo>
                <a:cubicBezTo>
                  <a:pt x="51" y="208"/>
                  <a:pt x="52" y="208"/>
                  <a:pt x="51" y="207"/>
                </a:cubicBezTo>
                <a:cubicBezTo>
                  <a:pt x="51" y="207"/>
                  <a:pt x="51" y="207"/>
                  <a:pt x="51" y="207"/>
                </a:cubicBezTo>
                <a:cubicBezTo>
                  <a:pt x="51" y="205"/>
                  <a:pt x="50" y="203"/>
                  <a:pt x="50" y="201"/>
                </a:cubicBezTo>
                <a:cubicBezTo>
                  <a:pt x="53" y="200"/>
                  <a:pt x="54" y="199"/>
                  <a:pt x="56" y="197"/>
                </a:cubicBezTo>
                <a:cubicBezTo>
                  <a:pt x="59" y="198"/>
                  <a:pt x="61" y="202"/>
                  <a:pt x="62" y="205"/>
                </a:cubicBezTo>
                <a:cubicBezTo>
                  <a:pt x="64" y="206"/>
                  <a:pt x="61" y="207"/>
                  <a:pt x="60" y="208"/>
                </a:cubicBezTo>
                <a:cubicBezTo>
                  <a:pt x="62" y="214"/>
                  <a:pt x="68" y="205"/>
                  <a:pt x="70" y="205"/>
                </a:cubicBezTo>
                <a:cubicBezTo>
                  <a:pt x="71" y="204"/>
                  <a:pt x="71" y="203"/>
                  <a:pt x="71" y="202"/>
                </a:cubicBezTo>
                <a:cubicBezTo>
                  <a:pt x="72" y="201"/>
                  <a:pt x="74" y="202"/>
                  <a:pt x="75" y="203"/>
                </a:cubicBezTo>
                <a:cubicBezTo>
                  <a:pt x="76" y="204"/>
                  <a:pt x="77" y="206"/>
                  <a:pt x="78" y="206"/>
                </a:cubicBezTo>
                <a:cubicBezTo>
                  <a:pt x="80" y="206"/>
                  <a:pt x="81" y="203"/>
                  <a:pt x="84" y="203"/>
                </a:cubicBezTo>
                <a:cubicBezTo>
                  <a:pt x="84" y="202"/>
                  <a:pt x="84" y="202"/>
                  <a:pt x="83" y="202"/>
                </a:cubicBezTo>
                <a:cubicBezTo>
                  <a:pt x="83" y="200"/>
                  <a:pt x="83" y="198"/>
                  <a:pt x="86" y="199"/>
                </a:cubicBezTo>
                <a:cubicBezTo>
                  <a:pt x="86" y="198"/>
                  <a:pt x="86" y="197"/>
                  <a:pt x="84" y="197"/>
                </a:cubicBezTo>
                <a:cubicBezTo>
                  <a:pt x="84" y="195"/>
                  <a:pt x="81" y="195"/>
                  <a:pt x="82" y="193"/>
                </a:cubicBezTo>
                <a:cubicBezTo>
                  <a:pt x="82" y="191"/>
                  <a:pt x="83" y="190"/>
                  <a:pt x="84" y="190"/>
                </a:cubicBezTo>
                <a:cubicBezTo>
                  <a:pt x="87" y="189"/>
                  <a:pt x="85" y="185"/>
                  <a:pt x="86" y="185"/>
                </a:cubicBezTo>
                <a:cubicBezTo>
                  <a:pt x="88" y="185"/>
                  <a:pt x="89" y="185"/>
                  <a:pt x="91" y="185"/>
                </a:cubicBezTo>
                <a:cubicBezTo>
                  <a:pt x="93" y="185"/>
                  <a:pt x="95" y="185"/>
                  <a:pt x="96" y="184"/>
                </a:cubicBezTo>
                <a:cubicBezTo>
                  <a:pt x="98" y="183"/>
                  <a:pt x="99" y="179"/>
                  <a:pt x="101" y="179"/>
                </a:cubicBezTo>
                <a:cubicBezTo>
                  <a:pt x="100" y="179"/>
                  <a:pt x="100" y="179"/>
                  <a:pt x="100" y="179"/>
                </a:cubicBezTo>
                <a:cubicBezTo>
                  <a:pt x="100" y="178"/>
                  <a:pt x="95" y="177"/>
                  <a:pt x="97" y="175"/>
                </a:cubicBezTo>
                <a:cubicBezTo>
                  <a:pt x="100" y="172"/>
                  <a:pt x="101" y="176"/>
                  <a:pt x="103" y="177"/>
                </a:cubicBezTo>
                <a:cubicBezTo>
                  <a:pt x="103" y="175"/>
                  <a:pt x="104" y="172"/>
                  <a:pt x="105" y="171"/>
                </a:cubicBezTo>
                <a:cubicBezTo>
                  <a:pt x="106" y="171"/>
                  <a:pt x="106" y="173"/>
                  <a:pt x="107" y="174"/>
                </a:cubicBezTo>
                <a:cubicBezTo>
                  <a:pt x="107" y="173"/>
                  <a:pt x="107" y="173"/>
                  <a:pt x="108" y="172"/>
                </a:cubicBezTo>
                <a:cubicBezTo>
                  <a:pt x="111" y="175"/>
                  <a:pt x="111" y="169"/>
                  <a:pt x="111" y="167"/>
                </a:cubicBezTo>
                <a:cubicBezTo>
                  <a:pt x="112" y="167"/>
                  <a:pt x="112" y="167"/>
                  <a:pt x="112" y="168"/>
                </a:cubicBezTo>
                <a:cubicBezTo>
                  <a:pt x="112" y="170"/>
                  <a:pt x="114" y="175"/>
                  <a:pt x="117" y="174"/>
                </a:cubicBezTo>
                <a:cubicBezTo>
                  <a:pt x="117" y="173"/>
                  <a:pt x="118" y="173"/>
                  <a:pt x="119" y="173"/>
                </a:cubicBezTo>
                <a:cubicBezTo>
                  <a:pt x="120" y="176"/>
                  <a:pt x="122" y="178"/>
                  <a:pt x="123" y="181"/>
                </a:cubicBezTo>
                <a:cubicBezTo>
                  <a:pt x="123" y="184"/>
                  <a:pt x="126" y="183"/>
                  <a:pt x="128" y="183"/>
                </a:cubicBezTo>
                <a:cubicBezTo>
                  <a:pt x="131" y="183"/>
                  <a:pt x="133" y="184"/>
                  <a:pt x="136" y="186"/>
                </a:cubicBezTo>
                <a:cubicBezTo>
                  <a:pt x="138" y="186"/>
                  <a:pt x="141" y="186"/>
                  <a:pt x="144" y="186"/>
                </a:cubicBezTo>
                <a:cubicBezTo>
                  <a:pt x="144" y="185"/>
                  <a:pt x="144" y="185"/>
                  <a:pt x="144" y="184"/>
                </a:cubicBezTo>
                <a:cubicBezTo>
                  <a:pt x="148" y="184"/>
                  <a:pt x="147" y="180"/>
                  <a:pt x="151" y="180"/>
                </a:cubicBezTo>
                <a:cubicBezTo>
                  <a:pt x="150" y="180"/>
                  <a:pt x="148" y="177"/>
                  <a:pt x="148" y="176"/>
                </a:cubicBezTo>
                <a:cubicBezTo>
                  <a:pt x="149" y="175"/>
                  <a:pt x="150" y="176"/>
                  <a:pt x="151" y="176"/>
                </a:cubicBezTo>
                <a:cubicBezTo>
                  <a:pt x="152" y="176"/>
                  <a:pt x="152" y="175"/>
                  <a:pt x="153" y="174"/>
                </a:cubicBezTo>
                <a:cubicBezTo>
                  <a:pt x="154" y="173"/>
                  <a:pt x="161" y="174"/>
                  <a:pt x="160" y="171"/>
                </a:cubicBezTo>
                <a:cubicBezTo>
                  <a:pt x="159" y="171"/>
                  <a:pt x="158" y="170"/>
                  <a:pt x="159" y="169"/>
                </a:cubicBezTo>
                <a:cubicBezTo>
                  <a:pt x="160" y="168"/>
                  <a:pt x="161" y="168"/>
                  <a:pt x="164" y="168"/>
                </a:cubicBezTo>
                <a:cubicBezTo>
                  <a:pt x="164" y="170"/>
                  <a:pt x="163" y="172"/>
                  <a:pt x="165" y="173"/>
                </a:cubicBezTo>
                <a:cubicBezTo>
                  <a:pt x="165" y="173"/>
                  <a:pt x="165" y="174"/>
                  <a:pt x="165" y="174"/>
                </a:cubicBezTo>
                <a:cubicBezTo>
                  <a:pt x="165" y="173"/>
                  <a:pt x="165" y="173"/>
                  <a:pt x="165" y="172"/>
                </a:cubicBezTo>
                <a:cubicBezTo>
                  <a:pt x="167" y="170"/>
                  <a:pt x="169" y="169"/>
                  <a:pt x="171" y="166"/>
                </a:cubicBezTo>
                <a:cubicBezTo>
                  <a:pt x="172" y="165"/>
                  <a:pt x="172" y="164"/>
                  <a:pt x="173" y="162"/>
                </a:cubicBezTo>
                <a:cubicBezTo>
                  <a:pt x="174" y="161"/>
                  <a:pt x="175" y="158"/>
                  <a:pt x="177" y="157"/>
                </a:cubicBezTo>
                <a:cubicBezTo>
                  <a:pt x="178" y="155"/>
                  <a:pt x="181" y="155"/>
                  <a:pt x="183" y="154"/>
                </a:cubicBezTo>
                <a:cubicBezTo>
                  <a:pt x="185" y="152"/>
                  <a:pt x="184" y="151"/>
                  <a:pt x="187" y="150"/>
                </a:cubicBezTo>
                <a:cubicBezTo>
                  <a:pt x="189" y="149"/>
                  <a:pt x="190" y="147"/>
                  <a:pt x="192" y="147"/>
                </a:cubicBezTo>
                <a:cubicBezTo>
                  <a:pt x="192" y="146"/>
                  <a:pt x="192" y="146"/>
                  <a:pt x="192" y="145"/>
                </a:cubicBezTo>
                <a:cubicBezTo>
                  <a:pt x="191" y="145"/>
                  <a:pt x="191" y="145"/>
                  <a:pt x="190" y="145"/>
                </a:cubicBezTo>
                <a:cubicBezTo>
                  <a:pt x="189" y="146"/>
                  <a:pt x="188" y="146"/>
                  <a:pt x="186" y="146"/>
                </a:cubicBezTo>
                <a:cubicBezTo>
                  <a:pt x="187" y="145"/>
                  <a:pt x="189" y="144"/>
                  <a:pt x="190" y="143"/>
                </a:cubicBezTo>
                <a:cubicBezTo>
                  <a:pt x="189" y="143"/>
                  <a:pt x="188" y="142"/>
                  <a:pt x="187" y="142"/>
                </a:cubicBezTo>
                <a:cubicBezTo>
                  <a:pt x="187" y="144"/>
                  <a:pt x="186" y="146"/>
                  <a:pt x="184" y="147"/>
                </a:cubicBezTo>
                <a:cubicBezTo>
                  <a:pt x="184" y="148"/>
                  <a:pt x="183" y="148"/>
                  <a:pt x="182" y="148"/>
                </a:cubicBezTo>
                <a:cubicBezTo>
                  <a:pt x="183" y="147"/>
                  <a:pt x="183" y="143"/>
                  <a:pt x="183" y="142"/>
                </a:cubicBezTo>
                <a:cubicBezTo>
                  <a:pt x="184" y="141"/>
                  <a:pt x="186" y="139"/>
                  <a:pt x="186" y="138"/>
                </a:cubicBezTo>
                <a:cubicBezTo>
                  <a:pt x="188" y="137"/>
                  <a:pt x="191" y="136"/>
                  <a:pt x="193" y="135"/>
                </a:cubicBezTo>
                <a:cubicBezTo>
                  <a:pt x="196" y="133"/>
                  <a:pt x="200" y="130"/>
                  <a:pt x="202" y="133"/>
                </a:cubicBezTo>
                <a:cubicBezTo>
                  <a:pt x="204" y="136"/>
                  <a:pt x="201" y="138"/>
                  <a:pt x="200" y="139"/>
                </a:cubicBezTo>
                <a:cubicBezTo>
                  <a:pt x="199" y="140"/>
                  <a:pt x="193" y="143"/>
                  <a:pt x="193" y="142"/>
                </a:cubicBezTo>
                <a:cubicBezTo>
                  <a:pt x="193" y="143"/>
                  <a:pt x="193" y="144"/>
                  <a:pt x="193" y="145"/>
                </a:cubicBezTo>
                <a:cubicBezTo>
                  <a:pt x="194" y="146"/>
                  <a:pt x="194" y="144"/>
                  <a:pt x="195" y="144"/>
                </a:cubicBezTo>
                <a:cubicBezTo>
                  <a:pt x="196" y="143"/>
                  <a:pt x="198" y="143"/>
                  <a:pt x="199" y="142"/>
                </a:cubicBezTo>
                <a:cubicBezTo>
                  <a:pt x="201" y="142"/>
                  <a:pt x="204" y="142"/>
                  <a:pt x="206" y="141"/>
                </a:cubicBezTo>
                <a:cubicBezTo>
                  <a:pt x="210" y="139"/>
                  <a:pt x="214" y="137"/>
                  <a:pt x="218" y="135"/>
                </a:cubicBezTo>
                <a:cubicBezTo>
                  <a:pt x="223" y="133"/>
                  <a:pt x="228" y="134"/>
                  <a:pt x="233" y="132"/>
                </a:cubicBezTo>
                <a:cubicBezTo>
                  <a:pt x="236" y="130"/>
                  <a:pt x="241" y="129"/>
                  <a:pt x="242" y="125"/>
                </a:cubicBezTo>
                <a:cubicBezTo>
                  <a:pt x="243" y="123"/>
                  <a:pt x="243" y="120"/>
                  <a:pt x="246" y="120"/>
                </a:cubicBezTo>
                <a:cubicBezTo>
                  <a:pt x="246" y="117"/>
                  <a:pt x="253" y="115"/>
                  <a:pt x="255" y="114"/>
                </a:cubicBezTo>
                <a:cubicBezTo>
                  <a:pt x="256" y="113"/>
                  <a:pt x="259" y="113"/>
                  <a:pt x="260" y="112"/>
                </a:cubicBezTo>
                <a:cubicBezTo>
                  <a:pt x="261" y="111"/>
                  <a:pt x="261" y="108"/>
                  <a:pt x="261" y="106"/>
                </a:cubicBezTo>
                <a:cubicBezTo>
                  <a:pt x="260" y="106"/>
                  <a:pt x="259" y="106"/>
                  <a:pt x="258" y="106"/>
                </a:cubicBezTo>
                <a:cubicBezTo>
                  <a:pt x="258" y="102"/>
                  <a:pt x="263" y="100"/>
                  <a:pt x="267" y="98"/>
                </a:cubicBezTo>
                <a:cubicBezTo>
                  <a:pt x="270" y="96"/>
                  <a:pt x="273" y="92"/>
                  <a:pt x="275" y="89"/>
                </a:cubicBezTo>
                <a:cubicBezTo>
                  <a:pt x="274" y="88"/>
                  <a:pt x="274" y="88"/>
                  <a:pt x="273" y="88"/>
                </a:cubicBezTo>
                <a:cubicBezTo>
                  <a:pt x="272" y="89"/>
                  <a:pt x="273" y="89"/>
                  <a:pt x="272" y="90"/>
                </a:cubicBezTo>
                <a:cubicBezTo>
                  <a:pt x="272" y="90"/>
                  <a:pt x="271" y="90"/>
                  <a:pt x="270" y="90"/>
                </a:cubicBezTo>
                <a:cubicBezTo>
                  <a:pt x="270" y="90"/>
                  <a:pt x="269" y="91"/>
                  <a:pt x="269" y="91"/>
                </a:cubicBezTo>
                <a:cubicBezTo>
                  <a:pt x="268" y="92"/>
                  <a:pt x="267" y="91"/>
                  <a:pt x="265" y="92"/>
                </a:cubicBezTo>
                <a:cubicBezTo>
                  <a:pt x="264" y="92"/>
                  <a:pt x="264" y="93"/>
                  <a:pt x="263" y="93"/>
                </a:cubicBezTo>
                <a:cubicBezTo>
                  <a:pt x="263" y="89"/>
                  <a:pt x="264" y="88"/>
                  <a:pt x="269" y="88"/>
                </a:cubicBezTo>
                <a:cubicBezTo>
                  <a:pt x="274" y="88"/>
                  <a:pt x="270" y="83"/>
                  <a:pt x="269" y="81"/>
                </a:cubicBezTo>
                <a:cubicBezTo>
                  <a:pt x="267" y="78"/>
                  <a:pt x="266" y="75"/>
                  <a:pt x="265" y="73"/>
                </a:cubicBezTo>
                <a:cubicBezTo>
                  <a:pt x="265" y="71"/>
                  <a:pt x="265" y="64"/>
                  <a:pt x="267" y="63"/>
                </a:cubicBezTo>
                <a:cubicBezTo>
                  <a:pt x="267" y="61"/>
                  <a:pt x="269" y="59"/>
                  <a:pt x="271" y="58"/>
                </a:cubicBezTo>
                <a:cubicBezTo>
                  <a:pt x="273" y="56"/>
                  <a:pt x="275" y="54"/>
                  <a:pt x="277" y="53"/>
                </a:cubicBezTo>
                <a:cubicBezTo>
                  <a:pt x="279" y="52"/>
                  <a:pt x="282" y="50"/>
                  <a:pt x="285" y="50"/>
                </a:cubicBezTo>
                <a:cubicBezTo>
                  <a:pt x="286" y="50"/>
                  <a:pt x="287" y="50"/>
                  <a:pt x="289" y="50"/>
                </a:cubicBezTo>
                <a:cubicBezTo>
                  <a:pt x="291" y="50"/>
                  <a:pt x="292" y="51"/>
                  <a:pt x="294" y="51"/>
                </a:cubicBezTo>
                <a:cubicBezTo>
                  <a:pt x="294" y="51"/>
                  <a:pt x="296" y="47"/>
                  <a:pt x="297" y="47"/>
                </a:cubicBezTo>
                <a:cubicBezTo>
                  <a:pt x="298" y="46"/>
                  <a:pt x="298" y="46"/>
                  <a:pt x="298" y="46"/>
                </a:cubicBezTo>
                <a:cubicBezTo>
                  <a:pt x="299" y="41"/>
                  <a:pt x="296" y="41"/>
                  <a:pt x="293" y="38"/>
                </a:cubicBezTo>
                <a:close/>
              </a:path>
            </a:pathLst>
          </a:custGeom>
          <a:solidFill>
            <a:schemeClr val="accent3"/>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 name="Freeform 295">
            <a:extLst>
              <a:ext uri="{FF2B5EF4-FFF2-40B4-BE49-F238E27FC236}">
                <a16:creationId xmlns:a16="http://schemas.microsoft.com/office/drawing/2014/main" id="{9C84411E-C736-45E7-B2D4-0DC6EBB27A17}"/>
              </a:ext>
            </a:extLst>
          </p:cNvPr>
          <p:cNvSpPr>
            <a:spLocks/>
          </p:cNvSpPr>
          <p:nvPr/>
        </p:nvSpPr>
        <p:spPr bwMode="auto">
          <a:xfrm>
            <a:off x="2463118" y="1797372"/>
            <a:ext cx="3331" cy="0"/>
          </a:xfrm>
          <a:custGeom>
            <a:avLst/>
            <a:gdLst>
              <a:gd name="T0" fmla="*/ 3 w 3"/>
              <a:gd name="T1" fmla="*/ 0 w 3"/>
              <a:gd name="T2" fmla="*/ 3 w 3"/>
            </a:gdLst>
            <a:ahLst/>
            <a:cxnLst>
              <a:cxn ang="0">
                <a:pos x="T0" y="0"/>
              </a:cxn>
              <a:cxn ang="0">
                <a:pos x="T1" y="0"/>
              </a:cxn>
              <a:cxn ang="0">
                <a:pos x="T2" y="0"/>
              </a:cxn>
            </a:cxnLst>
            <a:rect l="0" t="0" r="r" b="b"/>
            <a:pathLst>
              <a:path w="3">
                <a:moveTo>
                  <a:pt x="3" y="0"/>
                </a:moveTo>
                <a:lnTo>
                  <a:pt x="0" y="0"/>
                </a:lnTo>
                <a:lnTo>
                  <a:pt x="3"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 name="Freeform 296">
            <a:extLst>
              <a:ext uri="{FF2B5EF4-FFF2-40B4-BE49-F238E27FC236}">
                <a16:creationId xmlns:a16="http://schemas.microsoft.com/office/drawing/2014/main" id="{7B1EC1C0-A7E1-4843-9F8F-DBDB22FF6959}"/>
              </a:ext>
            </a:extLst>
          </p:cNvPr>
          <p:cNvSpPr>
            <a:spLocks/>
          </p:cNvSpPr>
          <p:nvPr/>
        </p:nvSpPr>
        <p:spPr bwMode="auto">
          <a:xfrm>
            <a:off x="1871544" y="5073925"/>
            <a:ext cx="0" cy="2233"/>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 name="Freeform 297">
            <a:extLst>
              <a:ext uri="{FF2B5EF4-FFF2-40B4-BE49-F238E27FC236}">
                <a16:creationId xmlns:a16="http://schemas.microsoft.com/office/drawing/2014/main" id="{EA19B80C-5B2A-4C8F-B4FC-AB5EA0E051ED}"/>
              </a:ext>
            </a:extLst>
          </p:cNvPr>
          <p:cNvSpPr>
            <a:spLocks/>
          </p:cNvSpPr>
          <p:nvPr/>
        </p:nvSpPr>
        <p:spPr bwMode="auto">
          <a:xfrm>
            <a:off x="1470824" y="5610799"/>
            <a:ext cx="0" cy="2233"/>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 name="Freeform 298">
            <a:extLst>
              <a:ext uri="{FF2B5EF4-FFF2-40B4-BE49-F238E27FC236}">
                <a16:creationId xmlns:a16="http://schemas.microsoft.com/office/drawing/2014/main" id="{13E2BC97-7C5A-4125-94EB-2FF03D0749A4}"/>
              </a:ext>
            </a:extLst>
          </p:cNvPr>
          <p:cNvSpPr>
            <a:spLocks/>
          </p:cNvSpPr>
          <p:nvPr/>
        </p:nvSpPr>
        <p:spPr bwMode="auto">
          <a:xfrm>
            <a:off x="1458614" y="5598521"/>
            <a:ext cx="2219" cy="446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1" y="1"/>
                  <a:pt x="0" y="0"/>
                </a:cubicBezTo>
                <a:cubicBezTo>
                  <a:pt x="1" y="1"/>
                  <a:pt x="1" y="2"/>
                  <a:pt x="1" y="2"/>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 name="Freeform 299">
            <a:extLst>
              <a:ext uri="{FF2B5EF4-FFF2-40B4-BE49-F238E27FC236}">
                <a16:creationId xmlns:a16="http://schemas.microsoft.com/office/drawing/2014/main" id="{721398DF-E8F2-484B-A979-BB2D100BADE2}"/>
              </a:ext>
            </a:extLst>
          </p:cNvPr>
          <p:cNvSpPr>
            <a:spLocks/>
          </p:cNvSpPr>
          <p:nvPr/>
        </p:nvSpPr>
        <p:spPr bwMode="auto">
          <a:xfrm>
            <a:off x="1322081" y="5272602"/>
            <a:ext cx="0" cy="2233"/>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 name="Rectangle 300">
            <a:extLst>
              <a:ext uri="{FF2B5EF4-FFF2-40B4-BE49-F238E27FC236}">
                <a16:creationId xmlns:a16="http://schemas.microsoft.com/office/drawing/2014/main" id="{21FFBE63-9705-47BB-930E-3B4A8422923E}"/>
              </a:ext>
            </a:extLst>
          </p:cNvPr>
          <p:cNvSpPr>
            <a:spLocks noChangeArrowheads="1"/>
          </p:cNvSpPr>
          <p:nvPr/>
        </p:nvSpPr>
        <p:spPr bwMode="auto">
          <a:xfrm>
            <a:off x="1428643" y="5245814"/>
            <a:ext cx="1110" cy="1116"/>
          </a:xfrm>
          <a:prstGeom prst="rect">
            <a:avLst/>
          </a:prstGeom>
          <a:solidFill>
            <a:schemeClr val="bg1">
              <a:lumMod val="85000"/>
            </a:schemeClr>
          </a:solidFill>
          <a:ln w="3175">
            <a:noFill/>
            <a:miter lim="800000"/>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 name="Freeform 302">
            <a:extLst>
              <a:ext uri="{FF2B5EF4-FFF2-40B4-BE49-F238E27FC236}">
                <a16:creationId xmlns:a16="http://schemas.microsoft.com/office/drawing/2014/main" id="{6FB2B659-D06F-41C1-A7CF-C801B7A3C8EB}"/>
              </a:ext>
            </a:extLst>
          </p:cNvPr>
          <p:cNvSpPr>
            <a:spLocks/>
          </p:cNvSpPr>
          <p:nvPr/>
        </p:nvSpPr>
        <p:spPr bwMode="auto">
          <a:xfrm>
            <a:off x="1428643" y="524246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 name="Freeform 303">
            <a:extLst>
              <a:ext uri="{FF2B5EF4-FFF2-40B4-BE49-F238E27FC236}">
                <a16:creationId xmlns:a16="http://schemas.microsoft.com/office/drawing/2014/main" id="{B893EB88-15A6-435E-B0A2-170E9FF568A6}"/>
              </a:ext>
            </a:extLst>
          </p:cNvPr>
          <p:cNvSpPr>
            <a:spLocks/>
          </p:cNvSpPr>
          <p:nvPr/>
        </p:nvSpPr>
        <p:spPr bwMode="auto">
          <a:xfrm>
            <a:off x="1114505" y="4367398"/>
            <a:ext cx="556125" cy="823726"/>
          </a:xfrm>
          <a:custGeom>
            <a:avLst/>
            <a:gdLst>
              <a:gd name="T0" fmla="*/ 214 w 225"/>
              <a:gd name="T1" fmla="*/ 235 h 331"/>
              <a:gd name="T2" fmla="*/ 201 w 225"/>
              <a:gd name="T3" fmla="*/ 231 h 331"/>
              <a:gd name="T4" fmla="*/ 196 w 225"/>
              <a:gd name="T5" fmla="*/ 216 h 331"/>
              <a:gd name="T6" fmla="*/ 188 w 225"/>
              <a:gd name="T7" fmla="*/ 220 h 331"/>
              <a:gd name="T8" fmla="*/ 171 w 225"/>
              <a:gd name="T9" fmla="*/ 227 h 331"/>
              <a:gd name="T10" fmla="*/ 154 w 225"/>
              <a:gd name="T11" fmla="*/ 223 h 331"/>
              <a:gd name="T12" fmla="*/ 147 w 225"/>
              <a:gd name="T13" fmla="*/ 206 h 331"/>
              <a:gd name="T14" fmla="*/ 158 w 225"/>
              <a:gd name="T15" fmla="*/ 212 h 331"/>
              <a:gd name="T16" fmla="*/ 171 w 225"/>
              <a:gd name="T17" fmla="*/ 201 h 331"/>
              <a:gd name="T18" fmla="*/ 164 w 225"/>
              <a:gd name="T19" fmla="*/ 196 h 331"/>
              <a:gd name="T20" fmla="*/ 147 w 225"/>
              <a:gd name="T21" fmla="*/ 201 h 331"/>
              <a:gd name="T22" fmla="*/ 148 w 225"/>
              <a:gd name="T23" fmla="*/ 191 h 331"/>
              <a:gd name="T24" fmla="*/ 140 w 225"/>
              <a:gd name="T25" fmla="*/ 175 h 331"/>
              <a:gd name="T26" fmla="*/ 146 w 225"/>
              <a:gd name="T27" fmla="*/ 163 h 331"/>
              <a:gd name="T28" fmla="*/ 157 w 225"/>
              <a:gd name="T29" fmla="*/ 151 h 331"/>
              <a:gd name="T30" fmla="*/ 156 w 225"/>
              <a:gd name="T31" fmla="*/ 125 h 331"/>
              <a:gd name="T32" fmla="*/ 177 w 225"/>
              <a:gd name="T33" fmla="*/ 99 h 331"/>
              <a:gd name="T34" fmla="*/ 177 w 225"/>
              <a:gd name="T35" fmla="*/ 86 h 331"/>
              <a:gd name="T36" fmla="*/ 178 w 225"/>
              <a:gd name="T37" fmla="*/ 62 h 331"/>
              <a:gd name="T38" fmla="*/ 180 w 225"/>
              <a:gd name="T39" fmla="*/ 42 h 331"/>
              <a:gd name="T40" fmla="*/ 194 w 225"/>
              <a:gd name="T41" fmla="*/ 18 h 331"/>
              <a:gd name="T42" fmla="*/ 187 w 225"/>
              <a:gd name="T43" fmla="*/ 7 h 331"/>
              <a:gd name="T44" fmla="*/ 162 w 225"/>
              <a:gd name="T45" fmla="*/ 15 h 331"/>
              <a:gd name="T46" fmla="*/ 151 w 225"/>
              <a:gd name="T47" fmla="*/ 20 h 331"/>
              <a:gd name="T48" fmla="*/ 139 w 225"/>
              <a:gd name="T49" fmla="*/ 29 h 331"/>
              <a:gd name="T50" fmla="*/ 128 w 225"/>
              <a:gd name="T51" fmla="*/ 41 h 331"/>
              <a:gd name="T52" fmla="*/ 115 w 225"/>
              <a:gd name="T53" fmla="*/ 46 h 331"/>
              <a:gd name="T54" fmla="*/ 91 w 225"/>
              <a:gd name="T55" fmla="*/ 44 h 331"/>
              <a:gd name="T56" fmla="*/ 86 w 225"/>
              <a:gd name="T57" fmla="*/ 61 h 331"/>
              <a:gd name="T58" fmla="*/ 54 w 225"/>
              <a:gd name="T59" fmla="*/ 63 h 331"/>
              <a:gd name="T60" fmla="*/ 40 w 225"/>
              <a:gd name="T61" fmla="*/ 79 h 331"/>
              <a:gd name="T62" fmla="*/ 22 w 225"/>
              <a:gd name="T63" fmla="*/ 82 h 331"/>
              <a:gd name="T64" fmla="*/ 28 w 225"/>
              <a:gd name="T65" fmla="*/ 103 h 331"/>
              <a:gd name="T66" fmla="*/ 17 w 225"/>
              <a:gd name="T67" fmla="*/ 116 h 331"/>
              <a:gd name="T68" fmla="*/ 16 w 225"/>
              <a:gd name="T69" fmla="*/ 131 h 331"/>
              <a:gd name="T70" fmla="*/ 16 w 225"/>
              <a:gd name="T71" fmla="*/ 148 h 331"/>
              <a:gd name="T72" fmla="*/ 9 w 225"/>
              <a:gd name="T73" fmla="*/ 158 h 331"/>
              <a:gd name="T74" fmla="*/ 3 w 225"/>
              <a:gd name="T75" fmla="*/ 166 h 331"/>
              <a:gd name="T76" fmla="*/ 14 w 225"/>
              <a:gd name="T77" fmla="*/ 175 h 331"/>
              <a:gd name="T78" fmla="*/ 19 w 225"/>
              <a:gd name="T79" fmla="*/ 190 h 331"/>
              <a:gd name="T80" fmla="*/ 26 w 225"/>
              <a:gd name="T81" fmla="*/ 209 h 331"/>
              <a:gd name="T82" fmla="*/ 29 w 225"/>
              <a:gd name="T83" fmla="*/ 231 h 331"/>
              <a:gd name="T84" fmla="*/ 32 w 225"/>
              <a:gd name="T85" fmla="*/ 245 h 331"/>
              <a:gd name="T86" fmla="*/ 38 w 225"/>
              <a:gd name="T87" fmla="*/ 268 h 331"/>
              <a:gd name="T88" fmla="*/ 48 w 225"/>
              <a:gd name="T89" fmla="*/ 274 h 331"/>
              <a:gd name="T90" fmla="*/ 58 w 225"/>
              <a:gd name="T91" fmla="*/ 276 h 331"/>
              <a:gd name="T92" fmla="*/ 62 w 225"/>
              <a:gd name="T93" fmla="*/ 286 h 331"/>
              <a:gd name="T94" fmla="*/ 84 w 225"/>
              <a:gd name="T95" fmla="*/ 306 h 331"/>
              <a:gd name="T96" fmla="*/ 103 w 225"/>
              <a:gd name="T97" fmla="*/ 316 h 331"/>
              <a:gd name="T98" fmla="*/ 115 w 225"/>
              <a:gd name="T99" fmla="*/ 326 h 331"/>
              <a:gd name="T100" fmla="*/ 130 w 225"/>
              <a:gd name="T101" fmla="*/ 330 h 331"/>
              <a:gd name="T102" fmla="*/ 149 w 225"/>
              <a:gd name="T103" fmla="*/ 322 h 331"/>
              <a:gd name="T104" fmla="*/ 179 w 225"/>
              <a:gd name="T105" fmla="*/ 312 h 331"/>
              <a:gd name="T106" fmla="*/ 175 w 225"/>
              <a:gd name="T107" fmla="*/ 288 h 331"/>
              <a:gd name="T108" fmla="*/ 193 w 225"/>
              <a:gd name="T109" fmla="*/ 272 h 331"/>
              <a:gd name="T110" fmla="*/ 209 w 225"/>
              <a:gd name="T111" fmla="*/ 271 h 331"/>
              <a:gd name="T112" fmla="*/ 222 w 225"/>
              <a:gd name="T113" fmla="*/ 26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 h="331">
                <a:moveTo>
                  <a:pt x="224" y="249"/>
                </a:moveTo>
                <a:cubicBezTo>
                  <a:pt x="221" y="247"/>
                  <a:pt x="218" y="248"/>
                  <a:pt x="215" y="248"/>
                </a:cubicBezTo>
                <a:cubicBezTo>
                  <a:pt x="215" y="247"/>
                  <a:pt x="215" y="246"/>
                  <a:pt x="214" y="245"/>
                </a:cubicBezTo>
                <a:cubicBezTo>
                  <a:pt x="214" y="244"/>
                  <a:pt x="214" y="242"/>
                  <a:pt x="214" y="241"/>
                </a:cubicBezTo>
                <a:cubicBezTo>
                  <a:pt x="214" y="240"/>
                  <a:pt x="216" y="236"/>
                  <a:pt x="214" y="235"/>
                </a:cubicBezTo>
                <a:cubicBezTo>
                  <a:pt x="213" y="234"/>
                  <a:pt x="206" y="234"/>
                  <a:pt x="206" y="236"/>
                </a:cubicBezTo>
                <a:cubicBezTo>
                  <a:pt x="205" y="236"/>
                  <a:pt x="205" y="236"/>
                  <a:pt x="205" y="236"/>
                </a:cubicBezTo>
                <a:cubicBezTo>
                  <a:pt x="205" y="235"/>
                  <a:pt x="206" y="233"/>
                  <a:pt x="205" y="232"/>
                </a:cubicBezTo>
                <a:cubicBezTo>
                  <a:pt x="205" y="232"/>
                  <a:pt x="204" y="231"/>
                  <a:pt x="204" y="231"/>
                </a:cubicBezTo>
                <a:cubicBezTo>
                  <a:pt x="203" y="231"/>
                  <a:pt x="202" y="232"/>
                  <a:pt x="201" y="231"/>
                </a:cubicBezTo>
                <a:cubicBezTo>
                  <a:pt x="199" y="230"/>
                  <a:pt x="201" y="229"/>
                  <a:pt x="202" y="230"/>
                </a:cubicBezTo>
                <a:cubicBezTo>
                  <a:pt x="202" y="228"/>
                  <a:pt x="204" y="222"/>
                  <a:pt x="201" y="221"/>
                </a:cubicBezTo>
                <a:cubicBezTo>
                  <a:pt x="200" y="220"/>
                  <a:pt x="196" y="220"/>
                  <a:pt x="196" y="222"/>
                </a:cubicBezTo>
                <a:cubicBezTo>
                  <a:pt x="196" y="222"/>
                  <a:pt x="195" y="222"/>
                  <a:pt x="195" y="222"/>
                </a:cubicBezTo>
                <a:cubicBezTo>
                  <a:pt x="195" y="220"/>
                  <a:pt x="196" y="219"/>
                  <a:pt x="196" y="216"/>
                </a:cubicBezTo>
                <a:cubicBezTo>
                  <a:pt x="196" y="216"/>
                  <a:pt x="195" y="216"/>
                  <a:pt x="195" y="216"/>
                </a:cubicBezTo>
                <a:cubicBezTo>
                  <a:pt x="194" y="217"/>
                  <a:pt x="195" y="218"/>
                  <a:pt x="194" y="218"/>
                </a:cubicBezTo>
                <a:cubicBezTo>
                  <a:pt x="194" y="218"/>
                  <a:pt x="193" y="218"/>
                  <a:pt x="193" y="218"/>
                </a:cubicBezTo>
                <a:cubicBezTo>
                  <a:pt x="193" y="216"/>
                  <a:pt x="189" y="217"/>
                  <a:pt x="187" y="217"/>
                </a:cubicBezTo>
                <a:cubicBezTo>
                  <a:pt x="188" y="218"/>
                  <a:pt x="188" y="219"/>
                  <a:pt x="188" y="220"/>
                </a:cubicBezTo>
                <a:cubicBezTo>
                  <a:pt x="186" y="220"/>
                  <a:pt x="185" y="221"/>
                  <a:pt x="184" y="223"/>
                </a:cubicBezTo>
                <a:cubicBezTo>
                  <a:pt x="183" y="224"/>
                  <a:pt x="181" y="224"/>
                  <a:pt x="180" y="224"/>
                </a:cubicBezTo>
                <a:cubicBezTo>
                  <a:pt x="180" y="225"/>
                  <a:pt x="180" y="225"/>
                  <a:pt x="180" y="225"/>
                </a:cubicBezTo>
                <a:cubicBezTo>
                  <a:pt x="177" y="225"/>
                  <a:pt x="174" y="224"/>
                  <a:pt x="172" y="224"/>
                </a:cubicBezTo>
                <a:cubicBezTo>
                  <a:pt x="172" y="225"/>
                  <a:pt x="172" y="226"/>
                  <a:pt x="171" y="227"/>
                </a:cubicBezTo>
                <a:cubicBezTo>
                  <a:pt x="171" y="225"/>
                  <a:pt x="171" y="225"/>
                  <a:pt x="171" y="225"/>
                </a:cubicBezTo>
                <a:cubicBezTo>
                  <a:pt x="167" y="225"/>
                  <a:pt x="168" y="222"/>
                  <a:pt x="168" y="220"/>
                </a:cubicBezTo>
                <a:cubicBezTo>
                  <a:pt x="166" y="220"/>
                  <a:pt x="161" y="220"/>
                  <a:pt x="159" y="218"/>
                </a:cubicBezTo>
                <a:cubicBezTo>
                  <a:pt x="158" y="217"/>
                  <a:pt x="157" y="215"/>
                  <a:pt x="155" y="216"/>
                </a:cubicBezTo>
                <a:cubicBezTo>
                  <a:pt x="154" y="217"/>
                  <a:pt x="155" y="223"/>
                  <a:pt x="154" y="223"/>
                </a:cubicBezTo>
                <a:cubicBezTo>
                  <a:pt x="152" y="223"/>
                  <a:pt x="149" y="223"/>
                  <a:pt x="147" y="222"/>
                </a:cubicBezTo>
                <a:cubicBezTo>
                  <a:pt x="147" y="221"/>
                  <a:pt x="148" y="219"/>
                  <a:pt x="148" y="217"/>
                </a:cubicBezTo>
                <a:cubicBezTo>
                  <a:pt x="152" y="217"/>
                  <a:pt x="152" y="214"/>
                  <a:pt x="150" y="212"/>
                </a:cubicBezTo>
                <a:cubicBezTo>
                  <a:pt x="149" y="211"/>
                  <a:pt x="148" y="211"/>
                  <a:pt x="147" y="210"/>
                </a:cubicBezTo>
                <a:cubicBezTo>
                  <a:pt x="146" y="209"/>
                  <a:pt x="147" y="208"/>
                  <a:pt x="147" y="206"/>
                </a:cubicBezTo>
                <a:cubicBezTo>
                  <a:pt x="146" y="206"/>
                  <a:pt x="144" y="205"/>
                  <a:pt x="143" y="205"/>
                </a:cubicBezTo>
                <a:cubicBezTo>
                  <a:pt x="143" y="204"/>
                  <a:pt x="143" y="203"/>
                  <a:pt x="143" y="202"/>
                </a:cubicBezTo>
                <a:cubicBezTo>
                  <a:pt x="147" y="203"/>
                  <a:pt x="150" y="205"/>
                  <a:pt x="151" y="208"/>
                </a:cubicBezTo>
                <a:cubicBezTo>
                  <a:pt x="152" y="211"/>
                  <a:pt x="155" y="209"/>
                  <a:pt x="156" y="213"/>
                </a:cubicBezTo>
                <a:cubicBezTo>
                  <a:pt x="157" y="214"/>
                  <a:pt x="157" y="213"/>
                  <a:pt x="158" y="212"/>
                </a:cubicBezTo>
                <a:cubicBezTo>
                  <a:pt x="161" y="211"/>
                  <a:pt x="164" y="213"/>
                  <a:pt x="166" y="216"/>
                </a:cubicBezTo>
                <a:cubicBezTo>
                  <a:pt x="168" y="220"/>
                  <a:pt x="173" y="215"/>
                  <a:pt x="168" y="213"/>
                </a:cubicBezTo>
                <a:cubicBezTo>
                  <a:pt x="166" y="212"/>
                  <a:pt x="165" y="208"/>
                  <a:pt x="167" y="206"/>
                </a:cubicBezTo>
                <a:cubicBezTo>
                  <a:pt x="169" y="205"/>
                  <a:pt x="174" y="207"/>
                  <a:pt x="174" y="204"/>
                </a:cubicBezTo>
                <a:cubicBezTo>
                  <a:pt x="172" y="204"/>
                  <a:pt x="171" y="202"/>
                  <a:pt x="171" y="201"/>
                </a:cubicBezTo>
                <a:cubicBezTo>
                  <a:pt x="170" y="200"/>
                  <a:pt x="170" y="200"/>
                  <a:pt x="170" y="199"/>
                </a:cubicBezTo>
                <a:cubicBezTo>
                  <a:pt x="170" y="197"/>
                  <a:pt x="169" y="198"/>
                  <a:pt x="168" y="197"/>
                </a:cubicBezTo>
                <a:cubicBezTo>
                  <a:pt x="168" y="198"/>
                  <a:pt x="169" y="202"/>
                  <a:pt x="168" y="202"/>
                </a:cubicBezTo>
                <a:cubicBezTo>
                  <a:pt x="168" y="203"/>
                  <a:pt x="165" y="200"/>
                  <a:pt x="164" y="200"/>
                </a:cubicBezTo>
                <a:cubicBezTo>
                  <a:pt x="164" y="199"/>
                  <a:pt x="164" y="198"/>
                  <a:pt x="164" y="196"/>
                </a:cubicBezTo>
                <a:cubicBezTo>
                  <a:pt x="163" y="196"/>
                  <a:pt x="163" y="196"/>
                  <a:pt x="163" y="196"/>
                </a:cubicBezTo>
                <a:cubicBezTo>
                  <a:pt x="163" y="198"/>
                  <a:pt x="160" y="197"/>
                  <a:pt x="158" y="197"/>
                </a:cubicBezTo>
                <a:cubicBezTo>
                  <a:pt x="155" y="197"/>
                  <a:pt x="155" y="199"/>
                  <a:pt x="155" y="201"/>
                </a:cubicBezTo>
                <a:cubicBezTo>
                  <a:pt x="154" y="201"/>
                  <a:pt x="153" y="201"/>
                  <a:pt x="152" y="201"/>
                </a:cubicBezTo>
                <a:cubicBezTo>
                  <a:pt x="151" y="200"/>
                  <a:pt x="149" y="201"/>
                  <a:pt x="147" y="201"/>
                </a:cubicBezTo>
                <a:cubicBezTo>
                  <a:pt x="145" y="200"/>
                  <a:pt x="146" y="197"/>
                  <a:pt x="146" y="196"/>
                </a:cubicBezTo>
                <a:cubicBezTo>
                  <a:pt x="144" y="196"/>
                  <a:pt x="144" y="195"/>
                  <a:pt x="144" y="193"/>
                </a:cubicBezTo>
                <a:cubicBezTo>
                  <a:pt x="144" y="193"/>
                  <a:pt x="144" y="193"/>
                  <a:pt x="144" y="193"/>
                </a:cubicBezTo>
                <a:cubicBezTo>
                  <a:pt x="145" y="193"/>
                  <a:pt x="145" y="193"/>
                  <a:pt x="145" y="192"/>
                </a:cubicBezTo>
                <a:cubicBezTo>
                  <a:pt x="145" y="191"/>
                  <a:pt x="146" y="191"/>
                  <a:pt x="148" y="191"/>
                </a:cubicBezTo>
                <a:cubicBezTo>
                  <a:pt x="148" y="189"/>
                  <a:pt x="147" y="189"/>
                  <a:pt x="145" y="189"/>
                </a:cubicBezTo>
                <a:cubicBezTo>
                  <a:pt x="143" y="190"/>
                  <a:pt x="143" y="188"/>
                  <a:pt x="141" y="187"/>
                </a:cubicBezTo>
                <a:cubicBezTo>
                  <a:pt x="141" y="186"/>
                  <a:pt x="140" y="186"/>
                  <a:pt x="139" y="185"/>
                </a:cubicBezTo>
                <a:cubicBezTo>
                  <a:pt x="138" y="184"/>
                  <a:pt x="138" y="182"/>
                  <a:pt x="138" y="180"/>
                </a:cubicBezTo>
                <a:cubicBezTo>
                  <a:pt x="139" y="180"/>
                  <a:pt x="140" y="175"/>
                  <a:pt x="140" y="175"/>
                </a:cubicBezTo>
                <a:cubicBezTo>
                  <a:pt x="140" y="175"/>
                  <a:pt x="141" y="174"/>
                  <a:pt x="141" y="175"/>
                </a:cubicBezTo>
                <a:cubicBezTo>
                  <a:pt x="142" y="171"/>
                  <a:pt x="142" y="168"/>
                  <a:pt x="143" y="165"/>
                </a:cubicBezTo>
                <a:cubicBezTo>
                  <a:pt x="139" y="165"/>
                  <a:pt x="139" y="164"/>
                  <a:pt x="139" y="161"/>
                </a:cubicBezTo>
                <a:cubicBezTo>
                  <a:pt x="140" y="161"/>
                  <a:pt x="140" y="160"/>
                  <a:pt x="141" y="159"/>
                </a:cubicBezTo>
                <a:cubicBezTo>
                  <a:pt x="142" y="160"/>
                  <a:pt x="143" y="163"/>
                  <a:pt x="146" y="163"/>
                </a:cubicBezTo>
                <a:cubicBezTo>
                  <a:pt x="148" y="163"/>
                  <a:pt x="150" y="162"/>
                  <a:pt x="152" y="163"/>
                </a:cubicBezTo>
                <a:cubicBezTo>
                  <a:pt x="154" y="163"/>
                  <a:pt x="155" y="165"/>
                  <a:pt x="156" y="162"/>
                </a:cubicBezTo>
                <a:cubicBezTo>
                  <a:pt x="158" y="160"/>
                  <a:pt x="161" y="160"/>
                  <a:pt x="159" y="157"/>
                </a:cubicBezTo>
                <a:cubicBezTo>
                  <a:pt x="159" y="157"/>
                  <a:pt x="158" y="156"/>
                  <a:pt x="158" y="156"/>
                </a:cubicBezTo>
                <a:cubicBezTo>
                  <a:pt x="157" y="155"/>
                  <a:pt x="157" y="152"/>
                  <a:pt x="157" y="151"/>
                </a:cubicBezTo>
                <a:cubicBezTo>
                  <a:pt x="157" y="148"/>
                  <a:pt x="154" y="146"/>
                  <a:pt x="152" y="144"/>
                </a:cubicBezTo>
                <a:cubicBezTo>
                  <a:pt x="150" y="142"/>
                  <a:pt x="154" y="141"/>
                  <a:pt x="154" y="139"/>
                </a:cubicBezTo>
                <a:cubicBezTo>
                  <a:pt x="154" y="136"/>
                  <a:pt x="154" y="134"/>
                  <a:pt x="158" y="134"/>
                </a:cubicBezTo>
                <a:cubicBezTo>
                  <a:pt x="158" y="133"/>
                  <a:pt x="158" y="132"/>
                  <a:pt x="158" y="131"/>
                </a:cubicBezTo>
                <a:cubicBezTo>
                  <a:pt x="155" y="131"/>
                  <a:pt x="155" y="128"/>
                  <a:pt x="156" y="125"/>
                </a:cubicBezTo>
                <a:cubicBezTo>
                  <a:pt x="159" y="116"/>
                  <a:pt x="172" y="122"/>
                  <a:pt x="179" y="122"/>
                </a:cubicBezTo>
                <a:cubicBezTo>
                  <a:pt x="179" y="117"/>
                  <a:pt x="177" y="108"/>
                  <a:pt x="181" y="104"/>
                </a:cubicBezTo>
                <a:cubicBezTo>
                  <a:pt x="183" y="104"/>
                  <a:pt x="185" y="104"/>
                  <a:pt x="185" y="101"/>
                </a:cubicBezTo>
                <a:cubicBezTo>
                  <a:pt x="185" y="101"/>
                  <a:pt x="184" y="101"/>
                  <a:pt x="183" y="101"/>
                </a:cubicBezTo>
                <a:cubicBezTo>
                  <a:pt x="182" y="99"/>
                  <a:pt x="178" y="99"/>
                  <a:pt x="177" y="99"/>
                </a:cubicBezTo>
                <a:cubicBezTo>
                  <a:pt x="173" y="99"/>
                  <a:pt x="170" y="97"/>
                  <a:pt x="167" y="96"/>
                </a:cubicBezTo>
                <a:cubicBezTo>
                  <a:pt x="166" y="92"/>
                  <a:pt x="172" y="94"/>
                  <a:pt x="175" y="93"/>
                </a:cubicBezTo>
                <a:cubicBezTo>
                  <a:pt x="175" y="92"/>
                  <a:pt x="177" y="90"/>
                  <a:pt x="178" y="90"/>
                </a:cubicBezTo>
                <a:cubicBezTo>
                  <a:pt x="178" y="89"/>
                  <a:pt x="178" y="88"/>
                  <a:pt x="179" y="88"/>
                </a:cubicBezTo>
                <a:cubicBezTo>
                  <a:pt x="179" y="86"/>
                  <a:pt x="179" y="86"/>
                  <a:pt x="177" y="86"/>
                </a:cubicBezTo>
                <a:cubicBezTo>
                  <a:pt x="178" y="84"/>
                  <a:pt x="177" y="82"/>
                  <a:pt x="177" y="80"/>
                </a:cubicBezTo>
                <a:cubicBezTo>
                  <a:pt x="178" y="80"/>
                  <a:pt x="179" y="80"/>
                  <a:pt x="180" y="80"/>
                </a:cubicBezTo>
                <a:cubicBezTo>
                  <a:pt x="180" y="78"/>
                  <a:pt x="177" y="76"/>
                  <a:pt x="179" y="74"/>
                </a:cubicBezTo>
                <a:cubicBezTo>
                  <a:pt x="181" y="71"/>
                  <a:pt x="181" y="69"/>
                  <a:pt x="181" y="66"/>
                </a:cubicBezTo>
                <a:cubicBezTo>
                  <a:pt x="182" y="62"/>
                  <a:pt x="180" y="63"/>
                  <a:pt x="178" y="62"/>
                </a:cubicBezTo>
                <a:cubicBezTo>
                  <a:pt x="175" y="60"/>
                  <a:pt x="178" y="57"/>
                  <a:pt x="180" y="58"/>
                </a:cubicBezTo>
                <a:cubicBezTo>
                  <a:pt x="181" y="52"/>
                  <a:pt x="189" y="47"/>
                  <a:pt x="194" y="47"/>
                </a:cubicBezTo>
                <a:cubicBezTo>
                  <a:pt x="195" y="44"/>
                  <a:pt x="190" y="44"/>
                  <a:pt x="189" y="44"/>
                </a:cubicBezTo>
                <a:cubicBezTo>
                  <a:pt x="187" y="44"/>
                  <a:pt x="186" y="44"/>
                  <a:pt x="184" y="44"/>
                </a:cubicBezTo>
                <a:cubicBezTo>
                  <a:pt x="182" y="43"/>
                  <a:pt x="182" y="42"/>
                  <a:pt x="180" y="42"/>
                </a:cubicBezTo>
                <a:cubicBezTo>
                  <a:pt x="179" y="39"/>
                  <a:pt x="181" y="39"/>
                  <a:pt x="183" y="39"/>
                </a:cubicBezTo>
                <a:cubicBezTo>
                  <a:pt x="184" y="36"/>
                  <a:pt x="184" y="36"/>
                  <a:pt x="187" y="35"/>
                </a:cubicBezTo>
                <a:cubicBezTo>
                  <a:pt x="187" y="34"/>
                  <a:pt x="187" y="33"/>
                  <a:pt x="187" y="32"/>
                </a:cubicBezTo>
                <a:cubicBezTo>
                  <a:pt x="189" y="32"/>
                  <a:pt x="193" y="28"/>
                  <a:pt x="193" y="27"/>
                </a:cubicBezTo>
                <a:cubicBezTo>
                  <a:pt x="194" y="24"/>
                  <a:pt x="190" y="18"/>
                  <a:pt x="194" y="18"/>
                </a:cubicBezTo>
                <a:cubicBezTo>
                  <a:pt x="194" y="17"/>
                  <a:pt x="194" y="16"/>
                  <a:pt x="194" y="15"/>
                </a:cubicBezTo>
                <a:cubicBezTo>
                  <a:pt x="193" y="15"/>
                  <a:pt x="193" y="11"/>
                  <a:pt x="193" y="10"/>
                </a:cubicBezTo>
                <a:cubicBezTo>
                  <a:pt x="194" y="10"/>
                  <a:pt x="194" y="10"/>
                  <a:pt x="195" y="10"/>
                </a:cubicBezTo>
                <a:cubicBezTo>
                  <a:pt x="194" y="7"/>
                  <a:pt x="194" y="7"/>
                  <a:pt x="194" y="7"/>
                </a:cubicBezTo>
                <a:cubicBezTo>
                  <a:pt x="194" y="7"/>
                  <a:pt x="188" y="5"/>
                  <a:pt x="187" y="7"/>
                </a:cubicBezTo>
                <a:cubicBezTo>
                  <a:pt x="183" y="13"/>
                  <a:pt x="184" y="2"/>
                  <a:pt x="183" y="0"/>
                </a:cubicBezTo>
                <a:cubicBezTo>
                  <a:pt x="179" y="0"/>
                  <a:pt x="180" y="0"/>
                  <a:pt x="178" y="3"/>
                </a:cubicBezTo>
                <a:cubicBezTo>
                  <a:pt x="177" y="6"/>
                  <a:pt x="174" y="7"/>
                  <a:pt x="172" y="9"/>
                </a:cubicBezTo>
                <a:cubicBezTo>
                  <a:pt x="170" y="13"/>
                  <a:pt x="163" y="6"/>
                  <a:pt x="160" y="13"/>
                </a:cubicBezTo>
                <a:cubicBezTo>
                  <a:pt x="162" y="13"/>
                  <a:pt x="162" y="14"/>
                  <a:pt x="162" y="15"/>
                </a:cubicBezTo>
                <a:cubicBezTo>
                  <a:pt x="162" y="17"/>
                  <a:pt x="162" y="17"/>
                  <a:pt x="160" y="17"/>
                </a:cubicBezTo>
                <a:cubicBezTo>
                  <a:pt x="160" y="18"/>
                  <a:pt x="160" y="20"/>
                  <a:pt x="160" y="20"/>
                </a:cubicBezTo>
                <a:cubicBezTo>
                  <a:pt x="159" y="21"/>
                  <a:pt x="159" y="21"/>
                  <a:pt x="159" y="21"/>
                </a:cubicBezTo>
                <a:cubicBezTo>
                  <a:pt x="156" y="23"/>
                  <a:pt x="154" y="23"/>
                  <a:pt x="151" y="22"/>
                </a:cubicBezTo>
                <a:cubicBezTo>
                  <a:pt x="151" y="21"/>
                  <a:pt x="151" y="21"/>
                  <a:pt x="151" y="20"/>
                </a:cubicBezTo>
                <a:cubicBezTo>
                  <a:pt x="151" y="20"/>
                  <a:pt x="151" y="20"/>
                  <a:pt x="151" y="20"/>
                </a:cubicBezTo>
                <a:cubicBezTo>
                  <a:pt x="151" y="22"/>
                  <a:pt x="150" y="24"/>
                  <a:pt x="151" y="25"/>
                </a:cubicBezTo>
                <a:cubicBezTo>
                  <a:pt x="153" y="26"/>
                  <a:pt x="153" y="27"/>
                  <a:pt x="150" y="28"/>
                </a:cubicBezTo>
                <a:cubicBezTo>
                  <a:pt x="147" y="29"/>
                  <a:pt x="147" y="35"/>
                  <a:pt x="145" y="29"/>
                </a:cubicBezTo>
                <a:cubicBezTo>
                  <a:pt x="143" y="30"/>
                  <a:pt x="141" y="28"/>
                  <a:pt x="139" y="29"/>
                </a:cubicBezTo>
                <a:cubicBezTo>
                  <a:pt x="137" y="29"/>
                  <a:pt x="137" y="31"/>
                  <a:pt x="135" y="32"/>
                </a:cubicBezTo>
                <a:cubicBezTo>
                  <a:pt x="134" y="33"/>
                  <a:pt x="135" y="36"/>
                  <a:pt x="133" y="36"/>
                </a:cubicBezTo>
                <a:cubicBezTo>
                  <a:pt x="132" y="36"/>
                  <a:pt x="130" y="35"/>
                  <a:pt x="128" y="35"/>
                </a:cubicBezTo>
                <a:cubicBezTo>
                  <a:pt x="128" y="36"/>
                  <a:pt x="129" y="37"/>
                  <a:pt x="129" y="38"/>
                </a:cubicBezTo>
                <a:cubicBezTo>
                  <a:pt x="130" y="39"/>
                  <a:pt x="128" y="40"/>
                  <a:pt x="128" y="41"/>
                </a:cubicBezTo>
                <a:cubicBezTo>
                  <a:pt x="128" y="43"/>
                  <a:pt x="129" y="46"/>
                  <a:pt x="131" y="47"/>
                </a:cubicBezTo>
                <a:cubicBezTo>
                  <a:pt x="131" y="48"/>
                  <a:pt x="130" y="49"/>
                  <a:pt x="129" y="50"/>
                </a:cubicBezTo>
                <a:cubicBezTo>
                  <a:pt x="126" y="48"/>
                  <a:pt x="126" y="47"/>
                  <a:pt x="122" y="47"/>
                </a:cubicBezTo>
                <a:cubicBezTo>
                  <a:pt x="115" y="44"/>
                  <a:pt x="115" y="44"/>
                  <a:pt x="115" y="44"/>
                </a:cubicBezTo>
                <a:cubicBezTo>
                  <a:pt x="115" y="46"/>
                  <a:pt x="115" y="46"/>
                  <a:pt x="115" y="46"/>
                </a:cubicBezTo>
                <a:cubicBezTo>
                  <a:pt x="113" y="46"/>
                  <a:pt x="110" y="46"/>
                  <a:pt x="108" y="45"/>
                </a:cubicBezTo>
                <a:cubicBezTo>
                  <a:pt x="107" y="44"/>
                  <a:pt x="105" y="40"/>
                  <a:pt x="102" y="40"/>
                </a:cubicBezTo>
                <a:cubicBezTo>
                  <a:pt x="102" y="42"/>
                  <a:pt x="98" y="41"/>
                  <a:pt x="98" y="40"/>
                </a:cubicBezTo>
                <a:cubicBezTo>
                  <a:pt x="96" y="38"/>
                  <a:pt x="95" y="36"/>
                  <a:pt x="92" y="37"/>
                </a:cubicBezTo>
                <a:cubicBezTo>
                  <a:pt x="92" y="39"/>
                  <a:pt x="91" y="41"/>
                  <a:pt x="91" y="44"/>
                </a:cubicBezTo>
                <a:cubicBezTo>
                  <a:pt x="91" y="46"/>
                  <a:pt x="93" y="48"/>
                  <a:pt x="93" y="51"/>
                </a:cubicBezTo>
                <a:cubicBezTo>
                  <a:pt x="91" y="51"/>
                  <a:pt x="90" y="53"/>
                  <a:pt x="91" y="55"/>
                </a:cubicBezTo>
                <a:cubicBezTo>
                  <a:pt x="92" y="57"/>
                  <a:pt x="92" y="58"/>
                  <a:pt x="92" y="60"/>
                </a:cubicBezTo>
                <a:cubicBezTo>
                  <a:pt x="92" y="62"/>
                  <a:pt x="92" y="65"/>
                  <a:pt x="90" y="63"/>
                </a:cubicBezTo>
                <a:cubicBezTo>
                  <a:pt x="88" y="62"/>
                  <a:pt x="89" y="61"/>
                  <a:pt x="86" y="61"/>
                </a:cubicBezTo>
                <a:cubicBezTo>
                  <a:pt x="86" y="62"/>
                  <a:pt x="86" y="63"/>
                  <a:pt x="86" y="64"/>
                </a:cubicBezTo>
                <a:cubicBezTo>
                  <a:pt x="81" y="64"/>
                  <a:pt x="75" y="62"/>
                  <a:pt x="71" y="63"/>
                </a:cubicBezTo>
                <a:cubicBezTo>
                  <a:pt x="71" y="65"/>
                  <a:pt x="72" y="66"/>
                  <a:pt x="70" y="67"/>
                </a:cubicBezTo>
                <a:cubicBezTo>
                  <a:pt x="69" y="68"/>
                  <a:pt x="67" y="68"/>
                  <a:pt x="66" y="67"/>
                </a:cubicBezTo>
                <a:cubicBezTo>
                  <a:pt x="63" y="63"/>
                  <a:pt x="58" y="63"/>
                  <a:pt x="54" y="63"/>
                </a:cubicBezTo>
                <a:cubicBezTo>
                  <a:pt x="55" y="63"/>
                  <a:pt x="54" y="66"/>
                  <a:pt x="54" y="67"/>
                </a:cubicBezTo>
                <a:cubicBezTo>
                  <a:pt x="54" y="67"/>
                  <a:pt x="53" y="67"/>
                  <a:pt x="52" y="67"/>
                </a:cubicBezTo>
                <a:cubicBezTo>
                  <a:pt x="52" y="70"/>
                  <a:pt x="51" y="72"/>
                  <a:pt x="48" y="72"/>
                </a:cubicBezTo>
                <a:cubicBezTo>
                  <a:pt x="47" y="72"/>
                  <a:pt x="43" y="73"/>
                  <a:pt x="43" y="74"/>
                </a:cubicBezTo>
                <a:cubicBezTo>
                  <a:pt x="39" y="74"/>
                  <a:pt x="37" y="77"/>
                  <a:pt x="40" y="79"/>
                </a:cubicBezTo>
                <a:cubicBezTo>
                  <a:pt x="38" y="79"/>
                  <a:pt x="36" y="80"/>
                  <a:pt x="34" y="80"/>
                </a:cubicBezTo>
                <a:cubicBezTo>
                  <a:pt x="34" y="78"/>
                  <a:pt x="34" y="77"/>
                  <a:pt x="32" y="76"/>
                </a:cubicBezTo>
                <a:cubicBezTo>
                  <a:pt x="30" y="76"/>
                  <a:pt x="28" y="75"/>
                  <a:pt x="27" y="77"/>
                </a:cubicBezTo>
                <a:cubicBezTo>
                  <a:pt x="26" y="79"/>
                  <a:pt x="27" y="79"/>
                  <a:pt x="24" y="79"/>
                </a:cubicBezTo>
                <a:cubicBezTo>
                  <a:pt x="22" y="80"/>
                  <a:pt x="22" y="81"/>
                  <a:pt x="22" y="82"/>
                </a:cubicBezTo>
                <a:cubicBezTo>
                  <a:pt x="20" y="83"/>
                  <a:pt x="20" y="80"/>
                  <a:pt x="18" y="81"/>
                </a:cubicBezTo>
                <a:cubicBezTo>
                  <a:pt x="17" y="83"/>
                  <a:pt x="23" y="87"/>
                  <a:pt x="21" y="89"/>
                </a:cubicBezTo>
                <a:cubicBezTo>
                  <a:pt x="20" y="90"/>
                  <a:pt x="19" y="90"/>
                  <a:pt x="20" y="93"/>
                </a:cubicBezTo>
                <a:cubicBezTo>
                  <a:pt x="20" y="94"/>
                  <a:pt x="22" y="96"/>
                  <a:pt x="22" y="94"/>
                </a:cubicBezTo>
                <a:cubicBezTo>
                  <a:pt x="27" y="93"/>
                  <a:pt x="28" y="100"/>
                  <a:pt x="28" y="103"/>
                </a:cubicBezTo>
                <a:cubicBezTo>
                  <a:pt x="26" y="103"/>
                  <a:pt x="24" y="103"/>
                  <a:pt x="21" y="104"/>
                </a:cubicBezTo>
                <a:cubicBezTo>
                  <a:pt x="20" y="107"/>
                  <a:pt x="24" y="106"/>
                  <a:pt x="26" y="107"/>
                </a:cubicBezTo>
                <a:cubicBezTo>
                  <a:pt x="28" y="109"/>
                  <a:pt x="24" y="113"/>
                  <a:pt x="22" y="113"/>
                </a:cubicBezTo>
                <a:cubicBezTo>
                  <a:pt x="22" y="114"/>
                  <a:pt x="22" y="116"/>
                  <a:pt x="22" y="117"/>
                </a:cubicBezTo>
                <a:cubicBezTo>
                  <a:pt x="20" y="117"/>
                  <a:pt x="19" y="116"/>
                  <a:pt x="17" y="116"/>
                </a:cubicBezTo>
                <a:cubicBezTo>
                  <a:pt x="17" y="117"/>
                  <a:pt x="17" y="117"/>
                  <a:pt x="17" y="117"/>
                </a:cubicBezTo>
                <a:cubicBezTo>
                  <a:pt x="18" y="117"/>
                  <a:pt x="18" y="117"/>
                  <a:pt x="18" y="118"/>
                </a:cubicBezTo>
                <a:cubicBezTo>
                  <a:pt x="15" y="118"/>
                  <a:pt x="7" y="119"/>
                  <a:pt x="8" y="124"/>
                </a:cubicBezTo>
                <a:cubicBezTo>
                  <a:pt x="12" y="124"/>
                  <a:pt x="12" y="124"/>
                  <a:pt x="15" y="126"/>
                </a:cubicBezTo>
                <a:cubicBezTo>
                  <a:pt x="16" y="127"/>
                  <a:pt x="19" y="130"/>
                  <a:pt x="16" y="131"/>
                </a:cubicBezTo>
                <a:cubicBezTo>
                  <a:pt x="17" y="133"/>
                  <a:pt x="15" y="136"/>
                  <a:pt x="15" y="138"/>
                </a:cubicBezTo>
                <a:cubicBezTo>
                  <a:pt x="17" y="138"/>
                  <a:pt x="19" y="140"/>
                  <a:pt x="18" y="142"/>
                </a:cubicBezTo>
                <a:cubicBezTo>
                  <a:pt x="18" y="142"/>
                  <a:pt x="17" y="142"/>
                  <a:pt x="17" y="143"/>
                </a:cubicBezTo>
                <a:cubicBezTo>
                  <a:pt x="17" y="144"/>
                  <a:pt x="14" y="144"/>
                  <a:pt x="14" y="144"/>
                </a:cubicBezTo>
                <a:cubicBezTo>
                  <a:pt x="13" y="146"/>
                  <a:pt x="17" y="145"/>
                  <a:pt x="16" y="148"/>
                </a:cubicBezTo>
                <a:cubicBezTo>
                  <a:pt x="16" y="148"/>
                  <a:pt x="16" y="148"/>
                  <a:pt x="16" y="148"/>
                </a:cubicBezTo>
                <a:cubicBezTo>
                  <a:pt x="15" y="150"/>
                  <a:pt x="16" y="153"/>
                  <a:pt x="14" y="154"/>
                </a:cubicBezTo>
                <a:cubicBezTo>
                  <a:pt x="13" y="155"/>
                  <a:pt x="13" y="156"/>
                  <a:pt x="13" y="158"/>
                </a:cubicBezTo>
                <a:cubicBezTo>
                  <a:pt x="11" y="158"/>
                  <a:pt x="10" y="156"/>
                  <a:pt x="9" y="156"/>
                </a:cubicBezTo>
                <a:cubicBezTo>
                  <a:pt x="9" y="157"/>
                  <a:pt x="9" y="158"/>
                  <a:pt x="9" y="158"/>
                </a:cubicBezTo>
                <a:cubicBezTo>
                  <a:pt x="7" y="158"/>
                  <a:pt x="5" y="158"/>
                  <a:pt x="3" y="158"/>
                </a:cubicBezTo>
                <a:cubicBezTo>
                  <a:pt x="3" y="159"/>
                  <a:pt x="3" y="159"/>
                  <a:pt x="3" y="159"/>
                </a:cubicBezTo>
                <a:cubicBezTo>
                  <a:pt x="4" y="160"/>
                  <a:pt x="6" y="160"/>
                  <a:pt x="6" y="162"/>
                </a:cubicBezTo>
                <a:cubicBezTo>
                  <a:pt x="4" y="162"/>
                  <a:pt x="0" y="160"/>
                  <a:pt x="1" y="163"/>
                </a:cubicBezTo>
                <a:cubicBezTo>
                  <a:pt x="3" y="164"/>
                  <a:pt x="2" y="165"/>
                  <a:pt x="3" y="166"/>
                </a:cubicBezTo>
                <a:cubicBezTo>
                  <a:pt x="4" y="166"/>
                  <a:pt x="6" y="165"/>
                  <a:pt x="7" y="166"/>
                </a:cubicBezTo>
                <a:cubicBezTo>
                  <a:pt x="8" y="166"/>
                  <a:pt x="8" y="168"/>
                  <a:pt x="9" y="168"/>
                </a:cubicBezTo>
                <a:cubicBezTo>
                  <a:pt x="10" y="169"/>
                  <a:pt x="11" y="168"/>
                  <a:pt x="12" y="169"/>
                </a:cubicBezTo>
                <a:cubicBezTo>
                  <a:pt x="13" y="170"/>
                  <a:pt x="12" y="172"/>
                  <a:pt x="12" y="172"/>
                </a:cubicBezTo>
                <a:cubicBezTo>
                  <a:pt x="13" y="174"/>
                  <a:pt x="14" y="173"/>
                  <a:pt x="14" y="175"/>
                </a:cubicBezTo>
                <a:cubicBezTo>
                  <a:pt x="14" y="177"/>
                  <a:pt x="14" y="179"/>
                  <a:pt x="18" y="179"/>
                </a:cubicBezTo>
                <a:cubicBezTo>
                  <a:pt x="18" y="180"/>
                  <a:pt x="16" y="180"/>
                  <a:pt x="16" y="182"/>
                </a:cubicBezTo>
                <a:cubicBezTo>
                  <a:pt x="16" y="182"/>
                  <a:pt x="17" y="184"/>
                  <a:pt x="17" y="185"/>
                </a:cubicBezTo>
                <a:cubicBezTo>
                  <a:pt x="17" y="186"/>
                  <a:pt x="18" y="186"/>
                  <a:pt x="18" y="187"/>
                </a:cubicBezTo>
                <a:cubicBezTo>
                  <a:pt x="19" y="188"/>
                  <a:pt x="20" y="188"/>
                  <a:pt x="19" y="190"/>
                </a:cubicBezTo>
                <a:cubicBezTo>
                  <a:pt x="19" y="190"/>
                  <a:pt x="19" y="190"/>
                  <a:pt x="19" y="190"/>
                </a:cubicBezTo>
                <a:cubicBezTo>
                  <a:pt x="19" y="191"/>
                  <a:pt x="19" y="191"/>
                  <a:pt x="19" y="191"/>
                </a:cubicBezTo>
                <a:cubicBezTo>
                  <a:pt x="22" y="191"/>
                  <a:pt x="19" y="197"/>
                  <a:pt x="18" y="198"/>
                </a:cubicBezTo>
                <a:cubicBezTo>
                  <a:pt x="21" y="199"/>
                  <a:pt x="24" y="203"/>
                  <a:pt x="25" y="206"/>
                </a:cubicBezTo>
                <a:cubicBezTo>
                  <a:pt x="25" y="207"/>
                  <a:pt x="26" y="208"/>
                  <a:pt x="26" y="209"/>
                </a:cubicBezTo>
                <a:cubicBezTo>
                  <a:pt x="26" y="210"/>
                  <a:pt x="27" y="210"/>
                  <a:pt x="27" y="211"/>
                </a:cubicBezTo>
                <a:cubicBezTo>
                  <a:pt x="27" y="212"/>
                  <a:pt x="27" y="214"/>
                  <a:pt x="27" y="216"/>
                </a:cubicBezTo>
                <a:cubicBezTo>
                  <a:pt x="28" y="216"/>
                  <a:pt x="30" y="216"/>
                  <a:pt x="30" y="218"/>
                </a:cubicBezTo>
                <a:cubicBezTo>
                  <a:pt x="26" y="219"/>
                  <a:pt x="29" y="221"/>
                  <a:pt x="29" y="224"/>
                </a:cubicBezTo>
                <a:cubicBezTo>
                  <a:pt x="30" y="227"/>
                  <a:pt x="30" y="229"/>
                  <a:pt x="29" y="231"/>
                </a:cubicBezTo>
                <a:cubicBezTo>
                  <a:pt x="29" y="231"/>
                  <a:pt x="26" y="232"/>
                  <a:pt x="26" y="233"/>
                </a:cubicBezTo>
                <a:cubicBezTo>
                  <a:pt x="25" y="234"/>
                  <a:pt x="27" y="234"/>
                  <a:pt x="28" y="234"/>
                </a:cubicBezTo>
                <a:cubicBezTo>
                  <a:pt x="29" y="235"/>
                  <a:pt x="29" y="235"/>
                  <a:pt x="30" y="237"/>
                </a:cubicBezTo>
                <a:cubicBezTo>
                  <a:pt x="30" y="238"/>
                  <a:pt x="30" y="239"/>
                  <a:pt x="31" y="241"/>
                </a:cubicBezTo>
                <a:cubicBezTo>
                  <a:pt x="32" y="242"/>
                  <a:pt x="32" y="243"/>
                  <a:pt x="32" y="245"/>
                </a:cubicBezTo>
                <a:cubicBezTo>
                  <a:pt x="32" y="246"/>
                  <a:pt x="32" y="247"/>
                  <a:pt x="32" y="249"/>
                </a:cubicBezTo>
                <a:cubicBezTo>
                  <a:pt x="32" y="250"/>
                  <a:pt x="32" y="251"/>
                  <a:pt x="32" y="252"/>
                </a:cubicBezTo>
                <a:cubicBezTo>
                  <a:pt x="33" y="254"/>
                  <a:pt x="34" y="253"/>
                  <a:pt x="35" y="254"/>
                </a:cubicBezTo>
                <a:cubicBezTo>
                  <a:pt x="32" y="256"/>
                  <a:pt x="35" y="259"/>
                  <a:pt x="36" y="262"/>
                </a:cubicBezTo>
                <a:cubicBezTo>
                  <a:pt x="37" y="264"/>
                  <a:pt x="37" y="266"/>
                  <a:pt x="38" y="268"/>
                </a:cubicBezTo>
                <a:cubicBezTo>
                  <a:pt x="38" y="268"/>
                  <a:pt x="39" y="268"/>
                  <a:pt x="40" y="268"/>
                </a:cubicBezTo>
                <a:cubicBezTo>
                  <a:pt x="42" y="268"/>
                  <a:pt x="42" y="267"/>
                  <a:pt x="44" y="267"/>
                </a:cubicBezTo>
                <a:cubicBezTo>
                  <a:pt x="45" y="267"/>
                  <a:pt x="44" y="270"/>
                  <a:pt x="44" y="270"/>
                </a:cubicBezTo>
                <a:cubicBezTo>
                  <a:pt x="46" y="270"/>
                  <a:pt x="48" y="272"/>
                  <a:pt x="46" y="272"/>
                </a:cubicBezTo>
                <a:cubicBezTo>
                  <a:pt x="46" y="273"/>
                  <a:pt x="47" y="274"/>
                  <a:pt x="48" y="274"/>
                </a:cubicBezTo>
                <a:cubicBezTo>
                  <a:pt x="48" y="272"/>
                  <a:pt x="49" y="272"/>
                  <a:pt x="51" y="273"/>
                </a:cubicBezTo>
                <a:cubicBezTo>
                  <a:pt x="54" y="275"/>
                  <a:pt x="51" y="275"/>
                  <a:pt x="52" y="276"/>
                </a:cubicBezTo>
                <a:cubicBezTo>
                  <a:pt x="53" y="277"/>
                  <a:pt x="54" y="277"/>
                  <a:pt x="55" y="277"/>
                </a:cubicBezTo>
                <a:cubicBezTo>
                  <a:pt x="55" y="277"/>
                  <a:pt x="55" y="278"/>
                  <a:pt x="55" y="279"/>
                </a:cubicBezTo>
                <a:cubicBezTo>
                  <a:pt x="55" y="278"/>
                  <a:pt x="57" y="276"/>
                  <a:pt x="58" y="276"/>
                </a:cubicBezTo>
                <a:cubicBezTo>
                  <a:pt x="58" y="278"/>
                  <a:pt x="58" y="279"/>
                  <a:pt x="57" y="280"/>
                </a:cubicBezTo>
                <a:cubicBezTo>
                  <a:pt x="59" y="280"/>
                  <a:pt x="60" y="282"/>
                  <a:pt x="60" y="283"/>
                </a:cubicBezTo>
                <a:cubicBezTo>
                  <a:pt x="62" y="283"/>
                  <a:pt x="62" y="283"/>
                  <a:pt x="62" y="283"/>
                </a:cubicBezTo>
                <a:cubicBezTo>
                  <a:pt x="62" y="282"/>
                  <a:pt x="65" y="282"/>
                  <a:pt x="64" y="283"/>
                </a:cubicBezTo>
                <a:cubicBezTo>
                  <a:pt x="64" y="285"/>
                  <a:pt x="62" y="285"/>
                  <a:pt x="62" y="286"/>
                </a:cubicBezTo>
                <a:cubicBezTo>
                  <a:pt x="62" y="288"/>
                  <a:pt x="63" y="288"/>
                  <a:pt x="63" y="290"/>
                </a:cubicBezTo>
                <a:cubicBezTo>
                  <a:pt x="63" y="293"/>
                  <a:pt x="64" y="292"/>
                  <a:pt x="67" y="293"/>
                </a:cubicBezTo>
                <a:cubicBezTo>
                  <a:pt x="69" y="293"/>
                  <a:pt x="71" y="298"/>
                  <a:pt x="71" y="300"/>
                </a:cubicBezTo>
                <a:cubicBezTo>
                  <a:pt x="74" y="300"/>
                  <a:pt x="75" y="302"/>
                  <a:pt x="77" y="303"/>
                </a:cubicBezTo>
                <a:cubicBezTo>
                  <a:pt x="78" y="305"/>
                  <a:pt x="83" y="304"/>
                  <a:pt x="84" y="306"/>
                </a:cubicBezTo>
                <a:cubicBezTo>
                  <a:pt x="84" y="309"/>
                  <a:pt x="85" y="310"/>
                  <a:pt x="88" y="312"/>
                </a:cubicBezTo>
                <a:cubicBezTo>
                  <a:pt x="89" y="312"/>
                  <a:pt x="91" y="312"/>
                  <a:pt x="92" y="312"/>
                </a:cubicBezTo>
                <a:cubicBezTo>
                  <a:pt x="94" y="312"/>
                  <a:pt x="96" y="311"/>
                  <a:pt x="98" y="311"/>
                </a:cubicBezTo>
                <a:cubicBezTo>
                  <a:pt x="98" y="312"/>
                  <a:pt x="98" y="314"/>
                  <a:pt x="98" y="315"/>
                </a:cubicBezTo>
                <a:cubicBezTo>
                  <a:pt x="99" y="315"/>
                  <a:pt x="102" y="315"/>
                  <a:pt x="103" y="316"/>
                </a:cubicBezTo>
                <a:cubicBezTo>
                  <a:pt x="103" y="317"/>
                  <a:pt x="104" y="319"/>
                  <a:pt x="104" y="319"/>
                </a:cubicBezTo>
                <a:cubicBezTo>
                  <a:pt x="104" y="319"/>
                  <a:pt x="104" y="319"/>
                  <a:pt x="104" y="319"/>
                </a:cubicBezTo>
                <a:cubicBezTo>
                  <a:pt x="106" y="318"/>
                  <a:pt x="107" y="321"/>
                  <a:pt x="109" y="322"/>
                </a:cubicBezTo>
                <a:cubicBezTo>
                  <a:pt x="111" y="322"/>
                  <a:pt x="114" y="322"/>
                  <a:pt x="114" y="324"/>
                </a:cubicBezTo>
                <a:cubicBezTo>
                  <a:pt x="114" y="324"/>
                  <a:pt x="115" y="325"/>
                  <a:pt x="115" y="326"/>
                </a:cubicBezTo>
                <a:cubicBezTo>
                  <a:pt x="115" y="326"/>
                  <a:pt x="115" y="326"/>
                  <a:pt x="115" y="326"/>
                </a:cubicBezTo>
                <a:cubicBezTo>
                  <a:pt x="117" y="326"/>
                  <a:pt x="119" y="325"/>
                  <a:pt x="120" y="326"/>
                </a:cubicBezTo>
                <a:cubicBezTo>
                  <a:pt x="121" y="327"/>
                  <a:pt x="121" y="331"/>
                  <a:pt x="121" y="331"/>
                </a:cubicBezTo>
                <a:cubicBezTo>
                  <a:pt x="122" y="331"/>
                  <a:pt x="123" y="330"/>
                  <a:pt x="125" y="330"/>
                </a:cubicBezTo>
                <a:cubicBezTo>
                  <a:pt x="126" y="330"/>
                  <a:pt x="128" y="330"/>
                  <a:pt x="130" y="330"/>
                </a:cubicBezTo>
                <a:cubicBezTo>
                  <a:pt x="135" y="330"/>
                  <a:pt x="135" y="330"/>
                  <a:pt x="136" y="326"/>
                </a:cubicBezTo>
                <a:cubicBezTo>
                  <a:pt x="136" y="323"/>
                  <a:pt x="139" y="321"/>
                  <a:pt x="142" y="321"/>
                </a:cubicBezTo>
                <a:cubicBezTo>
                  <a:pt x="143" y="321"/>
                  <a:pt x="145" y="320"/>
                  <a:pt x="146" y="321"/>
                </a:cubicBezTo>
                <a:cubicBezTo>
                  <a:pt x="147" y="322"/>
                  <a:pt x="148" y="324"/>
                  <a:pt x="149" y="324"/>
                </a:cubicBezTo>
                <a:cubicBezTo>
                  <a:pt x="149" y="323"/>
                  <a:pt x="150" y="322"/>
                  <a:pt x="149" y="322"/>
                </a:cubicBezTo>
                <a:cubicBezTo>
                  <a:pt x="153" y="321"/>
                  <a:pt x="155" y="321"/>
                  <a:pt x="158" y="322"/>
                </a:cubicBezTo>
                <a:cubicBezTo>
                  <a:pt x="160" y="322"/>
                  <a:pt x="164" y="324"/>
                  <a:pt x="166" y="324"/>
                </a:cubicBezTo>
                <a:cubicBezTo>
                  <a:pt x="166" y="322"/>
                  <a:pt x="166" y="319"/>
                  <a:pt x="168" y="317"/>
                </a:cubicBezTo>
                <a:cubicBezTo>
                  <a:pt x="171" y="315"/>
                  <a:pt x="175" y="315"/>
                  <a:pt x="178" y="315"/>
                </a:cubicBezTo>
                <a:cubicBezTo>
                  <a:pt x="178" y="314"/>
                  <a:pt x="178" y="312"/>
                  <a:pt x="179" y="312"/>
                </a:cubicBezTo>
                <a:cubicBezTo>
                  <a:pt x="180" y="311"/>
                  <a:pt x="181" y="311"/>
                  <a:pt x="181" y="310"/>
                </a:cubicBezTo>
                <a:cubicBezTo>
                  <a:pt x="181" y="308"/>
                  <a:pt x="182" y="306"/>
                  <a:pt x="181" y="304"/>
                </a:cubicBezTo>
                <a:cubicBezTo>
                  <a:pt x="180" y="300"/>
                  <a:pt x="170" y="303"/>
                  <a:pt x="167" y="300"/>
                </a:cubicBezTo>
                <a:cubicBezTo>
                  <a:pt x="169" y="299"/>
                  <a:pt x="173" y="297"/>
                  <a:pt x="174" y="296"/>
                </a:cubicBezTo>
                <a:cubicBezTo>
                  <a:pt x="176" y="294"/>
                  <a:pt x="175" y="290"/>
                  <a:pt x="175" y="288"/>
                </a:cubicBezTo>
                <a:cubicBezTo>
                  <a:pt x="175" y="288"/>
                  <a:pt x="174" y="288"/>
                  <a:pt x="174" y="288"/>
                </a:cubicBezTo>
                <a:cubicBezTo>
                  <a:pt x="175" y="285"/>
                  <a:pt x="174" y="282"/>
                  <a:pt x="174" y="280"/>
                </a:cubicBezTo>
                <a:cubicBezTo>
                  <a:pt x="177" y="280"/>
                  <a:pt x="182" y="281"/>
                  <a:pt x="183" y="278"/>
                </a:cubicBezTo>
                <a:cubicBezTo>
                  <a:pt x="185" y="276"/>
                  <a:pt x="185" y="273"/>
                  <a:pt x="185" y="271"/>
                </a:cubicBezTo>
                <a:cubicBezTo>
                  <a:pt x="186" y="269"/>
                  <a:pt x="192" y="271"/>
                  <a:pt x="193" y="272"/>
                </a:cubicBezTo>
                <a:cubicBezTo>
                  <a:pt x="196" y="276"/>
                  <a:pt x="196" y="270"/>
                  <a:pt x="199" y="271"/>
                </a:cubicBezTo>
                <a:cubicBezTo>
                  <a:pt x="200" y="272"/>
                  <a:pt x="201" y="274"/>
                  <a:pt x="202" y="274"/>
                </a:cubicBezTo>
                <a:cubicBezTo>
                  <a:pt x="204" y="275"/>
                  <a:pt x="205" y="275"/>
                  <a:pt x="206" y="275"/>
                </a:cubicBezTo>
                <a:cubicBezTo>
                  <a:pt x="206" y="275"/>
                  <a:pt x="206" y="275"/>
                  <a:pt x="206" y="275"/>
                </a:cubicBezTo>
                <a:cubicBezTo>
                  <a:pt x="207" y="274"/>
                  <a:pt x="207" y="272"/>
                  <a:pt x="209" y="271"/>
                </a:cubicBezTo>
                <a:cubicBezTo>
                  <a:pt x="210" y="270"/>
                  <a:pt x="213" y="270"/>
                  <a:pt x="213" y="269"/>
                </a:cubicBezTo>
                <a:cubicBezTo>
                  <a:pt x="211" y="269"/>
                  <a:pt x="208" y="266"/>
                  <a:pt x="211" y="265"/>
                </a:cubicBezTo>
                <a:cubicBezTo>
                  <a:pt x="214" y="265"/>
                  <a:pt x="215" y="270"/>
                  <a:pt x="217" y="270"/>
                </a:cubicBezTo>
                <a:cubicBezTo>
                  <a:pt x="220" y="270"/>
                  <a:pt x="217" y="264"/>
                  <a:pt x="218" y="263"/>
                </a:cubicBezTo>
                <a:cubicBezTo>
                  <a:pt x="218" y="260"/>
                  <a:pt x="220" y="260"/>
                  <a:pt x="222" y="260"/>
                </a:cubicBezTo>
                <a:cubicBezTo>
                  <a:pt x="222" y="259"/>
                  <a:pt x="222" y="257"/>
                  <a:pt x="223" y="257"/>
                </a:cubicBezTo>
                <a:cubicBezTo>
                  <a:pt x="224" y="255"/>
                  <a:pt x="225" y="249"/>
                  <a:pt x="224" y="249"/>
                </a:cubicBezTo>
                <a:close/>
              </a:path>
            </a:pathLst>
          </a:custGeom>
          <a:solidFill>
            <a:schemeClr val="accent3"/>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 name="Freeform 304">
            <a:extLst>
              <a:ext uri="{FF2B5EF4-FFF2-40B4-BE49-F238E27FC236}">
                <a16:creationId xmlns:a16="http://schemas.microsoft.com/office/drawing/2014/main" id="{01B906AB-1786-450F-8395-A865D5C6F72C}"/>
              </a:ext>
            </a:extLst>
          </p:cNvPr>
          <p:cNvSpPr>
            <a:spLocks/>
          </p:cNvSpPr>
          <p:nvPr/>
        </p:nvSpPr>
        <p:spPr bwMode="auto">
          <a:xfrm>
            <a:off x="1329851" y="5284881"/>
            <a:ext cx="2219" cy="2233"/>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1" y="0"/>
                  <a:pt x="1" y="1"/>
                  <a:pt x="1" y="1"/>
                </a:cubicBezTo>
                <a:cubicBezTo>
                  <a:pt x="1" y="1"/>
                  <a:pt x="1" y="0"/>
                  <a:pt x="0"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5" name="Freeform 305">
            <a:extLst>
              <a:ext uri="{FF2B5EF4-FFF2-40B4-BE49-F238E27FC236}">
                <a16:creationId xmlns:a16="http://schemas.microsoft.com/office/drawing/2014/main" id="{D0822711-6C5A-4A61-A6F4-D67655D8C24E}"/>
              </a:ext>
            </a:extLst>
          </p:cNvPr>
          <p:cNvSpPr>
            <a:spLocks/>
          </p:cNvSpPr>
          <p:nvPr/>
        </p:nvSpPr>
        <p:spPr bwMode="auto">
          <a:xfrm>
            <a:off x="1372031" y="4958962"/>
            <a:ext cx="516164" cy="666347"/>
          </a:xfrm>
          <a:custGeom>
            <a:avLst/>
            <a:gdLst>
              <a:gd name="T0" fmla="*/ 121 w 209"/>
              <a:gd name="T1" fmla="*/ 214 h 268"/>
              <a:gd name="T2" fmla="*/ 104 w 209"/>
              <a:gd name="T3" fmla="*/ 218 h 268"/>
              <a:gd name="T4" fmla="*/ 95 w 209"/>
              <a:gd name="T5" fmla="*/ 224 h 268"/>
              <a:gd name="T6" fmla="*/ 90 w 209"/>
              <a:gd name="T7" fmla="*/ 242 h 268"/>
              <a:gd name="T8" fmla="*/ 90 w 209"/>
              <a:gd name="T9" fmla="*/ 246 h 268"/>
              <a:gd name="T10" fmla="*/ 81 w 209"/>
              <a:gd name="T11" fmla="*/ 256 h 268"/>
              <a:gd name="T12" fmla="*/ 72 w 209"/>
              <a:gd name="T13" fmla="*/ 262 h 268"/>
              <a:gd name="T14" fmla="*/ 61 w 209"/>
              <a:gd name="T15" fmla="*/ 267 h 268"/>
              <a:gd name="T16" fmla="*/ 54 w 209"/>
              <a:gd name="T17" fmla="*/ 268 h 268"/>
              <a:gd name="T18" fmla="*/ 39 w 209"/>
              <a:gd name="T19" fmla="*/ 255 h 268"/>
              <a:gd name="T20" fmla="*/ 42 w 209"/>
              <a:gd name="T21" fmla="*/ 247 h 268"/>
              <a:gd name="T22" fmla="*/ 46 w 209"/>
              <a:gd name="T23" fmla="*/ 232 h 268"/>
              <a:gd name="T24" fmla="*/ 50 w 209"/>
              <a:gd name="T25" fmla="*/ 207 h 268"/>
              <a:gd name="T26" fmla="*/ 43 w 209"/>
              <a:gd name="T27" fmla="*/ 192 h 268"/>
              <a:gd name="T28" fmla="*/ 47 w 209"/>
              <a:gd name="T29" fmla="*/ 170 h 268"/>
              <a:gd name="T30" fmla="*/ 35 w 209"/>
              <a:gd name="T31" fmla="*/ 162 h 268"/>
              <a:gd name="T32" fmla="*/ 28 w 209"/>
              <a:gd name="T33" fmla="*/ 147 h 268"/>
              <a:gd name="T34" fmla="*/ 21 w 209"/>
              <a:gd name="T35" fmla="*/ 121 h 268"/>
              <a:gd name="T36" fmla="*/ 10 w 209"/>
              <a:gd name="T37" fmla="*/ 112 h 268"/>
              <a:gd name="T38" fmla="*/ 5 w 209"/>
              <a:gd name="T39" fmla="*/ 100 h 268"/>
              <a:gd name="T40" fmla="*/ 10 w 209"/>
              <a:gd name="T41" fmla="*/ 88 h 268"/>
              <a:gd name="T42" fmla="*/ 26 w 209"/>
              <a:gd name="T43" fmla="*/ 92 h 268"/>
              <a:gd name="T44" fmla="*/ 45 w 209"/>
              <a:gd name="T45" fmla="*/ 86 h 268"/>
              <a:gd name="T46" fmla="*/ 64 w 209"/>
              <a:gd name="T47" fmla="*/ 79 h 268"/>
              <a:gd name="T48" fmla="*/ 77 w 209"/>
              <a:gd name="T49" fmla="*/ 66 h 268"/>
              <a:gd name="T50" fmla="*/ 70 w 209"/>
              <a:gd name="T51" fmla="*/ 50 h 268"/>
              <a:gd name="T52" fmla="*/ 89 w 209"/>
              <a:gd name="T53" fmla="*/ 34 h 268"/>
              <a:gd name="T54" fmla="*/ 103 w 209"/>
              <a:gd name="T55" fmla="*/ 40 h 268"/>
              <a:gd name="T56" fmla="*/ 123 w 209"/>
              <a:gd name="T57" fmla="*/ 28 h 268"/>
              <a:gd name="T58" fmla="*/ 146 w 209"/>
              <a:gd name="T59" fmla="*/ 26 h 268"/>
              <a:gd name="T60" fmla="*/ 161 w 209"/>
              <a:gd name="T61" fmla="*/ 19 h 268"/>
              <a:gd name="T62" fmla="*/ 173 w 209"/>
              <a:gd name="T63" fmla="*/ 15 h 268"/>
              <a:gd name="T64" fmla="*/ 187 w 209"/>
              <a:gd name="T65" fmla="*/ 11 h 268"/>
              <a:gd name="T66" fmla="*/ 197 w 209"/>
              <a:gd name="T67" fmla="*/ 2 h 268"/>
              <a:gd name="T68" fmla="*/ 202 w 209"/>
              <a:gd name="T69" fmla="*/ 3 h 268"/>
              <a:gd name="T70" fmla="*/ 205 w 209"/>
              <a:gd name="T71" fmla="*/ 33 h 268"/>
              <a:gd name="T72" fmla="*/ 196 w 209"/>
              <a:gd name="T73" fmla="*/ 52 h 268"/>
              <a:gd name="T74" fmla="*/ 197 w 209"/>
              <a:gd name="T75" fmla="*/ 58 h 268"/>
              <a:gd name="T76" fmla="*/ 187 w 209"/>
              <a:gd name="T77" fmla="*/ 67 h 268"/>
              <a:gd name="T78" fmla="*/ 185 w 209"/>
              <a:gd name="T79" fmla="*/ 72 h 268"/>
              <a:gd name="T80" fmla="*/ 184 w 209"/>
              <a:gd name="T81" fmla="*/ 76 h 268"/>
              <a:gd name="T82" fmla="*/ 180 w 209"/>
              <a:gd name="T83" fmla="*/ 95 h 268"/>
              <a:gd name="T84" fmla="*/ 181 w 209"/>
              <a:gd name="T85" fmla="*/ 109 h 268"/>
              <a:gd name="T86" fmla="*/ 182 w 209"/>
              <a:gd name="T87" fmla="*/ 158 h 268"/>
              <a:gd name="T88" fmla="*/ 181 w 209"/>
              <a:gd name="T89" fmla="*/ 162 h 268"/>
              <a:gd name="T90" fmla="*/ 181 w 209"/>
              <a:gd name="T91" fmla="*/ 160 h 268"/>
              <a:gd name="T92" fmla="*/ 168 w 209"/>
              <a:gd name="T93" fmla="*/ 159 h 268"/>
              <a:gd name="T94" fmla="*/ 162 w 209"/>
              <a:gd name="T95" fmla="*/ 161 h 268"/>
              <a:gd name="T96" fmla="*/ 152 w 209"/>
              <a:gd name="T97" fmla="*/ 167 h 268"/>
              <a:gd name="T98" fmla="*/ 148 w 209"/>
              <a:gd name="T99" fmla="*/ 177 h 268"/>
              <a:gd name="T100" fmla="*/ 135 w 209"/>
              <a:gd name="T101" fmla="*/ 206 h 268"/>
              <a:gd name="T102" fmla="*/ 144 w 209"/>
              <a:gd name="T103" fmla="*/ 21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9" h="268">
                <a:moveTo>
                  <a:pt x="128" y="212"/>
                </a:moveTo>
                <a:cubicBezTo>
                  <a:pt x="127" y="212"/>
                  <a:pt x="127" y="212"/>
                  <a:pt x="126" y="212"/>
                </a:cubicBezTo>
                <a:cubicBezTo>
                  <a:pt x="125" y="212"/>
                  <a:pt x="125" y="213"/>
                  <a:pt x="124" y="213"/>
                </a:cubicBezTo>
                <a:cubicBezTo>
                  <a:pt x="124" y="213"/>
                  <a:pt x="122" y="214"/>
                  <a:pt x="121" y="214"/>
                </a:cubicBezTo>
                <a:cubicBezTo>
                  <a:pt x="121" y="215"/>
                  <a:pt x="121" y="215"/>
                  <a:pt x="121" y="215"/>
                </a:cubicBezTo>
                <a:cubicBezTo>
                  <a:pt x="120" y="215"/>
                  <a:pt x="119" y="215"/>
                  <a:pt x="118" y="216"/>
                </a:cubicBezTo>
                <a:cubicBezTo>
                  <a:pt x="115" y="217"/>
                  <a:pt x="112" y="217"/>
                  <a:pt x="108" y="218"/>
                </a:cubicBezTo>
                <a:cubicBezTo>
                  <a:pt x="107" y="218"/>
                  <a:pt x="105" y="218"/>
                  <a:pt x="104" y="218"/>
                </a:cubicBezTo>
                <a:cubicBezTo>
                  <a:pt x="103" y="219"/>
                  <a:pt x="103" y="221"/>
                  <a:pt x="102" y="222"/>
                </a:cubicBezTo>
                <a:cubicBezTo>
                  <a:pt x="100" y="222"/>
                  <a:pt x="99" y="222"/>
                  <a:pt x="98" y="223"/>
                </a:cubicBezTo>
                <a:cubicBezTo>
                  <a:pt x="97" y="223"/>
                  <a:pt x="97" y="224"/>
                  <a:pt x="96" y="224"/>
                </a:cubicBezTo>
                <a:cubicBezTo>
                  <a:pt x="96" y="224"/>
                  <a:pt x="95" y="224"/>
                  <a:pt x="95" y="224"/>
                </a:cubicBezTo>
                <a:cubicBezTo>
                  <a:pt x="94" y="225"/>
                  <a:pt x="93" y="228"/>
                  <a:pt x="93" y="229"/>
                </a:cubicBezTo>
                <a:cubicBezTo>
                  <a:pt x="93" y="231"/>
                  <a:pt x="94" y="234"/>
                  <a:pt x="93" y="236"/>
                </a:cubicBezTo>
                <a:cubicBezTo>
                  <a:pt x="93" y="237"/>
                  <a:pt x="92" y="238"/>
                  <a:pt x="91" y="239"/>
                </a:cubicBezTo>
                <a:cubicBezTo>
                  <a:pt x="90" y="240"/>
                  <a:pt x="91" y="241"/>
                  <a:pt x="90" y="242"/>
                </a:cubicBezTo>
                <a:cubicBezTo>
                  <a:pt x="89" y="242"/>
                  <a:pt x="85" y="241"/>
                  <a:pt x="85" y="243"/>
                </a:cubicBezTo>
                <a:cubicBezTo>
                  <a:pt x="86" y="243"/>
                  <a:pt x="87" y="243"/>
                  <a:pt x="88" y="243"/>
                </a:cubicBezTo>
                <a:cubicBezTo>
                  <a:pt x="88" y="242"/>
                  <a:pt x="90" y="243"/>
                  <a:pt x="90" y="243"/>
                </a:cubicBezTo>
                <a:cubicBezTo>
                  <a:pt x="91" y="244"/>
                  <a:pt x="90" y="245"/>
                  <a:pt x="90" y="246"/>
                </a:cubicBezTo>
                <a:cubicBezTo>
                  <a:pt x="90" y="247"/>
                  <a:pt x="90" y="247"/>
                  <a:pt x="89" y="248"/>
                </a:cubicBezTo>
                <a:cubicBezTo>
                  <a:pt x="89" y="248"/>
                  <a:pt x="88" y="249"/>
                  <a:pt x="88" y="250"/>
                </a:cubicBezTo>
                <a:cubicBezTo>
                  <a:pt x="87" y="252"/>
                  <a:pt x="87" y="253"/>
                  <a:pt x="85" y="254"/>
                </a:cubicBezTo>
                <a:cubicBezTo>
                  <a:pt x="84" y="255"/>
                  <a:pt x="83" y="256"/>
                  <a:pt x="81" y="256"/>
                </a:cubicBezTo>
                <a:cubicBezTo>
                  <a:pt x="81" y="257"/>
                  <a:pt x="80" y="257"/>
                  <a:pt x="79" y="258"/>
                </a:cubicBezTo>
                <a:cubicBezTo>
                  <a:pt x="79" y="258"/>
                  <a:pt x="78" y="258"/>
                  <a:pt x="77" y="258"/>
                </a:cubicBezTo>
                <a:cubicBezTo>
                  <a:pt x="77" y="258"/>
                  <a:pt x="75" y="258"/>
                  <a:pt x="75" y="259"/>
                </a:cubicBezTo>
                <a:cubicBezTo>
                  <a:pt x="73" y="259"/>
                  <a:pt x="73" y="261"/>
                  <a:pt x="72" y="262"/>
                </a:cubicBezTo>
                <a:cubicBezTo>
                  <a:pt x="72" y="263"/>
                  <a:pt x="71" y="263"/>
                  <a:pt x="70" y="263"/>
                </a:cubicBezTo>
                <a:cubicBezTo>
                  <a:pt x="69" y="264"/>
                  <a:pt x="67" y="265"/>
                  <a:pt x="66" y="265"/>
                </a:cubicBezTo>
                <a:cubicBezTo>
                  <a:pt x="65" y="265"/>
                  <a:pt x="63" y="264"/>
                  <a:pt x="62" y="264"/>
                </a:cubicBezTo>
                <a:cubicBezTo>
                  <a:pt x="61" y="265"/>
                  <a:pt x="61" y="266"/>
                  <a:pt x="61" y="267"/>
                </a:cubicBezTo>
                <a:cubicBezTo>
                  <a:pt x="60" y="267"/>
                  <a:pt x="60" y="267"/>
                  <a:pt x="60" y="267"/>
                </a:cubicBezTo>
                <a:cubicBezTo>
                  <a:pt x="60" y="268"/>
                  <a:pt x="60" y="268"/>
                  <a:pt x="60" y="268"/>
                </a:cubicBezTo>
                <a:cubicBezTo>
                  <a:pt x="59" y="268"/>
                  <a:pt x="58" y="268"/>
                  <a:pt x="58" y="268"/>
                </a:cubicBezTo>
                <a:cubicBezTo>
                  <a:pt x="57" y="268"/>
                  <a:pt x="55" y="268"/>
                  <a:pt x="54" y="268"/>
                </a:cubicBezTo>
                <a:cubicBezTo>
                  <a:pt x="51" y="267"/>
                  <a:pt x="47" y="266"/>
                  <a:pt x="44" y="264"/>
                </a:cubicBezTo>
                <a:cubicBezTo>
                  <a:pt x="42" y="264"/>
                  <a:pt x="40" y="263"/>
                  <a:pt x="38" y="261"/>
                </a:cubicBezTo>
                <a:cubicBezTo>
                  <a:pt x="36" y="260"/>
                  <a:pt x="36" y="259"/>
                  <a:pt x="35" y="257"/>
                </a:cubicBezTo>
                <a:cubicBezTo>
                  <a:pt x="37" y="257"/>
                  <a:pt x="39" y="256"/>
                  <a:pt x="39" y="255"/>
                </a:cubicBezTo>
                <a:cubicBezTo>
                  <a:pt x="41" y="255"/>
                  <a:pt x="41" y="255"/>
                  <a:pt x="41" y="255"/>
                </a:cubicBezTo>
                <a:cubicBezTo>
                  <a:pt x="41" y="254"/>
                  <a:pt x="41" y="252"/>
                  <a:pt x="41" y="250"/>
                </a:cubicBezTo>
                <a:cubicBezTo>
                  <a:pt x="42" y="250"/>
                  <a:pt x="42" y="250"/>
                  <a:pt x="42" y="250"/>
                </a:cubicBezTo>
                <a:cubicBezTo>
                  <a:pt x="42" y="249"/>
                  <a:pt x="42" y="248"/>
                  <a:pt x="42" y="247"/>
                </a:cubicBezTo>
                <a:cubicBezTo>
                  <a:pt x="47" y="249"/>
                  <a:pt x="45" y="245"/>
                  <a:pt x="44" y="242"/>
                </a:cubicBezTo>
                <a:cubicBezTo>
                  <a:pt x="44" y="242"/>
                  <a:pt x="44" y="242"/>
                  <a:pt x="44" y="242"/>
                </a:cubicBezTo>
                <a:cubicBezTo>
                  <a:pt x="44" y="240"/>
                  <a:pt x="41" y="238"/>
                  <a:pt x="42" y="236"/>
                </a:cubicBezTo>
                <a:cubicBezTo>
                  <a:pt x="42" y="235"/>
                  <a:pt x="44" y="232"/>
                  <a:pt x="46" y="232"/>
                </a:cubicBezTo>
                <a:cubicBezTo>
                  <a:pt x="46" y="231"/>
                  <a:pt x="46" y="229"/>
                  <a:pt x="46" y="227"/>
                </a:cubicBezTo>
                <a:cubicBezTo>
                  <a:pt x="44" y="227"/>
                  <a:pt x="42" y="223"/>
                  <a:pt x="42" y="221"/>
                </a:cubicBezTo>
                <a:cubicBezTo>
                  <a:pt x="41" y="219"/>
                  <a:pt x="44" y="220"/>
                  <a:pt x="45" y="218"/>
                </a:cubicBezTo>
                <a:cubicBezTo>
                  <a:pt x="47" y="215"/>
                  <a:pt x="46" y="206"/>
                  <a:pt x="50" y="207"/>
                </a:cubicBezTo>
                <a:cubicBezTo>
                  <a:pt x="50" y="205"/>
                  <a:pt x="51" y="200"/>
                  <a:pt x="53" y="199"/>
                </a:cubicBezTo>
                <a:cubicBezTo>
                  <a:pt x="56" y="197"/>
                  <a:pt x="52" y="196"/>
                  <a:pt x="52" y="193"/>
                </a:cubicBezTo>
                <a:cubicBezTo>
                  <a:pt x="50" y="193"/>
                  <a:pt x="50" y="194"/>
                  <a:pt x="49" y="195"/>
                </a:cubicBezTo>
                <a:cubicBezTo>
                  <a:pt x="46" y="195"/>
                  <a:pt x="45" y="192"/>
                  <a:pt x="43" y="192"/>
                </a:cubicBezTo>
                <a:cubicBezTo>
                  <a:pt x="46" y="192"/>
                  <a:pt x="43" y="185"/>
                  <a:pt x="47" y="184"/>
                </a:cubicBezTo>
                <a:cubicBezTo>
                  <a:pt x="47" y="183"/>
                  <a:pt x="47" y="182"/>
                  <a:pt x="47" y="181"/>
                </a:cubicBezTo>
                <a:cubicBezTo>
                  <a:pt x="46" y="181"/>
                  <a:pt x="46" y="181"/>
                  <a:pt x="46" y="181"/>
                </a:cubicBezTo>
                <a:cubicBezTo>
                  <a:pt x="46" y="177"/>
                  <a:pt x="54" y="172"/>
                  <a:pt x="47" y="170"/>
                </a:cubicBezTo>
                <a:cubicBezTo>
                  <a:pt x="47" y="169"/>
                  <a:pt x="46" y="169"/>
                  <a:pt x="46" y="167"/>
                </a:cubicBezTo>
                <a:cubicBezTo>
                  <a:pt x="51" y="168"/>
                  <a:pt x="50" y="158"/>
                  <a:pt x="47" y="157"/>
                </a:cubicBezTo>
                <a:cubicBezTo>
                  <a:pt x="45" y="156"/>
                  <a:pt x="42" y="156"/>
                  <a:pt x="41" y="158"/>
                </a:cubicBezTo>
                <a:cubicBezTo>
                  <a:pt x="39" y="160"/>
                  <a:pt x="35" y="159"/>
                  <a:pt x="35" y="162"/>
                </a:cubicBezTo>
                <a:cubicBezTo>
                  <a:pt x="35" y="163"/>
                  <a:pt x="34" y="163"/>
                  <a:pt x="34" y="163"/>
                </a:cubicBezTo>
                <a:cubicBezTo>
                  <a:pt x="33" y="160"/>
                  <a:pt x="31" y="161"/>
                  <a:pt x="30" y="160"/>
                </a:cubicBezTo>
                <a:cubicBezTo>
                  <a:pt x="28" y="159"/>
                  <a:pt x="28" y="156"/>
                  <a:pt x="28" y="154"/>
                </a:cubicBezTo>
                <a:cubicBezTo>
                  <a:pt x="27" y="151"/>
                  <a:pt x="27" y="149"/>
                  <a:pt x="28" y="147"/>
                </a:cubicBezTo>
                <a:cubicBezTo>
                  <a:pt x="29" y="144"/>
                  <a:pt x="28" y="141"/>
                  <a:pt x="30" y="139"/>
                </a:cubicBezTo>
                <a:cubicBezTo>
                  <a:pt x="31" y="137"/>
                  <a:pt x="31" y="133"/>
                  <a:pt x="29" y="131"/>
                </a:cubicBezTo>
                <a:cubicBezTo>
                  <a:pt x="28" y="130"/>
                  <a:pt x="22" y="127"/>
                  <a:pt x="20" y="127"/>
                </a:cubicBezTo>
                <a:cubicBezTo>
                  <a:pt x="21" y="125"/>
                  <a:pt x="20" y="123"/>
                  <a:pt x="21" y="121"/>
                </a:cubicBezTo>
                <a:cubicBezTo>
                  <a:pt x="22" y="121"/>
                  <a:pt x="23" y="121"/>
                  <a:pt x="23" y="121"/>
                </a:cubicBezTo>
                <a:cubicBezTo>
                  <a:pt x="24" y="119"/>
                  <a:pt x="25" y="114"/>
                  <a:pt x="22" y="113"/>
                </a:cubicBezTo>
                <a:cubicBezTo>
                  <a:pt x="18" y="111"/>
                  <a:pt x="13" y="113"/>
                  <a:pt x="9" y="112"/>
                </a:cubicBezTo>
                <a:cubicBezTo>
                  <a:pt x="10" y="112"/>
                  <a:pt x="10" y="112"/>
                  <a:pt x="10" y="112"/>
                </a:cubicBezTo>
                <a:cubicBezTo>
                  <a:pt x="10" y="111"/>
                  <a:pt x="13" y="106"/>
                  <a:pt x="15" y="106"/>
                </a:cubicBezTo>
                <a:cubicBezTo>
                  <a:pt x="15" y="104"/>
                  <a:pt x="13" y="104"/>
                  <a:pt x="12" y="104"/>
                </a:cubicBezTo>
                <a:cubicBezTo>
                  <a:pt x="11" y="103"/>
                  <a:pt x="10" y="102"/>
                  <a:pt x="9" y="101"/>
                </a:cubicBezTo>
                <a:cubicBezTo>
                  <a:pt x="8" y="100"/>
                  <a:pt x="6" y="101"/>
                  <a:pt x="5" y="100"/>
                </a:cubicBezTo>
                <a:cubicBezTo>
                  <a:pt x="4" y="98"/>
                  <a:pt x="2" y="99"/>
                  <a:pt x="0" y="99"/>
                </a:cubicBezTo>
                <a:cubicBezTo>
                  <a:pt x="0" y="96"/>
                  <a:pt x="0" y="94"/>
                  <a:pt x="0" y="91"/>
                </a:cubicBezTo>
                <a:cubicBezTo>
                  <a:pt x="2" y="92"/>
                  <a:pt x="3" y="93"/>
                  <a:pt x="6" y="93"/>
                </a:cubicBezTo>
                <a:cubicBezTo>
                  <a:pt x="6" y="90"/>
                  <a:pt x="10" y="92"/>
                  <a:pt x="10" y="88"/>
                </a:cubicBezTo>
                <a:cubicBezTo>
                  <a:pt x="12" y="88"/>
                  <a:pt x="15" y="87"/>
                  <a:pt x="16" y="88"/>
                </a:cubicBezTo>
                <a:cubicBezTo>
                  <a:pt x="17" y="89"/>
                  <a:pt x="17" y="93"/>
                  <a:pt x="17" y="93"/>
                </a:cubicBezTo>
                <a:cubicBezTo>
                  <a:pt x="18" y="93"/>
                  <a:pt x="19" y="92"/>
                  <a:pt x="21" y="92"/>
                </a:cubicBezTo>
                <a:cubicBezTo>
                  <a:pt x="22" y="92"/>
                  <a:pt x="24" y="92"/>
                  <a:pt x="26" y="92"/>
                </a:cubicBezTo>
                <a:cubicBezTo>
                  <a:pt x="31" y="92"/>
                  <a:pt x="31" y="92"/>
                  <a:pt x="32" y="88"/>
                </a:cubicBezTo>
                <a:cubicBezTo>
                  <a:pt x="32" y="85"/>
                  <a:pt x="35" y="83"/>
                  <a:pt x="38" y="83"/>
                </a:cubicBezTo>
                <a:cubicBezTo>
                  <a:pt x="39" y="83"/>
                  <a:pt x="41" y="82"/>
                  <a:pt x="42" y="83"/>
                </a:cubicBezTo>
                <a:cubicBezTo>
                  <a:pt x="43" y="84"/>
                  <a:pt x="44" y="86"/>
                  <a:pt x="45" y="86"/>
                </a:cubicBezTo>
                <a:cubicBezTo>
                  <a:pt x="45" y="85"/>
                  <a:pt x="46" y="84"/>
                  <a:pt x="45" y="84"/>
                </a:cubicBezTo>
                <a:cubicBezTo>
                  <a:pt x="49" y="83"/>
                  <a:pt x="51" y="83"/>
                  <a:pt x="54" y="84"/>
                </a:cubicBezTo>
                <a:cubicBezTo>
                  <a:pt x="56" y="84"/>
                  <a:pt x="60" y="86"/>
                  <a:pt x="62" y="86"/>
                </a:cubicBezTo>
                <a:cubicBezTo>
                  <a:pt x="62" y="84"/>
                  <a:pt x="62" y="81"/>
                  <a:pt x="64" y="79"/>
                </a:cubicBezTo>
                <a:cubicBezTo>
                  <a:pt x="67" y="77"/>
                  <a:pt x="71" y="77"/>
                  <a:pt x="74" y="77"/>
                </a:cubicBezTo>
                <a:cubicBezTo>
                  <a:pt x="74" y="76"/>
                  <a:pt x="74" y="74"/>
                  <a:pt x="75" y="74"/>
                </a:cubicBezTo>
                <a:cubicBezTo>
                  <a:pt x="76" y="73"/>
                  <a:pt x="77" y="73"/>
                  <a:pt x="77" y="72"/>
                </a:cubicBezTo>
                <a:cubicBezTo>
                  <a:pt x="77" y="70"/>
                  <a:pt x="78" y="68"/>
                  <a:pt x="77" y="66"/>
                </a:cubicBezTo>
                <a:cubicBezTo>
                  <a:pt x="76" y="62"/>
                  <a:pt x="66" y="65"/>
                  <a:pt x="63" y="62"/>
                </a:cubicBezTo>
                <a:cubicBezTo>
                  <a:pt x="65" y="61"/>
                  <a:pt x="69" y="59"/>
                  <a:pt x="70" y="58"/>
                </a:cubicBezTo>
                <a:cubicBezTo>
                  <a:pt x="72" y="56"/>
                  <a:pt x="71" y="52"/>
                  <a:pt x="71" y="50"/>
                </a:cubicBezTo>
                <a:cubicBezTo>
                  <a:pt x="71" y="50"/>
                  <a:pt x="70" y="50"/>
                  <a:pt x="70" y="50"/>
                </a:cubicBezTo>
                <a:cubicBezTo>
                  <a:pt x="71" y="47"/>
                  <a:pt x="70" y="44"/>
                  <a:pt x="70" y="42"/>
                </a:cubicBezTo>
                <a:cubicBezTo>
                  <a:pt x="73" y="42"/>
                  <a:pt x="78" y="43"/>
                  <a:pt x="79" y="40"/>
                </a:cubicBezTo>
                <a:cubicBezTo>
                  <a:pt x="81" y="38"/>
                  <a:pt x="81" y="35"/>
                  <a:pt x="81" y="33"/>
                </a:cubicBezTo>
                <a:cubicBezTo>
                  <a:pt x="82" y="31"/>
                  <a:pt x="88" y="33"/>
                  <a:pt x="89" y="34"/>
                </a:cubicBezTo>
                <a:cubicBezTo>
                  <a:pt x="92" y="38"/>
                  <a:pt x="92" y="32"/>
                  <a:pt x="95" y="33"/>
                </a:cubicBezTo>
                <a:cubicBezTo>
                  <a:pt x="96" y="34"/>
                  <a:pt x="97" y="36"/>
                  <a:pt x="98" y="36"/>
                </a:cubicBezTo>
                <a:cubicBezTo>
                  <a:pt x="100" y="37"/>
                  <a:pt x="101" y="37"/>
                  <a:pt x="102" y="37"/>
                </a:cubicBezTo>
                <a:cubicBezTo>
                  <a:pt x="103" y="38"/>
                  <a:pt x="103" y="40"/>
                  <a:pt x="103" y="40"/>
                </a:cubicBezTo>
                <a:cubicBezTo>
                  <a:pt x="104" y="42"/>
                  <a:pt x="107" y="43"/>
                  <a:pt x="109" y="44"/>
                </a:cubicBezTo>
                <a:cubicBezTo>
                  <a:pt x="112" y="46"/>
                  <a:pt x="115" y="42"/>
                  <a:pt x="117" y="40"/>
                </a:cubicBezTo>
                <a:cubicBezTo>
                  <a:pt x="119" y="39"/>
                  <a:pt x="120" y="34"/>
                  <a:pt x="123" y="34"/>
                </a:cubicBezTo>
                <a:cubicBezTo>
                  <a:pt x="123" y="32"/>
                  <a:pt x="123" y="30"/>
                  <a:pt x="123" y="28"/>
                </a:cubicBezTo>
                <a:cubicBezTo>
                  <a:pt x="123" y="28"/>
                  <a:pt x="123" y="28"/>
                  <a:pt x="123" y="28"/>
                </a:cubicBezTo>
                <a:cubicBezTo>
                  <a:pt x="122" y="27"/>
                  <a:pt x="123" y="26"/>
                  <a:pt x="123" y="25"/>
                </a:cubicBezTo>
                <a:cubicBezTo>
                  <a:pt x="128" y="23"/>
                  <a:pt x="135" y="21"/>
                  <a:pt x="140" y="22"/>
                </a:cubicBezTo>
                <a:cubicBezTo>
                  <a:pt x="143" y="23"/>
                  <a:pt x="143" y="26"/>
                  <a:pt x="146" y="26"/>
                </a:cubicBezTo>
                <a:cubicBezTo>
                  <a:pt x="148" y="27"/>
                  <a:pt x="151" y="26"/>
                  <a:pt x="151" y="24"/>
                </a:cubicBezTo>
                <a:cubicBezTo>
                  <a:pt x="151" y="24"/>
                  <a:pt x="152" y="24"/>
                  <a:pt x="153" y="24"/>
                </a:cubicBezTo>
                <a:cubicBezTo>
                  <a:pt x="153" y="18"/>
                  <a:pt x="156" y="25"/>
                  <a:pt x="158" y="22"/>
                </a:cubicBezTo>
                <a:cubicBezTo>
                  <a:pt x="159" y="20"/>
                  <a:pt x="159" y="19"/>
                  <a:pt x="161" y="19"/>
                </a:cubicBezTo>
                <a:cubicBezTo>
                  <a:pt x="164" y="18"/>
                  <a:pt x="161" y="15"/>
                  <a:pt x="164" y="14"/>
                </a:cubicBezTo>
                <a:cubicBezTo>
                  <a:pt x="159" y="12"/>
                  <a:pt x="163" y="11"/>
                  <a:pt x="166" y="11"/>
                </a:cubicBezTo>
                <a:cubicBezTo>
                  <a:pt x="170" y="12"/>
                  <a:pt x="170" y="13"/>
                  <a:pt x="170" y="16"/>
                </a:cubicBezTo>
                <a:cubicBezTo>
                  <a:pt x="171" y="16"/>
                  <a:pt x="172" y="16"/>
                  <a:pt x="173" y="15"/>
                </a:cubicBezTo>
                <a:cubicBezTo>
                  <a:pt x="173" y="11"/>
                  <a:pt x="177" y="15"/>
                  <a:pt x="177" y="18"/>
                </a:cubicBezTo>
                <a:cubicBezTo>
                  <a:pt x="178" y="18"/>
                  <a:pt x="180" y="18"/>
                  <a:pt x="181" y="18"/>
                </a:cubicBezTo>
                <a:cubicBezTo>
                  <a:pt x="181" y="13"/>
                  <a:pt x="184" y="14"/>
                  <a:pt x="188" y="14"/>
                </a:cubicBezTo>
                <a:cubicBezTo>
                  <a:pt x="188" y="13"/>
                  <a:pt x="186" y="12"/>
                  <a:pt x="187" y="11"/>
                </a:cubicBezTo>
                <a:cubicBezTo>
                  <a:pt x="190" y="9"/>
                  <a:pt x="189" y="5"/>
                  <a:pt x="193" y="5"/>
                </a:cubicBezTo>
                <a:cubicBezTo>
                  <a:pt x="193" y="4"/>
                  <a:pt x="193" y="2"/>
                  <a:pt x="193" y="1"/>
                </a:cubicBezTo>
                <a:cubicBezTo>
                  <a:pt x="194" y="0"/>
                  <a:pt x="195" y="1"/>
                  <a:pt x="196" y="1"/>
                </a:cubicBezTo>
                <a:cubicBezTo>
                  <a:pt x="197" y="2"/>
                  <a:pt x="197" y="2"/>
                  <a:pt x="197" y="2"/>
                </a:cubicBezTo>
                <a:cubicBezTo>
                  <a:pt x="197" y="2"/>
                  <a:pt x="197" y="3"/>
                  <a:pt x="197" y="4"/>
                </a:cubicBezTo>
                <a:cubicBezTo>
                  <a:pt x="199" y="4"/>
                  <a:pt x="199" y="3"/>
                  <a:pt x="200" y="2"/>
                </a:cubicBezTo>
                <a:cubicBezTo>
                  <a:pt x="201" y="2"/>
                  <a:pt x="201" y="2"/>
                  <a:pt x="202" y="2"/>
                </a:cubicBezTo>
                <a:cubicBezTo>
                  <a:pt x="202" y="3"/>
                  <a:pt x="202" y="3"/>
                  <a:pt x="202" y="3"/>
                </a:cubicBezTo>
                <a:cubicBezTo>
                  <a:pt x="204" y="3"/>
                  <a:pt x="205" y="4"/>
                  <a:pt x="205" y="6"/>
                </a:cubicBezTo>
                <a:cubicBezTo>
                  <a:pt x="205" y="8"/>
                  <a:pt x="208" y="9"/>
                  <a:pt x="208" y="12"/>
                </a:cubicBezTo>
                <a:cubicBezTo>
                  <a:pt x="209" y="15"/>
                  <a:pt x="209" y="19"/>
                  <a:pt x="209" y="22"/>
                </a:cubicBezTo>
                <a:cubicBezTo>
                  <a:pt x="209" y="26"/>
                  <a:pt x="205" y="29"/>
                  <a:pt x="205" y="33"/>
                </a:cubicBezTo>
                <a:cubicBezTo>
                  <a:pt x="205" y="35"/>
                  <a:pt x="205" y="37"/>
                  <a:pt x="205" y="39"/>
                </a:cubicBezTo>
                <a:cubicBezTo>
                  <a:pt x="205" y="41"/>
                  <a:pt x="204" y="42"/>
                  <a:pt x="203" y="44"/>
                </a:cubicBezTo>
                <a:cubicBezTo>
                  <a:pt x="202" y="46"/>
                  <a:pt x="200" y="54"/>
                  <a:pt x="197" y="53"/>
                </a:cubicBezTo>
                <a:cubicBezTo>
                  <a:pt x="197" y="53"/>
                  <a:pt x="196" y="53"/>
                  <a:pt x="196" y="52"/>
                </a:cubicBezTo>
                <a:cubicBezTo>
                  <a:pt x="195" y="52"/>
                  <a:pt x="194" y="52"/>
                  <a:pt x="194" y="52"/>
                </a:cubicBezTo>
                <a:cubicBezTo>
                  <a:pt x="194" y="52"/>
                  <a:pt x="195" y="53"/>
                  <a:pt x="195" y="53"/>
                </a:cubicBezTo>
                <a:cubicBezTo>
                  <a:pt x="196" y="54"/>
                  <a:pt x="197" y="54"/>
                  <a:pt x="197" y="55"/>
                </a:cubicBezTo>
                <a:cubicBezTo>
                  <a:pt x="198" y="56"/>
                  <a:pt x="198" y="57"/>
                  <a:pt x="197" y="58"/>
                </a:cubicBezTo>
                <a:cubicBezTo>
                  <a:pt x="196" y="58"/>
                  <a:pt x="196" y="59"/>
                  <a:pt x="195" y="60"/>
                </a:cubicBezTo>
                <a:cubicBezTo>
                  <a:pt x="195" y="60"/>
                  <a:pt x="195" y="61"/>
                  <a:pt x="194" y="62"/>
                </a:cubicBezTo>
                <a:cubicBezTo>
                  <a:pt x="193" y="63"/>
                  <a:pt x="191" y="65"/>
                  <a:pt x="189" y="66"/>
                </a:cubicBezTo>
                <a:cubicBezTo>
                  <a:pt x="189" y="66"/>
                  <a:pt x="188" y="67"/>
                  <a:pt x="187" y="67"/>
                </a:cubicBezTo>
                <a:cubicBezTo>
                  <a:pt x="187" y="68"/>
                  <a:pt x="187" y="68"/>
                  <a:pt x="187" y="69"/>
                </a:cubicBezTo>
                <a:cubicBezTo>
                  <a:pt x="187" y="70"/>
                  <a:pt x="186" y="70"/>
                  <a:pt x="186" y="70"/>
                </a:cubicBezTo>
                <a:cubicBezTo>
                  <a:pt x="186" y="71"/>
                  <a:pt x="186" y="71"/>
                  <a:pt x="186" y="71"/>
                </a:cubicBezTo>
                <a:cubicBezTo>
                  <a:pt x="186" y="72"/>
                  <a:pt x="186" y="72"/>
                  <a:pt x="185" y="72"/>
                </a:cubicBezTo>
                <a:cubicBezTo>
                  <a:pt x="185" y="72"/>
                  <a:pt x="185" y="71"/>
                  <a:pt x="184" y="70"/>
                </a:cubicBezTo>
                <a:cubicBezTo>
                  <a:pt x="183" y="70"/>
                  <a:pt x="181" y="71"/>
                  <a:pt x="181" y="72"/>
                </a:cubicBezTo>
                <a:cubicBezTo>
                  <a:pt x="181" y="74"/>
                  <a:pt x="184" y="72"/>
                  <a:pt x="184" y="73"/>
                </a:cubicBezTo>
                <a:cubicBezTo>
                  <a:pt x="184" y="74"/>
                  <a:pt x="184" y="75"/>
                  <a:pt x="184" y="76"/>
                </a:cubicBezTo>
                <a:cubicBezTo>
                  <a:pt x="183" y="77"/>
                  <a:pt x="183" y="78"/>
                  <a:pt x="183" y="79"/>
                </a:cubicBezTo>
                <a:cubicBezTo>
                  <a:pt x="182" y="81"/>
                  <a:pt x="181" y="82"/>
                  <a:pt x="181" y="84"/>
                </a:cubicBezTo>
                <a:cubicBezTo>
                  <a:pt x="180" y="85"/>
                  <a:pt x="180" y="88"/>
                  <a:pt x="180" y="89"/>
                </a:cubicBezTo>
                <a:cubicBezTo>
                  <a:pt x="180" y="91"/>
                  <a:pt x="180" y="93"/>
                  <a:pt x="180" y="95"/>
                </a:cubicBezTo>
                <a:cubicBezTo>
                  <a:pt x="179" y="97"/>
                  <a:pt x="178" y="102"/>
                  <a:pt x="180" y="104"/>
                </a:cubicBezTo>
                <a:cubicBezTo>
                  <a:pt x="180" y="105"/>
                  <a:pt x="180" y="104"/>
                  <a:pt x="181" y="105"/>
                </a:cubicBezTo>
                <a:cubicBezTo>
                  <a:pt x="181" y="106"/>
                  <a:pt x="180" y="107"/>
                  <a:pt x="180" y="108"/>
                </a:cubicBezTo>
                <a:cubicBezTo>
                  <a:pt x="181" y="108"/>
                  <a:pt x="181" y="108"/>
                  <a:pt x="181" y="109"/>
                </a:cubicBezTo>
                <a:cubicBezTo>
                  <a:pt x="182" y="111"/>
                  <a:pt x="182" y="114"/>
                  <a:pt x="182" y="117"/>
                </a:cubicBezTo>
                <a:cubicBezTo>
                  <a:pt x="181" y="122"/>
                  <a:pt x="181" y="127"/>
                  <a:pt x="181" y="132"/>
                </a:cubicBezTo>
                <a:cubicBezTo>
                  <a:pt x="182" y="138"/>
                  <a:pt x="182" y="143"/>
                  <a:pt x="182" y="149"/>
                </a:cubicBezTo>
                <a:cubicBezTo>
                  <a:pt x="182" y="152"/>
                  <a:pt x="183" y="155"/>
                  <a:pt x="182" y="158"/>
                </a:cubicBezTo>
                <a:cubicBezTo>
                  <a:pt x="182" y="159"/>
                  <a:pt x="182" y="159"/>
                  <a:pt x="182" y="160"/>
                </a:cubicBezTo>
                <a:cubicBezTo>
                  <a:pt x="182" y="160"/>
                  <a:pt x="182" y="160"/>
                  <a:pt x="182" y="161"/>
                </a:cubicBezTo>
                <a:cubicBezTo>
                  <a:pt x="181" y="161"/>
                  <a:pt x="182" y="162"/>
                  <a:pt x="182" y="162"/>
                </a:cubicBezTo>
                <a:cubicBezTo>
                  <a:pt x="181" y="162"/>
                  <a:pt x="181" y="162"/>
                  <a:pt x="181" y="162"/>
                </a:cubicBezTo>
                <a:cubicBezTo>
                  <a:pt x="181" y="163"/>
                  <a:pt x="181" y="163"/>
                  <a:pt x="181" y="163"/>
                </a:cubicBezTo>
                <a:cubicBezTo>
                  <a:pt x="181" y="162"/>
                  <a:pt x="181" y="162"/>
                  <a:pt x="181" y="162"/>
                </a:cubicBezTo>
                <a:cubicBezTo>
                  <a:pt x="180" y="162"/>
                  <a:pt x="179" y="163"/>
                  <a:pt x="179" y="162"/>
                </a:cubicBezTo>
                <a:cubicBezTo>
                  <a:pt x="180" y="162"/>
                  <a:pt x="182" y="161"/>
                  <a:pt x="181" y="160"/>
                </a:cubicBezTo>
                <a:cubicBezTo>
                  <a:pt x="180" y="159"/>
                  <a:pt x="179" y="160"/>
                  <a:pt x="178" y="160"/>
                </a:cubicBezTo>
                <a:cubicBezTo>
                  <a:pt x="178" y="160"/>
                  <a:pt x="177" y="159"/>
                  <a:pt x="176" y="159"/>
                </a:cubicBezTo>
                <a:cubicBezTo>
                  <a:pt x="176" y="159"/>
                  <a:pt x="175" y="159"/>
                  <a:pt x="174" y="159"/>
                </a:cubicBezTo>
                <a:cubicBezTo>
                  <a:pt x="172" y="159"/>
                  <a:pt x="170" y="159"/>
                  <a:pt x="168" y="159"/>
                </a:cubicBezTo>
                <a:cubicBezTo>
                  <a:pt x="168" y="158"/>
                  <a:pt x="167" y="158"/>
                  <a:pt x="166" y="159"/>
                </a:cubicBezTo>
                <a:cubicBezTo>
                  <a:pt x="167" y="160"/>
                  <a:pt x="167" y="161"/>
                  <a:pt x="167" y="161"/>
                </a:cubicBezTo>
                <a:cubicBezTo>
                  <a:pt x="166" y="162"/>
                  <a:pt x="165" y="161"/>
                  <a:pt x="164" y="161"/>
                </a:cubicBezTo>
                <a:cubicBezTo>
                  <a:pt x="163" y="161"/>
                  <a:pt x="163" y="161"/>
                  <a:pt x="162" y="161"/>
                </a:cubicBezTo>
                <a:cubicBezTo>
                  <a:pt x="161" y="160"/>
                  <a:pt x="160" y="160"/>
                  <a:pt x="160" y="160"/>
                </a:cubicBezTo>
                <a:cubicBezTo>
                  <a:pt x="158" y="160"/>
                  <a:pt x="157" y="160"/>
                  <a:pt x="156" y="161"/>
                </a:cubicBezTo>
                <a:cubicBezTo>
                  <a:pt x="155" y="161"/>
                  <a:pt x="153" y="163"/>
                  <a:pt x="152" y="164"/>
                </a:cubicBezTo>
                <a:cubicBezTo>
                  <a:pt x="152" y="165"/>
                  <a:pt x="152" y="166"/>
                  <a:pt x="152" y="167"/>
                </a:cubicBezTo>
                <a:cubicBezTo>
                  <a:pt x="150" y="166"/>
                  <a:pt x="150" y="171"/>
                  <a:pt x="150" y="172"/>
                </a:cubicBezTo>
                <a:cubicBezTo>
                  <a:pt x="151" y="172"/>
                  <a:pt x="153" y="173"/>
                  <a:pt x="151" y="174"/>
                </a:cubicBezTo>
                <a:cubicBezTo>
                  <a:pt x="151" y="175"/>
                  <a:pt x="150" y="174"/>
                  <a:pt x="149" y="175"/>
                </a:cubicBezTo>
                <a:cubicBezTo>
                  <a:pt x="149" y="175"/>
                  <a:pt x="148" y="176"/>
                  <a:pt x="148" y="177"/>
                </a:cubicBezTo>
                <a:cubicBezTo>
                  <a:pt x="146" y="179"/>
                  <a:pt x="143" y="180"/>
                  <a:pt x="143" y="183"/>
                </a:cubicBezTo>
                <a:cubicBezTo>
                  <a:pt x="141" y="184"/>
                  <a:pt x="140" y="186"/>
                  <a:pt x="139" y="188"/>
                </a:cubicBezTo>
                <a:cubicBezTo>
                  <a:pt x="139" y="190"/>
                  <a:pt x="136" y="191"/>
                  <a:pt x="135" y="193"/>
                </a:cubicBezTo>
                <a:cubicBezTo>
                  <a:pt x="133" y="196"/>
                  <a:pt x="130" y="204"/>
                  <a:pt x="135" y="206"/>
                </a:cubicBezTo>
                <a:cubicBezTo>
                  <a:pt x="137" y="207"/>
                  <a:pt x="138" y="207"/>
                  <a:pt x="139" y="208"/>
                </a:cubicBezTo>
                <a:cubicBezTo>
                  <a:pt x="139" y="209"/>
                  <a:pt x="140" y="209"/>
                  <a:pt x="141" y="209"/>
                </a:cubicBezTo>
                <a:cubicBezTo>
                  <a:pt x="141" y="209"/>
                  <a:pt x="141" y="210"/>
                  <a:pt x="142" y="210"/>
                </a:cubicBezTo>
                <a:cubicBezTo>
                  <a:pt x="142" y="210"/>
                  <a:pt x="143" y="211"/>
                  <a:pt x="144" y="211"/>
                </a:cubicBezTo>
                <a:cubicBezTo>
                  <a:pt x="143" y="211"/>
                  <a:pt x="142" y="212"/>
                  <a:pt x="141" y="212"/>
                </a:cubicBezTo>
                <a:cubicBezTo>
                  <a:pt x="139" y="212"/>
                  <a:pt x="137" y="211"/>
                  <a:pt x="136" y="211"/>
                </a:cubicBezTo>
                <a:cubicBezTo>
                  <a:pt x="133" y="211"/>
                  <a:pt x="130" y="211"/>
                  <a:pt x="128" y="212"/>
                </a:cubicBezTo>
                <a:close/>
              </a:path>
            </a:pathLst>
          </a:custGeom>
          <a:solidFill>
            <a:schemeClr val="accent5"/>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6" name="Freeform 306">
            <a:extLst>
              <a:ext uri="{FF2B5EF4-FFF2-40B4-BE49-F238E27FC236}">
                <a16:creationId xmlns:a16="http://schemas.microsoft.com/office/drawing/2014/main" id="{D0162E36-2EFC-4B47-A16C-A4B49F6B7DA7}"/>
              </a:ext>
            </a:extLst>
          </p:cNvPr>
          <p:cNvSpPr>
            <a:spLocks/>
          </p:cNvSpPr>
          <p:nvPr/>
        </p:nvSpPr>
        <p:spPr bwMode="auto">
          <a:xfrm>
            <a:off x="1881535" y="4969007"/>
            <a:ext cx="4441" cy="3348"/>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1"/>
                  <a:pt x="0" y="0"/>
                </a:cubicBezTo>
                <a:cubicBezTo>
                  <a:pt x="1" y="1"/>
                  <a:pt x="1" y="1"/>
                  <a:pt x="2" y="1"/>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7" name="Freeform 307">
            <a:extLst>
              <a:ext uri="{FF2B5EF4-FFF2-40B4-BE49-F238E27FC236}">
                <a16:creationId xmlns:a16="http://schemas.microsoft.com/office/drawing/2014/main" id="{3AE1372D-2E9C-490D-8B18-2F6EEF3369E4}"/>
              </a:ext>
            </a:extLst>
          </p:cNvPr>
          <p:cNvSpPr>
            <a:spLocks/>
          </p:cNvSpPr>
          <p:nvPr/>
        </p:nvSpPr>
        <p:spPr bwMode="auto">
          <a:xfrm>
            <a:off x="1621788" y="3228917"/>
            <a:ext cx="14430" cy="2233"/>
          </a:xfrm>
          <a:custGeom>
            <a:avLst/>
            <a:gdLst>
              <a:gd name="T0" fmla="*/ 0 w 6"/>
              <a:gd name="T1" fmla="*/ 1 h 1"/>
              <a:gd name="T2" fmla="*/ 1 w 6"/>
              <a:gd name="T3" fmla="*/ 1 h 1"/>
              <a:gd name="T4" fmla="*/ 1 w 6"/>
              <a:gd name="T5" fmla="*/ 1 h 1"/>
              <a:gd name="T6" fmla="*/ 6 w 6"/>
              <a:gd name="T7" fmla="*/ 0 h 1"/>
              <a:gd name="T8" fmla="*/ 6 w 6"/>
              <a:gd name="T9" fmla="*/ 0 h 1"/>
              <a:gd name="T10" fmla="*/ 0 w 6"/>
              <a:gd name="T11" fmla="*/ 1 h 1"/>
            </a:gdLst>
            <a:ahLst/>
            <a:cxnLst>
              <a:cxn ang="0">
                <a:pos x="T0" y="T1"/>
              </a:cxn>
              <a:cxn ang="0">
                <a:pos x="T2" y="T3"/>
              </a:cxn>
              <a:cxn ang="0">
                <a:pos x="T4" y="T5"/>
              </a:cxn>
              <a:cxn ang="0">
                <a:pos x="T6" y="T7"/>
              </a:cxn>
              <a:cxn ang="0">
                <a:pos x="T8" y="T9"/>
              </a:cxn>
              <a:cxn ang="0">
                <a:pos x="T10" y="T11"/>
              </a:cxn>
            </a:cxnLst>
            <a:rect l="0" t="0" r="r" b="b"/>
            <a:pathLst>
              <a:path w="6" h="1">
                <a:moveTo>
                  <a:pt x="0" y="1"/>
                </a:moveTo>
                <a:cubicBezTo>
                  <a:pt x="1" y="1"/>
                  <a:pt x="1" y="1"/>
                  <a:pt x="1" y="1"/>
                </a:cubicBezTo>
                <a:cubicBezTo>
                  <a:pt x="1" y="1"/>
                  <a:pt x="1" y="1"/>
                  <a:pt x="1" y="1"/>
                </a:cubicBezTo>
                <a:cubicBezTo>
                  <a:pt x="2" y="0"/>
                  <a:pt x="4" y="1"/>
                  <a:pt x="6" y="0"/>
                </a:cubicBezTo>
                <a:cubicBezTo>
                  <a:pt x="6" y="0"/>
                  <a:pt x="6" y="0"/>
                  <a:pt x="6" y="0"/>
                </a:cubicBezTo>
                <a:cubicBezTo>
                  <a:pt x="4" y="1"/>
                  <a:pt x="2" y="0"/>
                  <a:pt x="0" y="1"/>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 name="Freeform 308">
            <a:extLst>
              <a:ext uri="{FF2B5EF4-FFF2-40B4-BE49-F238E27FC236}">
                <a16:creationId xmlns:a16="http://schemas.microsoft.com/office/drawing/2014/main" id="{A07237AA-0616-4E91-83BD-0AA034BC3C7F}"/>
              </a:ext>
            </a:extLst>
          </p:cNvPr>
          <p:cNvSpPr>
            <a:spLocks/>
          </p:cNvSpPr>
          <p:nvPr/>
        </p:nvSpPr>
        <p:spPr bwMode="auto">
          <a:xfrm>
            <a:off x="1636218" y="32289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Freeform 309">
            <a:extLst>
              <a:ext uri="{FF2B5EF4-FFF2-40B4-BE49-F238E27FC236}">
                <a16:creationId xmlns:a16="http://schemas.microsoft.com/office/drawing/2014/main" id="{8B60FF42-7554-45F4-81AE-B621106BB910}"/>
              </a:ext>
            </a:extLst>
          </p:cNvPr>
          <p:cNvSpPr>
            <a:spLocks/>
          </p:cNvSpPr>
          <p:nvPr/>
        </p:nvSpPr>
        <p:spPr bwMode="auto">
          <a:xfrm>
            <a:off x="1636218" y="32289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 name="Freeform 310">
            <a:extLst>
              <a:ext uri="{FF2B5EF4-FFF2-40B4-BE49-F238E27FC236}">
                <a16:creationId xmlns:a16="http://schemas.microsoft.com/office/drawing/2014/main" id="{1D43AF44-07BF-4DE8-B0B2-B42C595FA096}"/>
              </a:ext>
            </a:extLst>
          </p:cNvPr>
          <p:cNvSpPr>
            <a:spLocks/>
          </p:cNvSpPr>
          <p:nvPr/>
        </p:nvSpPr>
        <p:spPr bwMode="auto">
          <a:xfrm>
            <a:off x="1636218" y="3228917"/>
            <a:ext cx="2219"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1" name="Rectangle 311">
            <a:extLst>
              <a:ext uri="{FF2B5EF4-FFF2-40B4-BE49-F238E27FC236}">
                <a16:creationId xmlns:a16="http://schemas.microsoft.com/office/drawing/2014/main" id="{ED769322-C8BA-4148-98E7-F486264ECAE1}"/>
              </a:ext>
            </a:extLst>
          </p:cNvPr>
          <p:cNvSpPr>
            <a:spLocks noChangeArrowheads="1"/>
          </p:cNvSpPr>
          <p:nvPr/>
        </p:nvSpPr>
        <p:spPr bwMode="auto">
          <a:xfrm>
            <a:off x="1638439" y="3228917"/>
            <a:ext cx="1110" cy="1116"/>
          </a:xfrm>
          <a:prstGeom prst="rect">
            <a:avLst/>
          </a:prstGeom>
          <a:solidFill>
            <a:schemeClr val="bg1">
              <a:lumMod val="85000"/>
            </a:schemeClr>
          </a:solidFill>
          <a:ln w="3175">
            <a:noFill/>
            <a:miter lim="800000"/>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 name="Freeform 312">
            <a:extLst>
              <a:ext uri="{FF2B5EF4-FFF2-40B4-BE49-F238E27FC236}">
                <a16:creationId xmlns:a16="http://schemas.microsoft.com/office/drawing/2014/main" id="{724E52D4-CDF1-4701-BCA6-89CBA4C58044}"/>
              </a:ext>
            </a:extLst>
          </p:cNvPr>
          <p:cNvSpPr>
            <a:spLocks/>
          </p:cNvSpPr>
          <p:nvPr/>
        </p:nvSpPr>
        <p:spPr bwMode="auto">
          <a:xfrm>
            <a:off x="1473045" y="2992290"/>
            <a:ext cx="4441" cy="3348"/>
          </a:xfrm>
          <a:custGeom>
            <a:avLst/>
            <a:gdLst>
              <a:gd name="T0" fmla="*/ 0 w 2"/>
              <a:gd name="T1" fmla="*/ 0 h 1"/>
              <a:gd name="T2" fmla="*/ 2 w 2"/>
              <a:gd name="T3" fmla="*/ 1 h 1"/>
              <a:gd name="T4" fmla="*/ 0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2" y="1"/>
                  <a:pt x="2" y="1"/>
                  <a:pt x="2" y="1"/>
                </a:cubicBezTo>
                <a:cubicBezTo>
                  <a:pt x="1" y="1"/>
                  <a:pt x="1" y="1"/>
                  <a:pt x="0" y="1"/>
                </a:cubicBez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3" name="Freeform 313">
            <a:extLst>
              <a:ext uri="{FF2B5EF4-FFF2-40B4-BE49-F238E27FC236}">
                <a16:creationId xmlns:a16="http://schemas.microsoft.com/office/drawing/2014/main" id="{2B56FC63-FF81-46B5-9EEF-D56837D33528}"/>
              </a:ext>
            </a:extLst>
          </p:cNvPr>
          <p:cNvSpPr>
            <a:spLocks/>
          </p:cNvSpPr>
          <p:nvPr/>
        </p:nvSpPr>
        <p:spPr bwMode="auto">
          <a:xfrm>
            <a:off x="1653979" y="2801428"/>
            <a:ext cx="382961" cy="344893"/>
          </a:xfrm>
          <a:custGeom>
            <a:avLst/>
            <a:gdLst>
              <a:gd name="T0" fmla="*/ 65 w 155"/>
              <a:gd name="T1" fmla="*/ 8 h 139"/>
              <a:gd name="T2" fmla="*/ 69 w 155"/>
              <a:gd name="T3" fmla="*/ 3 h 139"/>
              <a:gd name="T4" fmla="*/ 74 w 155"/>
              <a:gd name="T5" fmla="*/ 6 h 139"/>
              <a:gd name="T6" fmla="*/ 80 w 155"/>
              <a:gd name="T7" fmla="*/ 14 h 139"/>
              <a:gd name="T8" fmla="*/ 86 w 155"/>
              <a:gd name="T9" fmla="*/ 21 h 139"/>
              <a:gd name="T10" fmla="*/ 94 w 155"/>
              <a:gd name="T11" fmla="*/ 26 h 139"/>
              <a:gd name="T12" fmla="*/ 104 w 155"/>
              <a:gd name="T13" fmla="*/ 26 h 139"/>
              <a:gd name="T14" fmla="*/ 113 w 155"/>
              <a:gd name="T15" fmla="*/ 33 h 139"/>
              <a:gd name="T16" fmla="*/ 116 w 155"/>
              <a:gd name="T17" fmla="*/ 36 h 139"/>
              <a:gd name="T18" fmla="*/ 120 w 155"/>
              <a:gd name="T19" fmla="*/ 47 h 139"/>
              <a:gd name="T20" fmla="*/ 132 w 155"/>
              <a:gd name="T21" fmla="*/ 49 h 139"/>
              <a:gd name="T22" fmla="*/ 140 w 155"/>
              <a:gd name="T23" fmla="*/ 53 h 139"/>
              <a:gd name="T24" fmla="*/ 148 w 155"/>
              <a:gd name="T25" fmla="*/ 60 h 139"/>
              <a:gd name="T26" fmla="*/ 152 w 155"/>
              <a:gd name="T27" fmla="*/ 67 h 139"/>
              <a:gd name="T28" fmla="*/ 143 w 155"/>
              <a:gd name="T29" fmla="*/ 75 h 139"/>
              <a:gd name="T30" fmla="*/ 137 w 155"/>
              <a:gd name="T31" fmla="*/ 80 h 139"/>
              <a:gd name="T32" fmla="*/ 129 w 155"/>
              <a:gd name="T33" fmla="*/ 86 h 139"/>
              <a:gd name="T34" fmla="*/ 125 w 155"/>
              <a:gd name="T35" fmla="*/ 97 h 139"/>
              <a:gd name="T36" fmla="*/ 125 w 155"/>
              <a:gd name="T37" fmla="*/ 109 h 139"/>
              <a:gd name="T38" fmla="*/ 123 w 155"/>
              <a:gd name="T39" fmla="*/ 111 h 139"/>
              <a:gd name="T40" fmla="*/ 119 w 155"/>
              <a:gd name="T41" fmla="*/ 119 h 139"/>
              <a:gd name="T42" fmla="*/ 111 w 155"/>
              <a:gd name="T43" fmla="*/ 132 h 139"/>
              <a:gd name="T44" fmla="*/ 110 w 155"/>
              <a:gd name="T45" fmla="*/ 138 h 139"/>
              <a:gd name="T46" fmla="*/ 103 w 155"/>
              <a:gd name="T47" fmla="*/ 135 h 139"/>
              <a:gd name="T48" fmla="*/ 100 w 155"/>
              <a:gd name="T49" fmla="*/ 130 h 139"/>
              <a:gd name="T50" fmla="*/ 82 w 155"/>
              <a:gd name="T51" fmla="*/ 130 h 139"/>
              <a:gd name="T52" fmla="*/ 69 w 155"/>
              <a:gd name="T53" fmla="*/ 122 h 139"/>
              <a:gd name="T54" fmla="*/ 57 w 155"/>
              <a:gd name="T55" fmla="*/ 114 h 139"/>
              <a:gd name="T56" fmla="*/ 52 w 155"/>
              <a:gd name="T57" fmla="*/ 106 h 139"/>
              <a:gd name="T58" fmla="*/ 52 w 155"/>
              <a:gd name="T59" fmla="*/ 99 h 139"/>
              <a:gd name="T60" fmla="*/ 37 w 155"/>
              <a:gd name="T61" fmla="*/ 84 h 139"/>
              <a:gd name="T62" fmla="*/ 25 w 155"/>
              <a:gd name="T63" fmla="*/ 88 h 139"/>
              <a:gd name="T64" fmla="*/ 16 w 155"/>
              <a:gd name="T65" fmla="*/ 90 h 139"/>
              <a:gd name="T66" fmla="*/ 7 w 155"/>
              <a:gd name="T67" fmla="*/ 86 h 139"/>
              <a:gd name="T68" fmla="*/ 9 w 155"/>
              <a:gd name="T69" fmla="*/ 71 h 139"/>
              <a:gd name="T70" fmla="*/ 17 w 155"/>
              <a:gd name="T71" fmla="*/ 61 h 139"/>
              <a:gd name="T72" fmla="*/ 1 w 155"/>
              <a:gd name="T73" fmla="*/ 50 h 139"/>
              <a:gd name="T74" fmla="*/ 9 w 155"/>
              <a:gd name="T75" fmla="*/ 47 h 139"/>
              <a:gd name="T76" fmla="*/ 7 w 155"/>
              <a:gd name="T77" fmla="*/ 36 h 139"/>
              <a:gd name="T78" fmla="*/ 11 w 155"/>
              <a:gd name="T79" fmla="*/ 27 h 139"/>
              <a:gd name="T80" fmla="*/ 10 w 155"/>
              <a:gd name="T81" fmla="*/ 23 h 139"/>
              <a:gd name="T82" fmla="*/ 13 w 155"/>
              <a:gd name="T83" fmla="*/ 21 h 139"/>
              <a:gd name="T84" fmla="*/ 24 w 155"/>
              <a:gd name="T85" fmla="*/ 16 h 139"/>
              <a:gd name="T86" fmla="*/ 34 w 155"/>
              <a:gd name="T87" fmla="*/ 10 h 139"/>
              <a:gd name="T88" fmla="*/ 51 w 155"/>
              <a:gd name="T89" fmla="*/ 12 h 139"/>
              <a:gd name="T90" fmla="*/ 68 w 155"/>
              <a:gd name="T91" fmla="*/ 17 h 139"/>
              <a:gd name="T92" fmla="*/ 63 w 155"/>
              <a:gd name="T93"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5" h="139">
                <a:moveTo>
                  <a:pt x="63" y="9"/>
                </a:moveTo>
                <a:cubicBezTo>
                  <a:pt x="64" y="9"/>
                  <a:pt x="65" y="9"/>
                  <a:pt x="65" y="8"/>
                </a:cubicBezTo>
                <a:cubicBezTo>
                  <a:pt x="66" y="6"/>
                  <a:pt x="65" y="5"/>
                  <a:pt x="67" y="4"/>
                </a:cubicBezTo>
                <a:cubicBezTo>
                  <a:pt x="67" y="3"/>
                  <a:pt x="69" y="4"/>
                  <a:pt x="69" y="3"/>
                </a:cubicBezTo>
                <a:cubicBezTo>
                  <a:pt x="70" y="2"/>
                  <a:pt x="69" y="1"/>
                  <a:pt x="70" y="0"/>
                </a:cubicBezTo>
                <a:cubicBezTo>
                  <a:pt x="71" y="0"/>
                  <a:pt x="76" y="6"/>
                  <a:pt x="74" y="6"/>
                </a:cubicBezTo>
                <a:cubicBezTo>
                  <a:pt x="75" y="6"/>
                  <a:pt x="76" y="7"/>
                  <a:pt x="77" y="7"/>
                </a:cubicBezTo>
                <a:cubicBezTo>
                  <a:pt x="78" y="10"/>
                  <a:pt x="76" y="13"/>
                  <a:pt x="80" y="14"/>
                </a:cubicBezTo>
                <a:cubicBezTo>
                  <a:pt x="82" y="15"/>
                  <a:pt x="81" y="17"/>
                  <a:pt x="82" y="18"/>
                </a:cubicBezTo>
                <a:cubicBezTo>
                  <a:pt x="83" y="20"/>
                  <a:pt x="85" y="20"/>
                  <a:pt x="86" y="21"/>
                </a:cubicBezTo>
                <a:cubicBezTo>
                  <a:pt x="88" y="23"/>
                  <a:pt x="89" y="28"/>
                  <a:pt x="94" y="27"/>
                </a:cubicBezTo>
                <a:cubicBezTo>
                  <a:pt x="94" y="26"/>
                  <a:pt x="94" y="26"/>
                  <a:pt x="94" y="26"/>
                </a:cubicBezTo>
                <a:cubicBezTo>
                  <a:pt x="95" y="26"/>
                  <a:pt x="97" y="25"/>
                  <a:pt x="98" y="24"/>
                </a:cubicBezTo>
                <a:cubicBezTo>
                  <a:pt x="101" y="24"/>
                  <a:pt x="102" y="26"/>
                  <a:pt x="104" y="26"/>
                </a:cubicBezTo>
                <a:cubicBezTo>
                  <a:pt x="104" y="28"/>
                  <a:pt x="107" y="32"/>
                  <a:pt x="109" y="32"/>
                </a:cubicBezTo>
                <a:cubicBezTo>
                  <a:pt x="110" y="33"/>
                  <a:pt x="111" y="32"/>
                  <a:pt x="113" y="33"/>
                </a:cubicBezTo>
                <a:cubicBezTo>
                  <a:pt x="113" y="33"/>
                  <a:pt x="114" y="33"/>
                  <a:pt x="115" y="34"/>
                </a:cubicBezTo>
                <a:cubicBezTo>
                  <a:pt x="116" y="35"/>
                  <a:pt x="115" y="35"/>
                  <a:pt x="116" y="36"/>
                </a:cubicBezTo>
                <a:cubicBezTo>
                  <a:pt x="117" y="37"/>
                  <a:pt x="117" y="38"/>
                  <a:pt x="119" y="38"/>
                </a:cubicBezTo>
                <a:cubicBezTo>
                  <a:pt x="118" y="41"/>
                  <a:pt x="119" y="45"/>
                  <a:pt x="120" y="47"/>
                </a:cubicBezTo>
                <a:cubicBezTo>
                  <a:pt x="121" y="48"/>
                  <a:pt x="124" y="48"/>
                  <a:pt x="126" y="48"/>
                </a:cubicBezTo>
                <a:cubicBezTo>
                  <a:pt x="128" y="48"/>
                  <a:pt x="130" y="49"/>
                  <a:pt x="132" y="49"/>
                </a:cubicBezTo>
                <a:cubicBezTo>
                  <a:pt x="134" y="50"/>
                  <a:pt x="135" y="51"/>
                  <a:pt x="136" y="52"/>
                </a:cubicBezTo>
                <a:cubicBezTo>
                  <a:pt x="138" y="52"/>
                  <a:pt x="138" y="52"/>
                  <a:pt x="140" y="53"/>
                </a:cubicBezTo>
                <a:cubicBezTo>
                  <a:pt x="142" y="53"/>
                  <a:pt x="142" y="55"/>
                  <a:pt x="143" y="57"/>
                </a:cubicBezTo>
                <a:cubicBezTo>
                  <a:pt x="145" y="60"/>
                  <a:pt x="145" y="60"/>
                  <a:pt x="148" y="60"/>
                </a:cubicBezTo>
                <a:cubicBezTo>
                  <a:pt x="150" y="61"/>
                  <a:pt x="151" y="62"/>
                  <a:pt x="152" y="63"/>
                </a:cubicBezTo>
                <a:cubicBezTo>
                  <a:pt x="152" y="63"/>
                  <a:pt x="155" y="68"/>
                  <a:pt x="152" y="67"/>
                </a:cubicBezTo>
                <a:cubicBezTo>
                  <a:pt x="150" y="67"/>
                  <a:pt x="149" y="67"/>
                  <a:pt x="148" y="69"/>
                </a:cubicBezTo>
                <a:cubicBezTo>
                  <a:pt x="147" y="71"/>
                  <a:pt x="144" y="73"/>
                  <a:pt x="143" y="75"/>
                </a:cubicBezTo>
                <a:cubicBezTo>
                  <a:pt x="142" y="75"/>
                  <a:pt x="140" y="75"/>
                  <a:pt x="138" y="76"/>
                </a:cubicBezTo>
                <a:cubicBezTo>
                  <a:pt x="137" y="77"/>
                  <a:pt x="137" y="79"/>
                  <a:pt x="137" y="80"/>
                </a:cubicBezTo>
                <a:cubicBezTo>
                  <a:pt x="136" y="82"/>
                  <a:pt x="135" y="83"/>
                  <a:pt x="133" y="84"/>
                </a:cubicBezTo>
                <a:cubicBezTo>
                  <a:pt x="132" y="84"/>
                  <a:pt x="130" y="84"/>
                  <a:pt x="129" y="86"/>
                </a:cubicBezTo>
                <a:cubicBezTo>
                  <a:pt x="128" y="88"/>
                  <a:pt x="131" y="93"/>
                  <a:pt x="129" y="95"/>
                </a:cubicBezTo>
                <a:cubicBezTo>
                  <a:pt x="127" y="97"/>
                  <a:pt x="126" y="96"/>
                  <a:pt x="125" y="97"/>
                </a:cubicBezTo>
                <a:cubicBezTo>
                  <a:pt x="124" y="99"/>
                  <a:pt x="125" y="101"/>
                  <a:pt x="123" y="101"/>
                </a:cubicBezTo>
                <a:cubicBezTo>
                  <a:pt x="122" y="104"/>
                  <a:pt x="124" y="107"/>
                  <a:pt x="125" y="109"/>
                </a:cubicBezTo>
                <a:cubicBezTo>
                  <a:pt x="126" y="109"/>
                  <a:pt x="126" y="110"/>
                  <a:pt x="126" y="111"/>
                </a:cubicBezTo>
                <a:cubicBezTo>
                  <a:pt x="125" y="111"/>
                  <a:pt x="124" y="111"/>
                  <a:pt x="123" y="111"/>
                </a:cubicBezTo>
                <a:cubicBezTo>
                  <a:pt x="123" y="112"/>
                  <a:pt x="122" y="112"/>
                  <a:pt x="122" y="113"/>
                </a:cubicBezTo>
                <a:cubicBezTo>
                  <a:pt x="121" y="114"/>
                  <a:pt x="120" y="117"/>
                  <a:pt x="119" y="119"/>
                </a:cubicBezTo>
                <a:cubicBezTo>
                  <a:pt x="117" y="122"/>
                  <a:pt x="115" y="125"/>
                  <a:pt x="113" y="127"/>
                </a:cubicBezTo>
                <a:cubicBezTo>
                  <a:pt x="112" y="128"/>
                  <a:pt x="110" y="130"/>
                  <a:pt x="111" y="132"/>
                </a:cubicBezTo>
                <a:cubicBezTo>
                  <a:pt x="111" y="133"/>
                  <a:pt x="112" y="134"/>
                  <a:pt x="113" y="134"/>
                </a:cubicBezTo>
                <a:cubicBezTo>
                  <a:pt x="111" y="135"/>
                  <a:pt x="111" y="137"/>
                  <a:pt x="110" y="138"/>
                </a:cubicBezTo>
                <a:cubicBezTo>
                  <a:pt x="109" y="139"/>
                  <a:pt x="107" y="138"/>
                  <a:pt x="106" y="138"/>
                </a:cubicBezTo>
                <a:cubicBezTo>
                  <a:pt x="107" y="135"/>
                  <a:pt x="103" y="137"/>
                  <a:pt x="103" y="135"/>
                </a:cubicBezTo>
                <a:cubicBezTo>
                  <a:pt x="102" y="134"/>
                  <a:pt x="101" y="134"/>
                  <a:pt x="100" y="135"/>
                </a:cubicBezTo>
                <a:cubicBezTo>
                  <a:pt x="100" y="133"/>
                  <a:pt x="100" y="132"/>
                  <a:pt x="100" y="130"/>
                </a:cubicBezTo>
                <a:cubicBezTo>
                  <a:pt x="97" y="130"/>
                  <a:pt x="94" y="132"/>
                  <a:pt x="90" y="131"/>
                </a:cubicBezTo>
                <a:cubicBezTo>
                  <a:pt x="87" y="130"/>
                  <a:pt x="85" y="130"/>
                  <a:pt x="82" y="130"/>
                </a:cubicBezTo>
                <a:cubicBezTo>
                  <a:pt x="82" y="127"/>
                  <a:pt x="81" y="127"/>
                  <a:pt x="78" y="126"/>
                </a:cubicBezTo>
                <a:cubicBezTo>
                  <a:pt x="75" y="125"/>
                  <a:pt x="72" y="122"/>
                  <a:pt x="69" y="122"/>
                </a:cubicBezTo>
                <a:cubicBezTo>
                  <a:pt x="69" y="119"/>
                  <a:pt x="69" y="117"/>
                  <a:pt x="64" y="116"/>
                </a:cubicBezTo>
                <a:cubicBezTo>
                  <a:pt x="61" y="116"/>
                  <a:pt x="57" y="118"/>
                  <a:pt x="57" y="114"/>
                </a:cubicBezTo>
                <a:cubicBezTo>
                  <a:pt x="54" y="113"/>
                  <a:pt x="54" y="110"/>
                  <a:pt x="51" y="109"/>
                </a:cubicBezTo>
                <a:cubicBezTo>
                  <a:pt x="51" y="108"/>
                  <a:pt x="52" y="107"/>
                  <a:pt x="52" y="106"/>
                </a:cubicBezTo>
                <a:cubicBezTo>
                  <a:pt x="54" y="106"/>
                  <a:pt x="59" y="106"/>
                  <a:pt x="59" y="104"/>
                </a:cubicBezTo>
                <a:cubicBezTo>
                  <a:pt x="58" y="102"/>
                  <a:pt x="53" y="100"/>
                  <a:pt x="52" y="99"/>
                </a:cubicBezTo>
                <a:cubicBezTo>
                  <a:pt x="49" y="97"/>
                  <a:pt x="45" y="94"/>
                  <a:pt x="42" y="91"/>
                </a:cubicBezTo>
                <a:cubicBezTo>
                  <a:pt x="40" y="89"/>
                  <a:pt x="40" y="86"/>
                  <a:pt x="37" y="84"/>
                </a:cubicBezTo>
                <a:cubicBezTo>
                  <a:pt x="34" y="82"/>
                  <a:pt x="32" y="85"/>
                  <a:pt x="29" y="84"/>
                </a:cubicBezTo>
                <a:cubicBezTo>
                  <a:pt x="27" y="84"/>
                  <a:pt x="27" y="87"/>
                  <a:pt x="25" y="88"/>
                </a:cubicBezTo>
                <a:cubicBezTo>
                  <a:pt x="22" y="89"/>
                  <a:pt x="23" y="91"/>
                  <a:pt x="21" y="93"/>
                </a:cubicBezTo>
                <a:cubicBezTo>
                  <a:pt x="19" y="94"/>
                  <a:pt x="17" y="90"/>
                  <a:pt x="16" y="90"/>
                </a:cubicBezTo>
                <a:cubicBezTo>
                  <a:pt x="17" y="88"/>
                  <a:pt x="16" y="86"/>
                  <a:pt x="16" y="85"/>
                </a:cubicBezTo>
                <a:cubicBezTo>
                  <a:pt x="14" y="86"/>
                  <a:pt x="10" y="87"/>
                  <a:pt x="7" y="86"/>
                </a:cubicBezTo>
                <a:cubicBezTo>
                  <a:pt x="6" y="85"/>
                  <a:pt x="6" y="81"/>
                  <a:pt x="5" y="79"/>
                </a:cubicBezTo>
                <a:cubicBezTo>
                  <a:pt x="3" y="76"/>
                  <a:pt x="7" y="73"/>
                  <a:pt x="9" y="71"/>
                </a:cubicBezTo>
                <a:cubicBezTo>
                  <a:pt x="11" y="69"/>
                  <a:pt x="12" y="65"/>
                  <a:pt x="13" y="62"/>
                </a:cubicBezTo>
                <a:cubicBezTo>
                  <a:pt x="14" y="62"/>
                  <a:pt x="15" y="61"/>
                  <a:pt x="17" y="61"/>
                </a:cubicBezTo>
                <a:cubicBezTo>
                  <a:pt x="13" y="59"/>
                  <a:pt x="9" y="59"/>
                  <a:pt x="6" y="56"/>
                </a:cubicBezTo>
                <a:cubicBezTo>
                  <a:pt x="4" y="55"/>
                  <a:pt x="0" y="53"/>
                  <a:pt x="1" y="50"/>
                </a:cubicBezTo>
                <a:cubicBezTo>
                  <a:pt x="3" y="49"/>
                  <a:pt x="3" y="49"/>
                  <a:pt x="3" y="49"/>
                </a:cubicBezTo>
                <a:cubicBezTo>
                  <a:pt x="5" y="48"/>
                  <a:pt x="7" y="48"/>
                  <a:pt x="9" y="47"/>
                </a:cubicBezTo>
                <a:cubicBezTo>
                  <a:pt x="10" y="46"/>
                  <a:pt x="10" y="43"/>
                  <a:pt x="7" y="43"/>
                </a:cubicBezTo>
                <a:cubicBezTo>
                  <a:pt x="8" y="41"/>
                  <a:pt x="10" y="36"/>
                  <a:pt x="7" y="36"/>
                </a:cubicBezTo>
                <a:cubicBezTo>
                  <a:pt x="7" y="34"/>
                  <a:pt x="9" y="28"/>
                  <a:pt x="11" y="28"/>
                </a:cubicBezTo>
                <a:cubicBezTo>
                  <a:pt x="11" y="27"/>
                  <a:pt x="11" y="27"/>
                  <a:pt x="11" y="27"/>
                </a:cubicBezTo>
                <a:cubicBezTo>
                  <a:pt x="11" y="27"/>
                  <a:pt x="11" y="27"/>
                  <a:pt x="11" y="27"/>
                </a:cubicBezTo>
                <a:cubicBezTo>
                  <a:pt x="10" y="26"/>
                  <a:pt x="10" y="25"/>
                  <a:pt x="10" y="23"/>
                </a:cubicBezTo>
                <a:cubicBezTo>
                  <a:pt x="11" y="23"/>
                  <a:pt x="15" y="24"/>
                  <a:pt x="14" y="21"/>
                </a:cubicBezTo>
                <a:cubicBezTo>
                  <a:pt x="14" y="22"/>
                  <a:pt x="13" y="21"/>
                  <a:pt x="13" y="21"/>
                </a:cubicBezTo>
                <a:cubicBezTo>
                  <a:pt x="13" y="19"/>
                  <a:pt x="17" y="13"/>
                  <a:pt x="20" y="14"/>
                </a:cubicBezTo>
                <a:cubicBezTo>
                  <a:pt x="22" y="15"/>
                  <a:pt x="22" y="17"/>
                  <a:pt x="24" y="16"/>
                </a:cubicBezTo>
                <a:cubicBezTo>
                  <a:pt x="25" y="16"/>
                  <a:pt x="26" y="13"/>
                  <a:pt x="26" y="12"/>
                </a:cubicBezTo>
                <a:cubicBezTo>
                  <a:pt x="28" y="11"/>
                  <a:pt x="32" y="13"/>
                  <a:pt x="34" y="10"/>
                </a:cubicBezTo>
                <a:cubicBezTo>
                  <a:pt x="37" y="10"/>
                  <a:pt x="42" y="11"/>
                  <a:pt x="44" y="11"/>
                </a:cubicBezTo>
                <a:cubicBezTo>
                  <a:pt x="47" y="12"/>
                  <a:pt x="48" y="12"/>
                  <a:pt x="51" y="12"/>
                </a:cubicBezTo>
                <a:cubicBezTo>
                  <a:pt x="54" y="13"/>
                  <a:pt x="61" y="14"/>
                  <a:pt x="61" y="18"/>
                </a:cubicBezTo>
                <a:cubicBezTo>
                  <a:pt x="62" y="18"/>
                  <a:pt x="69" y="18"/>
                  <a:pt x="68" y="17"/>
                </a:cubicBezTo>
                <a:cubicBezTo>
                  <a:pt x="68" y="16"/>
                  <a:pt x="67" y="14"/>
                  <a:pt x="66" y="13"/>
                </a:cubicBezTo>
                <a:cubicBezTo>
                  <a:pt x="65" y="11"/>
                  <a:pt x="64" y="10"/>
                  <a:pt x="63" y="9"/>
                </a:cubicBezTo>
                <a:close/>
              </a:path>
            </a:pathLst>
          </a:custGeom>
          <a:solidFill>
            <a:schemeClr val="accent3"/>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 name="Freeform 314">
            <a:extLst>
              <a:ext uri="{FF2B5EF4-FFF2-40B4-BE49-F238E27FC236}">
                <a16:creationId xmlns:a16="http://schemas.microsoft.com/office/drawing/2014/main" id="{C5E2C4EE-A6B1-4065-99F5-9ADBCC79D2CE}"/>
              </a:ext>
            </a:extLst>
          </p:cNvPr>
          <p:cNvSpPr>
            <a:spLocks/>
          </p:cNvSpPr>
          <p:nvPr/>
        </p:nvSpPr>
        <p:spPr bwMode="auto">
          <a:xfrm>
            <a:off x="1811603" y="28237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5" name="Freeform 315">
            <a:extLst>
              <a:ext uri="{FF2B5EF4-FFF2-40B4-BE49-F238E27FC236}">
                <a16:creationId xmlns:a16="http://schemas.microsoft.com/office/drawing/2014/main" id="{5937671F-AA59-4139-AB87-09EF256C7196}"/>
              </a:ext>
            </a:extLst>
          </p:cNvPr>
          <p:cNvSpPr>
            <a:spLocks/>
          </p:cNvSpPr>
          <p:nvPr/>
        </p:nvSpPr>
        <p:spPr bwMode="auto">
          <a:xfrm>
            <a:off x="1811603" y="2823751"/>
            <a:ext cx="2219"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6" name="Freeform 316">
            <a:extLst>
              <a:ext uri="{FF2B5EF4-FFF2-40B4-BE49-F238E27FC236}">
                <a16:creationId xmlns:a16="http://schemas.microsoft.com/office/drawing/2014/main" id="{8A3EC063-2D6C-4E8D-BDDE-435F12538AE9}"/>
              </a:ext>
            </a:extLst>
          </p:cNvPr>
          <p:cNvSpPr>
            <a:spLocks/>
          </p:cNvSpPr>
          <p:nvPr/>
        </p:nvSpPr>
        <p:spPr bwMode="auto">
          <a:xfrm>
            <a:off x="1836024" y="2517923"/>
            <a:ext cx="3331" cy="223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7" name="Freeform 317">
            <a:extLst>
              <a:ext uri="{FF2B5EF4-FFF2-40B4-BE49-F238E27FC236}">
                <a16:creationId xmlns:a16="http://schemas.microsoft.com/office/drawing/2014/main" id="{2CAADC96-B8BB-48B4-89B5-70FBE3BBCE18}"/>
              </a:ext>
            </a:extLst>
          </p:cNvPr>
          <p:cNvSpPr>
            <a:spLocks/>
          </p:cNvSpPr>
          <p:nvPr/>
        </p:nvSpPr>
        <p:spPr bwMode="auto">
          <a:xfrm>
            <a:off x="1833803" y="2502297"/>
            <a:ext cx="2219" cy="10046"/>
          </a:xfrm>
          <a:custGeom>
            <a:avLst/>
            <a:gdLst>
              <a:gd name="T0" fmla="*/ 0 w 1"/>
              <a:gd name="T1" fmla="*/ 0 h 4"/>
              <a:gd name="T2" fmla="*/ 0 w 1"/>
              <a:gd name="T3" fmla="*/ 0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cubicBezTo>
                  <a:pt x="0" y="0"/>
                  <a:pt x="0" y="0"/>
                  <a:pt x="0" y="0"/>
                </a:cubicBezTo>
                <a:cubicBezTo>
                  <a:pt x="0" y="1"/>
                  <a:pt x="0" y="3"/>
                  <a:pt x="1" y="4"/>
                </a:cubicBezTo>
                <a:cubicBezTo>
                  <a:pt x="0" y="3"/>
                  <a:pt x="0" y="1"/>
                  <a:pt x="0"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8" name="Freeform 318">
            <a:extLst>
              <a:ext uri="{FF2B5EF4-FFF2-40B4-BE49-F238E27FC236}">
                <a16:creationId xmlns:a16="http://schemas.microsoft.com/office/drawing/2014/main" id="{74246FFC-ABFF-46A9-B214-359762DFA212}"/>
              </a:ext>
            </a:extLst>
          </p:cNvPr>
          <p:cNvSpPr>
            <a:spLocks/>
          </p:cNvSpPr>
          <p:nvPr/>
        </p:nvSpPr>
        <p:spPr bwMode="auto">
          <a:xfrm>
            <a:off x="1774972" y="2679766"/>
            <a:ext cx="2219" cy="223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9" name="Freeform 319">
            <a:extLst>
              <a:ext uri="{FF2B5EF4-FFF2-40B4-BE49-F238E27FC236}">
                <a16:creationId xmlns:a16="http://schemas.microsoft.com/office/drawing/2014/main" id="{682DC47A-585D-4322-BD83-AC12E36B9662}"/>
              </a:ext>
            </a:extLst>
          </p:cNvPr>
          <p:cNvSpPr>
            <a:spLocks/>
          </p:cNvSpPr>
          <p:nvPr/>
        </p:nvSpPr>
        <p:spPr bwMode="auto">
          <a:xfrm>
            <a:off x="1772753" y="2674185"/>
            <a:ext cx="2219" cy="223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Freeform 320">
            <a:extLst>
              <a:ext uri="{FF2B5EF4-FFF2-40B4-BE49-F238E27FC236}">
                <a16:creationId xmlns:a16="http://schemas.microsoft.com/office/drawing/2014/main" id="{A7CCEEBD-7721-4FE5-8638-EF0F048E309F}"/>
              </a:ext>
            </a:extLst>
          </p:cNvPr>
          <p:cNvSpPr>
            <a:spLocks/>
          </p:cNvSpPr>
          <p:nvPr/>
        </p:nvSpPr>
        <p:spPr bwMode="auto">
          <a:xfrm>
            <a:off x="1448623" y="2574847"/>
            <a:ext cx="375190" cy="356056"/>
          </a:xfrm>
          <a:custGeom>
            <a:avLst/>
            <a:gdLst>
              <a:gd name="T0" fmla="*/ 146 w 152"/>
              <a:gd name="T1" fmla="*/ 100 h 143"/>
              <a:gd name="T2" fmla="*/ 144 w 152"/>
              <a:gd name="T3" fmla="*/ 93 h 143"/>
              <a:gd name="T4" fmla="*/ 140 w 152"/>
              <a:gd name="T5" fmla="*/ 88 h 143"/>
              <a:gd name="T6" fmla="*/ 143 w 152"/>
              <a:gd name="T7" fmla="*/ 79 h 143"/>
              <a:gd name="T8" fmla="*/ 138 w 152"/>
              <a:gd name="T9" fmla="*/ 63 h 143"/>
              <a:gd name="T10" fmla="*/ 135 w 152"/>
              <a:gd name="T11" fmla="*/ 57 h 143"/>
              <a:gd name="T12" fmla="*/ 131 w 152"/>
              <a:gd name="T13" fmla="*/ 51 h 143"/>
              <a:gd name="T14" fmla="*/ 133 w 152"/>
              <a:gd name="T15" fmla="*/ 45 h 143"/>
              <a:gd name="T16" fmla="*/ 132 w 152"/>
              <a:gd name="T17" fmla="*/ 43 h 143"/>
              <a:gd name="T18" fmla="*/ 127 w 152"/>
              <a:gd name="T19" fmla="*/ 40 h 143"/>
              <a:gd name="T20" fmla="*/ 126 w 152"/>
              <a:gd name="T21" fmla="*/ 39 h 143"/>
              <a:gd name="T22" fmla="*/ 122 w 152"/>
              <a:gd name="T23" fmla="*/ 29 h 143"/>
              <a:gd name="T24" fmla="*/ 117 w 152"/>
              <a:gd name="T25" fmla="*/ 31 h 143"/>
              <a:gd name="T26" fmla="*/ 109 w 152"/>
              <a:gd name="T27" fmla="*/ 30 h 143"/>
              <a:gd name="T28" fmla="*/ 106 w 152"/>
              <a:gd name="T29" fmla="*/ 22 h 143"/>
              <a:gd name="T30" fmla="*/ 102 w 152"/>
              <a:gd name="T31" fmla="*/ 14 h 143"/>
              <a:gd name="T32" fmla="*/ 86 w 152"/>
              <a:gd name="T33" fmla="*/ 18 h 143"/>
              <a:gd name="T34" fmla="*/ 75 w 152"/>
              <a:gd name="T35" fmla="*/ 13 h 143"/>
              <a:gd name="T36" fmla="*/ 67 w 152"/>
              <a:gd name="T37" fmla="*/ 9 h 143"/>
              <a:gd name="T38" fmla="*/ 60 w 152"/>
              <a:gd name="T39" fmla="*/ 6 h 143"/>
              <a:gd name="T40" fmla="*/ 47 w 152"/>
              <a:gd name="T41" fmla="*/ 1 h 143"/>
              <a:gd name="T42" fmla="*/ 34 w 152"/>
              <a:gd name="T43" fmla="*/ 9 h 143"/>
              <a:gd name="T44" fmla="*/ 27 w 152"/>
              <a:gd name="T45" fmla="*/ 12 h 143"/>
              <a:gd name="T46" fmla="*/ 24 w 152"/>
              <a:gd name="T47" fmla="*/ 14 h 143"/>
              <a:gd name="T48" fmla="*/ 19 w 152"/>
              <a:gd name="T49" fmla="*/ 12 h 143"/>
              <a:gd name="T50" fmla="*/ 16 w 152"/>
              <a:gd name="T51" fmla="*/ 16 h 143"/>
              <a:gd name="T52" fmla="*/ 19 w 152"/>
              <a:gd name="T53" fmla="*/ 23 h 143"/>
              <a:gd name="T54" fmla="*/ 15 w 152"/>
              <a:gd name="T55" fmla="*/ 32 h 143"/>
              <a:gd name="T56" fmla="*/ 13 w 152"/>
              <a:gd name="T57" fmla="*/ 33 h 143"/>
              <a:gd name="T58" fmla="*/ 12 w 152"/>
              <a:gd name="T59" fmla="*/ 33 h 143"/>
              <a:gd name="T60" fmla="*/ 16 w 152"/>
              <a:gd name="T61" fmla="*/ 40 h 143"/>
              <a:gd name="T62" fmla="*/ 9 w 152"/>
              <a:gd name="T63" fmla="*/ 46 h 143"/>
              <a:gd name="T64" fmla="*/ 3 w 152"/>
              <a:gd name="T65" fmla="*/ 53 h 143"/>
              <a:gd name="T66" fmla="*/ 6 w 152"/>
              <a:gd name="T67" fmla="*/ 55 h 143"/>
              <a:gd name="T68" fmla="*/ 17 w 152"/>
              <a:gd name="T69" fmla="*/ 66 h 143"/>
              <a:gd name="T70" fmla="*/ 23 w 152"/>
              <a:gd name="T71" fmla="*/ 82 h 143"/>
              <a:gd name="T72" fmla="*/ 30 w 152"/>
              <a:gd name="T73" fmla="*/ 87 h 143"/>
              <a:gd name="T74" fmla="*/ 38 w 152"/>
              <a:gd name="T75" fmla="*/ 92 h 143"/>
              <a:gd name="T76" fmla="*/ 42 w 152"/>
              <a:gd name="T77" fmla="*/ 95 h 143"/>
              <a:gd name="T78" fmla="*/ 42 w 152"/>
              <a:gd name="T79" fmla="*/ 105 h 143"/>
              <a:gd name="T80" fmla="*/ 57 w 152"/>
              <a:gd name="T81" fmla="*/ 117 h 143"/>
              <a:gd name="T82" fmla="*/ 67 w 152"/>
              <a:gd name="T83" fmla="*/ 127 h 143"/>
              <a:gd name="T84" fmla="*/ 74 w 152"/>
              <a:gd name="T85" fmla="*/ 138 h 143"/>
              <a:gd name="T86" fmla="*/ 84 w 152"/>
              <a:gd name="T87" fmla="*/ 141 h 143"/>
              <a:gd name="T88" fmla="*/ 86 w 152"/>
              <a:gd name="T89" fmla="*/ 140 h 143"/>
              <a:gd name="T90" fmla="*/ 92 w 152"/>
              <a:gd name="T91" fmla="*/ 138 h 143"/>
              <a:gd name="T92" fmla="*/ 90 w 152"/>
              <a:gd name="T93" fmla="*/ 127 h 143"/>
              <a:gd name="T94" fmla="*/ 94 w 152"/>
              <a:gd name="T95" fmla="*/ 118 h 143"/>
              <a:gd name="T96" fmla="*/ 93 w 152"/>
              <a:gd name="T97" fmla="*/ 114 h 143"/>
              <a:gd name="T98" fmla="*/ 96 w 152"/>
              <a:gd name="T99" fmla="*/ 112 h 143"/>
              <a:gd name="T100" fmla="*/ 107 w 152"/>
              <a:gd name="T101" fmla="*/ 107 h 143"/>
              <a:gd name="T102" fmla="*/ 117 w 152"/>
              <a:gd name="T103" fmla="*/ 101 h 143"/>
              <a:gd name="T104" fmla="*/ 134 w 152"/>
              <a:gd name="T105" fmla="*/ 103 h 143"/>
              <a:gd name="T106" fmla="*/ 151 w 152"/>
              <a:gd name="T107" fmla="*/ 108 h 143"/>
              <a:gd name="T108" fmla="*/ 146 w 152"/>
              <a:gd name="T109" fmla="*/ 10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43">
                <a:moveTo>
                  <a:pt x="146" y="100"/>
                </a:moveTo>
                <a:cubicBezTo>
                  <a:pt x="146" y="100"/>
                  <a:pt x="146" y="100"/>
                  <a:pt x="146" y="100"/>
                </a:cubicBezTo>
                <a:cubicBezTo>
                  <a:pt x="145" y="100"/>
                  <a:pt x="145" y="100"/>
                  <a:pt x="144" y="99"/>
                </a:cubicBezTo>
                <a:cubicBezTo>
                  <a:pt x="143" y="98"/>
                  <a:pt x="144" y="95"/>
                  <a:pt x="144" y="93"/>
                </a:cubicBezTo>
                <a:cubicBezTo>
                  <a:pt x="143" y="94"/>
                  <a:pt x="142" y="94"/>
                  <a:pt x="142" y="94"/>
                </a:cubicBezTo>
                <a:cubicBezTo>
                  <a:pt x="141" y="95"/>
                  <a:pt x="140" y="89"/>
                  <a:pt x="140" y="88"/>
                </a:cubicBezTo>
                <a:cubicBezTo>
                  <a:pt x="141" y="87"/>
                  <a:pt x="142" y="86"/>
                  <a:pt x="143" y="85"/>
                </a:cubicBezTo>
                <a:cubicBezTo>
                  <a:pt x="143" y="84"/>
                  <a:pt x="143" y="80"/>
                  <a:pt x="143" y="79"/>
                </a:cubicBezTo>
                <a:cubicBezTo>
                  <a:pt x="143" y="74"/>
                  <a:pt x="139" y="70"/>
                  <a:pt x="138" y="66"/>
                </a:cubicBezTo>
                <a:cubicBezTo>
                  <a:pt x="138" y="65"/>
                  <a:pt x="138" y="63"/>
                  <a:pt x="138" y="63"/>
                </a:cubicBezTo>
                <a:cubicBezTo>
                  <a:pt x="137" y="62"/>
                  <a:pt x="137" y="62"/>
                  <a:pt x="136" y="62"/>
                </a:cubicBezTo>
                <a:cubicBezTo>
                  <a:pt x="134" y="60"/>
                  <a:pt x="135" y="59"/>
                  <a:pt x="135" y="57"/>
                </a:cubicBezTo>
                <a:cubicBezTo>
                  <a:pt x="135" y="56"/>
                  <a:pt x="135" y="55"/>
                  <a:pt x="135" y="54"/>
                </a:cubicBezTo>
                <a:cubicBezTo>
                  <a:pt x="134" y="53"/>
                  <a:pt x="131" y="53"/>
                  <a:pt x="131" y="51"/>
                </a:cubicBezTo>
                <a:cubicBezTo>
                  <a:pt x="131" y="50"/>
                  <a:pt x="132" y="49"/>
                  <a:pt x="133" y="48"/>
                </a:cubicBezTo>
                <a:cubicBezTo>
                  <a:pt x="133" y="47"/>
                  <a:pt x="133" y="46"/>
                  <a:pt x="133" y="45"/>
                </a:cubicBezTo>
                <a:cubicBezTo>
                  <a:pt x="133" y="44"/>
                  <a:pt x="133" y="44"/>
                  <a:pt x="133" y="43"/>
                </a:cubicBezTo>
                <a:cubicBezTo>
                  <a:pt x="132" y="43"/>
                  <a:pt x="132" y="43"/>
                  <a:pt x="132" y="43"/>
                </a:cubicBezTo>
                <a:cubicBezTo>
                  <a:pt x="131" y="43"/>
                  <a:pt x="131" y="43"/>
                  <a:pt x="130" y="42"/>
                </a:cubicBezTo>
                <a:cubicBezTo>
                  <a:pt x="129" y="41"/>
                  <a:pt x="129" y="40"/>
                  <a:pt x="127" y="40"/>
                </a:cubicBezTo>
                <a:cubicBezTo>
                  <a:pt x="126" y="40"/>
                  <a:pt x="124" y="40"/>
                  <a:pt x="123" y="41"/>
                </a:cubicBezTo>
                <a:cubicBezTo>
                  <a:pt x="124" y="40"/>
                  <a:pt x="124" y="38"/>
                  <a:pt x="126" y="39"/>
                </a:cubicBezTo>
                <a:cubicBezTo>
                  <a:pt x="127" y="36"/>
                  <a:pt x="130" y="24"/>
                  <a:pt x="123" y="28"/>
                </a:cubicBezTo>
                <a:cubicBezTo>
                  <a:pt x="122" y="28"/>
                  <a:pt x="122" y="29"/>
                  <a:pt x="122" y="29"/>
                </a:cubicBezTo>
                <a:cubicBezTo>
                  <a:pt x="121" y="29"/>
                  <a:pt x="120" y="29"/>
                  <a:pt x="120" y="29"/>
                </a:cubicBezTo>
                <a:cubicBezTo>
                  <a:pt x="119" y="30"/>
                  <a:pt x="119" y="31"/>
                  <a:pt x="117" y="31"/>
                </a:cubicBezTo>
                <a:cubicBezTo>
                  <a:pt x="116" y="32"/>
                  <a:pt x="115" y="31"/>
                  <a:pt x="113" y="31"/>
                </a:cubicBezTo>
                <a:cubicBezTo>
                  <a:pt x="112" y="30"/>
                  <a:pt x="111" y="31"/>
                  <a:pt x="109" y="30"/>
                </a:cubicBezTo>
                <a:cubicBezTo>
                  <a:pt x="109" y="29"/>
                  <a:pt x="110" y="27"/>
                  <a:pt x="109" y="26"/>
                </a:cubicBezTo>
                <a:cubicBezTo>
                  <a:pt x="109" y="24"/>
                  <a:pt x="107" y="23"/>
                  <a:pt x="106" y="22"/>
                </a:cubicBezTo>
                <a:cubicBezTo>
                  <a:pt x="105" y="20"/>
                  <a:pt x="103" y="20"/>
                  <a:pt x="102" y="18"/>
                </a:cubicBezTo>
                <a:cubicBezTo>
                  <a:pt x="101" y="17"/>
                  <a:pt x="102" y="15"/>
                  <a:pt x="102" y="14"/>
                </a:cubicBezTo>
                <a:cubicBezTo>
                  <a:pt x="99" y="13"/>
                  <a:pt x="97" y="16"/>
                  <a:pt x="95" y="16"/>
                </a:cubicBezTo>
                <a:cubicBezTo>
                  <a:pt x="92" y="17"/>
                  <a:pt x="89" y="18"/>
                  <a:pt x="86" y="18"/>
                </a:cubicBezTo>
                <a:cubicBezTo>
                  <a:pt x="83" y="18"/>
                  <a:pt x="80" y="18"/>
                  <a:pt x="78" y="16"/>
                </a:cubicBezTo>
                <a:cubicBezTo>
                  <a:pt x="77" y="14"/>
                  <a:pt x="77" y="13"/>
                  <a:pt x="75" y="13"/>
                </a:cubicBezTo>
                <a:cubicBezTo>
                  <a:pt x="74" y="13"/>
                  <a:pt x="72" y="13"/>
                  <a:pt x="70" y="13"/>
                </a:cubicBezTo>
                <a:cubicBezTo>
                  <a:pt x="70" y="12"/>
                  <a:pt x="68" y="11"/>
                  <a:pt x="67" y="9"/>
                </a:cubicBezTo>
                <a:cubicBezTo>
                  <a:pt x="66" y="7"/>
                  <a:pt x="67" y="7"/>
                  <a:pt x="64" y="7"/>
                </a:cubicBezTo>
                <a:cubicBezTo>
                  <a:pt x="63" y="7"/>
                  <a:pt x="61" y="7"/>
                  <a:pt x="60" y="6"/>
                </a:cubicBezTo>
                <a:cubicBezTo>
                  <a:pt x="58" y="5"/>
                  <a:pt x="59" y="3"/>
                  <a:pt x="59" y="2"/>
                </a:cubicBezTo>
                <a:cubicBezTo>
                  <a:pt x="55" y="1"/>
                  <a:pt x="51" y="1"/>
                  <a:pt x="47" y="1"/>
                </a:cubicBezTo>
                <a:cubicBezTo>
                  <a:pt x="43" y="1"/>
                  <a:pt x="39" y="0"/>
                  <a:pt x="38" y="4"/>
                </a:cubicBezTo>
                <a:cubicBezTo>
                  <a:pt x="36" y="5"/>
                  <a:pt x="37" y="8"/>
                  <a:pt x="34" y="9"/>
                </a:cubicBezTo>
                <a:cubicBezTo>
                  <a:pt x="33" y="10"/>
                  <a:pt x="30" y="9"/>
                  <a:pt x="28" y="9"/>
                </a:cubicBezTo>
                <a:cubicBezTo>
                  <a:pt x="27" y="10"/>
                  <a:pt x="27" y="11"/>
                  <a:pt x="27" y="12"/>
                </a:cubicBezTo>
                <a:cubicBezTo>
                  <a:pt x="26" y="12"/>
                  <a:pt x="26" y="12"/>
                  <a:pt x="25" y="12"/>
                </a:cubicBezTo>
                <a:cubicBezTo>
                  <a:pt x="25" y="13"/>
                  <a:pt x="25" y="13"/>
                  <a:pt x="24" y="14"/>
                </a:cubicBezTo>
                <a:cubicBezTo>
                  <a:pt x="23" y="15"/>
                  <a:pt x="23" y="15"/>
                  <a:pt x="21" y="14"/>
                </a:cubicBezTo>
                <a:cubicBezTo>
                  <a:pt x="20" y="14"/>
                  <a:pt x="20" y="13"/>
                  <a:pt x="19" y="12"/>
                </a:cubicBezTo>
                <a:cubicBezTo>
                  <a:pt x="18" y="12"/>
                  <a:pt x="18" y="12"/>
                  <a:pt x="17" y="12"/>
                </a:cubicBezTo>
                <a:cubicBezTo>
                  <a:pt x="16" y="14"/>
                  <a:pt x="16" y="15"/>
                  <a:pt x="16" y="16"/>
                </a:cubicBezTo>
                <a:cubicBezTo>
                  <a:pt x="18" y="16"/>
                  <a:pt x="19" y="16"/>
                  <a:pt x="19" y="18"/>
                </a:cubicBezTo>
                <a:cubicBezTo>
                  <a:pt x="20" y="20"/>
                  <a:pt x="19" y="21"/>
                  <a:pt x="19" y="23"/>
                </a:cubicBezTo>
                <a:cubicBezTo>
                  <a:pt x="18" y="26"/>
                  <a:pt x="19" y="29"/>
                  <a:pt x="16" y="31"/>
                </a:cubicBezTo>
                <a:cubicBezTo>
                  <a:pt x="16" y="31"/>
                  <a:pt x="15" y="31"/>
                  <a:pt x="15" y="32"/>
                </a:cubicBezTo>
                <a:cubicBezTo>
                  <a:pt x="14" y="32"/>
                  <a:pt x="14" y="32"/>
                  <a:pt x="14" y="32"/>
                </a:cubicBezTo>
                <a:cubicBezTo>
                  <a:pt x="13" y="32"/>
                  <a:pt x="14" y="33"/>
                  <a:pt x="13" y="33"/>
                </a:cubicBezTo>
                <a:cubicBezTo>
                  <a:pt x="13" y="33"/>
                  <a:pt x="12" y="33"/>
                  <a:pt x="12" y="33"/>
                </a:cubicBezTo>
                <a:cubicBezTo>
                  <a:pt x="12" y="33"/>
                  <a:pt x="12" y="33"/>
                  <a:pt x="12" y="33"/>
                </a:cubicBezTo>
                <a:cubicBezTo>
                  <a:pt x="12" y="34"/>
                  <a:pt x="12" y="35"/>
                  <a:pt x="13" y="35"/>
                </a:cubicBezTo>
                <a:cubicBezTo>
                  <a:pt x="14" y="37"/>
                  <a:pt x="16" y="38"/>
                  <a:pt x="16" y="40"/>
                </a:cubicBezTo>
                <a:cubicBezTo>
                  <a:pt x="14" y="40"/>
                  <a:pt x="12" y="40"/>
                  <a:pt x="11" y="42"/>
                </a:cubicBezTo>
                <a:cubicBezTo>
                  <a:pt x="9" y="46"/>
                  <a:pt x="9" y="46"/>
                  <a:pt x="9" y="46"/>
                </a:cubicBezTo>
                <a:cubicBezTo>
                  <a:pt x="7" y="46"/>
                  <a:pt x="3" y="45"/>
                  <a:pt x="4" y="48"/>
                </a:cubicBezTo>
                <a:cubicBezTo>
                  <a:pt x="4" y="50"/>
                  <a:pt x="5" y="52"/>
                  <a:pt x="3" y="53"/>
                </a:cubicBezTo>
                <a:cubicBezTo>
                  <a:pt x="2" y="53"/>
                  <a:pt x="1" y="53"/>
                  <a:pt x="0" y="54"/>
                </a:cubicBezTo>
                <a:cubicBezTo>
                  <a:pt x="2" y="55"/>
                  <a:pt x="4" y="54"/>
                  <a:pt x="6" y="55"/>
                </a:cubicBezTo>
                <a:cubicBezTo>
                  <a:pt x="8" y="56"/>
                  <a:pt x="11" y="57"/>
                  <a:pt x="12" y="58"/>
                </a:cubicBezTo>
                <a:cubicBezTo>
                  <a:pt x="13" y="59"/>
                  <a:pt x="17" y="65"/>
                  <a:pt x="17" y="66"/>
                </a:cubicBezTo>
                <a:cubicBezTo>
                  <a:pt x="10" y="65"/>
                  <a:pt x="18" y="75"/>
                  <a:pt x="19" y="76"/>
                </a:cubicBezTo>
                <a:cubicBezTo>
                  <a:pt x="21" y="78"/>
                  <a:pt x="22" y="80"/>
                  <a:pt x="23" y="82"/>
                </a:cubicBezTo>
                <a:cubicBezTo>
                  <a:pt x="24" y="84"/>
                  <a:pt x="23" y="87"/>
                  <a:pt x="23" y="89"/>
                </a:cubicBezTo>
                <a:cubicBezTo>
                  <a:pt x="26" y="89"/>
                  <a:pt x="30" y="90"/>
                  <a:pt x="30" y="87"/>
                </a:cubicBezTo>
                <a:cubicBezTo>
                  <a:pt x="31" y="84"/>
                  <a:pt x="32" y="84"/>
                  <a:pt x="34" y="87"/>
                </a:cubicBezTo>
                <a:cubicBezTo>
                  <a:pt x="35" y="88"/>
                  <a:pt x="36" y="92"/>
                  <a:pt x="38" y="92"/>
                </a:cubicBezTo>
                <a:cubicBezTo>
                  <a:pt x="40" y="93"/>
                  <a:pt x="42" y="91"/>
                  <a:pt x="42" y="94"/>
                </a:cubicBezTo>
                <a:cubicBezTo>
                  <a:pt x="42" y="95"/>
                  <a:pt x="42" y="95"/>
                  <a:pt x="42" y="95"/>
                </a:cubicBezTo>
                <a:cubicBezTo>
                  <a:pt x="42" y="96"/>
                  <a:pt x="43" y="99"/>
                  <a:pt x="43" y="100"/>
                </a:cubicBezTo>
                <a:cubicBezTo>
                  <a:pt x="42" y="102"/>
                  <a:pt x="41" y="103"/>
                  <a:pt x="42" y="105"/>
                </a:cubicBezTo>
                <a:cubicBezTo>
                  <a:pt x="45" y="108"/>
                  <a:pt x="49" y="108"/>
                  <a:pt x="52" y="110"/>
                </a:cubicBezTo>
                <a:cubicBezTo>
                  <a:pt x="54" y="112"/>
                  <a:pt x="55" y="115"/>
                  <a:pt x="57" y="117"/>
                </a:cubicBezTo>
                <a:cubicBezTo>
                  <a:pt x="59" y="119"/>
                  <a:pt x="61" y="121"/>
                  <a:pt x="62" y="122"/>
                </a:cubicBezTo>
                <a:cubicBezTo>
                  <a:pt x="64" y="124"/>
                  <a:pt x="67" y="125"/>
                  <a:pt x="67" y="127"/>
                </a:cubicBezTo>
                <a:cubicBezTo>
                  <a:pt x="67" y="129"/>
                  <a:pt x="67" y="132"/>
                  <a:pt x="67" y="134"/>
                </a:cubicBezTo>
                <a:cubicBezTo>
                  <a:pt x="70" y="135"/>
                  <a:pt x="72" y="135"/>
                  <a:pt x="74" y="138"/>
                </a:cubicBezTo>
                <a:cubicBezTo>
                  <a:pt x="76" y="140"/>
                  <a:pt x="79" y="139"/>
                  <a:pt x="81" y="140"/>
                </a:cubicBezTo>
                <a:cubicBezTo>
                  <a:pt x="81" y="143"/>
                  <a:pt x="82" y="143"/>
                  <a:pt x="84" y="141"/>
                </a:cubicBezTo>
                <a:cubicBezTo>
                  <a:pt x="84" y="141"/>
                  <a:pt x="84" y="141"/>
                  <a:pt x="84" y="141"/>
                </a:cubicBezTo>
                <a:cubicBezTo>
                  <a:pt x="86" y="140"/>
                  <a:pt x="86" y="140"/>
                  <a:pt x="86" y="140"/>
                </a:cubicBezTo>
                <a:cubicBezTo>
                  <a:pt x="86" y="140"/>
                  <a:pt x="86" y="140"/>
                  <a:pt x="86" y="140"/>
                </a:cubicBezTo>
                <a:cubicBezTo>
                  <a:pt x="88" y="139"/>
                  <a:pt x="90" y="139"/>
                  <a:pt x="92" y="138"/>
                </a:cubicBezTo>
                <a:cubicBezTo>
                  <a:pt x="93" y="137"/>
                  <a:pt x="93" y="134"/>
                  <a:pt x="90" y="134"/>
                </a:cubicBezTo>
                <a:cubicBezTo>
                  <a:pt x="91" y="132"/>
                  <a:pt x="93" y="127"/>
                  <a:pt x="90" y="127"/>
                </a:cubicBezTo>
                <a:cubicBezTo>
                  <a:pt x="90" y="125"/>
                  <a:pt x="92" y="119"/>
                  <a:pt x="94" y="119"/>
                </a:cubicBezTo>
                <a:cubicBezTo>
                  <a:pt x="94" y="118"/>
                  <a:pt x="94" y="118"/>
                  <a:pt x="94" y="118"/>
                </a:cubicBezTo>
                <a:cubicBezTo>
                  <a:pt x="94" y="118"/>
                  <a:pt x="94" y="118"/>
                  <a:pt x="94" y="118"/>
                </a:cubicBezTo>
                <a:cubicBezTo>
                  <a:pt x="93" y="117"/>
                  <a:pt x="93" y="116"/>
                  <a:pt x="93" y="114"/>
                </a:cubicBezTo>
                <a:cubicBezTo>
                  <a:pt x="94" y="114"/>
                  <a:pt x="98" y="115"/>
                  <a:pt x="97" y="112"/>
                </a:cubicBezTo>
                <a:cubicBezTo>
                  <a:pt x="97" y="113"/>
                  <a:pt x="96" y="112"/>
                  <a:pt x="96" y="112"/>
                </a:cubicBezTo>
                <a:cubicBezTo>
                  <a:pt x="96" y="110"/>
                  <a:pt x="100" y="104"/>
                  <a:pt x="103" y="105"/>
                </a:cubicBezTo>
                <a:cubicBezTo>
                  <a:pt x="105" y="106"/>
                  <a:pt x="105" y="108"/>
                  <a:pt x="107" y="107"/>
                </a:cubicBezTo>
                <a:cubicBezTo>
                  <a:pt x="108" y="107"/>
                  <a:pt x="109" y="104"/>
                  <a:pt x="109" y="103"/>
                </a:cubicBezTo>
                <a:cubicBezTo>
                  <a:pt x="111" y="102"/>
                  <a:pt x="115" y="104"/>
                  <a:pt x="117" y="101"/>
                </a:cubicBezTo>
                <a:cubicBezTo>
                  <a:pt x="120" y="101"/>
                  <a:pt x="125" y="102"/>
                  <a:pt x="127" y="102"/>
                </a:cubicBezTo>
                <a:cubicBezTo>
                  <a:pt x="130" y="103"/>
                  <a:pt x="131" y="103"/>
                  <a:pt x="134" y="103"/>
                </a:cubicBezTo>
                <a:cubicBezTo>
                  <a:pt x="137" y="104"/>
                  <a:pt x="144" y="105"/>
                  <a:pt x="144" y="109"/>
                </a:cubicBezTo>
                <a:cubicBezTo>
                  <a:pt x="145" y="109"/>
                  <a:pt x="152" y="109"/>
                  <a:pt x="151" y="108"/>
                </a:cubicBezTo>
                <a:cubicBezTo>
                  <a:pt x="151" y="107"/>
                  <a:pt x="150" y="105"/>
                  <a:pt x="149" y="104"/>
                </a:cubicBezTo>
                <a:cubicBezTo>
                  <a:pt x="148" y="102"/>
                  <a:pt x="147" y="101"/>
                  <a:pt x="146" y="100"/>
                </a:cubicBezTo>
                <a:close/>
              </a:path>
            </a:pathLst>
          </a:custGeom>
          <a:solidFill>
            <a:schemeClr val="accent3"/>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1" name="Freeform 321">
            <a:extLst>
              <a:ext uri="{FF2B5EF4-FFF2-40B4-BE49-F238E27FC236}">
                <a16:creationId xmlns:a16="http://schemas.microsoft.com/office/drawing/2014/main" id="{E8E38E83-E16C-4FC1-A9C7-B51042F3E910}"/>
              </a:ext>
            </a:extLst>
          </p:cNvPr>
          <p:cNvSpPr>
            <a:spLocks/>
          </p:cNvSpPr>
          <p:nvPr/>
        </p:nvSpPr>
        <p:spPr bwMode="auto">
          <a:xfrm>
            <a:off x="2214543" y="371667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2" name="Freeform 322">
            <a:extLst>
              <a:ext uri="{FF2B5EF4-FFF2-40B4-BE49-F238E27FC236}">
                <a16:creationId xmlns:a16="http://schemas.microsoft.com/office/drawing/2014/main" id="{0DB55532-162B-4BB8-8E84-164B8221849F}"/>
              </a:ext>
            </a:extLst>
          </p:cNvPr>
          <p:cNvSpPr>
            <a:spLocks/>
          </p:cNvSpPr>
          <p:nvPr/>
        </p:nvSpPr>
        <p:spPr bwMode="auto">
          <a:xfrm>
            <a:off x="2212323" y="3708864"/>
            <a:ext cx="0" cy="2233"/>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3" name="Freeform 323">
            <a:extLst>
              <a:ext uri="{FF2B5EF4-FFF2-40B4-BE49-F238E27FC236}">
                <a16:creationId xmlns:a16="http://schemas.microsoft.com/office/drawing/2014/main" id="{1AD89F62-9055-4D9B-AFEA-8173193AD955}"/>
              </a:ext>
            </a:extLst>
          </p:cNvPr>
          <p:cNvSpPr>
            <a:spLocks/>
          </p:cNvSpPr>
          <p:nvPr/>
        </p:nvSpPr>
        <p:spPr bwMode="auto">
          <a:xfrm>
            <a:off x="2214543" y="371667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Freeform 324">
            <a:extLst>
              <a:ext uri="{FF2B5EF4-FFF2-40B4-BE49-F238E27FC236}">
                <a16:creationId xmlns:a16="http://schemas.microsoft.com/office/drawing/2014/main" id="{892D370B-E355-410A-B5F6-B3B8FB185CC8}"/>
              </a:ext>
            </a:extLst>
          </p:cNvPr>
          <p:cNvSpPr>
            <a:spLocks/>
          </p:cNvSpPr>
          <p:nvPr/>
        </p:nvSpPr>
        <p:spPr bwMode="auto">
          <a:xfrm>
            <a:off x="2214543" y="3716678"/>
            <a:ext cx="3331" cy="0"/>
          </a:xfrm>
          <a:custGeom>
            <a:avLst/>
            <a:gdLst>
              <a:gd name="T0" fmla="*/ 3 w 3"/>
              <a:gd name="T1" fmla="*/ 0 w 3"/>
              <a:gd name="T2" fmla="*/ 3 w 3"/>
            </a:gdLst>
            <a:ahLst/>
            <a:cxnLst>
              <a:cxn ang="0">
                <a:pos x="T0" y="0"/>
              </a:cxn>
              <a:cxn ang="0">
                <a:pos x="T1" y="0"/>
              </a:cxn>
              <a:cxn ang="0">
                <a:pos x="T2" y="0"/>
              </a:cxn>
            </a:cxnLst>
            <a:rect l="0" t="0" r="r" b="b"/>
            <a:pathLst>
              <a:path w="3">
                <a:moveTo>
                  <a:pt x="3" y="0"/>
                </a:moveTo>
                <a:lnTo>
                  <a:pt x="0" y="0"/>
                </a:lnTo>
                <a:lnTo>
                  <a:pt x="3"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Rectangle 325">
            <a:extLst>
              <a:ext uri="{FF2B5EF4-FFF2-40B4-BE49-F238E27FC236}">
                <a16:creationId xmlns:a16="http://schemas.microsoft.com/office/drawing/2014/main" id="{12B469CE-DC11-412F-84B1-5E8A2DCA11AE}"/>
              </a:ext>
            </a:extLst>
          </p:cNvPr>
          <p:cNvSpPr>
            <a:spLocks noChangeArrowheads="1"/>
          </p:cNvSpPr>
          <p:nvPr/>
        </p:nvSpPr>
        <p:spPr bwMode="auto">
          <a:xfrm>
            <a:off x="1932595" y="3134042"/>
            <a:ext cx="1110" cy="1116"/>
          </a:xfrm>
          <a:prstGeom prst="rect">
            <a:avLst/>
          </a:prstGeom>
          <a:solidFill>
            <a:schemeClr val="bg1">
              <a:lumMod val="85000"/>
            </a:schemeClr>
          </a:solidFill>
          <a:ln w="3175">
            <a:noFill/>
            <a:miter lim="800000"/>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6" name="Freeform 326">
            <a:extLst>
              <a:ext uri="{FF2B5EF4-FFF2-40B4-BE49-F238E27FC236}">
                <a16:creationId xmlns:a16="http://schemas.microsoft.com/office/drawing/2014/main" id="{856DCE55-38EF-4F63-809F-0DD172A7F177}"/>
              </a:ext>
            </a:extLst>
          </p:cNvPr>
          <p:cNvSpPr>
            <a:spLocks/>
          </p:cNvSpPr>
          <p:nvPr/>
        </p:nvSpPr>
        <p:spPr bwMode="auto">
          <a:xfrm>
            <a:off x="2296686" y="3648591"/>
            <a:ext cx="2219" cy="334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0" y="1"/>
                </a:cubicBezTo>
                <a:cubicBezTo>
                  <a:pt x="1" y="1"/>
                  <a:pt x="1" y="0"/>
                  <a:pt x="1"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Freeform 327">
            <a:extLst>
              <a:ext uri="{FF2B5EF4-FFF2-40B4-BE49-F238E27FC236}">
                <a16:creationId xmlns:a16="http://schemas.microsoft.com/office/drawing/2014/main" id="{31A4118A-FD39-4759-BB29-5A28D4FF768B}"/>
              </a:ext>
            </a:extLst>
          </p:cNvPr>
          <p:cNvSpPr>
            <a:spLocks/>
          </p:cNvSpPr>
          <p:nvPr/>
        </p:nvSpPr>
        <p:spPr bwMode="auto">
          <a:xfrm>
            <a:off x="2298906" y="3641895"/>
            <a:ext cx="2219" cy="6696"/>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1" y="1"/>
                  <a:pt x="1" y="2"/>
                  <a:pt x="0" y="3"/>
                </a:cubicBezTo>
                <a:cubicBezTo>
                  <a:pt x="1" y="2"/>
                  <a:pt x="1" y="1"/>
                  <a:pt x="1"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reeform 328">
            <a:extLst>
              <a:ext uri="{FF2B5EF4-FFF2-40B4-BE49-F238E27FC236}">
                <a16:creationId xmlns:a16="http://schemas.microsoft.com/office/drawing/2014/main" id="{CD6A1FB8-EEC0-44EE-B00B-E2BD414659DC}"/>
              </a:ext>
            </a:extLst>
          </p:cNvPr>
          <p:cNvSpPr>
            <a:spLocks/>
          </p:cNvSpPr>
          <p:nvPr/>
        </p:nvSpPr>
        <p:spPr bwMode="auto">
          <a:xfrm>
            <a:off x="2294466" y="3651940"/>
            <a:ext cx="0" cy="2233"/>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9" name="Freeform 329">
            <a:extLst>
              <a:ext uri="{FF2B5EF4-FFF2-40B4-BE49-F238E27FC236}">
                <a16:creationId xmlns:a16="http://schemas.microsoft.com/office/drawing/2014/main" id="{6E36B9E0-DB2F-4B69-916E-9FC039F7A9B6}"/>
              </a:ext>
            </a:extLst>
          </p:cNvPr>
          <p:cNvSpPr>
            <a:spLocks/>
          </p:cNvSpPr>
          <p:nvPr/>
        </p:nvSpPr>
        <p:spPr bwMode="auto">
          <a:xfrm>
            <a:off x="2301126" y="3636314"/>
            <a:ext cx="0" cy="5581"/>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0" name="Freeform 330">
            <a:extLst>
              <a:ext uri="{FF2B5EF4-FFF2-40B4-BE49-F238E27FC236}">
                <a16:creationId xmlns:a16="http://schemas.microsoft.com/office/drawing/2014/main" id="{4F95E1E4-F8F9-4C41-8201-F3825364759A}"/>
              </a:ext>
            </a:extLst>
          </p:cNvPr>
          <p:cNvSpPr>
            <a:spLocks/>
          </p:cNvSpPr>
          <p:nvPr/>
        </p:nvSpPr>
        <p:spPr bwMode="auto">
          <a:xfrm>
            <a:off x="2296686" y="3629618"/>
            <a:ext cx="2219" cy="2233"/>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lnTo>
                  <a:pt x="2" y="2"/>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1" name="Freeform 331">
            <a:extLst>
              <a:ext uri="{FF2B5EF4-FFF2-40B4-BE49-F238E27FC236}">
                <a16:creationId xmlns:a16="http://schemas.microsoft.com/office/drawing/2014/main" id="{2F69D330-DB97-4446-9224-099E695A9032}"/>
              </a:ext>
            </a:extLst>
          </p:cNvPr>
          <p:cNvSpPr>
            <a:spLocks/>
          </p:cNvSpPr>
          <p:nvPr/>
        </p:nvSpPr>
        <p:spPr bwMode="auto">
          <a:xfrm>
            <a:off x="2276705" y="3561532"/>
            <a:ext cx="519493" cy="392888"/>
          </a:xfrm>
          <a:custGeom>
            <a:avLst/>
            <a:gdLst>
              <a:gd name="T0" fmla="*/ 208 w 210"/>
              <a:gd name="T1" fmla="*/ 22 h 158"/>
              <a:gd name="T2" fmla="*/ 203 w 210"/>
              <a:gd name="T3" fmla="*/ 6 h 158"/>
              <a:gd name="T4" fmla="*/ 189 w 210"/>
              <a:gd name="T5" fmla="*/ 4 h 158"/>
              <a:gd name="T6" fmla="*/ 175 w 210"/>
              <a:gd name="T7" fmla="*/ 14 h 158"/>
              <a:gd name="T8" fmla="*/ 168 w 210"/>
              <a:gd name="T9" fmla="*/ 35 h 158"/>
              <a:gd name="T10" fmla="*/ 157 w 210"/>
              <a:gd name="T11" fmla="*/ 37 h 158"/>
              <a:gd name="T12" fmla="*/ 147 w 210"/>
              <a:gd name="T13" fmla="*/ 40 h 158"/>
              <a:gd name="T14" fmla="*/ 136 w 210"/>
              <a:gd name="T15" fmla="*/ 47 h 158"/>
              <a:gd name="T16" fmla="*/ 128 w 210"/>
              <a:gd name="T17" fmla="*/ 33 h 158"/>
              <a:gd name="T18" fmla="*/ 115 w 210"/>
              <a:gd name="T19" fmla="*/ 28 h 158"/>
              <a:gd name="T20" fmla="*/ 107 w 210"/>
              <a:gd name="T21" fmla="*/ 35 h 158"/>
              <a:gd name="T22" fmla="*/ 102 w 210"/>
              <a:gd name="T23" fmla="*/ 40 h 158"/>
              <a:gd name="T24" fmla="*/ 83 w 210"/>
              <a:gd name="T25" fmla="*/ 47 h 158"/>
              <a:gd name="T26" fmla="*/ 70 w 210"/>
              <a:gd name="T27" fmla="*/ 43 h 158"/>
              <a:gd name="T28" fmla="*/ 60 w 210"/>
              <a:gd name="T29" fmla="*/ 52 h 158"/>
              <a:gd name="T30" fmla="*/ 38 w 210"/>
              <a:gd name="T31" fmla="*/ 43 h 158"/>
              <a:gd name="T32" fmla="*/ 8 w 210"/>
              <a:gd name="T33" fmla="*/ 39 h 158"/>
              <a:gd name="T34" fmla="*/ 4 w 210"/>
              <a:gd name="T35" fmla="*/ 41 h 158"/>
              <a:gd name="T36" fmla="*/ 2 w 210"/>
              <a:gd name="T37" fmla="*/ 53 h 158"/>
              <a:gd name="T38" fmla="*/ 15 w 210"/>
              <a:gd name="T39" fmla="*/ 68 h 158"/>
              <a:gd name="T40" fmla="*/ 23 w 210"/>
              <a:gd name="T41" fmla="*/ 81 h 158"/>
              <a:gd name="T42" fmla="*/ 33 w 210"/>
              <a:gd name="T43" fmla="*/ 105 h 158"/>
              <a:gd name="T44" fmla="*/ 44 w 210"/>
              <a:gd name="T45" fmla="*/ 119 h 158"/>
              <a:gd name="T46" fmla="*/ 34 w 210"/>
              <a:gd name="T47" fmla="*/ 131 h 158"/>
              <a:gd name="T48" fmla="*/ 54 w 210"/>
              <a:gd name="T49" fmla="*/ 139 h 158"/>
              <a:gd name="T50" fmla="*/ 77 w 210"/>
              <a:gd name="T51" fmla="*/ 135 h 158"/>
              <a:gd name="T52" fmla="*/ 82 w 210"/>
              <a:gd name="T53" fmla="*/ 148 h 158"/>
              <a:gd name="T54" fmla="*/ 97 w 210"/>
              <a:gd name="T55" fmla="*/ 150 h 158"/>
              <a:gd name="T56" fmla="*/ 117 w 210"/>
              <a:gd name="T57" fmla="*/ 157 h 158"/>
              <a:gd name="T58" fmla="*/ 126 w 210"/>
              <a:gd name="T59" fmla="*/ 145 h 158"/>
              <a:gd name="T60" fmla="*/ 142 w 210"/>
              <a:gd name="T61" fmla="*/ 136 h 158"/>
              <a:gd name="T62" fmla="*/ 158 w 210"/>
              <a:gd name="T63" fmla="*/ 147 h 158"/>
              <a:gd name="T64" fmla="*/ 168 w 210"/>
              <a:gd name="T65" fmla="*/ 144 h 158"/>
              <a:gd name="T66" fmla="*/ 163 w 210"/>
              <a:gd name="T67" fmla="*/ 134 h 158"/>
              <a:gd name="T68" fmla="*/ 156 w 210"/>
              <a:gd name="T69" fmla="*/ 126 h 158"/>
              <a:gd name="T70" fmla="*/ 151 w 210"/>
              <a:gd name="T71" fmla="*/ 113 h 158"/>
              <a:gd name="T72" fmla="*/ 142 w 210"/>
              <a:gd name="T73" fmla="*/ 110 h 158"/>
              <a:gd name="T74" fmla="*/ 124 w 210"/>
              <a:gd name="T75" fmla="*/ 103 h 158"/>
              <a:gd name="T76" fmla="*/ 120 w 210"/>
              <a:gd name="T77" fmla="*/ 95 h 158"/>
              <a:gd name="T78" fmla="*/ 127 w 210"/>
              <a:gd name="T79" fmla="*/ 83 h 158"/>
              <a:gd name="T80" fmla="*/ 142 w 210"/>
              <a:gd name="T81" fmla="*/ 87 h 158"/>
              <a:gd name="T82" fmla="*/ 160 w 210"/>
              <a:gd name="T83" fmla="*/ 76 h 158"/>
              <a:gd name="T84" fmla="*/ 178 w 210"/>
              <a:gd name="T85" fmla="*/ 70 h 158"/>
              <a:gd name="T86" fmla="*/ 182 w 210"/>
              <a:gd name="T87" fmla="*/ 65 h 158"/>
              <a:gd name="T88" fmla="*/ 187 w 210"/>
              <a:gd name="T89" fmla="*/ 59 h 158"/>
              <a:gd name="T90" fmla="*/ 192 w 210"/>
              <a:gd name="T91" fmla="*/ 59 h 158"/>
              <a:gd name="T92" fmla="*/ 198 w 210"/>
              <a:gd name="T93" fmla="*/ 51 h 158"/>
              <a:gd name="T94" fmla="*/ 204 w 210"/>
              <a:gd name="T95" fmla="*/ 3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0" h="158">
                <a:moveTo>
                  <a:pt x="209" y="27"/>
                </a:moveTo>
                <a:cubicBezTo>
                  <a:pt x="208" y="25"/>
                  <a:pt x="205" y="26"/>
                  <a:pt x="206" y="23"/>
                </a:cubicBezTo>
                <a:cubicBezTo>
                  <a:pt x="207" y="23"/>
                  <a:pt x="207" y="22"/>
                  <a:pt x="208" y="22"/>
                </a:cubicBezTo>
                <a:cubicBezTo>
                  <a:pt x="208" y="18"/>
                  <a:pt x="210" y="14"/>
                  <a:pt x="207" y="10"/>
                </a:cubicBezTo>
                <a:cubicBezTo>
                  <a:pt x="206" y="9"/>
                  <a:pt x="204" y="7"/>
                  <a:pt x="204" y="6"/>
                </a:cubicBezTo>
                <a:cubicBezTo>
                  <a:pt x="203" y="6"/>
                  <a:pt x="203" y="6"/>
                  <a:pt x="203" y="6"/>
                </a:cubicBezTo>
                <a:cubicBezTo>
                  <a:pt x="201" y="6"/>
                  <a:pt x="200" y="4"/>
                  <a:pt x="198" y="3"/>
                </a:cubicBezTo>
                <a:cubicBezTo>
                  <a:pt x="196" y="1"/>
                  <a:pt x="192" y="0"/>
                  <a:pt x="189" y="0"/>
                </a:cubicBezTo>
                <a:cubicBezTo>
                  <a:pt x="189" y="4"/>
                  <a:pt x="189" y="4"/>
                  <a:pt x="189" y="4"/>
                </a:cubicBezTo>
                <a:cubicBezTo>
                  <a:pt x="187" y="4"/>
                  <a:pt x="188" y="5"/>
                  <a:pt x="188" y="7"/>
                </a:cubicBezTo>
                <a:cubicBezTo>
                  <a:pt x="185" y="7"/>
                  <a:pt x="183" y="6"/>
                  <a:pt x="180" y="7"/>
                </a:cubicBezTo>
                <a:cubicBezTo>
                  <a:pt x="179" y="9"/>
                  <a:pt x="179" y="14"/>
                  <a:pt x="175" y="14"/>
                </a:cubicBezTo>
                <a:cubicBezTo>
                  <a:pt x="170" y="15"/>
                  <a:pt x="174" y="21"/>
                  <a:pt x="172" y="24"/>
                </a:cubicBezTo>
                <a:cubicBezTo>
                  <a:pt x="171" y="26"/>
                  <a:pt x="169" y="25"/>
                  <a:pt x="169" y="28"/>
                </a:cubicBezTo>
                <a:cubicBezTo>
                  <a:pt x="169" y="30"/>
                  <a:pt x="169" y="33"/>
                  <a:pt x="168" y="35"/>
                </a:cubicBezTo>
                <a:cubicBezTo>
                  <a:pt x="167" y="36"/>
                  <a:pt x="165" y="36"/>
                  <a:pt x="164" y="36"/>
                </a:cubicBezTo>
                <a:cubicBezTo>
                  <a:pt x="162" y="37"/>
                  <a:pt x="164" y="38"/>
                  <a:pt x="163" y="40"/>
                </a:cubicBezTo>
                <a:cubicBezTo>
                  <a:pt x="161" y="41"/>
                  <a:pt x="159" y="37"/>
                  <a:pt x="157" y="37"/>
                </a:cubicBezTo>
                <a:cubicBezTo>
                  <a:pt x="157" y="39"/>
                  <a:pt x="153" y="41"/>
                  <a:pt x="151" y="41"/>
                </a:cubicBezTo>
                <a:cubicBezTo>
                  <a:pt x="151" y="39"/>
                  <a:pt x="150" y="36"/>
                  <a:pt x="148" y="38"/>
                </a:cubicBezTo>
                <a:cubicBezTo>
                  <a:pt x="147" y="38"/>
                  <a:pt x="148" y="39"/>
                  <a:pt x="147" y="40"/>
                </a:cubicBezTo>
                <a:cubicBezTo>
                  <a:pt x="146" y="41"/>
                  <a:pt x="145" y="41"/>
                  <a:pt x="145" y="42"/>
                </a:cubicBezTo>
                <a:cubicBezTo>
                  <a:pt x="144" y="44"/>
                  <a:pt x="145" y="50"/>
                  <a:pt x="140" y="49"/>
                </a:cubicBezTo>
                <a:cubicBezTo>
                  <a:pt x="140" y="46"/>
                  <a:pt x="137" y="48"/>
                  <a:pt x="136" y="47"/>
                </a:cubicBezTo>
                <a:cubicBezTo>
                  <a:pt x="135" y="46"/>
                  <a:pt x="136" y="43"/>
                  <a:pt x="136" y="42"/>
                </a:cubicBezTo>
                <a:cubicBezTo>
                  <a:pt x="136" y="36"/>
                  <a:pt x="132" y="41"/>
                  <a:pt x="129" y="40"/>
                </a:cubicBezTo>
                <a:cubicBezTo>
                  <a:pt x="128" y="38"/>
                  <a:pt x="130" y="35"/>
                  <a:pt x="128" y="33"/>
                </a:cubicBezTo>
                <a:cubicBezTo>
                  <a:pt x="127" y="32"/>
                  <a:pt x="125" y="32"/>
                  <a:pt x="125" y="30"/>
                </a:cubicBezTo>
                <a:cubicBezTo>
                  <a:pt x="125" y="29"/>
                  <a:pt x="125" y="30"/>
                  <a:pt x="124" y="29"/>
                </a:cubicBezTo>
                <a:cubicBezTo>
                  <a:pt x="123" y="29"/>
                  <a:pt x="115" y="32"/>
                  <a:pt x="115" y="28"/>
                </a:cubicBezTo>
                <a:cubicBezTo>
                  <a:pt x="114" y="28"/>
                  <a:pt x="111" y="27"/>
                  <a:pt x="110" y="28"/>
                </a:cubicBezTo>
                <a:cubicBezTo>
                  <a:pt x="108" y="29"/>
                  <a:pt x="110" y="31"/>
                  <a:pt x="109" y="32"/>
                </a:cubicBezTo>
                <a:cubicBezTo>
                  <a:pt x="109" y="33"/>
                  <a:pt x="107" y="33"/>
                  <a:pt x="107" y="35"/>
                </a:cubicBezTo>
                <a:cubicBezTo>
                  <a:pt x="107" y="36"/>
                  <a:pt x="107" y="36"/>
                  <a:pt x="107" y="37"/>
                </a:cubicBezTo>
                <a:cubicBezTo>
                  <a:pt x="107" y="38"/>
                  <a:pt x="106" y="38"/>
                  <a:pt x="105" y="39"/>
                </a:cubicBezTo>
                <a:cubicBezTo>
                  <a:pt x="103" y="39"/>
                  <a:pt x="103" y="39"/>
                  <a:pt x="102" y="40"/>
                </a:cubicBezTo>
                <a:cubicBezTo>
                  <a:pt x="102" y="41"/>
                  <a:pt x="101" y="42"/>
                  <a:pt x="100" y="42"/>
                </a:cubicBezTo>
                <a:cubicBezTo>
                  <a:pt x="97" y="43"/>
                  <a:pt x="93" y="42"/>
                  <a:pt x="89" y="44"/>
                </a:cubicBezTo>
                <a:cubicBezTo>
                  <a:pt x="90" y="48"/>
                  <a:pt x="85" y="47"/>
                  <a:pt x="83" y="47"/>
                </a:cubicBezTo>
                <a:cubicBezTo>
                  <a:pt x="81" y="48"/>
                  <a:pt x="81" y="49"/>
                  <a:pt x="80" y="50"/>
                </a:cubicBezTo>
                <a:cubicBezTo>
                  <a:pt x="79" y="50"/>
                  <a:pt x="77" y="49"/>
                  <a:pt x="76" y="49"/>
                </a:cubicBezTo>
                <a:cubicBezTo>
                  <a:pt x="73" y="47"/>
                  <a:pt x="73" y="42"/>
                  <a:pt x="70" y="43"/>
                </a:cubicBezTo>
                <a:cubicBezTo>
                  <a:pt x="67" y="43"/>
                  <a:pt x="67" y="45"/>
                  <a:pt x="66" y="47"/>
                </a:cubicBezTo>
                <a:cubicBezTo>
                  <a:pt x="65" y="48"/>
                  <a:pt x="63" y="48"/>
                  <a:pt x="61" y="48"/>
                </a:cubicBezTo>
                <a:cubicBezTo>
                  <a:pt x="61" y="49"/>
                  <a:pt x="61" y="51"/>
                  <a:pt x="60" y="52"/>
                </a:cubicBezTo>
                <a:cubicBezTo>
                  <a:pt x="57" y="52"/>
                  <a:pt x="50" y="52"/>
                  <a:pt x="50" y="48"/>
                </a:cubicBezTo>
                <a:cubicBezTo>
                  <a:pt x="49" y="45"/>
                  <a:pt x="50" y="40"/>
                  <a:pt x="46" y="41"/>
                </a:cubicBezTo>
                <a:cubicBezTo>
                  <a:pt x="44" y="42"/>
                  <a:pt x="40" y="46"/>
                  <a:pt x="38" y="43"/>
                </a:cubicBezTo>
                <a:cubicBezTo>
                  <a:pt x="37" y="40"/>
                  <a:pt x="36" y="37"/>
                  <a:pt x="32" y="37"/>
                </a:cubicBezTo>
                <a:cubicBezTo>
                  <a:pt x="32" y="42"/>
                  <a:pt x="29" y="41"/>
                  <a:pt x="24" y="41"/>
                </a:cubicBezTo>
                <a:cubicBezTo>
                  <a:pt x="19" y="41"/>
                  <a:pt x="13" y="42"/>
                  <a:pt x="8" y="39"/>
                </a:cubicBezTo>
                <a:cubicBezTo>
                  <a:pt x="7" y="38"/>
                  <a:pt x="6" y="38"/>
                  <a:pt x="5" y="37"/>
                </a:cubicBezTo>
                <a:cubicBezTo>
                  <a:pt x="4" y="37"/>
                  <a:pt x="4" y="37"/>
                  <a:pt x="4" y="37"/>
                </a:cubicBezTo>
                <a:cubicBezTo>
                  <a:pt x="4" y="38"/>
                  <a:pt x="4" y="40"/>
                  <a:pt x="4" y="41"/>
                </a:cubicBezTo>
                <a:cubicBezTo>
                  <a:pt x="4" y="42"/>
                  <a:pt x="6" y="42"/>
                  <a:pt x="5" y="44"/>
                </a:cubicBezTo>
                <a:cubicBezTo>
                  <a:pt x="3" y="45"/>
                  <a:pt x="2" y="47"/>
                  <a:pt x="4" y="49"/>
                </a:cubicBezTo>
                <a:cubicBezTo>
                  <a:pt x="6" y="51"/>
                  <a:pt x="3" y="52"/>
                  <a:pt x="2" y="53"/>
                </a:cubicBezTo>
                <a:cubicBezTo>
                  <a:pt x="0" y="54"/>
                  <a:pt x="1" y="55"/>
                  <a:pt x="2" y="56"/>
                </a:cubicBezTo>
                <a:cubicBezTo>
                  <a:pt x="5" y="56"/>
                  <a:pt x="9" y="57"/>
                  <a:pt x="9" y="60"/>
                </a:cubicBezTo>
                <a:cubicBezTo>
                  <a:pt x="9" y="65"/>
                  <a:pt x="11" y="66"/>
                  <a:pt x="15" y="68"/>
                </a:cubicBezTo>
                <a:cubicBezTo>
                  <a:pt x="17" y="69"/>
                  <a:pt x="18" y="71"/>
                  <a:pt x="18" y="73"/>
                </a:cubicBezTo>
                <a:cubicBezTo>
                  <a:pt x="19" y="74"/>
                  <a:pt x="19" y="77"/>
                  <a:pt x="22" y="76"/>
                </a:cubicBezTo>
                <a:cubicBezTo>
                  <a:pt x="22" y="78"/>
                  <a:pt x="22" y="80"/>
                  <a:pt x="23" y="81"/>
                </a:cubicBezTo>
                <a:cubicBezTo>
                  <a:pt x="25" y="82"/>
                  <a:pt x="28" y="80"/>
                  <a:pt x="29" y="81"/>
                </a:cubicBezTo>
                <a:cubicBezTo>
                  <a:pt x="34" y="85"/>
                  <a:pt x="29" y="91"/>
                  <a:pt x="30" y="96"/>
                </a:cubicBezTo>
                <a:cubicBezTo>
                  <a:pt x="34" y="96"/>
                  <a:pt x="33" y="103"/>
                  <a:pt x="33" y="105"/>
                </a:cubicBezTo>
                <a:cubicBezTo>
                  <a:pt x="36" y="105"/>
                  <a:pt x="36" y="108"/>
                  <a:pt x="37" y="109"/>
                </a:cubicBezTo>
                <a:cubicBezTo>
                  <a:pt x="39" y="112"/>
                  <a:pt x="43" y="111"/>
                  <a:pt x="46" y="112"/>
                </a:cubicBezTo>
                <a:cubicBezTo>
                  <a:pt x="45" y="114"/>
                  <a:pt x="45" y="117"/>
                  <a:pt x="44" y="119"/>
                </a:cubicBezTo>
                <a:cubicBezTo>
                  <a:pt x="44" y="123"/>
                  <a:pt x="41" y="122"/>
                  <a:pt x="39" y="124"/>
                </a:cubicBezTo>
                <a:cubicBezTo>
                  <a:pt x="36" y="126"/>
                  <a:pt x="35" y="129"/>
                  <a:pt x="34" y="131"/>
                </a:cubicBezTo>
                <a:cubicBezTo>
                  <a:pt x="34" y="131"/>
                  <a:pt x="34" y="131"/>
                  <a:pt x="34" y="131"/>
                </a:cubicBezTo>
                <a:cubicBezTo>
                  <a:pt x="35" y="131"/>
                  <a:pt x="36" y="132"/>
                  <a:pt x="36" y="132"/>
                </a:cubicBezTo>
                <a:cubicBezTo>
                  <a:pt x="38" y="134"/>
                  <a:pt x="38" y="136"/>
                  <a:pt x="39" y="137"/>
                </a:cubicBezTo>
                <a:cubicBezTo>
                  <a:pt x="42" y="140"/>
                  <a:pt x="50" y="141"/>
                  <a:pt x="54" y="139"/>
                </a:cubicBezTo>
                <a:cubicBezTo>
                  <a:pt x="56" y="139"/>
                  <a:pt x="57" y="137"/>
                  <a:pt x="59" y="137"/>
                </a:cubicBezTo>
                <a:cubicBezTo>
                  <a:pt x="62" y="136"/>
                  <a:pt x="66" y="138"/>
                  <a:pt x="69" y="137"/>
                </a:cubicBezTo>
                <a:cubicBezTo>
                  <a:pt x="72" y="137"/>
                  <a:pt x="74" y="136"/>
                  <a:pt x="77" y="135"/>
                </a:cubicBezTo>
                <a:cubicBezTo>
                  <a:pt x="79" y="135"/>
                  <a:pt x="81" y="132"/>
                  <a:pt x="84" y="133"/>
                </a:cubicBezTo>
                <a:cubicBezTo>
                  <a:pt x="84" y="138"/>
                  <a:pt x="84" y="143"/>
                  <a:pt x="83" y="148"/>
                </a:cubicBezTo>
                <a:cubicBezTo>
                  <a:pt x="82" y="148"/>
                  <a:pt x="82" y="148"/>
                  <a:pt x="82" y="148"/>
                </a:cubicBezTo>
                <a:cubicBezTo>
                  <a:pt x="82" y="150"/>
                  <a:pt x="80" y="150"/>
                  <a:pt x="79" y="152"/>
                </a:cubicBezTo>
                <a:cubicBezTo>
                  <a:pt x="83" y="152"/>
                  <a:pt x="86" y="156"/>
                  <a:pt x="90" y="155"/>
                </a:cubicBezTo>
                <a:cubicBezTo>
                  <a:pt x="93" y="155"/>
                  <a:pt x="94" y="151"/>
                  <a:pt x="97" y="150"/>
                </a:cubicBezTo>
                <a:cubicBezTo>
                  <a:pt x="100" y="148"/>
                  <a:pt x="104" y="150"/>
                  <a:pt x="107" y="151"/>
                </a:cubicBezTo>
                <a:cubicBezTo>
                  <a:pt x="110" y="152"/>
                  <a:pt x="114" y="155"/>
                  <a:pt x="117" y="152"/>
                </a:cubicBezTo>
                <a:cubicBezTo>
                  <a:pt x="120" y="153"/>
                  <a:pt x="118" y="155"/>
                  <a:pt x="117" y="157"/>
                </a:cubicBezTo>
                <a:cubicBezTo>
                  <a:pt x="119" y="157"/>
                  <a:pt x="120" y="158"/>
                  <a:pt x="123" y="158"/>
                </a:cubicBezTo>
                <a:cubicBezTo>
                  <a:pt x="124" y="156"/>
                  <a:pt x="123" y="152"/>
                  <a:pt x="127" y="152"/>
                </a:cubicBezTo>
                <a:cubicBezTo>
                  <a:pt x="128" y="149"/>
                  <a:pt x="125" y="147"/>
                  <a:pt x="126" y="145"/>
                </a:cubicBezTo>
                <a:cubicBezTo>
                  <a:pt x="130" y="143"/>
                  <a:pt x="125" y="135"/>
                  <a:pt x="124" y="133"/>
                </a:cubicBezTo>
                <a:cubicBezTo>
                  <a:pt x="126" y="133"/>
                  <a:pt x="132" y="131"/>
                  <a:pt x="131" y="135"/>
                </a:cubicBezTo>
                <a:cubicBezTo>
                  <a:pt x="135" y="135"/>
                  <a:pt x="140" y="134"/>
                  <a:pt x="142" y="136"/>
                </a:cubicBezTo>
                <a:cubicBezTo>
                  <a:pt x="143" y="138"/>
                  <a:pt x="147" y="142"/>
                  <a:pt x="147" y="144"/>
                </a:cubicBezTo>
                <a:cubicBezTo>
                  <a:pt x="147" y="144"/>
                  <a:pt x="148" y="144"/>
                  <a:pt x="149" y="143"/>
                </a:cubicBezTo>
                <a:cubicBezTo>
                  <a:pt x="150" y="137"/>
                  <a:pt x="159" y="142"/>
                  <a:pt x="158" y="147"/>
                </a:cubicBezTo>
                <a:cubicBezTo>
                  <a:pt x="159" y="147"/>
                  <a:pt x="160" y="148"/>
                  <a:pt x="160" y="148"/>
                </a:cubicBezTo>
                <a:cubicBezTo>
                  <a:pt x="161" y="147"/>
                  <a:pt x="161" y="147"/>
                  <a:pt x="162" y="147"/>
                </a:cubicBezTo>
                <a:cubicBezTo>
                  <a:pt x="165" y="147"/>
                  <a:pt x="166" y="144"/>
                  <a:pt x="168" y="144"/>
                </a:cubicBezTo>
                <a:cubicBezTo>
                  <a:pt x="166" y="142"/>
                  <a:pt x="165" y="144"/>
                  <a:pt x="165" y="141"/>
                </a:cubicBezTo>
                <a:cubicBezTo>
                  <a:pt x="165" y="138"/>
                  <a:pt x="163" y="138"/>
                  <a:pt x="161" y="137"/>
                </a:cubicBezTo>
                <a:cubicBezTo>
                  <a:pt x="162" y="135"/>
                  <a:pt x="164" y="136"/>
                  <a:pt x="163" y="134"/>
                </a:cubicBezTo>
                <a:cubicBezTo>
                  <a:pt x="162" y="132"/>
                  <a:pt x="158" y="131"/>
                  <a:pt x="159" y="129"/>
                </a:cubicBezTo>
                <a:cubicBezTo>
                  <a:pt x="158" y="129"/>
                  <a:pt x="157" y="129"/>
                  <a:pt x="155" y="129"/>
                </a:cubicBezTo>
                <a:cubicBezTo>
                  <a:pt x="156" y="128"/>
                  <a:pt x="156" y="127"/>
                  <a:pt x="156" y="126"/>
                </a:cubicBezTo>
                <a:cubicBezTo>
                  <a:pt x="154" y="126"/>
                  <a:pt x="152" y="125"/>
                  <a:pt x="151" y="123"/>
                </a:cubicBezTo>
                <a:cubicBezTo>
                  <a:pt x="150" y="123"/>
                  <a:pt x="148" y="121"/>
                  <a:pt x="148" y="120"/>
                </a:cubicBezTo>
                <a:cubicBezTo>
                  <a:pt x="145" y="117"/>
                  <a:pt x="148" y="114"/>
                  <a:pt x="151" y="113"/>
                </a:cubicBezTo>
                <a:cubicBezTo>
                  <a:pt x="152" y="110"/>
                  <a:pt x="146" y="111"/>
                  <a:pt x="144" y="111"/>
                </a:cubicBezTo>
                <a:cubicBezTo>
                  <a:pt x="144" y="112"/>
                  <a:pt x="144" y="112"/>
                  <a:pt x="144" y="112"/>
                </a:cubicBezTo>
                <a:cubicBezTo>
                  <a:pt x="143" y="112"/>
                  <a:pt x="142" y="111"/>
                  <a:pt x="142" y="110"/>
                </a:cubicBezTo>
                <a:cubicBezTo>
                  <a:pt x="139" y="110"/>
                  <a:pt x="137" y="112"/>
                  <a:pt x="135" y="109"/>
                </a:cubicBezTo>
                <a:cubicBezTo>
                  <a:pt x="134" y="107"/>
                  <a:pt x="133" y="105"/>
                  <a:pt x="130" y="106"/>
                </a:cubicBezTo>
                <a:cubicBezTo>
                  <a:pt x="129" y="103"/>
                  <a:pt x="127" y="102"/>
                  <a:pt x="124" y="103"/>
                </a:cubicBezTo>
                <a:cubicBezTo>
                  <a:pt x="122" y="103"/>
                  <a:pt x="122" y="102"/>
                  <a:pt x="122" y="101"/>
                </a:cubicBezTo>
                <a:cubicBezTo>
                  <a:pt x="122" y="100"/>
                  <a:pt x="119" y="100"/>
                  <a:pt x="118" y="100"/>
                </a:cubicBezTo>
                <a:cubicBezTo>
                  <a:pt x="118" y="99"/>
                  <a:pt x="119" y="96"/>
                  <a:pt x="120" y="95"/>
                </a:cubicBezTo>
                <a:cubicBezTo>
                  <a:pt x="123" y="95"/>
                  <a:pt x="122" y="88"/>
                  <a:pt x="120" y="87"/>
                </a:cubicBezTo>
                <a:cubicBezTo>
                  <a:pt x="123" y="87"/>
                  <a:pt x="126" y="87"/>
                  <a:pt x="128" y="87"/>
                </a:cubicBezTo>
                <a:cubicBezTo>
                  <a:pt x="129" y="86"/>
                  <a:pt x="127" y="85"/>
                  <a:pt x="127" y="83"/>
                </a:cubicBezTo>
                <a:cubicBezTo>
                  <a:pt x="129" y="83"/>
                  <a:pt x="131" y="83"/>
                  <a:pt x="133" y="83"/>
                </a:cubicBezTo>
                <a:cubicBezTo>
                  <a:pt x="134" y="87"/>
                  <a:pt x="135" y="89"/>
                  <a:pt x="139" y="89"/>
                </a:cubicBezTo>
                <a:cubicBezTo>
                  <a:pt x="141" y="89"/>
                  <a:pt x="142" y="89"/>
                  <a:pt x="142" y="87"/>
                </a:cubicBezTo>
                <a:cubicBezTo>
                  <a:pt x="143" y="84"/>
                  <a:pt x="144" y="84"/>
                  <a:pt x="146" y="82"/>
                </a:cubicBezTo>
                <a:cubicBezTo>
                  <a:pt x="148" y="81"/>
                  <a:pt x="151" y="79"/>
                  <a:pt x="153" y="78"/>
                </a:cubicBezTo>
                <a:cubicBezTo>
                  <a:pt x="155" y="77"/>
                  <a:pt x="158" y="77"/>
                  <a:pt x="160" y="76"/>
                </a:cubicBezTo>
                <a:cubicBezTo>
                  <a:pt x="163" y="76"/>
                  <a:pt x="162" y="67"/>
                  <a:pt x="166" y="71"/>
                </a:cubicBezTo>
                <a:cubicBezTo>
                  <a:pt x="166" y="70"/>
                  <a:pt x="166" y="67"/>
                  <a:pt x="168" y="68"/>
                </a:cubicBezTo>
                <a:cubicBezTo>
                  <a:pt x="172" y="68"/>
                  <a:pt x="174" y="71"/>
                  <a:pt x="178" y="70"/>
                </a:cubicBezTo>
                <a:cubicBezTo>
                  <a:pt x="179" y="69"/>
                  <a:pt x="178" y="68"/>
                  <a:pt x="177" y="67"/>
                </a:cubicBezTo>
                <a:cubicBezTo>
                  <a:pt x="179" y="67"/>
                  <a:pt x="180" y="68"/>
                  <a:pt x="182" y="68"/>
                </a:cubicBezTo>
                <a:cubicBezTo>
                  <a:pt x="182" y="67"/>
                  <a:pt x="182" y="66"/>
                  <a:pt x="182" y="65"/>
                </a:cubicBezTo>
                <a:cubicBezTo>
                  <a:pt x="183" y="64"/>
                  <a:pt x="184" y="64"/>
                  <a:pt x="184" y="63"/>
                </a:cubicBezTo>
                <a:cubicBezTo>
                  <a:pt x="184" y="62"/>
                  <a:pt x="181" y="59"/>
                  <a:pt x="182" y="59"/>
                </a:cubicBezTo>
                <a:cubicBezTo>
                  <a:pt x="184" y="58"/>
                  <a:pt x="186" y="59"/>
                  <a:pt x="187" y="59"/>
                </a:cubicBezTo>
                <a:cubicBezTo>
                  <a:pt x="189" y="60"/>
                  <a:pt x="189" y="62"/>
                  <a:pt x="192" y="62"/>
                </a:cubicBezTo>
                <a:cubicBezTo>
                  <a:pt x="192" y="61"/>
                  <a:pt x="192" y="60"/>
                  <a:pt x="192" y="59"/>
                </a:cubicBezTo>
                <a:cubicBezTo>
                  <a:pt x="192" y="59"/>
                  <a:pt x="192" y="59"/>
                  <a:pt x="192" y="59"/>
                </a:cubicBezTo>
                <a:cubicBezTo>
                  <a:pt x="193" y="57"/>
                  <a:pt x="192" y="53"/>
                  <a:pt x="196" y="55"/>
                </a:cubicBezTo>
                <a:cubicBezTo>
                  <a:pt x="196" y="53"/>
                  <a:pt x="199" y="53"/>
                  <a:pt x="201" y="53"/>
                </a:cubicBezTo>
                <a:cubicBezTo>
                  <a:pt x="200" y="52"/>
                  <a:pt x="200" y="51"/>
                  <a:pt x="198" y="51"/>
                </a:cubicBezTo>
                <a:cubicBezTo>
                  <a:pt x="198" y="49"/>
                  <a:pt x="202" y="48"/>
                  <a:pt x="202" y="47"/>
                </a:cubicBezTo>
                <a:cubicBezTo>
                  <a:pt x="205" y="44"/>
                  <a:pt x="206" y="42"/>
                  <a:pt x="206" y="38"/>
                </a:cubicBezTo>
                <a:cubicBezTo>
                  <a:pt x="201" y="37"/>
                  <a:pt x="205" y="35"/>
                  <a:pt x="204" y="33"/>
                </a:cubicBezTo>
                <a:cubicBezTo>
                  <a:pt x="206" y="33"/>
                  <a:pt x="208" y="33"/>
                  <a:pt x="209" y="33"/>
                </a:cubicBezTo>
                <a:cubicBezTo>
                  <a:pt x="209" y="31"/>
                  <a:pt x="210" y="29"/>
                  <a:pt x="209" y="27"/>
                </a:cubicBezTo>
                <a:close/>
              </a:path>
            </a:pathLst>
          </a:custGeom>
          <a:solidFill>
            <a:schemeClr val="accent1"/>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Rectangle 332">
            <a:extLst>
              <a:ext uri="{FF2B5EF4-FFF2-40B4-BE49-F238E27FC236}">
                <a16:creationId xmlns:a16="http://schemas.microsoft.com/office/drawing/2014/main" id="{3B5B69B3-BC31-4AFC-B816-165B8A5F0C70}"/>
              </a:ext>
            </a:extLst>
          </p:cNvPr>
          <p:cNvSpPr>
            <a:spLocks noChangeArrowheads="1"/>
          </p:cNvSpPr>
          <p:nvPr/>
        </p:nvSpPr>
        <p:spPr bwMode="auto">
          <a:xfrm>
            <a:off x="2294466" y="3626269"/>
            <a:ext cx="1110" cy="1116"/>
          </a:xfrm>
          <a:prstGeom prst="rect">
            <a:avLst/>
          </a:prstGeom>
          <a:solidFill>
            <a:schemeClr val="bg1">
              <a:lumMod val="85000"/>
            </a:schemeClr>
          </a:solidFill>
          <a:ln w="3175">
            <a:noFill/>
            <a:miter lim="800000"/>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3" name="Freeform 333">
            <a:extLst>
              <a:ext uri="{FF2B5EF4-FFF2-40B4-BE49-F238E27FC236}">
                <a16:creationId xmlns:a16="http://schemas.microsoft.com/office/drawing/2014/main" id="{47A16F71-EAF6-4A8B-803C-45B3229249B1}"/>
              </a:ext>
            </a:extLst>
          </p:cNvPr>
          <p:cNvSpPr>
            <a:spLocks/>
          </p:cNvSpPr>
          <p:nvPr/>
        </p:nvSpPr>
        <p:spPr bwMode="auto">
          <a:xfrm>
            <a:off x="2252284" y="3691006"/>
            <a:ext cx="28860" cy="10046"/>
          </a:xfrm>
          <a:custGeom>
            <a:avLst/>
            <a:gdLst>
              <a:gd name="T0" fmla="*/ 0 w 26"/>
              <a:gd name="T1" fmla="*/ 0 h 9"/>
              <a:gd name="T2" fmla="*/ 26 w 26"/>
              <a:gd name="T3" fmla="*/ 9 h 9"/>
              <a:gd name="T4" fmla="*/ 0 w 26"/>
              <a:gd name="T5" fmla="*/ 0 h 9"/>
              <a:gd name="T6" fmla="*/ 0 w 26"/>
              <a:gd name="T7" fmla="*/ 0 h 9"/>
            </a:gdLst>
            <a:ahLst/>
            <a:cxnLst>
              <a:cxn ang="0">
                <a:pos x="T0" y="T1"/>
              </a:cxn>
              <a:cxn ang="0">
                <a:pos x="T2" y="T3"/>
              </a:cxn>
              <a:cxn ang="0">
                <a:pos x="T4" y="T5"/>
              </a:cxn>
              <a:cxn ang="0">
                <a:pos x="T6" y="T7"/>
              </a:cxn>
            </a:cxnLst>
            <a:rect l="0" t="0" r="r" b="b"/>
            <a:pathLst>
              <a:path w="26" h="9">
                <a:moveTo>
                  <a:pt x="0" y="0"/>
                </a:moveTo>
                <a:lnTo>
                  <a:pt x="26" y="9"/>
                </a:ln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4" name="Freeform 334">
            <a:extLst>
              <a:ext uri="{FF2B5EF4-FFF2-40B4-BE49-F238E27FC236}">
                <a16:creationId xmlns:a16="http://schemas.microsoft.com/office/drawing/2014/main" id="{30317F77-D01D-47DE-9042-EAF11101935A}"/>
              </a:ext>
            </a:extLst>
          </p:cNvPr>
          <p:cNvSpPr>
            <a:spLocks/>
          </p:cNvSpPr>
          <p:nvPr/>
        </p:nvSpPr>
        <p:spPr bwMode="auto">
          <a:xfrm>
            <a:off x="2298906" y="3631850"/>
            <a:ext cx="2219" cy="446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0" y="1"/>
                  <a:pt x="0" y="1"/>
                  <a:pt x="0" y="0"/>
                </a:cubicBezTo>
                <a:cubicBezTo>
                  <a:pt x="0" y="1"/>
                  <a:pt x="0" y="1"/>
                  <a:pt x="1" y="2"/>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5" name="Freeform 335">
            <a:extLst>
              <a:ext uri="{FF2B5EF4-FFF2-40B4-BE49-F238E27FC236}">
                <a16:creationId xmlns:a16="http://schemas.microsoft.com/office/drawing/2014/main" id="{C390D076-FF77-4ED9-917B-B09162E73352}"/>
              </a:ext>
            </a:extLst>
          </p:cNvPr>
          <p:cNvSpPr>
            <a:spLocks/>
          </p:cNvSpPr>
          <p:nvPr/>
        </p:nvSpPr>
        <p:spPr bwMode="auto">
          <a:xfrm>
            <a:off x="1191097" y="3360623"/>
            <a:ext cx="1035657" cy="680857"/>
          </a:xfrm>
          <a:custGeom>
            <a:avLst/>
            <a:gdLst>
              <a:gd name="T0" fmla="*/ 401 w 419"/>
              <a:gd name="T1" fmla="*/ 157 h 274"/>
              <a:gd name="T2" fmla="*/ 362 w 419"/>
              <a:gd name="T3" fmla="*/ 157 h 274"/>
              <a:gd name="T4" fmla="*/ 374 w 419"/>
              <a:gd name="T5" fmla="*/ 188 h 274"/>
              <a:gd name="T6" fmla="*/ 358 w 419"/>
              <a:gd name="T7" fmla="*/ 210 h 274"/>
              <a:gd name="T8" fmla="*/ 332 w 419"/>
              <a:gd name="T9" fmla="*/ 224 h 274"/>
              <a:gd name="T10" fmla="*/ 321 w 419"/>
              <a:gd name="T11" fmla="*/ 246 h 274"/>
              <a:gd name="T12" fmla="*/ 289 w 419"/>
              <a:gd name="T13" fmla="*/ 258 h 274"/>
              <a:gd name="T14" fmla="*/ 250 w 419"/>
              <a:gd name="T15" fmla="*/ 254 h 274"/>
              <a:gd name="T16" fmla="*/ 229 w 419"/>
              <a:gd name="T17" fmla="*/ 260 h 274"/>
              <a:gd name="T18" fmla="*/ 197 w 419"/>
              <a:gd name="T19" fmla="*/ 255 h 274"/>
              <a:gd name="T20" fmla="*/ 165 w 419"/>
              <a:gd name="T21" fmla="*/ 254 h 274"/>
              <a:gd name="T22" fmla="*/ 140 w 419"/>
              <a:gd name="T23" fmla="*/ 247 h 274"/>
              <a:gd name="T24" fmla="*/ 122 w 419"/>
              <a:gd name="T25" fmla="*/ 267 h 274"/>
              <a:gd name="T26" fmla="*/ 99 w 419"/>
              <a:gd name="T27" fmla="*/ 271 h 274"/>
              <a:gd name="T28" fmla="*/ 59 w 419"/>
              <a:gd name="T29" fmla="*/ 256 h 274"/>
              <a:gd name="T30" fmla="*/ 12 w 419"/>
              <a:gd name="T31" fmla="*/ 230 h 274"/>
              <a:gd name="T32" fmla="*/ 5 w 419"/>
              <a:gd name="T33" fmla="*/ 198 h 274"/>
              <a:gd name="T34" fmla="*/ 20 w 419"/>
              <a:gd name="T35" fmla="*/ 175 h 274"/>
              <a:gd name="T36" fmla="*/ 31 w 419"/>
              <a:gd name="T37" fmla="*/ 160 h 274"/>
              <a:gd name="T38" fmla="*/ 53 w 419"/>
              <a:gd name="T39" fmla="*/ 124 h 274"/>
              <a:gd name="T40" fmla="*/ 44 w 419"/>
              <a:gd name="T41" fmla="*/ 100 h 274"/>
              <a:gd name="T42" fmla="*/ 54 w 419"/>
              <a:gd name="T43" fmla="*/ 85 h 274"/>
              <a:gd name="T44" fmla="*/ 69 w 419"/>
              <a:gd name="T45" fmla="*/ 95 h 274"/>
              <a:gd name="T46" fmla="*/ 94 w 419"/>
              <a:gd name="T47" fmla="*/ 109 h 274"/>
              <a:gd name="T48" fmla="*/ 82 w 419"/>
              <a:gd name="T49" fmla="*/ 129 h 274"/>
              <a:gd name="T50" fmla="*/ 99 w 419"/>
              <a:gd name="T51" fmla="*/ 130 h 274"/>
              <a:gd name="T52" fmla="*/ 132 w 419"/>
              <a:gd name="T53" fmla="*/ 121 h 274"/>
              <a:gd name="T54" fmla="*/ 142 w 419"/>
              <a:gd name="T55" fmla="*/ 108 h 274"/>
              <a:gd name="T56" fmla="*/ 145 w 419"/>
              <a:gd name="T57" fmla="*/ 87 h 274"/>
              <a:gd name="T58" fmla="*/ 169 w 419"/>
              <a:gd name="T59" fmla="*/ 71 h 274"/>
              <a:gd name="T60" fmla="*/ 132 w 419"/>
              <a:gd name="T61" fmla="*/ 63 h 274"/>
              <a:gd name="T62" fmla="*/ 163 w 419"/>
              <a:gd name="T63" fmla="*/ 24 h 274"/>
              <a:gd name="T64" fmla="*/ 207 w 419"/>
              <a:gd name="T65" fmla="*/ 4 h 274"/>
              <a:gd name="T66" fmla="*/ 232 w 419"/>
              <a:gd name="T67" fmla="*/ 2 h 274"/>
              <a:gd name="T68" fmla="*/ 248 w 419"/>
              <a:gd name="T69" fmla="*/ 27 h 274"/>
              <a:gd name="T70" fmla="*/ 233 w 419"/>
              <a:gd name="T71" fmla="*/ 52 h 274"/>
              <a:gd name="T72" fmla="*/ 212 w 419"/>
              <a:gd name="T73" fmla="*/ 66 h 274"/>
              <a:gd name="T74" fmla="*/ 203 w 419"/>
              <a:gd name="T75" fmla="*/ 93 h 274"/>
              <a:gd name="T76" fmla="*/ 223 w 419"/>
              <a:gd name="T77" fmla="*/ 120 h 274"/>
              <a:gd name="T78" fmla="*/ 237 w 419"/>
              <a:gd name="T79" fmla="*/ 114 h 274"/>
              <a:gd name="T80" fmla="*/ 227 w 419"/>
              <a:gd name="T81" fmla="*/ 93 h 274"/>
              <a:gd name="T82" fmla="*/ 232 w 419"/>
              <a:gd name="T83" fmla="*/ 68 h 274"/>
              <a:gd name="T84" fmla="*/ 235 w 419"/>
              <a:gd name="T85" fmla="*/ 75 h 274"/>
              <a:gd name="T86" fmla="*/ 240 w 419"/>
              <a:gd name="T87" fmla="*/ 78 h 274"/>
              <a:gd name="T88" fmla="*/ 256 w 419"/>
              <a:gd name="T89" fmla="*/ 80 h 274"/>
              <a:gd name="T90" fmla="*/ 267 w 419"/>
              <a:gd name="T91" fmla="*/ 84 h 274"/>
              <a:gd name="T92" fmla="*/ 301 w 419"/>
              <a:gd name="T93" fmla="*/ 71 h 274"/>
              <a:gd name="T94" fmla="*/ 303 w 419"/>
              <a:gd name="T95" fmla="*/ 89 h 274"/>
              <a:gd name="T96" fmla="*/ 314 w 419"/>
              <a:gd name="T97" fmla="*/ 87 h 274"/>
              <a:gd name="T98" fmla="*/ 325 w 419"/>
              <a:gd name="T99" fmla="*/ 85 h 274"/>
              <a:gd name="T100" fmla="*/ 325 w 419"/>
              <a:gd name="T101" fmla="*/ 96 h 274"/>
              <a:gd name="T102" fmla="*/ 352 w 419"/>
              <a:gd name="T103" fmla="*/ 85 h 274"/>
              <a:gd name="T104" fmla="*/ 367 w 419"/>
              <a:gd name="T105" fmla="*/ 91 h 274"/>
              <a:gd name="T106" fmla="*/ 390 w 419"/>
              <a:gd name="T107" fmla="*/ 109 h 274"/>
              <a:gd name="T108" fmla="*/ 413 w 419"/>
              <a:gd name="T109" fmla="*/ 110 h 274"/>
              <a:gd name="T110" fmla="*/ 413 w 419"/>
              <a:gd name="T111" fmla="*/ 124 h 274"/>
              <a:gd name="T112" fmla="*/ 415 w 419"/>
              <a:gd name="T113" fmla="*/ 1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 h="274">
                <a:moveTo>
                  <a:pt x="415" y="144"/>
                </a:moveTo>
                <a:cubicBezTo>
                  <a:pt x="414" y="145"/>
                  <a:pt x="414" y="147"/>
                  <a:pt x="412" y="147"/>
                </a:cubicBezTo>
                <a:cubicBezTo>
                  <a:pt x="410" y="148"/>
                  <a:pt x="408" y="147"/>
                  <a:pt x="408" y="149"/>
                </a:cubicBezTo>
                <a:cubicBezTo>
                  <a:pt x="408" y="150"/>
                  <a:pt x="408" y="152"/>
                  <a:pt x="407" y="153"/>
                </a:cubicBezTo>
                <a:cubicBezTo>
                  <a:pt x="405" y="153"/>
                  <a:pt x="404" y="152"/>
                  <a:pt x="403" y="152"/>
                </a:cubicBezTo>
                <a:cubicBezTo>
                  <a:pt x="402" y="153"/>
                  <a:pt x="403" y="156"/>
                  <a:pt x="401" y="157"/>
                </a:cubicBezTo>
                <a:cubicBezTo>
                  <a:pt x="400" y="157"/>
                  <a:pt x="400" y="155"/>
                  <a:pt x="399" y="154"/>
                </a:cubicBezTo>
                <a:cubicBezTo>
                  <a:pt x="397" y="153"/>
                  <a:pt x="395" y="154"/>
                  <a:pt x="394" y="154"/>
                </a:cubicBezTo>
                <a:cubicBezTo>
                  <a:pt x="394" y="151"/>
                  <a:pt x="389" y="153"/>
                  <a:pt x="387" y="153"/>
                </a:cubicBezTo>
                <a:cubicBezTo>
                  <a:pt x="388" y="149"/>
                  <a:pt x="369" y="151"/>
                  <a:pt x="366" y="151"/>
                </a:cubicBezTo>
                <a:cubicBezTo>
                  <a:pt x="367" y="144"/>
                  <a:pt x="356" y="148"/>
                  <a:pt x="360" y="151"/>
                </a:cubicBezTo>
                <a:cubicBezTo>
                  <a:pt x="362" y="153"/>
                  <a:pt x="366" y="154"/>
                  <a:pt x="362" y="157"/>
                </a:cubicBezTo>
                <a:cubicBezTo>
                  <a:pt x="359" y="160"/>
                  <a:pt x="356" y="162"/>
                  <a:pt x="360" y="166"/>
                </a:cubicBezTo>
                <a:cubicBezTo>
                  <a:pt x="362" y="168"/>
                  <a:pt x="365" y="164"/>
                  <a:pt x="367" y="165"/>
                </a:cubicBezTo>
                <a:cubicBezTo>
                  <a:pt x="369" y="166"/>
                  <a:pt x="371" y="169"/>
                  <a:pt x="372" y="166"/>
                </a:cubicBezTo>
                <a:cubicBezTo>
                  <a:pt x="374" y="167"/>
                  <a:pt x="375" y="169"/>
                  <a:pt x="375" y="170"/>
                </a:cubicBezTo>
                <a:cubicBezTo>
                  <a:pt x="379" y="170"/>
                  <a:pt x="383" y="177"/>
                  <a:pt x="384" y="180"/>
                </a:cubicBezTo>
                <a:cubicBezTo>
                  <a:pt x="385" y="188"/>
                  <a:pt x="380" y="188"/>
                  <a:pt x="374" y="188"/>
                </a:cubicBezTo>
                <a:cubicBezTo>
                  <a:pt x="374" y="190"/>
                  <a:pt x="373" y="190"/>
                  <a:pt x="371" y="191"/>
                </a:cubicBezTo>
                <a:cubicBezTo>
                  <a:pt x="370" y="192"/>
                  <a:pt x="370" y="194"/>
                  <a:pt x="370" y="196"/>
                </a:cubicBezTo>
                <a:cubicBezTo>
                  <a:pt x="370" y="198"/>
                  <a:pt x="368" y="198"/>
                  <a:pt x="367" y="199"/>
                </a:cubicBezTo>
                <a:cubicBezTo>
                  <a:pt x="365" y="201"/>
                  <a:pt x="366" y="202"/>
                  <a:pt x="365" y="204"/>
                </a:cubicBezTo>
                <a:cubicBezTo>
                  <a:pt x="365" y="206"/>
                  <a:pt x="363" y="206"/>
                  <a:pt x="361" y="207"/>
                </a:cubicBezTo>
                <a:cubicBezTo>
                  <a:pt x="359" y="208"/>
                  <a:pt x="359" y="209"/>
                  <a:pt x="358" y="210"/>
                </a:cubicBezTo>
                <a:cubicBezTo>
                  <a:pt x="357" y="212"/>
                  <a:pt x="351" y="211"/>
                  <a:pt x="351" y="215"/>
                </a:cubicBezTo>
                <a:cubicBezTo>
                  <a:pt x="349" y="215"/>
                  <a:pt x="348" y="214"/>
                  <a:pt x="347" y="214"/>
                </a:cubicBezTo>
                <a:cubicBezTo>
                  <a:pt x="345" y="214"/>
                  <a:pt x="345" y="214"/>
                  <a:pt x="344" y="215"/>
                </a:cubicBezTo>
                <a:cubicBezTo>
                  <a:pt x="341" y="216"/>
                  <a:pt x="338" y="215"/>
                  <a:pt x="335" y="215"/>
                </a:cubicBezTo>
                <a:cubicBezTo>
                  <a:pt x="335" y="218"/>
                  <a:pt x="335" y="221"/>
                  <a:pt x="335" y="224"/>
                </a:cubicBezTo>
                <a:cubicBezTo>
                  <a:pt x="334" y="224"/>
                  <a:pt x="333" y="224"/>
                  <a:pt x="332" y="224"/>
                </a:cubicBezTo>
                <a:cubicBezTo>
                  <a:pt x="331" y="225"/>
                  <a:pt x="328" y="229"/>
                  <a:pt x="330" y="230"/>
                </a:cubicBezTo>
                <a:cubicBezTo>
                  <a:pt x="330" y="231"/>
                  <a:pt x="330" y="232"/>
                  <a:pt x="330" y="233"/>
                </a:cubicBezTo>
                <a:cubicBezTo>
                  <a:pt x="328" y="234"/>
                  <a:pt x="327" y="232"/>
                  <a:pt x="324" y="232"/>
                </a:cubicBezTo>
                <a:cubicBezTo>
                  <a:pt x="324" y="234"/>
                  <a:pt x="324" y="236"/>
                  <a:pt x="324" y="238"/>
                </a:cubicBezTo>
                <a:cubicBezTo>
                  <a:pt x="322" y="239"/>
                  <a:pt x="320" y="238"/>
                  <a:pt x="320" y="240"/>
                </a:cubicBezTo>
                <a:cubicBezTo>
                  <a:pt x="320" y="242"/>
                  <a:pt x="321" y="244"/>
                  <a:pt x="321" y="246"/>
                </a:cubicBezTo>
                <a:cubicBezTo>
                  <a:pt x="322" y="249"/>
                  <a:pt x="320" y="252"/>
                  <a:pt x="316" y="252"/>
                </a:cubicBezTo>
                <a:cubicBezTo>
                  <a:pt x="316" y="257"/>
                  <a:pt x="319" y="268"/>
                  <a:pt x="311" y="269"/>
                </a:cubicBezTo>
                <a:cubicBezTo>
                  <a:pt x="304" y="270"/>
                  <a:pt x="304" y="270"/>
                  <a:pt x="304" y="270"/>
                </a:cubicBezTo>
                <a:cubicBezTo>
                  <a:pt x="301" y="269"/>
                  <a:pt x="298" y="266"/>
                  <a:pt x="297" y="262"/>
                </a:cubicBezTo>
                <a:cubicBezTo>
                  <a:pt x="296" y="260"/>
                  <a:pt x="293" y="260"/>
                  <a:pt x="293" y="259"/>
                </a:cubicBezTo>
                <a:cubicBezTo>
                  <a:pt x="291" y="259"/>
                  <a:pt x="290" y="259"/>
                  <a:pt x="289" y="258"/>
                </a:cubicBezTo>
                <a:cubicBezTo>
                  <a:pt x="288" y="257"/>
                  <a:pt x="287" y="258"/>
                  <a:pt x="286" y="258"/>
                </a:cubicBezTo>
                <a:cubicBezTo>
                  <a:pt x="284" y="260"/>
                  <a:pt x="283" y="261"/>
                  <a:pt x="280" y="261"/>
                </a:cubicBezTo>
                <a:cubicBezTo>
                  <a:pt x="277" y="261"/>
                  <a:pt x="274" y="261"/>
                  <a:pt x="272" y="260"/>
                </a:cubicBezTo>
                <a:cubicBezTo>
                  <a:pt x="268" y="258"/>
                  <a:pt x="266" y="258"/>
                  <a:pt x="262" y="258"/>
                </a:cubicBezTo>
                <a:cubicBezTo>
                  <a:pt x="261" y="259"/>
                  <a:pt x="255" y="260"/>
                  <a:pt x="255" y="258"/>
                </a:cubicBezTo>
                <a:cubicBezTo>
                  <a:pt x="255" y="255"/>
                  <a:pt x="252" y="254"/>
                  <a:pt x="250" y="254"/>
                </a:cubicBezTo>
                <a:cubicBezTo>
                  <a:pt x="246" y="254"/>
                  <a:pt x="247" y="252"/>
                  <a:pt x="245" y="251"/>
                </a:cubicBezTo>
                <a:cubicBezTo>
                  <a:pt x="242" y="249"/>
                  <a:pt x="242" y="253"/>
                  <a:pt x="241" y="254"/>
                </a:cubicBezTo>
                <a:cubicBezTo>
                  <a:pt x="240" y="254"/>
                  <a:pt x="239" y="254"/>
                  <a:pt x="238" y="255"/>
                </a:cubicBezTo>
                <a:cubicBezTo>
                  <a:pt x="238" y="255"/>
                  <a:pt x="238" y="256"/>
                  <a:pt x="238" y="256"/>
                </a:cubicBezTo>
                <a:cubicBezTo>
                  <a:pt x="235" y="256"/>
                  <a:pt x="232" y="255"/>
                  <a:pt x="229" y="255"/>
                </a:cubicBezTo>
                <a:cubicBezTo>
                  <a:pt x="229" y="257"/>
                  <a:pt x="229" y="258"/>
                  <a:pt x="229" y="260"/>
                </a:cubicBezTo>
                <a:cubicBezTo>
                  <a:pt x="225" y="260"/>
                  <a:pt x="220" y="263"/>
                  <a:pt x="216" y="261"/>
                </a:cubicBezTo>
                <a:cubicBezTo>
                  <a:pt x="214" y="260"/>
                  <a:pt x="212" y="256"/>
                  <a:pt x="209" y="257"/>
                </a:cubicBezTo>
                <a:cubicBezTo>
                  <a:pt x="208" y="258"/>
                  <a:pt x="206" y="260"/>
                  <a:pt x="205" y="258"/>
                </a:cubicBezTo>
                <a:cubicBezTo>
                  <a:pt x="204" y="256"/>
                  <a:pt x="205" y="255"/>
                  <a:pt x="205" y="253"/>
                </a:cubicBezTo>
                <a:cubicBezTo>
                  <a:pt x="203" y="253"/>
                  <a:pt x="203" y="255"/>
                  <a:pt x="202" y="256"/>
                </a:cubicBezTo>
                <a:cubicBezTo>
                  <a:pt x="200" y="257"/>
                  <a:pt x="199" y="255"/>
                  <a:pt x="197" y="255"/>
                </a:cubicBezTo>
                <a:cubicBezTo>
                  <a:pt x="194" y="253"/>
                  <a:pt x="191" y="256"/>
                  <a:pt x="190" y="259"/>
                </a:cubicBezTo>
                <a:cubicBezTo>
                  <a:pt x="183" y="260"/>
                  <a:pt x="178" y="263"/>
                  <a:pt x="171" y="262"/>
                </a:cubicBezTo>
                <a:cubicBezTo>
                  <a:pt x="168" y="261"/>
                  <a:pt x="167" y="262"/>
                  <a:pt x="166" y="260"/>
                </a:cubicBezTo>
                <a:cubicBezTo>
                  <a:pt x="164" y="258"/>
                  <a:pt x="162" y="261"/>
                  <a:pt x="162" y="262"/>
                </a:cubicBezTo>
                <a:cubicBezTo>
                  <a:pt x="160" y="262"/>
                  <a:pt x="159" y="256"/>
                  <a:pt x="158" y="254"/>
                </a:cubicBezTo>
                <a:cubicBezTo>
                  <a:pt x="160" y="254"/>
                  <a:pt x="163" y="255"/>
                  <a:pt x="165" y="254"/>
                </a:cubicBezTo>
                <a:cubicBezTo>
                  <a:pt x="165" y="255"/>
                  <a:pt x="165" y="256"/>
                  <a:pt x="165" y="256"/>
                </a:cubicBezTo>
                <a:cubicBezTo>
                  <a:pt x="166" y="256"/>
                  <a:pt x="167" y="255"/>
                  <a:pt x="168" y="255"/>
                </a:cubicBezTo>
                <a:cubicBezTo>
                  <a:pt x="165" y="252"/>
                  <a:pt x="164" y="245"/>
                  <a:pt x="160" y="244"/>
                </a:cubicBezTo>
                <a:cubicBezTo>
                  <a:pt x="155" y="243"/>
                  <a:pt x="153" y="245"/>
                  <a:pt x="150" y="248"/>
                </a:cubicBezTo>
                <a:cubicBezTo>
                  <a:pt x="149" y="248"/>
                  <a:pt x="147" y="248"/>
                  <a:pt x="146" y="249"/>
                </a:cubicBezTo>
                <a:cubicBezTo>
                  <a:pt x="146" y="246"/>
                  <a:pt x="141" y="247"/>
                  <a:pt x="140" y="247"/>
                </a:cubicBezTo>
                <a:cubicBezTo>
                  <a:pt x="136" y="248"/>
                  <a:pt x="134" y="249"/>
                  <a:pt x="131" y="250"/>
                </a:cubicBezTo>
                <a:cubicBezTo>
                  <a:pt x="131" y="252"/>
                  <a:pt x="130" y="253"/>
                  <a:pt x="128" y="253"/>
                </a:cubicBezTo>
                <a:cubicBezTo>
                  <a:pt x="129" y="254"/>
                  <a:pt x="129" y="257"/>
                  <a:pt x="127" y="258"/>
                </a:cubicBezTo>
                <a:cubicBezTo>
                  <a:pt x="125" y="258"/>
                  <a:pt x="124" y="258"/>
                  <a:pt x="124" y="260"/>
                </a:cubicBezTo>
                <a:cubicBezTo>
                  <a:pt x="122" y="260"/>
                  <a:pt x="121" y="262"/>
                  <a:pt x="119" y="264"/>
                </a:cubicBezTo>
                <a:cubicBezTo>
                  <a:pt x="122" y="264"/>
                  <a:pt x="123" y="265"/>
                  <a:pt x="122" y="267"/>
                </a:cubicBezTo>
                <a:cubicBezTo>
                  <a:pt x="120" y="267"/>
                  <a:pt x="119" y="269"/>
                  <a:pt x="118" y="269"/>
                </a:cubicBezTo>
                <a:cubicBezTo>
                  <a:pt x="116" y="270"/>
                  <a:pt x="114" y="269"/>
                  <a:pt x="113" y="269"/>
                </a:cubicBezTo>
                <a:cubicBezTo>
                  <a:pt x="112" y="271"/>
                  <a:pt x="113" y="273"/>
                  <a:pt x="111" y="273"/>
                </a:cubicBezTo>
                <a:cubicBezTo>
                  <a:pt x="110" y="273"/>
                  <a:pt x="108" y="273"/>
                  <a:pt x="107" y="273"/>
                </a:cubicBezTo>
                <a:cubicBezTo>
                  <a:pt x="105" y="273"/>
                  <a:pt x="99" y="274"/>
                  <a:pt x="99" y="271"/>
                </a:cubicBezTo>
                <a:cubicBezTo>
                  <a:pt x="99" y="271"/>
                  <a:pt x="99" y="271"/>
                  <a:pt x="99" y="271"/>
                </a:cubicBezTo>
                <a:cubicBezTo>
                  <a:pt x="100" y="269"/>
                  <a:pt x="99" y="261"/>
                  <a:pt x="97" y="260"/>
                </a:cubicBezTo>
                <a:cubicBezTo>
                  <a:pt x="96" y="260"/>
                  <a:pt x="93" y="260"/>
                  <a:pt x="92" y="259"/>
                </a:cubicBezTo>
                <a:cubicBezTo>
                  <a:pt x="91" y="256"/>
                  <a:pt x="90" y="257"/>
                  <a:pt x="87" y="257"/>
                </a:cubicBezTo>
                <a:cubicBezTo>
                  <a:pt x="82" y="257"/>
                  <a:pt x="76" y="259"/>
                  <a:pt x="71" y="257"/>
                </a:cubicBezTo>
                <a:cubicBezTo>
                  <a:pt x="69" y="256"/>
                  <a:pt x="67" y="256"/>
                  <a:pt x="65" y="257"/>
                </a:cubicBezTo>
                <a:cubicBezTo>
                  <a:pt x="63" y="257"/>
                  <a:pt x="61" y="256"/>
                  <a:pt x="59" y="256"/>
                </a:cubicBezTo>
                <a:cubicBezTo>
                  <a:pt x="54" y="256"/>
                  <a:pt x="53" y="254"/>
                  <a:pt x="51" y="250"/>
                </a:cubicBezTo>
                <a:cubicBezTo>
                  <a:pt x="49" y="245"/>
                  <a:pt x="47" y="244"/>
                  <a:pt x="42" y="243"/>
                </a:cubicBezTo>
                <a:cubicBezTo>
                  <a:pt x="38" y="243"/>
                  <a:pt x="32" y="246"/>
                  <a:pt x="28" y="243"/>
                </a:cubicBezTo>
                <a:cubicBezTo>
                  <a:pt x="25" y="239"/>
                  <a:pt x="26" y="235"/>
                  <a:pt x="25" y="231"/>
                </a:cubicBezTo>
                <a:cubicBezTo>
                  <a:pt x="19" y="226"/>
                  <a:pt x="19" y="226"/>
                  <a:pt x="19" y="226"/>
                </a:cubicBezTo>
                <a:cubicBezTo>
                  <a:pt x="16" y="226"/>
                  <a:pt x="17" y="232"/>
                  <a:pt x="12" y="230"/>
                </a:cubicBezTo>
                <a:cubicBezTo>
                  <a:pt x="10" y="230"/>
                  <a:pt x="9" y="228"/>
                  <a:pt x="7" y="228"/>
                </a:cubicBezTo>
                <a:cubicBezTo>
                  <a:pt x="6" y="227"/>
                  <a:pt x="6" y="226"/>
                  <a:pt x="5" y="224"/>
                </a:cubicBezTo>
                <a:cubicBezTo>
                  <a:pt x="5" y="222"/>
                  <a:pt x="8" y="220"/>
                  <a:pt x="7" y="218"/>
                </a:cubicBezTo>
                <a:cubicBezTo>
                  <a:pt x="6" y="216"/>
                  <a:pt x="5" y="214"/>
                  <a:pt x="3" y="212"/>
                </a:cubicBezTo>
                <a:cubicBezTo>
                  <a:pt x="0" y="208"/>
                  <a:pt x="14" y="208"/>
                  <a:pt x="15" y="208"/>
                </a:cubicBezTo>
                <a:cubicBezTo>
                  <a:pt x="16" y="200"/>
                  <a:pt x="3" y="206"/>
                  <a:pt x="5" y="198"/>
                </a:cubicBezTo>
                <a:cubicBezTo>
                  <a:pt x="8" y="198"/>
                  <a:pt x="10" y="200"/>
                  <a:pt x="12" y="198"/>
                </a:cubicBezTo>
                <a:cubicBezTo>
                  <a:pt x="14" y="197"/>
                  <a:pt x="14" y="195"/>
                  <a:pt x="15" y="194"/>
                </a:cubicBezTo>
                <a:cubicBezTo>
                  <a:pt x="19" y="193"/>
                  <a:pt x="20" y="194"/>
                  <a:pt x="23" y="191"/>
                </a:cubicBezTo>
                <a:cubicBezTo>
                  <a:pt x="25" y="189"/>
                  <a:pt x="27" y="187"/>
                  <a:pt x="27" y="184"/>
                </a:cubicBezTo>
                <a:cubicBezTo>
                  <a:pt x="27" y="181"/>
                  <a:pt x="25" y="182"/>
                  <a:pt x="23" y="181"/>
                </a:cubicBezTo>
                <a:cubicBezTo>
                  <a:pt x="20" y="180"/>
                  <a:pt x="20" y="177"/>
                  <a:pt x="20" y="175"/>
                </a:cubicBezTo>
                <a:cubicBezTo>
                  <a:pt x="20" y="174"/>
                  <a:pt x="20" y="173"/>
                  <a:pt x="20" y="172"/>
                </a:cubicBezTo>
                <a:cubicBezTo>
                  <a:pt x="21" y="172"/>
                  <a:pt x="21" y="172"/>
                  <a:pt x="21" y="172"/>
                </a:cubicBezTo>
                <a:cubicBezTo>
                  <a:pt x="22" y="172"/>
                  <a:pt x="22" y="172"/>
                  <a:pt x="22" y="171"/>
                </a:cubicBezTo>
                <a:cubicBezTo>
                  <a:pt x="22" y="170"/>
                  <a:pt x="26" y="171"/>
                  <a:pt x="27" y="172"/>
                </a:cubicBezTo>
                <a:cubicBezTo>
                  <a:pt x="29" y="168"/>
                  <a:pt x="36" y="170"/>
                  <a:pt x="39" y="166"/>
                </a:cubicBezTo>
                <a:cubicBezTo>
                  <a:pt x="41" y="163"/>
                  <a:pt x="33" y="161"/>
                  <a:pt x="31" y="160"/>
                </a:cubicBezTo>
                <a:cubicBezTo>
                  <a:pt x="34" y="158"/>
                  <a:pt x="32" y="157"/>
                  <a:pt x="33" y="155"/>
                </a:cubicBezTo>
                <a:cubicBezTo>
                  <a:pt x="37" y="153"/>
                  <a:pt x="42" y="152"/>
                  <a:pt x="47" y="150"/>
                </a:cubicBezTo>
                <a:cubicBezTo>
                  <a:pt x="50" y="148"/>
                  <a:pt x="51" y="144"/>
                  <a:pt x="51" y="141"/>
                </a:cubicBezTo>
                <a:cubicBezTo>
                  <a:pt x="51" y="139"/>
                  <a:pt x="50" y="137"/>
                  <a:pt x="50" y="135"/>
                </a:cubicBezTo>
                <a:cubicBezTo>
                  <a:pt x="51" y="132"/>
                  <a:pt x="52" y="131"/>
                  <a:pt x="54" y="129"/>
                </a:cubicBezTo>
                <a:cubicBezTo>
                  <a:pt x="55" y="127"/>
                  <a:pt x="54" y="126"/>
                  <a:pt x="53" y="124"/>
                </a:cubicBezTo>
                <a:cubicBezTo>
                  <a:pt x="52" y="122"/>
                  <a:pt x="52" y="119"/>
                  <a:pt x="52" y="117"/>
                </a:cubicBezTo>
                <a:cubicBezTo>
                  <a:pt x="49" y="116"/>
                  <a:pt x="47" y="116"/>
                  <a:pt x="44" y="116"/>
                </a:cubicBezTo>
                <a:cubicBezTo>
                  <a:pt x="45" y="115"/>
                  <a:pt x="47" y="114"/>
                  <a:pt x="47" y="112"/>
                </a:cubicBezTo>
                <a:cubicBezTo>
                  <a:pt x="48" y="111"/>
                  <a:pt x="46" y="108"/>
                  <a:pt x="49" y="107"/>
                </a:cubicBezTo>
                <a:cubicBezTo>
                  <a:pt x="48" y="106"/>
                  <a:pt x="46" y="105"/>
                  <a:pt x="44" y="105"/>
                </a:cubicBezTo>
                <a:cubicBezTo>
                  <a:pt x="44" y="103"/>
                  <a:pt x="43" y="101"/>
                  <a:pt x="44" y="100"/>
                </a:cubicBezTo>
                <a:cubicBezTo>
                  <a:pt x="45" y="98"/>
                  <a:pt x="48" y="98"/>
                  <a:pt x="48" y="97"/>
                </a:cubicBezTo>
                <a:cubicBezTo>
                  <a:pt x="48" y="94"/>
                  <a:pt x="44" y="90"/>
                  <a:pt x="50" y="91"/>
                </a:cubicBezTo>
                <a:cubicBezTo>
                  <a:pt x="49" y="93"/>
                  <a:pt x="51" y="92"/>
                  <a:pt x="52" y="93"/>
                </a:cubicBezTo>
                <a:cubicBezTo>
                  <a:pt x="53" y="94"/>
                  <a:pt x="54" y="96"/>
                  <a:pt x="56" y="95"/>
                </a:cubicBezTo>
                <a:cubicBezTo>
                  <a:pt x="56" y="90"/>
                  <a:pt x="47" y="86"/>
                  <a:pt x="50" y="81"/>
                </a:cubicBezTo>
                <a:cubicBezTo>
                  <a:pt x="53" y="81"/>
                  <a:pt x="53" y="84"/>
                  <a:pt x="54" y="85"/>
                </a:cubicBezTo>
                <a:cubicBezTo>
                  <a:pt x="55" y="87"/>
                  <a:pt x="59" y="87"/>
                  <a:pt x="60" y="86"/>
                </a:cubicBezTo>
                <a:cubicBezTo>
                  <a:pt x="63" y="85"/>
                  <a:pt x="62" y="82"/>
                  <a:pt x="63" y="80"/>
                </a:cubicBezTo>
                <a:cubicBezTo>
                  <a:pt x="65" y="77"/>
                  <a:pt x="70" y="78"/>
                  <a:pt x="73" y="78"/>
                </a:cubicBezTo>
                <a:cubicBezTo>
                  <a:pt x="73" y="81"/>
                  <a:pt x="73" y="83"/>
                  <a:pt x="72" y="85"/>
                </a:cubicBezTo>
                <a:cubicBezTo>
                  <a:pt x="69" y="84"/>
                  <a:pt x="70" y="88"/>
                  <a:pt x="70" y="90"/>
                </a:cubicBezTo>
                <a:cubicBezTo>
                  <a:pt x="66" y="90"/>
                  <a:pt x="65" y="94"/>
                  <a:pt x="69" y="95"/>
                </a:cubicBezTo>
                <a:cubicBezTo>
                  <a:pt x="73" y="96"/>
                  <a:pt x="78" y="96"/>
                  <a:pt x="82" y="96"/>
                </a:cubicBezTo>
                <a:cubicBezTo>
                  <a:pt x="81" y="101"/>
                  <a:pt x="85" y="98"/>
                  <a:pt x="87" y="96"/>
                </a:cubicBezTo>
                <a:cubicBezTo>
                  <a:pt x="90" y="95"/>
                  <a:pt x="91" y="94"/>
                  <a:pt x="94" y="95"/>
                </a:cubicBezTo>
                <a:cubicBezTo>
                  <a:pt x="95" y="97"/>
                  <a:pt x="94" y="100"/>
                  <a:pt x="94" y="103"/>
                </a:cubicBezTo>
                <a:cubicBezTo>
                  <a:pt x="96" y="103"/>
                  <a:pt x="97" y="103"/>
                  <a:pt x="99" y="103"/>
                </a:cubicBezTo>
                <a:cubicBezTo>
                  <a:pt x="99" y="106"/>
                  <a:pt x="98" y="114"/>
                  <a:pt x="94" y="109"/>
                </a:cubicBezTo>
                <a:cubicBezTo>
                  <a:pt x="91" y="109"/>
                  <a:pt x="90" y="112"/>
                  <a:pt x="91" y="114"/>
                </a:cubicBezTo>
                <a:cubicBezTo>
                  <a:pt x="91" y="116"/>
                  <a:pt x="93" y="115"/>
                  <a:pt x="93" y="118"/>
                </a:cubicBezTo>
                <a:cubicBezTo>
                  <a:pt x="93" y="120"/>
                  <a:pt x="92" y="121"/>
                  <a:pt x="92" y="123"/>
                </a:cubicBezTo>
                <a:cubicBezTo>
                  <a:pt x="93" y="126"/>
                  <a:pt x="96" y="125"/>
                  <a:pt x="96" y="127"/>
                </a:cubicBezTo>
                <a:cubicBezTo>
                  <a:pt x="93" y="128"/>
                  <a:pt x="92" y="130"/>
                  <a:pt x="88" y="130"/>
                </a:cubicBezTo>
                <a:cubicBezTo>
                  <a:pt x="86" y="131"/>
                  <a:pt x="84" y="130"/>
                  <a:pt x="82" y="129"/>
                </a:cubicBezTo>
                <a:cubicBezTo>
                  <a:pt x="78" y="127"/>
                  <a:pt x="78" y="135"/>
                  <a:pt x="79" y="137"/>
                </a:cubicBezTo>
                <a:cubicBezTo>
                  <a:pt x="84" y="137"/>
                  <a:pt x="83" y="140"/>
                  <a:pt x="87" y="142"/>
                </a:cubicBezTo>
                <a:cubicBezTo>
                  <a:pt x="87" y="140"/>
                  <a:pt x="87" y="138"/>
                  <a:pt x="88" y="137"/>
                </a:cubicBezTo>
                <a:cubicBezTo>
                  <a:pt x="90" y="136"/>
                  <a:pt x="94" y="137"/>
                  <a:pt x="97" y="137"/>
                </a:cubicBezTo>
                <a:cubicBezTo>
                  <a:pt x="97" y="136"/>
                  <a:pt x="98" y="135"/>
                  <a:pt x="100" y="136"/>
                </a:cubicBezTo>
                <a:cubicBezTo>
                  <a:pt x="100" y="133"/>
                  <a:pt x="99" y="132"/>
                  <a:pt x="99" y="130"/>
                </a:cubicBezTo>
                <a:cubicBezTo>
                  <a:pt x="101" y="130"/>
                  <a:pt x="103" y="130"/>
                  <a:pt x="104" y="128"/>
                </a:cubicBezTo>
                <a:cubicBezTo>
                  <a:pt x="106" y="126"/>
                  <a:pt x="108" y="123"/>
                  <a:pt x="108" y="120"/>
                </a:cubicBezTo>
                <a:cubicBezTo>
                  <a:pt x="111" y="119"/>
                  <a:pt x="114" y="121"/>
                  <a:pt x="118" y="122"/>
                </a:cubicBezTo>
                <a:cubicBezTo>
                  <a:pt x="121" y="122"/>
                  <a:pt x="124" y="122"/>
                  <a:pt x="127" y="124"/>
                </a:cubicBezTo>
                <a:cubicBezTo>
                  <a:pt x="127" y="123"/>
                  <a:pt x="128" y="122"/>
                  <a:pt x="128" y="121"/>
                </a:cubicBezTo>
                <a:cubicBezTo>
                  <a:pt x="129" y="121"/>
                  <a:pt x="130" y="121"/>
                  <a:pt x="132" y="121"/>
                </a:cubicBezTo>
                <a:cubicBezTo>
                  <a:pt x="132" y="120"/>
                  <a:pt x="132" y="120"/>
                  <a:pt x="132" y="120"/>
                </a:cubicBezTo>
                <a:cubicBezTo>
                  <a:pt x="132" y="121"/>
                  <a:pt x="132" y="123"/>
                  <a:pt x="132" y="124"/>
                </a:cubicBezTo>
                <a:cubicBezTo>
                  <a:pt x="134" y="124"/>
                  <a:pt x="135" y="126"/>
                  <a:pt x="137" y="125"/>
                </a:cubicBezTo>
                <a:cubicBezTo>
                  <a:pt x="137" y="127"/>
                  <a:pt x="138" y="129"/>
                  <a:pt x="140" y="129"/>
                </a:cubicBezTo>
                <a:cubicBezTo>
                  <a:pt x="140" y="126"/>
                  <a:pt x="145" y="126"/>
                  <a:pt x="145" y="124"/>
                </a:cubicBezTo>
                <a:cubicBezTo>
                  <a:pt x="141" y="123"/>
                  <a:pt x="143" y="111"/>
                  <a:pt x="142" y="108"/>
                </a:cubicBezTo>
                <a:cubicBezTo>
                  <a:pt x="145" y="107"/>
                  <a:pt x="146" y="110"/>
                  <a:pt x="148" y="111"/>
                </a:cubicBezTo>
                <a:cubicBezTo>
                  <a:pt x="152" y="112"/>
                  <a:pt x="153" y="107"/>
                  <a:pt x="153" y="105"/>
                </a:cubicBezTo>
                <a:cubicBezTo>
                  <a:pt x="153" y="101"/>
                  <a:pt x="152" y="100"/>
                  <a:pt x="149" y="99"/>
                </a:cubicBezTo>
                <a:cubicBezTo>
                  <a:pt x="145" y="98"/>
                  <a:pt x="143" y="97"/>
                  <a:pt x="142" y="94"/>
                </a:cubicBezTo>
                <a:cubicBezTo>
                  <a:pt x="144" y="94"/>
                  <a:pt x="148" y="94"/>
                  <a:pt x="147" y="91"/>
                </a:cubicBezTo>
                <a:cubicBezTo>
                  <a:pt x="147" y="89"/>
                  <a:pt x="145" y="89"/>
                  <a:pt x="145" y="87"/>
                </a:cubicBezTo>
                <a:cubicBezTo>
                  <a:pt x="144" y="86"/>
                  <a:pt x="145" y="84"/>
                  <a:pt x="145" y="83"/>
                </a:cubicBezTo>
                <a:cubicBezTo>
                  <a:pt x="149" y="82"/>
                  <a:pt x="152" y="83"/>
                  <a:pt x="156" y="83"/>
                </a:cubicBezTo>
                <a:cubicBezTo>
                  <a:pt x="159" y="82"/>
                  <a:pt x="161" y="81"/>
                  <a:pt x="164" y="80"/>
                </a:cubicBezTo>
                <a:cubicBezTo>
                  <a:pt x="164" y="80"/>
                  <a:pt x="164" y="82"/>
                  <a:pt x="164" y="82"/>
                </a:cubicBezTo>
                <a:cubicBezTo>
                  <a:pt x="166" y="82"/>
                  <a:pt x="167" y="81"/>
                  <a:pt x="169" y="82"/>
                </a:cubicBezTo>
                <a:cubicBezTo>
                  <a:pt x="169" y="78"/>
                  <a:pt x="169" y="75"/>
                  <a:pt x="169" y="71"/>
                </a:cubicBezTo>
                <a:cubicBezTo>
                  <a:pt x="166" y="72"/>
                  <a:pt x="167" y="68"/>
                  <a:pt x="167" y="66"/>
                </a:cubicBezTo>
                <a:cubicBezTo>
                  <a:pt x="163" y="66"/>
                  <a:pt x="162" y="67"/>
                  <a:pt x="161" y="71"/>
                </a:cubicBezTo>
                <a:cubicBezTo>
                  <a:pt x="160" y="71"/>
                  <a:pt x="159" y="70"/>
                  <a:pt x="158" y="69"/>
                </a:cubicBezTo>
                <a:cubicBezTo>
                  <a:pt x="156" y="69"/>
                  <a:pt x="155" y="70"/>
                  <a:pt x="153" y="70"/>
                </a:cubicBezTo>
                <a:cubicBezTo>
                  <a:pt x="148" y="71"/>
                  <a:pt x="142" y="70"/>
                  <a:pt x="137" y="68"/>
                </a:cubicBezTo>
                <a:cubicBezTo>
                  <a:pt x="134" y="67"/>
                  <a:pt x="133" y="66"/>
                  <a:pt x="132" y="63"/>
                </a:cubicBezTo>
                <a:cubicBezTo>
                  <a:pt x="131" y="59"/>
                  <a:pt x="130" y="54"/>
                  <a:pt x="128" y="50"/>
                </a:cubicBezTo>
                <a:cubicBezTo>
                  <a:pt x="132" y="51"/>
                  <a:pt x="130" y="46"/>
                  <a:pt x="132" y="44"/>
                </a:cubicBezTo>
                <a:cubicBezTo>
                  <a:pt x="136" y="44"/>
                  <a:pt x="140" y="43"/>
                  <a:pt x="143" y="39"/>
                </a:cubicBezTo>
                <a:cubicBezTo>
                  <a:pt x="145" y="36"/>
                  <a:pt x="148" y="31"/>
                  <a:pt x="153" y="30"/>
                </a:cubicBezTo>
                <a:cubicBezTo>
                  <a:pt x="155" y="30"/>
                  <a:pt x="158" y="30"/>
                  <a:pt x="160" y="28"/>
                </a:cubicBezTo>
                <a:cubicBezTo>
                  <a:pt x="161" y="26"/>
                  <a:pt x="161" y="25"/>
                  <a:pt x="163" y="24"/>
                </a:cubicBezTo>
                <a:cubicBezTo>
                  <a:pt x="166" y="23"/>
                  <a:pt x="171" y="23"/>
                  <a:pt x="173" y="20"/>
                </a:cubicBezTo>
                <a:cubicBezTo>
                  <a:pt x="176" y="20"/>
                  <a:pt x="179" y="19"/>
                  <a:pt x="181" y="17"/>
                </a:cubicBezTo>
                <a:cubicBezTo>
                  <a:pt x="182" y="16"/>
                  <a:pt x="183" y="15"/>
                  <a:pt x="184" y="14"/>
                </a:cubicBezTo>
                <a:cubicBezTo>
                  <a:pt x="186" y="13"/>
                  <a:pt x="188" y="13"/>
                  <a:pt x="190" y="13"/>
                </a:cubicBezTo>
                <a:cubicBezTo>
                  <a:pt x="191" y="5"/>
                  <a:pt x="201" y="8"/>
                  <a:pt x="206" y="7"/>
                </a:cubicBezTo>
                <a:cubicBezTo>
                  <a:pt x="207" y="4"/>
                  <a:pt x="207" y="4"/>
                  <a:pt x="207" y="4"/>
                </a:cubicBezTo>
                <a:cubicBezTo>
                  <a:pt x="208" y="2"/>
                  <a:pt x="210" y="1"/>
                  <a:pt x="211" y="0"/>
                </a:cubicBezTo>
                <a:cubicBezTo>
                  <a:pt x="211" y="0"/>
                  <a:pt x="211" y="0"/>
                  <a:pt x="211" y="0"/>
                </a:cubicBezTo>
                <a:cubicBezTo>
                  <a:pt x="212" y="0"/>
                  <a:pt x="212" y="0"/>
                  <a:pt x="212" y="0"/>
                </a:cubicBezTo>
                <a:cubicBezTo>
                  <a:pt x="214" y="1"/>
                  <a:pt x="216" y="0"/>
                  <a:pt x="218" y="0"/>
                </a:cubicBezTo>
                <a:cubicBezTo>
                  <a:pt x="220" y="0"/>
                  <a:pt x="222" y="2"/>
                  <a:pt x="225" y="2"/>
                </a:cubicBezTo>
                <a:cubicBezTo>
                  <a:pt x="227" y="2"/>
                  <a:pt x="229" y="2"/>
                  <a:pt x="232" y="2"/>
                </a:cubicBezTo>
                <a:cubicBezTo>
                  <a:pt x="232" y="1"/>
                  <a:pt x="232" y="1"/>
                  <a:pt x="232" y="1"/>
                </a:cubicBezTo>
                <a:cubicBezTo>
                  <a:pt x="236" y="1"/>
                  <a:pt x="237" y="2"/>
                  <a:pt x="239" y="4"/>
                </a:cubicBezTo>
                <a:cubicBezTo>
                  <a:pt x="239" y="6"/>
                  <a:pt x="241" y="6"/>
                  <a:pt x="243" y="7"/>
                </a:cubicBezTo>
                <a:cubicBezTo>
                  <a:pt x="245" y="7"/>
                  <a:pt x="245" y="9"/>
                  <a:pt x="245" y="11"/>
                </a:cubicBezTo>
                <a:cubicBezTo>
                  <a:pt x="245" y="14"/>
                  <a:pt x="247" y="16"/>
                  <a:pt x="248" y="18"/>
                </a:cubicBezTo>
                <a:cubicBezTo>
                  <a:pt x="250" y="21"/>
                  <a:pt x="248" y="24"/>
                  <a:pt x="248" y="27"/>
                </a:cubicBezTo>
                <a:cubicBezTo>
                  <a:pt x="244" y="28"/>
                  <a:pt x="246" y="31"/>
                  <a:pt x="244" y="31"/>
                </a:cubicBezTo>
                <a:cubicBezTo>
                  <a:pt x="243" y="33"/>
                  <a:pt x="244" y="34"/>
                  <a:pt x="243" y="36"/>
                </a:cubicBezTo>
                <a:cubicBezTo>
                  <a:pt x="241" y="37"/>
                  <a:pt x="241" y="41"/>
                  <a:pt x="239" y="43"/>
                </a:cubicBezTo>
                <a:cubicBezTo>
                  <a:pt x="238" y="45"/>
                  <a:pt x="236" y="47"/>
                  <a:pt x="236" y="49"/>
                </a:cubicBezTo>
                <a:cubicBezTo>
                  <a:pt x="234" y="47"/>
                  <a:pt x="234" y="51"/>
                  <a:pt x="234" y="52"/>
                </a:cubicBezTo>
                <a:cubicBezTo>
                  <a:pt x="233" y="52"/>
                  <a:pt x="233" y="52"/>
                  <a:pt x="233" y="52"/>
                </a:cubicBezTo>
                <a:cubicBezTo>
                  <a:pt x="233" y="54"/>
                  <a:pt x="236" y="56"/>
                  <a:pt x="235" y="57"/>
                </a:cubicBezTo>
                <a:cubicBezTo>
                  <a:pt x="234" y="59"/>
                  <a:pt x="233" y="58"/>
                  <a:pt x="231" y="58"/>
                </a:cubicBezTo>
                <a:cubicBezTo>
                  <a:pt x="230" y="58"/>
                  <a:pt x="229" y="59"/>
                  <a:pt x="228" y="60"/>
                </a:cubicBezTo>
                <a:cubicBezTo>
                  <a:pt x="225" y="61"/>
                  <a:pt x="222" y="60"/>
                  <a:pt x="219" y="60"/>
                </a:cubicBezTo>
                <a:cubicBezTo>
                  <a:pt x="216" y="60"/>
                  <a:pt x="217" y="64"/>
                  <a:pt x="216" y="66"/>
                </a:cubicBezTo>
                <a:cubicBezTo>
                  <a:pt x="215" y="66"/>
                  <a:pt x="213" y="65"/>
                  <a:pt x="212" y="66"/>
                </a:cubicBezTo>
                <a:cubicBezTo>
                  <a:pt x="212" y="67"/>
                  <a:pt x="212" y="69"/>
                  <a:pt x="212" y="70"/>
                </a:cubicBezTo>
                <a:cubicBezTo>
                  <a:pt x="212" y="72"/>
                  <a:pt x="211" y="77"/>
                  <a:pt x="215" y="77"/>
                </a:cubicBezTo>
                <a:cubicBezTo>
                  <a:pt x="215" y="78"/>
                  <a:pt x="216" y="79"/>
                  <a:pt x="216" y="81"/>
                </a:cubicBezTo>
                <a:cubicBezTo>
                  <a:pt x="213" y="80"/>
                  <a:pt x="214" y="84"/>
                  <a:pt x="211" y="83"/>
                </a:cubicBezTo>
                <a:cubicBezTo>
                  <a:pt x="211" y="86"/>
                  <a:pt x="211" y="88"/>
                  <a:pt x="209" y="90"/>
                </a:cubicBezTo>
                <a:cubicBezTo>
                  <a:pt x="208" y="91"/>
                  <a:pt x="205" y="93"/>
                  <a:pt x="203" y="93"/>
                </a:cubicBezTo>
                <a:cubicBezTo>
                  <a:pt x="203" y="96"/>
                  <a:pt x="212" y="108"/>
                  <a:pt x="206" y="110"/>
                </a:cubicBezTo>
                <a:cubicBezTo>
                  <a:pt x="205" y="112"/>
                  <a:pt x="207" y="112"/>
                  <a:pt x="209" y="113"/>
                </a:cubicBezTo>
                <a:cubicBezTo>
                  <a:pt x="214" y="114"/>
                  <a:pt x="211" y="119"/>
                  <a:pt x="211" y="122"/>
                </a:cubicBezTo>
                <a:cubicBezTo>
                  <a:pt x="212" y="122"/>
                  <a:pt x="213" y="123"/>
                  <a:pt x="215" y="123"/>
                </a:cubicBezTo>
                <a:cubicBezTo>
                  <a:pt x="215" y="120"/>
                  <a:pt x="215" y="118"/>
                  <a:pt x="218" y="117"/>
                </a:cubicBezTo>
                <a:cubicBezTo>
                  <a:pt x="218" y="120"/>
                  <a:pt x="221" y="118"/>
                  <a:pt x="223" y="120"/>
                </a:cubicBezTo>
                <a:cubicBezTo>
                  <a:pt x="225" y="121"/>
                  <a:pt x="223" y="126"/>
                  <a:pt x="227" y="126"/>
                </a:cubicBezTo>
                <a:cubicBezTo>
                  <a:pt x="227" y="126"/>
                  <a:pt x="228" y="125"/>
                  <a:pt x="227" y="125"/>
                </a:cubicBezTo>
                <a:cubicBezTo>
                  <a:pt x="229" y="124"/>
                  <a:pt x="232" y="124"/>
                  <a:pt x="232" y="127"/>
                </a:cubicBezTo>
                <a:cubicBezTo>
                  <a:pt x="235" y="126"/>
                  <a:pt x="236" y="124"/>
                  <a:pt x="239" y="123"/>
                </a:cubicBezTo>
                <a:cubicBezTo>
                  <a:pt x="239" y="121"/>
                  <a:pt x="240" y="119"/>
                  <a:pt x="241" y="118"/>
                </a:cubicBezTo>
                <a:cubicBezTo>
                  <a:pt x="240" y="117"/>
                  <a:pt x="239" y="115"/>
                  <a:pt x="237" y="114"/>
                </a:cubicBezTo>
                <a:cubicBezTo>
                  <a:pt x="237" y="113"/>
                  <a:pt x="238" y="112"/>
                  <a:pt x="239" y="112"/>
                </a:cubicBezTo>
                <a:cubicBezTo>
                  <a:pt x="239" y="111"/>
                  <a:pt x="239" y="110"/>
                  <a:pt x="239" y="109"/>
                </a:cubicBezTo>
                <a:cubicBezTo>
                  <a:pt x="239" y="108"/>
                  <a:pt x="237" y="108"/>
                  <a:pt x="237" y="106"/>
                </a:cubicBezTo>
                <a:cubicBezTo>
                  <a:pt x="235" y="106"/>
                  <a:pt x="233" y="108"/>
                  <a:pt x="230" y="107"/>
                </a:cubicBezTo>
                <a:cubicBezTo>
                  <a:pt x="230" y="103"/>
                  <a:pt x="232" y="99"/>
                  <a:pt x="232" y="96"/>
                </a:cubicBezTo>
                <a:cubicBezTo>
                  <a:pt x="231" y="93"/>
                  <a:pt x="228" y="95"/>
                  <a:pt x="227" y="93"/>
                </a:cubicBezTo>
                <a:cubicBezTo>
                  <a:pt x="226" y="91"/>
                  <a:pt x="229" y="82"/>
                  <a:pt x="224" y="82"/>
                </a:cubicBezTo>
                <a:cubicBezTo>
                  <a:pt x="223" y="80"/>
                  <a:pt x="225" y="76"/>
                  <a:pt x="222" y="74"/>
                </a:cubicBezTo>
                <a:cubicBezTo>
                  <a:pt x="221" y="74"/>
                  <a:pt x="217" y="74"/>
                  <a:pt x="218" y="72"/>
                </a:cubicBezTo>
                <a:cubicBezTo>
                  <a:pt x="220" y="72"/>
                  <a:pt x="221" y="70"/>
                  <a:pt x="223" y="68"/>
                </a:cubicBezTo>
                <a:cubicBezTo>
                  <a:pt x="226" y="67"/>
                  <a:pt x="228" y="67"/>
                  <a:pt x="228" y="71"/>
                </a:cubicBezTo>
                <a:cubicBezTo>
                  <a:pt x="231" y="71"/>
                  <a:pt x="232" y="71"/>
                  <a:pt x="232" y="68"/>
                </a:cubicBezTo>
                <a:cubicBezTo>
                  <a:pt x="233" y="68"/>
                  <a:pt x="234" y="68"/>
                  <a:pt x="234" y="68"/>
                </a:cubicBezTo>
                <a:cubicBezTo>
                  <a:pt x="234" y="67"/>
                  <a:pt x="234" y="66"/>
                  <a:pt x="234" y="65"/>
                </a:cubicBezTo>
                <a:cubicBezTo>
                  <a:pt x="237" y="65"/>
                  <a:pt x="238" y="62"/>
                  <a:pt x="240" y="62"/>
                </a:cubicBezTo>
                <a:cubicBezTo>
                  <a:pt x="241" y="63"/>
                  <a:pt x="240" y="64"/>
                  <a:pt x="239" y="65"/>
                </a:cubicBezTo>
                <a:cubicBezTo>
                  <a:pt x="238" y="67"/>
                  <a:pt x="241" y="69"/>
                  <a:pt x="241" y="71"/>
                </a:cubicBezTo>
                <a:cubicBezTo>
                  <a:pt x="238" y="71"/>
                  <a:pt x="235" y="71"/>
                  <a:pt x="235" y="75"/>
                </a:cubicBezTo>
                <a:cubicBezTo>
                  <a:pt x="236" y="75"/>
                  <a:pt x="237" y="76"/>
                  <a:pt x="237" y="76"/>
                </a:cubicBezTo>
                <a:cubicBezTo>
                  <a:pt x="237" y="75"/>
                  <a:pt x="238" y="74"/>
                  <a:pt x="238" y="73"/>
                </a:cubicBezTo>
                <a:cubicBezTo>
                  <a:pt x="238" y="73"/>
                  <a:pt x="239" y="73"/>
                  <a:pt x="240" y="73"/>
                </a:cubicBezTo>
                <a:cubicBezTo>
                  <a:pt x="240" y="75"/>
                  <a:pt x="240" y="77"/>
                  <a:pt x="238" y="78"/>
                </a:cubicBezTo>
                <a:cubicBezTo>
                  <a:pt x="238" y="78"/>
                  <a:pt x="238" y="79"/>
                  <a:pt x="238" y="80"/>
                </a:cubicBezTo>
                <a:cubicBezTo>
                  <a:pt x="239" y="80"/>
                  <a:pt x="240" y="79"/>
                  <a:pt x="240" y="78"/>
                </a:cubicBezTo>
                <a:cubicBezTo>
                  <a:pt x="241" y="78"/>
                  <a:pt x="243" y="77"/>
                  <a:pt x="244" y="77"/>
                </a:cubicBezTo>
                <a:cubicBezTo>
                  <a:pt x="245" y="78"/>
                  <a:pt x="243" y="80"/>
                  <a:pt x="246" y="81"/>
                </a:cubicBezTo>
                <a:cubicBezTo>
                  <a:pt x="245" y="81"/>
                  <a:pt x="246" y="82"/>
                  <a:pt x="246" y="82"/>
                </a:cubicBezTo>
                <a:cubicBezTo>
                  <a:pt x="247" y="82"/>
                  <a:pt x="248" y="81"/>
                  <a:pt x="250" y="81"/>
                </a:cubicBezTo>
                <a:cubicBezTo>
                  <a:pt x="252" y="82"/>
                  <a:pt x="253" y="83"/>
                  <a:pt x="256" y="82"/>
                </a:cubicBezTo>
                <a:cubicBezTo>
                  <a:pt x="256" y="82"/>
                  <a:pt x="256" y="81"/>
                  <a:pt x="256" y="80"/>
                </a:cubicBezTo>
                <a:cubicBezTo>
                  <a:pt x="258" y="80"/>
                  <a:pt x="255" y="74"/>
                  <a:pt x="255" y="73"/>
                </a:cubicBezTo>
                <a:cubicBezTo>
                  <a:pt x="257" y="73"/>
                  <a:pt x="258" y="75"/>
                  <a:pt x="260" y="74"/>
                </a:cubicBezTo>
                <a:cubicBezTo>
                  <a:pt x="259" y="78"/>
                  <a:pt x="262" y="77"/>
                  <a:pt x="264" y="77"/>
                </a:cubicBezTo>
                <a:cubicBezTo>
                  <a:pt x="265" y="79"/>
                  <a:pt x="254" y="87"/>
                  <a:pt x="261" y="88"/>
                </a:cubicBezTo>
                <a:cubicBezTo>
                  <a:pt x="262" y="86"/>
                  <a:pt x="260" y="85"/>
                  <a:pt x="262" y="84"/>
                </a:cubicBezTo>
                <a:cubicBezTo>
                  <a:pt x="263" y="83"/>
                  <a:pt x="265" y="84"/>
                  <a:pt x="267" y="84"/>
                </a:cubicBezTo>
                <a:cubicBezTo>
                  <a:pt x="267" y="80"/>
                  <a:pt x="270" y="81"/>
                  <a:pt x="270" y="84"/>
                </a:cubicBezTo>
                <a:cubicBezTo>
                  <a:pt x="274" y="84"/>
                  <a:pt x="278" y="84"/>
                  <a:pt x="282" y="84"/>
                </a:cubicBezTo>
                <a:cubicBezTo>
                  <a:pt x="282" y="83"/>
                  <a:pt x="281" y="76"/>
                  <a:pt x="284" y="78"/>
                </a:cubicBezTo>
                <a:cubicBezTo>
                  <a:pt x="286" y="79"/>
                  <a:pt x="292" y="76"/>
                  <a:pt x="290" y="73"/>
                </a:cubicBezTo>
                <a:cubicBezTo>
                  <a:pt x="292" y="73"/>
                  <a:pt x="294" y="73"/>
                  <a:pt x="295" y="74"/>
                </a:cubicBezTo>
                <a:cubicBezTo>
                  <a:pt x="295" y="72"/>
                  <a:pt x="300" y="71"/>
                  <a:pt x="301" y="71"/>
                </a:cubicBezTo>
                <a:cubicBezTo>
                  <a:pt x="301" y="73"/>
                  <a:pt x="301" y="75"/>
                  <a:pt x="303" y="76"/>
                </a:cubicBezTo>
                <a:cubicBezTo>
                  <a:pt x="304" y="77"/>
                  <a:pt x="306" y="79"/>
                  <a:pt x="308" y="80"/>
                </a:cubicBezTo>
                <a:cubicBezTo>
                  <a:pt x="308" y="84"/>
                  <a:pt x="303" y="83"/>
                  <a:pt x="304" y="86"/>
                </a:cubicBezTo>
                <a:cubicBezTo>
                  <a:pt x="305" y="87"/>
                  <a:pt x="305" y="87"/>
                  <a:pt x="305" y="87"/>
                </a:cubicBezTo>
                <a:cubicBezTo>
                  <a:pt x="304" y="88"/>
                  <a:pt x="304" y="88"/>
                  <a:pt x="304" y="88"/>
                </a:cubicBezTo>
                <a:cubicBezTo>
                  <a:pt x="303" y="88"/>
                  <a:pt x="303" y="88"/>
                  <a:pt x="303" y="89"/>
                </a:cubicBezTo>
                <a:cubicBezTo>
                  <a:pt x="302" y="89"/>
                  <a:pt x="301" y="90"/>
                  <a:pt x="301" y="91"/>
                </a:cubicBezTo>
                <a:cubicBezTo>
                  <a:pt x="302" y="91"/>
                  <a:pt x="303" y="91"/>
                  <a:pt x="304" y="90"/>
                </a:cubicBezTo>
                <a:cubicBezTo>
                  <a:pt x="304" y="89"/>
                  <a:pt x="306" y="87"/>
                  <a:pt x="308" y="88"/>
                </a:cubicBezTo>
                <a:cubicBezTo>
                  <a:pt x="309" y="89"/>
                  <a:pt x="309" y="91"/>
                  <a:pt x="309" y="92"/>
                </a:cubicBezTo>
                <a:cubicBezTo>
                  <a:pt x="312" y="93"/>
                  <a:pt x="311" y="88"/>
                  <a:pt x="311" y="87"/>
                </a:cubicBezTo>
                <a:cubicBezTo>
                  <a:pt x="312" y="86"/>
                  <a:pt x="313" y="86"/>
                  <a:pt x="314" y="87"/>
                </a:cubicBezTo>
                <a:cubicBezTo>
                  <a:pt x="314" y="86"/>
                  <a:pt x="315" y="86"/>
                  <a:pt x="315" y="85"/>
                </a:cubicBezTo>
                <a:cubicBezTo>
                  <a:pt x="317" y="85"/>
                  <a:pt x="316" y="86"/>
                  <a:pt x="317" y="87"/>
                </a:cubicBezTo>
                <a:cubicBezTo>
                  <a:pt x="318" y="89"/>
                  <a:pt x="321" y="88"/>
                  <a:pt x="322" y="88"/>
                </a:cubicBezTo>
                <a:cubicBezTo>
                  <a:pt x="322" y="87"/>
                  <a:pt x="322" y="87"/>
                  <a:pt x="322" y="87"/>
                </a:cubicBezTo>
                <a:cubicBezTo>
                  <a:pt x="321" y="87"/>
                  <a:pt x="321" y="86"/>
                  <a:pt x="321" y="85"/>
                </a:cubicBezTo>
                <a:cubicBezTo>
                  <a:pt x="322" y="85"/>
                  <a:pt x="324" y="85"/>
                  <a:pt x="325" y="85"/>
                </a:cubicBezTo>
                <a:cubicBezTo>
                  <a:pt x="325" y="86"/>
                  <a:pt x="325" y="87"/>
                  <a:pt x="325" y="87"/>
                </a:cubicBezTo>
                <a:cubicBezTo>
                  <a:pt x="326" y="86"/>
                  <a:pt x="326" y="85"/>
                  <a:pt x="326" y="85"/>
                </a:cubicBezTo>
                <a:cubicBezTo>
                  <a:pt x="327" y="85"/>
                  <a:pt x="328" y="85"/>
                  <a:pt x="329" y="85"/>
                </a:cubicBezTo>
                <a:cubicBezTo>
                  <a:pt x="329" y="85"/>
                  <a:pt x="329" y="86"/>
                  <a:pt x="328" y="86"/>
                </a:cubicBezTo>
                <a:cubicBezTo>
                  <a:pt x="327" y="87"/>
                  <a:pt x="327" y="88"/>
                  <a:pt x="327" y="90"/>
                </a:cubicBezTo>
                <a:cubicBezTo>
                  <a:pt x="327" y="92"/>
                  <a:pt x="326" y="94"/>
                  <a:pt x="325" y="96"/>
                </a:cubicBezTo>
                <a:cubicBezTo>
                  <a:pt x="328" y="97"/>
                  <a:pt x="329" y="94"/>
                  <a:pt x="331" y="94"/>
                </a:cubicBezTo>
                <a:cubicBezTo>
                  <a:pt x="331" y="96"/>
                  <a:pt x="341" y="95"/>
                  <a:pt x="343" y="95"/>
                </a:cubicBezTo>
                <a:cubicBezTo>
                  <a:pt x="341" y="91"/>
                  <a:pt x="347" y="89"/>
                  <a:pt x="345" y="86"/>
                </a:cubicBezTo>
                <a:cubicBezTo>
                  <a:pt x="345" y="85"/>
                  <a:pt x="346" y="85"/>
                  <a:pt x="347" y="85"/>
                </a:cubicBezTo>
                <a:cubicBezTo>
                  <a:pt x="347" y="86"/>
                  <a:pt x="347" y="87"/>
                  <a:pt x="348" y="87"/>
                </a:cubicBezTo>
                <a:cubicBezTo>
                  <a:pt x="348" y="86"/>
                  <a:pt x="350" y="84"/>
                  <a:pt x="352" y="85"/>
                </a:cubicBezTo>
                <a:cubicBezTo>
                  <a:pt x="352" y="85"/>
                  <a:pt x="352" y="86"/>
                  <a:pt x="352" y="86"/>
                </a:cubicBezTo>
                <a:cubicBezTo>
                  <a:pt x="353" y="87"/>
                  <a:pt x="354" y="88"/>
                  <a:pt x="356" y="88"/>
                </a:cubicBezTo>
                <a:cubicBezTo>
                  <a:pt x="355" y="86"/>
                  <a:pt x="357" y="85"/>
                  <a:pt x="357" y="83"/>
                </a:cubicBezTo>
                <a:cubicBezTo>
                  <a:pt x="358" y="83"/>
                  <a:pt x="360" y="82"/>
                  <a:pt x="362" y="83"/>
                </a:cubicBezTo>
                <a:cubicBezTo>
                  <a:pt x="364" y="85"/>
                  <a:pt x="361" y="88"/>
                  <a:pt x="362" y="90"/>
                </a:cubicBezTo>
                <a:cubicBezTo>
                  <a:pt x="363" y="90"/>
                  <a:pt x="367" y="89"/>
                  <a:pt x="367" y="91"/>
                </a:cubicBezTo>
                <a:cubicBezTo>
                  <a:pt x="368" y="95"/>
                  <a:pt x="373" y="93"/>
                  <a:pt x="376" y="94"/>
                </a:cubicBezTo>
                <a:cubicBezTo>
                  <a:pt x="376" y="96"/>
                  <a:pt x="375" y="99"/>
                  <a:pt x="376" y="101"/>
                </a:cubicBezTo>
                <a:cubicBezTo>
                  <a:pt x="378" y="103"/>
                  <a:pt x="382" y="101"/>
                  <a:pt x="385" y="102"/>
                </a:cubicBezTo>
                <a:cubicBezTo>
                  <a:pt x="385" y="102"/>
                  <a:pt x="385" y="103"/>
                  <a:pt x="385" y="104"/>
                </a:cubicBezTo>
                <a:cubicBezTo>
                  <a:pt x="386" y="104"/>
                  <a:pt x="388" y="104"/>
                  <a:pt x="390" y="104"/>
                </a:cubicBezTo>
                <a:cubicBezTo>
                  <a:pt x="390" y="106"/>
                  <a:pt x="390" y="108"/>
                  <a:pt x="390" y="109"/>
                </a:cubicBezTo>
                <a:cubicBezTo>
                  <a:pt x="391" y="109"/>
                  <a:pt x="392" y="109"/>
                  <a:pt x="393" y="109"/>
                </a:cubicBezTo>
                <a:cubicBezTo>
                  <a:pt x="393" y="110"/>
                  <a:pt x="393" y="111"/>
                  <a:pt x="393" y="112"/>
                </a:cubicBezTo>
                <a:cubicBezTo>
                  <a:pt x="395" y="112"/>
                  <a:pt x="395" y="114"/>
                  <a:pt x="397" y="114"/>
                </a:cubicBezTo>
                <a:cubicBezTo>
                  <a:pt x="397" y="112"/>
                  <a:pt x="396" y="111"/>
                  <a:pt x="397" y="110"/>
                </a:cubicBezTo>
                <a:cubicBezTo>
                  <a:pt x="400" y="110"/>
                  <a:pt x="407" y="111"/>
                  <a:pt x="409" y="109"/>
                </a:cubicBezTo>
                <a:cubicBezTo>
                  <a:pt x="410" y="108"/>
                  <a:pt x="412" y="109"/>
                  <a:pt x="413" y="110"/>
                </a:cubicBezTo>
                <a:cubicBezTo>
                  <a:pt x="413" y="110"/>
                  <a:pt x="413" y="111"/>
                  <a:pt x="413" y="112"/>
                </a:cubicBezTo>
                <a:cubicBezTo>
                  <a:pt x="414" y="113"/>
                  <a:pt x="415" y="112"/>
                  <a:pt x="416" y="113"/>
                </a:cubicBezTo>
                <a:cubicBezTo>
                  <a:pt x="419" y="116"/>
                  <a:pt x="414" y="118"/>
                  <a:pt x="412" y="116"/>
                </a:cubicBezTo>
                <a:cubicBezTo>
                  <a:pt x="411" y="118"/>
                  <a:pt x="411" y="119"/>
                  <a:pt x="411" y="120"/>
                </a:cubicBezTo>
                <a:cubicBezTo>
                  <a:pt x="412" y="120"/>
                  <a:pt x="412" y="120"/>
                  <a:pt x="413" y="120"/>
                </a:cubicBezTo>
                <a:cubicBezTo>
                  <a:pt x="413" y="122"/>
                  <a:pt x="413" y="123"/>
                  <a:pt x="413" y="124"/>
                </a:cubicBezTo>
                <a:cubicBezTo>
                  <a:pt x="416" y="124"/>
                  <a:pt x="416" y="127"/>
                  <a:pt x="415" y="129"/>
                </a:cubicBezTo>
                <a:cubicBezTo>
                  <a:pt x="414" y="132"/>
                  <a:pt x="412" y="133"/>
                  <a:pt x="412" y="136"/>
                </a:cubicBezTo>
                <a:cubicBezTo>
                  <a:pt x="411" y="136"/>
                  <a:pt x="411" y="136"/>
                  <a:pt x="410" y="136"/>
                </a:cubicBezTo>
                <a:cubicBezTo>
                  <a:pt x="410" y="136"/>
                  <a:pt x="410" y="137"/>
                  <a:pt x="410" y="138"/>
                </a:cubicBezTo>
                <a:cubicBezTo>
                  <a:pt x="411" y="138"/>
                  <a:pt x="413" y="139"/>
                  <a:pt x="413" y="140"/>
                </a:cubicBezTo>
                <a:cubicBezTo>
                  <a:pt x="414" y="142"/>
                  <a:pt x="413" y="144"/>
                  <a:pt x="415" y="143"/>
                </a:cubicBezTo>
                <a:lnTo>
                  <a:pt x="415" y="144"/>
                </a:lnTo>
                <a:close/>
              </a:path>
            </a:pathLst>
          </a:custGeom>
          <a:solidFill>
            <a:schemeClr val="accent5"/>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6" name="Rectangle 336">
            <a:extLst>
              <a:ext uri="{FF2B5EF4-FFF2-40B4-BE49-F238E27FC236}">
                <a16:creationId xmlns:a16="http://schemas.microsoft.com/office/drawing/2014/main" id="{F0756858-1C44-43D2-A8B4-F5EAB924D101}"/>
              </a:ext>
            </a:extLst>
          </p:cNvPr>
          <p:cNvSpPr>
            <a:spLocks noChangeArrowheads="1"/>
          </p:cNvSpPr>
          <p:nvPr/>
        </p:nvSpPr>
        <p:spPr bwMode="auto">
          <a:xfrm>
            <a:off x="1660639" y="2923089"/>
            <a:ext cx="1110" cy="1116"/>
          </a:xfrm>
          <a:prstGeom prst="rect">
            <a:avLst/>
          </a:prstGeom>
          <a:solidFill>
            <a:schemeClr val="bg1">
              <a:lumMod val="85000"/>
            </a:schemeClr>
          </a:solidFill>
          <a:ln w="3175">
            <a:noFill/>
            <a:miter lim="800000"/>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7" name="Freeform 337">
            <a:extLst>
              <a:ext uri="{FF2B5EF4-FFF2-40B4-BE49-F238E27FC236}">
                <a16:creationId xmlns:a16="http://schemas.microsoft.com/office/drawing/2014/main" id="{F8F10A04-30B3-413F-AA45-E5E25B4FBBDF}"/>
              </a:ext>
            </a:extLst>
          </p:cNvPr>
          <p:cNvSpPr>
            <a:spLocks/>
          </p:cNvSpPr>
          <p:nvPr/>
        </p:nvSpPr>
        <p:spPr bwMode="auto">
          <a:xfrm>
            <a:off x="1555186" y="2838261"/>
            <a:ext cx="2219"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8" name="Freeform 338">
            <a:extLst>
              <a:ext uri="{FF2B5EF4-FFF2-40B4-BE49-F238E27FC236}">
                <a16:creationId xmlns:a16="http://schemas.microsoft.com/office/drawing/2014/main" id="{3ED91288-C5EF-49BC-A801-BFCE2D26E9B8}"/>
              </a:ext>
            </a:extLst>
          </p:cNvPr>
          <p:cNvSpPr>
            <a:spLocks/>
          </p:cNvSpPr>
          <p:nvPr/>
        </p:nvSpPr>
        <p:spPr bwMode="auto">
          <a:xfrm>
            <a:off x="1551856" y="283602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9" name="Freeform 339">
            <a:extLst>
              <a:ext uri="{FF2B5EF4-FFF2-40B4-BE49-F238E27FC236}">
                <a16:creationId xmlns:a16="http://schemas.microsoft.com/office/drawing/2014/main" id="{220AA03D-448F-417A-B2DF-70D5C1B26CA0}"/>
              </a:ext>
            </a:extLst>
          </p:cNvPr>
          <p:cNvSpPr>
            <a:spLocks/>
          </p:cNvSpPr>
          <p:nvPr/>
        </p:nvSpPr>
        <p:spPr bwMode="auto">
          <a:xfrm>
            <a:off x="1539646" y="2803660"/>
            <a:ext cx="2219"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0" name="Freeform 340">
            <a:extLst>
              <a:ext uri="{FF2B5EF4-FFF2-40B4-BE49-F238E27FC236}">
                <a16:creationId xmlns:a16="http://schemas.microsoft.com/office/drawing/2014/main" id="{093924AC-20E3-42D7-A88D-E8E72ECD2F78}"/>
              </a:ext>
            </a:extLst>
          </p:cNvPr>
          <p:cNvSpPr>
            <a:spLocks/>
          </p:cNvSpPr>
          <p:nvPr/>
        </p:nvSpPr>
        <p:spPr bwMode="auto">
          <a:xfrm>
            <a:off x="3370084" y="3474471"/>
            <a:ext cx="195365" cy="216535"/>
          </a:xfrm>
          <a:custGeom>
            <a:avLst/>
            <a:gdLst>
              <a:gd name="T0" fmla="*/ 72 w 79"/>
              <a:gd name="T1" fmla="*/ 17 h 87"/>
              <a:gd name="T2" fmla="*/ 74 w 79"/>
              <a:gd name="T3" fmla="*/ 11 h 87"/>
              <a:gd name="T4" fmla="*/ 69 w 79"/>
              <a:gd name="T5" fmla="*/ 1 h 87"/>
              <a:gd name="T6" fmla="*/ 64 w 79"/>
              <a:gd name="T7" fmla="*/ 4 h 87"/>
              <a:gd name="T8" fmla="*/ 63 w 79"/>
              <a:gd name="T9" fmla="*/ 8 h 87"/>
              <a:gd name="T10" fmla="*/ 54 w 79"/>
              <a:gd name="T11" fmla="*/ 9 h 87"/>
              <a:gd name="T12" fmla="*/ 50 w 79"/>
              <a:gd name="T13" fmla="*/ 9 h 87"/>
              <a:gd name="T14" fmla="*/ 46 w 79"/>
              <a:gd name="T15" fmla="*/ 9 h 87"/>
              <a:gd name="T16" fmla="*/ 37 w 79"/>
              <a:gd name="T17" fmla="*/ 10 h 87"/>
              <a:gd name="T18" fmla="*/ 34 w 79"/>
              <a:gd name="T19" fmla="*/ 16 h 87"/>
              <a:gd name="T20" fmla="*/ 28 w 79"/>
              <a:gd name="T21" fmla="*/ 24 h 87"/>
              <a:gd name="T22" fmla="*/ 20 w 79"/>
              <a:gd name="T23" fmla="*/ 21 h 87"/>
              <a:gd name="T24" fmla="*/ 17 w 79"/>
              <a:gd name="T25" fmla="*/ 23 h 87"/>
              <a:gd name="T26" fmla="*/ 14 w 79"/>
              <a:gd name="T27" fmla="*/ 30 h 87"/>
              <a:gd name="T28" fmla="*/ 10 w 79"/>
              <a:gd name="T29" fmla="*/ 34 h 87"/>
              <a:gd name="T30" fmla="*/ 9 w 79"/>
              <a:gd name="T31" fmla="*/ 45 h 87"/>
              <a:gd name="T32" fmla="*/ 4 w 79"/>
              <a:gd name="T33" fmla="*/ 55 h 87"/>
              <a:gd name="T34" fmla="*/ 2 w 79"/>
              <a:gd name="T35" fmla="*/ 62 h 87"/>
              <a:gd name="T36" fmla="*/ 2 w 79"/>
              <a:gd name="T37" fmla="*/ 69 h 87"/>
              <a:gd name="T38" fmla="*/ 0 w 79"/>
              <a:gd name="T39" fmla="*/ 75 h 87"/>
              <a:gd name="T40" fmla="*/ 9 w 79"/>
              <a:gd name="T41" fmla="*/ 77 h 87"/>
              <a:gd name="T42" fmla="*/ 18 w 79"/>
              <a:gd name="T43" fmla="*/ 77 h 87"/>
              <a:gd name="T44" fmla="*/ 22 w 79"/>
              <a:gd name="T45" fmla="*/ 79 h 87"/>
              <a:gd name="T46" fmla="*/ 28 w 79"/>
              <a:gd name="T47" fmla="*/ 78 h 87"/>
              <a:gd name="T48" fmla="*/ 39 w 79"/>
              <a:gd name="T49" fmla="*/ 83 h 87"/>
              <a:gd name="T50" fmla="*/ 52 w 79"/>
              <a:gd name="T51" fmla="*/ 86 h 87"/>
              <a:gd name="T52" fmla="*/ 60 w 79"/>
              <a:gd name="T53" fmla="*/ 68 h 87"/>
              <a:gd name="T54" fmla="*/ 63 w 79"/>
              <a:gd name="T55" fmla="*/ 61 h 87"/>
              <a:gd name="T56" fmla="*/ 64 w 79"/>
              <a:gd name="T57" fmla="*/ 58 h 87"/>
              <a:gd name="T58" fmla="*/ 67 w 79"/>
              <a:gd name="T59" fmla="*/ 52 h 87"/>
              <a:gd name="T60" fmla="*/ 70 w 79"/>
              <a:gd name="T61" fmla="*/ 46 h 87"/>
              <a:gd name="T62" fmla="*/ 73 w 79"/>
              <a:gd name="T63" fmla="*/ 41 h 87"/>
              <a:gd name="T64" fmla="*/ 78 w 79"/>
              <a:gd name="T65" fmla="*/ 32 h 87"/>
              <a:gd name="T66" fmla="*/ 79 w 79"/>
              <a:gd name="T67" fmla="*/ 26 h 87"/>
              <a:gd name="T68" fmla="*/ 72 w 79"/>
              <a:gd name="T69" fmla="*/ 2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7">
                <a:moveTo>
                  <a:pt x="72" y="23"/>
                </a:moveTo>
                <a:cubicBezTo>
                  <a:pt x="72" y="21"/>
                  <a:pt x="72" y="19"/>
                  <a:pt x="72" y="17"/>
                </a:cubicBezTo>
                <a:cubicBezTo>
                  <a:pt x="73" y="16"/>
                  <a:pt x="74" y="16"/>
                  <a:pt x="74" y="15"/>
                </a:cubicBezTo>
                <a:cubicBezTo>
                  <a:pt x="74" y="15"/>
                  <a:pt x="74" y="12"/>
                  <a:pt x="74" y="11"/>
                </a:cubicBezTo>
                <a:cubicBezTo>
                  <a:pt x="73" y="10"/>
                  <a:pt x="71" y="9"/>
                  <a:pt x="69" y="9"/>
                </a:cubicBezTo>
                <a:cubicBezTo>
                  <a:pt x="69" y="7"/>
                  <a:pt x="69" y="4"/>
                  <a:pt x="69" y="1"/>
                </a:cubicBezTo>
                <a:cubicBezTo>
                  <a:pt x="68" y="1"/>
                  <a:pt x="68" y="1"/>
                  <a:pt x="68" y="0"/>
                </a:cubicBezTo>
                <a:cubicBezTo>
                  <a:pt x="67" y="0"/>
                  <a:pt x="65" y="4"/>
                  <a:pt x="64" y="4"/>
                </a:cubicBezTo>
                <a:cubicBezTo>
                  <a:pt x="64" y="5"/>
                  <a:pt x="64" y="5"/>
                  <a:pt x="63" y="6"/>
                </a:cubicBezTo>
                <a:cubicBezTo>
                  <a:pt x="63" y="6"/>
                  <a:pt x="63" y="7"/>
                  <a:pt x="63" y="8"/>
                </a:cubicBezTo>
                <a:cubicBezTo>
                  <a:pt x="62" y="9"/>
                  <a:pt x="60" y="8"/>
                  <a:pt x="59" y="8"/>
                </a:cubicBezTo>
                <a:cubicBezTo>
                  <a:pt x="57" y="8"/>
                  <a:pt x="56" y="9"/>
                  <a:pt x="54" y="9"/>
                </a:cubicBezTo>
                <a:cubicBezTo>
                  <a:pt x="53" y="10"/>
                  <a:pt x="53" y="10"/>
                  <a:pt x="52" y="10"/>
                </a:cubicBezTo>
                <a:cubicBezTo>
                  <a:pt x="51" y="10"/>
                  <a:pt x="52" y="9"/>
                  <a:pt x="50" y="9"/>
                </a:cubicBezTo>
                <a:cubicBezTo>
                  <a:pt x="50" y="9"/>
                  <a:pt x="49" y="10"/>
                  <a:pt x="49" y="10"/>
                </a:cubicBezTo>
                <a:cubicBezTo>
                  <a:pt x="48" y="10"/>
                  <a:pt x="47" y="10"/>
                  <a:pt x="46" y="9"/>
                </a:cubicBezTo>
                <a:cubicBezTo>
                  <a:pt x="45" y="9"/>
                  <a:pt x="43" y="9"/>
                  <a:pt x="42" y="9"/>
                </a:cubicBezTo>
                <a:cubicBezTo>
                  <a:pt x="40" y="9"/>
                  <a:pt x="39" y="9"/>
                  <a:pt x="37" y="10"/>
                </a:cubicBezTo>
                <a:cubicBezTo>
                  <a:pt x="35" y="10"/>
                  <a:pt x="33" y="10"/>
                  <a:pt x="32" y="12"/>
                </a:cubicBezTo>
                <a:cubicBezTo>
                  <a:pt x="34" y="12"/>
                  <a:pt x="35" y="14"/>
                  <a:pt x="34" y="16"/>
                </a:cubicBezTo>
                <a:cubicBezTo>
                  <a:pt x="33" y="17"/>
                  <a:pt x="32" y="17"/>
                  <a:pt x="31" y="18"/>
                </a:cubicBezTo>
                <a:cubicBezTo>
                  <a:pt x="29" y="20"/>
                  <a:pt x="29" y="22"/>
                  <a:pt x="28" y="24"/>
                </a:cubicBezTo>
                <a:cubicBezTo>
                  <a:pt x="26" y="24"/>
                  <a:pt x="25" y="23"/>
                  <a:pt x="23" y="22"/>
                </a:cubicBezTo>
                <a:cubicBezTo>
                  <a:pt x="22" y="21"/>
                  <a:pt x="21" y="21"/>
                  <a:pt x="20" y="21"/>
                </a:cubicBezTo>
                <a:cubicBezTo>
                  <a:pt x="20" y="22"/>
                  <a:pt x="20" y="22"/>
                  <a:pt x="20" y="22"/>
                </a:cubicBezTo>
                <a:cubicBezTo>
                  <a:pt x="18" y="22"/>
                  <a:pt x="18" y="22"/>
                  <a:pt x="17" y="23"/>
                </a:cubicBezTo>
                <a:cubicBezTo>
                  <a:pt x="16" y="24"/>
                  <a:pt x="15" y="25"/>
                  <a:pt x="14" y="26"/>
                </a:cubicBezTo>
                <a:cubicBezTo>
                  <a:pt x="14" y="27"/>
                  <a:pt x="14" y="29"/>
                  <a:pt x="14" y="30"/>
                </a:cubicBezTo>
                <a:cubicBezTo>
                  <a:pt x="14" y="31"/>
                  <a:pt x="13" y="32"/>
                  <a:pt x="12" y="33"/>
                </a:cubicBezTo>
                <a:cubicBezTo>
                  <a:pt x="12" y="33"/>
                  <a:pt x="11" y="33"/>
                  <a:pt x="10" y="34"/>
                </a:cubicBezTo>
                <a:cubicBezTo>
                  <a:pt x="11" y="36"/>
                  <a:pt x="11" y="37"/>
                  <a:pt x="10" y="39"/>
                </a:cubicBezTo>
                <a:cubicBezTo>
                  <a:pt x="10" y="41"/>
                  <a:pt x="10" y="43"/>
                  <a:pt x="9" y="45"/>
                </a:cubicBezTo>
                <a:cubicBezTo>
                  <a:pt x="8" y="45"/>
                  <a:pt x="6" y="44"/>
                  <a:pt x="4" y="44"/>
                </a:cubicBezTo>
                <a:cubicBezTo>
                  <a:pt x="4" y="48"/>
                  <a:pt x="4" y="51"/>
                  <a:pt x="4" y="55"/>
                </a:cubicBezTo>
                <a:cubicBezTo>
                  <a:pt x="4" y="57"/>
                  <a:pt x="3" y="58"/>
                  <a:pt x="2" y="60"/>
                </a:cubicBezTo>
                <a:cubicBezTo>
                  <a:pt x="2" y="61"/>
                  <a:pt x="2" y="61"/>
                  <a:pt x="2" y="62"/>
                </a:cubicBezTo>
                <a:cubicBezTo>
                  <a:pt x="2" y="63"/>
                  <a:pt x="2" y="63"/>
                  <a:pt x="2" y="63"/>
                </a:cubicBezTo>
                <a:cubicBezTo>
                  <a:pt x="3" y="65"/>
                  <a:pt x="2" y="67"/>
                  <a:pt x="2" y="69"/>
                </a:cubicBezTo>
                <a:cubicBezTo>
                  <a:pt x="2" y="70"/>
                  <a:pt x="3" y="72"/>
                  <a:pt x="2" y="72"/>
                </a:cubicBezTo>
                <a:cubicBezTo>
                  <a:pt x="1" y="74"/>
                  <a:pt x="0" y="74"/>
                  <a:pt x="0" y="75"/>
                </a:cubicBezTo>
                <a:cubicBezTo>
                  <a:pt x="3" y="76"/>
                  <a:pt x="4" y="76"/>
                  <a:pt x="7" y="76"/>
                </a:cubicBezTo>
                <a:cubicBezTo>
                  <a:pt x="8" y="77"/>
                  <a:pt x="8" y="77"/>
                  <a:pt x="9" y="77"/>
                </a:cubicBezTo>
                <a:cubicBezTo>
                  <a:pt x="10" y="78"/>
                  <a:pt x="12" y="78"/>
                  <a:pt x="13" y="78"/>
                </a:cubicBezTo>
                <a:cubicBezTo>
                  <a:pt x="14" y="78"/>
                  <a:pt x="16" y="77"/>
                  <a:pt x="18" y="77"/>
                </a:cubicBezTo>
                <a:cubicBezTo>
                  <a:pt x="18" y="77"/>
                  <a:pt x="18" y="76"/>
                  <a:pt x="19" y="76"/>
                </a:cubicBezTo>
                <a:cubicBezTo>
                  <a:pt x="20" y="76"/>
                  <a:pt x="22" y="78"/>
                  <a:pt x="22" y="79"/>
                </a:cubicBezTo>
                <a:cubicBezTo>
                  <a:pt x="23" y="80"/>
                  <a:pt x="25" y="82"/>
                  <a:pt x="26" y="82"/>
                </a:cubicBezTo>
                <a:cubicBezTo>
                  <a:pt x="29" y="82"/>
                  <a:pt x="28" y="80"/>
                  <a:pt x="28" y="78"/>
                </a:cubicBezTo>
                <a:cubicBezTo>
                  <a:pt x="30" y="78"/>
                  <a:pt x="34" y="77"/>
                  <a:pt x="35" y="78"/>
                </a:cubicBezTo>
                <a:cubicBezTo>
                  <a:pt x="37" y="79"/>
                  <a:pt x="37" y="83"/>
                  <a:pt x="39" y="83"/>
                </a:cubicBezTo>
                <a:cubicBezTo>
                  <a:pt x="39" y="80"/>
                  <a:pt x="44" y="80"/>
                  <a:pt x="46" y="81"/>
                </a:cubicBezTo>
                <a:cubicBezTo>
                  <a:pt x="49" y="82"/>
                  <a:pt x="51" y="84"/>
                  <a:pt x="52" y="86"/>
                </a:cubicBezTo>
                <a:cubicBezTo>
                  <a:pt x="56" y="87"/>
                  <a:pt x="58" y="74"/>
                  <a:pt x="59" y="72"/>
                </a:cubicBezTo>
                <a:cubicBezTo>
                  <a:pt x="59" y="71"/>
                  <a:pt x="59" y="69"/>
                  <a:pt x="60" y="68"/>
                </a:cubicBezTo>
                <a:cubicBezTo>
                  <a:pt x="60" y="67"/>
                  <a:pt x="61" y="66"/>
                  <a:pt x="62" y="65"/>
                </a:cubicBezTo>
                <a:cubicBezTo>
                  <a:pt x="62" y="64"/>
                  <a:pt x="62" y="63"/>
                  <a:pt x="63" y="61"/>
                </a:cubicBezTo>
                <a:cubicBezTo>
                  <a:pt x="63" y="61"/>
                  <a:pt x="64" y="61"/>
                  <a:pt x="64" y="60"/>
                </a:cubicBezTo>
                <a:cubicBezTo>
                  <a:pt x="64" y="59"/>
                  <a:pt x="64" y="59"/>
                  <a:pt x="64" y="58"/>
                </a:cubicBezTo>
                <a:cubicBezTo>
                  <a:pt x="64" y="56"/>
                  <a:pt x="65" y="56"/>
                  <a:pt x="65" y="55"/>
                </a:cubicBezTo>
                <a:cubicBezTo>
                  <a:pt x="66" y="53"/>
                  <a:pt x="65" y="53"/>
                  <a:pt x="67" y="52"/>
                </a:cubicBezTo>
                <a:cubicBezTo>
                  <a:pt x="68" y="52"/>
                  <a:pt x="70" y="52"/>
                  <a:pt x="70" y="50"/>
                </a:cubicBezTo>
                <a:cubicBezTo>
                  <a:pt x="71" y="49"/>
                  <a:pt x="70" y="47"/>
                  <a:pt x="70" y="46"/>
                </a:cubicBezTo>
                <a:cubicBezTo>
                  <a:pt x="72" y="46"/>
                  <a:pt x="73" y="45"/>
                  <a:pt x="73" y="44"/>
                </a:cubicBezTo>
                <a:cubicBezTo>
                  <a:pt x="73" y="43"/>
                  <a:pt x="73" y="42"/>
                  <a:pt x="73" y="41"/>
                </a:cubicBezTo>
                <a:cubicBezTo>
                  <a:pt x="74" y="39"/>
                  <a:pt x="76" y="39"/>
                  <a:pt x="77" y="37"/>
                </a:cubicBezTo>
                <a:cubicBezTo>
                  <a:pt x="78" y="36"/>
                  <a:pt x="77" y="34"/>
                  <a:pt x="78" y="32"/>
                </a:cubicBezTo>
                <a:cubicBezTo>
                  <a:pt x="79" y="31"/>
                  <a:pt x="79" y="30"/>
                  <a:pt x="79" y="30"/>
                </a:cubicBezTo>
                <a:cubicBezTo>
                  <a:pt x="79" y="29"/>
                  <a:pt x="79" y="28"/>
                  <a:pt x="79" y="26"/>
                </a:cubicBezTo>
                <a:cubicBezTo>
                  <a:pt x="77" y="26"/>
                  <a:pt x="77" y="26"/>
                  <a:pt x="75" y="25"/>
                </a:cubicBezTo>
                <a:cubicBezTo>
                  <a:pt x="74" y="24"/>
                  <a:pt x="73" y="23"/>
                  <a:pt x="72" y="23"/>
                </a:cubicBezTo>
                <a:close/>
              </a:path>
            </a:pathLst>
          </a:custGeom>
          <a:solidFill>
            <a:schemeClr val="accent5"/>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Freeform 341">
            <a:extLst>
              <a:ext uri="{FF2B5EF4-FFF2-40B4-BE49-F238E27FC236}">
                <a16:creationId xmlns:a16="http://schemas.microsoft.com/office/drawing/2014/main" id="{1DC9C931-5936-41DC-B984-114345C50298}"/>
              </a:ext>
            </a:extLst>
          </p:cNvPr>
          <p:cNvSpPr>
            <a:spLocks/>
          </p:cNvSpPr>
          <p:nvPr/>
        </p:nvSpPr>
        <p:spPr bwMode="auto">
          <a:xfrm>
            <a:off x="2798418" y="33159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2" name="Freeform 342">
            <a:extLst>
              <a:ext uri="{FF2B5EF4-FFF2-40B4-BE49-F238E27FC236}">
                <a16:creationId xmlns:a16="http://schemas.microsoft.com/office/drawing/2014/main" id="{D928C334-2B40-4BC6-AAAB-7091E04A745C}"/>
              </a:ext>
            </a:extLst>
          </p:cNvPr>
          <p:cNvSpPr>
            <a:spLocks/>
          </p:cNvSpPr>
          <p:nvPr/>
        </p:nvSpPr>
        <p:spPr bwMode="auto">
          <a:xfrm>
            <a:off x="2796198" y="331820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3" name="Freeform 343">
            <a:extLst>
              <a:ext uri="{FF2B5EF4-FFF2-40B4-BE49-F238E27FC236}">
                <a16:creationId xmlns:a16="http://schemas.microsoft.com/office/drawing/2014/main" id="{C87E56CE-C39F-47CC-BE1C-06640AA6AFFB}"/>
              </a:ext>
            </a:extLst>
          </p:cNvPr>
          <p:cNvSpPr>
            <a:spLocks/>
          </p:cNvSpPr>
          <p:nvPr/>
        </p:nvSpPr>
        <p:spPr bwMode="auto">
          <a:xfrm>
            <a:off x="2796198" y="3308163"/>
            <a:ext cx="2219" cy="5581"/>
          </a:xfrm>
          <a:custGeom>
            <a:avLst/>
            <a:gdLst>
              <a:gd name="T0" fmla="*/ 1 w 1"/>
              <a:gd name="T1" fmla="*/ 2 h 2"/>
              <a:gd name="T2" fmla="*/ 0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1"/>
                  <a:pt x="1" y="1"/>
                  <a:pt x="0" y="0"/>
                </a:cubicBezTo>
                <a:cubicBezTo>
                  <a:pt x="0" y="0"/>
                  <a:pt x="0" y="0"/>
                  <a:pt x="0" y="0"/>
                </a:cubicBezTo>
                <a:cubicBezTo>
                  <a:pt x="1" y="1"/>
                  <a:pt x="1" y="1"/>
                  <a:pt x="1" y="2"/>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4" name="Freeform 344">
            <a:extLst>
              <a:ext uri="{FF2B5EF4-FFF2-40B4-BE49-F238E27FC236}">
                <a16:creationId xmlns:a16="http://schemas.microsoft.com/office/drawing/2014/main" id="{4A621516-0B48-42ED-BA32-E97CE6012F60}"/>
              </a:ext>
            </a:extLst>
          </p:cNvPr>
          <p:cNvSpPr>
            <a:spLocks/>
          </p:cNvSpPr>
          <p:nvPr/>
        </p:nvSpPr>
        <p:spPr bwMode="auto">
          <a:xfrm>
            <a:off x="2798418" y="3313744"/>
            <a:ext cx="0" cy="2233"/>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5" name="Freeform 345">
            <a:extLst>
              <a:ext uri="{FF2B5EF4-FFF2-40B4-BE49-F238E27FC236}">
                <a16:creationId xmlns:a16="http://schemas.microsoft.com/office/drawing/2014/main" id="{5C3D0087-0DA1-44FC-BA2E-38A7E845F965}"/>
              </a:ext>
            </a:extLst>
          </p:cNvPr>
          <p:cNvSpPr>
            <a:spLocks/>
          </p:cNvSpPr>
          <p:nvPr/>
        </p:nvSpPr>
        <p:spPr bwMode="auto">
          <a:xfrm>
            <a:off x="2798418" y="331374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6" name="Freeform 346">
            <a:extLst>
              <a:ext uri="{FF2B5EF4-FFF2-40B4-BE49-F238E27FC236}">
                <a16:creationId xmlns:a16="http://schemas.microsoft.com/office/drawing/2014/main" id="{42A6FD66-BB03-4C7F-8A79-CAE0FDB526D2}"/>
              </a:ext>
            </a:extLst>
          </p:cNvPr>
          <p:cNvSpPr>
            <a:spLocks/>
          </p:cNvSpPr>
          <p:nvPr/>
        </p:nvSpPr>
        <p:spPr bwMode="auto">
          <a:xfrm>
            <a:off x="2887221" y="332044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7" name="Freeform 347">
            <a:extLst>
              <a:ext uri="{FF2B5EF4-FFF2-40B4-BE49-F238E27FC236}">
                <a16:creationId xmlns:a16="http://schemas.microsoft.com/office/drawing/2014/main" id="{2B6C6177-7ED5-41EE-8B63-203C1288FDE5}"/>
              </a:ext>
            </a:extLst>
          </p:cNvPr>
          <p:cNvSpPr>
            <a:spLocks/>
          </p:cNvSpPr>
          <p:nvPr/>
        </p:nvSpPr>
        <p:spPr bwMode="auto">
          <a:xfrm>
            <a:off x="2885001" y="3320441"/>
            <a:ext cx="2219"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8" name="Freeform 348">
            <a:extLst>
              <a:ext uri="{FF2B5EF4-FFF2-40B4-BE49-F238E27FC236}">
                <a16:creationId xmlns:a16="http://schemas.microsoft.com/office/drawing/2014/main" id="{B851A456-27B9-4107-BE0C-0D6856DF9E87}"/>
              </a:ext>
            </a:extLst>
          </p:cNvPr>
          <p:cNvSpPr>
            <a:spLocks/>
          </p:cNvSpPr>
          <p:nvPr/>
        </p:nvSpPr>
        <p:spPr bwMode="auto">
          <a:xfrm>
            <a:off x="2885001" y="332378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9" name="Freeform 349">
            <a:extLst>
              <a:ext uri="{FF2B5EF4-FFF2-40B4-BE49-F238E27FC236}">
                <a16:creationId xmlns:a16="http://schemas.microsoft.com/office/drawing/2014/main" id="{07371BDB-1D5C-421B-AC60-4B7055C49B6D}"/>
              </a:ext>
            </a:extLst>
          </p:cNvPr>
          <p:cNvSpPr>
            <a:spLocks/>
          </p:cNvSpPr>
          <p:nvPr/>
        </p:nvSpPr>
        <p:spPr bwMode="auto">
          <a:xfrm>
            <a:off x="2885001" y="332602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0" name="Freeform 350">
            <a:extLst>
              <a:ext uri="{FF2B5EF4-FFF2-40B4-BE49-F238E27FC236}">
                <a16:creationId xmlns:a16="http://schemas.microsoft.com/office/drawing/2014/main" id="{F3EEC38C-BF9C-4D59-B07E-1B12224738FA}"/>
              </a:ext>
            </a:extLst>
          </p:cNvPr>
          <p:cNvSpPr>
            <a:spLocks/>
          </p:cNvSpPr>
          <p:nvPr/>
        </p:nvSpPr>
        <p:spPr bwMode="auto">
          <a:xfrm>
            <a:off x="2889441" y="3320441"/>
            <a:ext cx="333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1" name="Freeform 351">
            <a:extLst>
              <a:ext uri="{FF2B5EF4-FFF2-40B4-BE49-F238E27FC236}">
                <a16:creationId xmlns:a16="http://schemas.microsoft.com/office/drawing/2014/main" id="{1F440987-C88C-4B1C-BC71-1025166204E2}"/>
              </a:ext>
            </a:extLst>
          </p:cNvPr>
          <p:cNvSpPr>
            <a:spLocks/>
          </p:cNvSpPr>
          <p:nvPr/>
        </p:nvSpPr>
        <p:spPr bwMode="auto">
          <a:xfrm>
            <a:off x="2885001" y="3320441"/>
            <a:ext cx="0" cy="3348"/>
          </a:xfrm>
          <a:custGeom>
            <a:avLst/>
            <a:gdLst>
              <a:gd name="T0" fmla="*/ 3 h 3"/>
              <a:gd name="T1" fmla="*/ 0 h 3"/>
              <a:gd name="T2" fmla="*/ 3 h 3"/>
            </a:gdLst>
            <a:ahLst/>
            <a:cxnLst>
              <a:cxn ang="0">
                <a:pos x="0" y="T0"/>
              </a:cxn>
              <a:cxn ang="0">
                <a:pos x="0" y="T1"/>
              </a:cxn>
              <a:cxn ang="0">
                <a:pos x="0" y="T2"/>
              </a:cxn>
            </a:cxnLst>
            <a:rect l="0" t="0" r="r" b="b"/>
            <a:pathLst>
              <a:path h="3">
                <a:moveTo>
                  <a:pt x="0" y="3"/>
                </a:moveTo>
                <a:lnTo>
                  <a:pt x="0" y="0"/>
                </a:lnTo>
                <a:lnTo>
                  <a:pt x="0" y="3"/>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2" name="Freeform 352">
            <a:extLst>
              <a:ext uri="{FF2B5EF4-FFF2-40B4-BE49-F238E27FC236}">
                <a16:creationId xmlns:a16="http://schemas.microsoft.com/office/drawing/2014/main" id="{21430712-765B-4E5E-B34D-2F384E61A19F}"/>
              </a:ext>
            </a:extLst>
          </p:cNvPr>
          <p:cNvSpPr>
            <a:spLocks/>
          </p:cNvSpPr>
          <p:nvPr/>
        </p:nvSpPr>
        <p:spPr bwMode="auto">
          <a:xfrm>
            <a:off x="2568643" y="3320442"/>
            <a:ext cx="445122" cy="681973"/>
          </a:xfrm>
          <a:custGeom>
            <a:avLst/>
            <a:gdLst>
              <a:gd name="T0" fmla="*/ 162 w 180"/>
              <a:gd name="T1" fmla="*/ 22 h 274"/>
              <a:gd name="T2" fmla="*/ 131 w 180"/>
              <a:gd name="T3" fmla="*/ 12 h 274"/>
              <a:gd name="T4" fmla="*/ 114 w 180"/>
              <a:gd name="T5" fmla="*/ 2 h 274"/>
              <a:gd name="T6" fmla="*/ 92 w 180"/>
              <a:gd name="T7" fmla="*/ 0 h 274"/>
              <a:gd name="T8" fmla="*/ 102 w 180"/>
              <a:gd name="T9" fmla="*/ 26 h 274"/>
              <a:gd name="T10" fmla="*/ 102 w 180"/>
              <a:gd name="T11" fmla="*/ 26 h 274"/>
              <a:gd name="T12" fmla="*/ 102 w 180"/>
              <a:gd name="T13" fmla="*/ 26 h 274"/>
              <a:gd name="T14" fmla="*/ 101 w 180"/>
              <a:gd name="T15" fmla="*/ 26 h 274"/>
              <a:gd name="T16" fmla="*/ 101 w 180"/>
              <a:gd name="T17" fmla="*/ 27 h 274"/>
              <a:gd name="T18" fmla="*/ 101 w 180"/>
              <a:gd name="T19" fmla="*/ 27 h 274"/>
              <a:gd name="T20" fmla="*/ 101 w 180"/>
              <a:gd name="T21" fmla="*/ 27 h 274"/>
              <a:gd name="T22" fmla="*/ 100 w 180"/>
              <a:gd name="T23" fmla="*/ 27 h 274"/>
              <a:gd name="T24" fmla="*/ 100 w 180"/>
              <a:gd name="T25" fmla="*/ 27 h 274"/>
              <a:gd name="T26" fmla="*/ 100 w 180"/>
              <a:gd name="T27" fmla="*/ 27 h 274"/>
              <a:gd name="T28" fmla="*/ 100 w 180"/>
              <a:gd name="T29" fmla="*/ 28 h 274"/>
              <a:gd name="T30" fmla="*/ 100 w 180"/>
              <a:gd name="T31" fmla="*/ 28 h 274"/>
              <a:gd name="T32" fmla="*/ 99 w 180"/>
              <a:gd name="T33" fmla="*/ 28 h 274"/>
              <a:gd name="T34" fmla="*/ 99 w 180"/>
              <a:gd name="T35" fmla="*/ 28 h 274"/>
              <a:gd name="T36" fmla="*/ 99 w 180"/>
              <a:gd name="T37" fmla="*/ 28 h 274"/>
              <a:gd name="T38" fmla="*/ 99 w 180"/>
              <a:gd name="T39" fmla="*/ 29 h 274"/>
              <a:gd name="T40" fmla="*/ 93 w 180"/>
              <a:gd name="T41" fmla="*/ 55 h 274"/>
              <a:gd name="T42" fmla="*/ 89 w 180"/>
              <a:gd name="T43" fmla="*/ 88 h 274"/>
              <a:gd name="T44" fmla="*/ 91 w 180"/>
              <a:gd name="T45" fmla="*/ 124 h 274"/>
              <a:gd name="T46" fmla="*/ 78 w 180"/>
              <a:gd name="T47" fmla="*/ 152 h 274"/>
              <a:gd name="T48" fmla="*/ 64 w 180"/>
              <a:gd name="T49" fmla="*/ 162 h 274"/>
              <a:gd name="T50" fmla="*/ 35 w 180"/>
              <a:gd name="T51" fmla="*/ 175 h 274"/>
              <a:gd name="T52" fmla="*/ 2 w 180"/>
              <a:gd name="T53" fmla="*/ 184 h 274"/>
              <a:gd name="T54" fmla="*/ 24 w 180"/>
              <a:gd name="T55" fmla="*/ 207 h 274"/>
              <a:gd name="T56" fmla="*/ 37 w 180"/>
              <a:gd name="T57" fmla="*/ 226 h 274"/>
              <a:gd name="T58" fmla="*/ 42 w 180"/>
              <a:gd name="T59" fmla="*/ 245 h 274"/>
              <a:gd name="T60" fmla="*/ 74 w 180"/>
              <a:gd name="T61" fmla="*/ 266 h 274"/>
              <a:gd name="T62" fmla="*/ 98 w 180"/>
              <a:gd name="T63" fmla="*/ 258 h 274"/>
              <a:gd name="T64" fmla="*/ 110 w 180"/>
              <a:gd name="T65" fmla="*/ 250 h 274"/>
              <a:gd name="T66" fmla="*/ 119 w 180"/>
              <a:gd name="T67" fmla="*/ 261 h 274"/>
              <a:gd name="T68" fmla="*/ 139 w 180"/>
              <a:gd name="T69" fmla="*/ 240 h 274"/>
              <a:gd name="T70" fmla="*/ 141 w 180"/>
              <a:gd name="T71" fmla="*/ 218 h 274"/>
              <a:gd name="T72" fmla="*/ 136 w 180"/>
              <a:gd name="T73" fmla="*/ 192 h 274"/>
              <a:gd name="T74" fmla="*/ 125 w 180"/>
              <a:gd name="T75" fmla="*/ 175 h 274"/>
              <a:gd name="T76" fmla="*/ 127 w 180"/>
              <a:gd name="T77" fmla="*/ 142 h 274"/>
              <a:gd name="T78" fmla="*/ 97 w 180"/>
              <a:gd name="T79" fmla="*/ 125 h 274"/>
              <a:gd name="T80" fmla="*/ 111 w 180"/>
              <a:gd name="T81" fmla="*/ 115 h 274"/>
              <a:gd name="T82" fmla="*/ 137 w 180"/>
              <a:gd name="T83" fmla="*/ 99 h 274"/>
              <a:gd name="T84" fmla="*/ 120 w 180"/>
              <a:gd name="T85" fmla="*/ 85 h 274"/>
              <a:gd name="T86" fmla="*/ 102 w 180"/>
              <a:gd name="T87" fmla="*/ 61 h 274"/>
              <a:gd name="T88" fmla="*/ 111 w 180"/>
              <a:gd name="T89" fmla="*/ 46 h 274"/>
              <a:gd name="T90" fmla="*/ 115 w 180"/>
              <a:gd name="T91" fmla="*/ 40 h 274"/>
              <a:gd name="T92" fmla="*/ 117 w 180"/>
              <a:gd name="T93" fmla="*/ 39 h 274"/>
              <a:gd name="T94" fmla="*/ 127 w 180"/>
              <a:gd name="T95" fmla="*/ 55 h 274"/>
              <a:gd name="T96" fmla="*/ 139 w 180"/>
              <a:gd name="T97" fmla="*/ 49 h 274"/>
              <a:gd name="T98" fmla="*/ 144 w 180"/>
              <a:gd name="T99" fmla="*/ 51 h 274"/>
              <a:gd name="T100" fmla="*/ 144 w 180"/>
              <a:gd name="T101" fmla="*/ 51 h 274"/>
              <a:gd name="T102" fmla="*/ 144 w 180"/>
              <a:gd name="T103" fmla="*/ 52 h 274"/>
              <a:gd name="T104" fmla="*/ 144 w 180"/>
              <a:gd name="T105" fmla="*/ 52 h 274"/>
              <a:gd name="T106" fmla="*/ 156 w 180"/>
              <a:gd name="T107" fmla="*/ 59 h 274"/>
              <a:gd name="T108" fmla="*/ 172 w 180"/>
              <a:gd name="T109" fmla="*/ 4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0" h="274">
                <a:moveTo>
                  <a:pt x="177" y="34"/>
                </a:moveTo>
                <a:cubicBezTo>
                  <a:pt x="176" y="32"/>
                  <a:pt x="177" y="28"/>
                  <a:pt x="178" y="26"/>
                </a:cubicBezTo>
                <a:cubicBezTo>
                  <a:pt x="179" y="25"/>
                  <a:pt x="179" y="24"/>
                  <a:pt x="179" y="23"/>
                </a:cubicBezTo>
                <a:cubicBezTo>
                  <a:pt x="178" y="24"/>
                  <a:pt x="177" y="24"/>
                  <a:pt x="176" y="24"/>
                </a:cubicBezTo>
                <a:cubicBezTo>
                  <a:pt x="173" y="25"/>
                  <a:pt x="170" y="25"/>
                  <a:pt x="167" y="24"/>
                </a:cubicBezTo>
                <a:cubicBezTo>
                  <a:pt x="165" y="24"/>
                  <a:pt x="163" y="25"/>
                  <a:pt x="160" y="26"/>
                </a:cubicBezTo>
                <a:cubicBezTo>
                  <a:pt x="160" y="24"/>
                  <a:pt x="161" y="23"/>
                  <a:pt x="162" y="22"/>
                </a:cubicBezTo>
                <a:cubicBezTo>
                  <a:pt x="161" y="22"/>
                  <a:pt x="159" y="22"/>
                  <a:pt x="158" y="21"/>
                </a:cubicBezTo>
                <a:cubicBezTo>
                  <a:pt x="156" y="21"/>
                  <a:pt x="155" y="19"/>
                  <a:pt x="154" y="19"/>
                </a:cubicBezTo>
                <a:cubicBezTo>
                  <a:pt x="150" y="17"/>
                  <a:pt x="148" y="21"/>
                  <a:pt x="145" y="21"/>
                </a:cubicBezTo>
                <a:cubicBezTo>
                  <a:pt x="143" y="20"/>
                  <a:pt x="142" y="20"/>
                  <a:pt x="140" y="19"/>
                </a:cubicBezTo>
                <a:cubicBezTo>
                  <a:pt x="139" y="17"/>
                  <a:pt x="140" y="16"/>
                  <a:pt x="138" y="16"/>
                </a:cubicBezTo>
                <a:cubicBezTo>
                  <a:pt x="135" y="15"/>
                  <a:pt x="135" y="16"/>
                  <a:pt x="133" y="14"/>
                </a:cubicBezTo>
                <a:cubicBezTo>
                  <a:pt x="133" y="14"/>
                  <a:pt x="131" y="13"/>
                  <a:pt x="131" y="12"/>
                </a:cubicBezTo>
                <a:cubicBezTo>
                  <a:pt x="130" y="11"/>
                  <a:pt x="130" y="9"/>
                  <a:pt x="129" y="8"/>
                </a:cubicBezTo>
                <a:cubicBezTo>
                  <a:pt x="127" y="5"/>
                  <a:pt x="127" y="7"/>
                  <a:pt x="128" y="4"/>
                </a:cubicBezTo>
                <a:cubicBezTo>
                  <a:pt x="128" y="3"/>
                  <a:pt x="128" y="3"/>
                  <a:pt x="128" y="3"/>
                </a:cubicBezTo>
                <a:cubicBezTo>
                  <a:pt x="127" y="3"/>
                  <a:pt x="127" y="3"/>
                  <a:pt x="126" y="2"/>
                </a:cubicBezTo>
                <a:cubicBezTo>
                  <a:pt x="125" y="3"/>
                  <a:pt x="125" y="4"/>
                  <a:pt x="124" y="4"/>
                </a:cubicBezTo>
                <a:cubicBezTo>
                  <a:pt x="123" y="1"/>
                  <a:pt x="123" y="4"/>
                  <a:pt x="120" y="3"/>
                </a:cubicBezTo>
                <a:cubicBezTo>
                  <a:pt x="118" y="3"/>
                  <a:pt x="117" y="0"/>
                  <a:pt x="114" y="2"/>
                </a:cubicBezTo>
                <a:cubicBezTo>
                  <a:pt x="114" y="3"/>
                  <a:pt x="114" y="3"/>
                  <a:pt x="114" y="4"/>
                </a:cubicBezTo>
                <a:cubicBezTo>
                  <a:pt x="111" y="6"/>
                  <a:pt x="110" y="8"/>
                  <a:pt x="106" y="6"/>
                </a:cubicBezTo>
                <a:cubicBezTo>
                  <a:pt x="104" y="5"/>
                  <a:pt x="104" y="5"/>
                  <a:pt x="102" y="5"/>
                </a:cubicBezTo>
                <a:cubicBezTo>
                  <a:pt x="100" y="5"/>
                  <a:pt x="98" y="5"/>
                  <a:pt x="96" y="5"/>
                </a:cubicBezTo>
                <a:cubicBezTo>
                  <a:pt x="95" y="4"/>
                  <a:pt x="95" y="4"/>
                  <a:pt x="95" y="4"/>
                </a:cubicBezTo>
                <a:cubicBezTo>
                  <a:pt x="93" y="2"/>
                  <a:pt x="95" y="1"/>
                  <a:pt x="91" y="0"/>
                </a:cubicBezTo>
                <a:cubicBezTo>
                  <a:pt x="92" y="0"/>
                  <a:pt x="92" y="0"/>
                  <a:pt x="92" y="0"/>
                </a:cubicBezTo>
                <a:cubicBezTo>
                  <a:pt x="93" y="2"/>
                  <a:pt x="91" y="8"/>
                  <a:pt x="92" y="9"/>
                </a:cubicBezTo>
                <a:cubicBezTo>
                  <a:pt x="93" y="10"/>
                  <a:pt x="95" y="8"/>
                  <a:pt x="96" y="10"/>
                </a:cubicBezTo>
                <a:cubicBezTo>
                  <a:pt x="97" y="11"/>
                  <a:pt x="95" y="13"/>
                  <a:pt x="98" y="12"/>
                </a:cubicBezTo>
                <a:cubicBezTo>
                  <a:pt x="98" y="14"/>
                  <a:pt x="97" y="15"/>
                  <a:pt x="97" y="17"/>
                </a:cubicBezTo>
                <a:cubicBezTo>
                  <a:pt x="98" y="19"/>
                  <a:pt x="99" y="19"/>
                  <a:pt x="100" y="21"/>
                </a:cubicBezTo>
                <a:cubicBezTo>
                  <a:pt x="101" y="22"/>
                  <a:pt x="102" y="25"/>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9"/>
                  <a:pt x="99" y="29"/>
                  <a:pt x="99" y="29"/>
                </a:cubicBezTo>
                <a:cubicBezTo>
                  <a:pt x="99" y="29"/>
                  <a:pt x="99" y="29"/>
                  <a:pt x="99" y="29"/>
                </a:cubicBezTo>
                <a:cubicBezTo>
                  <a:pt x="99" y="29"/>
                  <a:pt x="99" y="29"/>
                  <a:pt x="99" y="29"/>
                </a:cubicBezTo>
                <a:cubicBezTo>
                  <a:pt x="99" y="29"/>
                  <a:pt x="99" y="29"/>
                  <a:pt x="99" y="29"/>
                </a:cubicBezTo>
                <a:cubicBezTo>
                  <a:pt x="99" y="29"/>
                  <a:pt x="99" y="29"/>
                  <a:pt x="99" y="29"/>
                </a:cubicBezTo>
                <a:cubicBezTo>
                  <a:pt x="99" y="29"/>
                  <a:pt x="99" y="29"/>
                  <a:pt x="99" y="29"/>
                </a:cubicBezTo>
                <a:cubicBezTo>
                  <a:pt x="99" y="30"/>
                  <a:pt x="99" y="31"/>
                  <a:pt x="99" y="31"/>
                </a:cubicBezTo>
                <a:cubicBezTo>
                  <a:pt x="99" y="33"/>
                  <a:pt x="99" y="34"/>
                  <a:pt x="99" y="34"/>
                </a:cubicBezTo>
                <a:cubicBezTo>
                  <a:pt x="102" y="38"/>
                  <a:pt x="102" y="38"/>
                  <a:pt x="102" y="38"/>
                </a:cubicBezTo>
                <a:cubicBezTo>
                  <a:pt x="103" y="41"/>
                  <a:pt x="106" y="44"/>
                  <a:pt x="103" y="47"/>
                </a:cubicBezTo>
                <a:cubicBezTo>
                  <a:pt x="102" y="48"/>
                  <a:pt x="101" y="49"/>
                  <a:pt x="99" y="50"/>
                </a:cubicBezTo>
                <a:cubicBezTo>
                  <a:pt x="98" y="50"/>
                  <a:pt x="97" y="52"/>
                  <a:pt x="96" y="53"/>
                </a:cubicBezTo>
                <a:cubicBezTo>
                  <a:pt x="96" y="54"/>
                  <a:pt x="94" y="54"/>
                  <a:pt x="93" y="55"/>
                </a:cubicBezTo>
                <a:cubicBezTo>
                  <a:pt x="92" y="56"/>
                  <a:pt x="92" y="58"/>
                  <a:pt x="91" y="59"/>
                </a:cubicBezTo>
                <a:cubicBezTo>
                  <a:pt x="90" y="59"/>
                  <a:pt x="88" y="59"/>
                  <a:pt x="87" y="59"/>
                </a:cubicBezTo>
                <a:cubicBezTo>
                  <a:pt x="87" y="62"/>
                  <a:pt x="84" y="65"/>
                  <a:pt x="85" y="68"/>
                </a:cubicBezTo>
                <a:cubicBezTo>
                  <a:pt x="86" y="70"/>
                  <a:pt x="89" y="70"/>
                  <a:pt x="89" y="72"/>
                </a:cubicBezTo>
                <a:cubicBezTo>
                  <a:pt x="96" y="73"/>
                  <a:pt x="97" y="80"/>
                  <a:pt x="97" y="85"/>
                </a:cubicBezTo>
                <a:cubicBezTo>
                  <a:pt x="95" y="85"/>
                  <a:pt x="94" y="83"/>
                  <a:pt x="92" y="83"/>
                </a:cubicBezTo>
                <a:cubicBezTo>
                  <a:pt x="89" y="84"/>
                  <a:pt x="89" y="86"/>
                  <a:pt x="89" y="88"/>
                </a:cubicBezTo>
                <a:cubicBezTo>
                  <a:pt x="87" y="88"/>
                  <a:pt x="86" y="88"/>
                  <a:pt x="84" y="88"/>
                </a:cubicBezTo>
                <a:cubicBezTo>
                  <a:pt x="84" y="90"/>
                  <a:pt x="87" y="97"/>
                  <a:pt x="89" y="97"/>
                </a:cubicBezTo>
                <a:cubicBezTo>
                  <a:pt x="88" y="99"/>
                  <a:pt x="85" y="100"/>
                  <a:pt x="85" y="102"/>
                </a:cubicBezTo>
                <a:cubicBezTo>
                  <a:pt x="85" y="104"/>
                  <a:pt x="88" y="105"/>
                  <a:pt x="89" y="107"/>
                </a:cubicBezTo>
                <a:cubicBezTo>
                  <a:pt x="92" y="111"/>
                  <a:pt x="90" y="115"/>
                  <a:pt x="90" y="119"/>
                </a:cubicBezTo>
                <a:cubicBezTo>
                  <a:pt x="89" y="119"/>
                  <a:pt x="89" y="120"/>
                  <a:pt x="88" y="120"/>
                </a:cubicBezTo>
                <a:cubicBezTo>
                  <a:pt x="87" y="123"/>
                  <a:pt x="90" y="122"/>
                  <a:pt x="91" y="124"/>
                </a:cubicBezTo>
                <a:cubicBezTo>
                  <a:pt x="92" y="126"/>
                  <a:pt x="91" y="128"/>
                  <a:pt x="91" y="130"/>
                </a:cubicBezTo>
                <a:cubicBezTo>
                  <a:pt x="90" y="130"/>
                  <a:pt x="88" y="130"/>
                  <a:pt x="86" y="130"/>
                </a:cubicBezTo>
                <a:cubicBezTo>
                  <a:pt x="87" y="132"/>
                  <a:pt x="83" y="134"/>
                  <a:pt x="88" y="135"/>
                </a:cubicBezTo>
                <a:cubicBezTo>
                  <a:pt x="88" y="139"/>
                  <a:pt x="87" y="141"/>
                  <a:pt x="84" y="144"/>
                </a:cubicBezTo>
                <a:cubicBezTo>
                  <a:pt x="84" y="145"/>
                  <a:pt x="80" y="146"/>
                  <a:pt x="80" y="148"/>
                </a:cubicBezTo>
                <a:cubicBezTo>
                  <a:pt x="82" y="148"/>
                  <a:pt x="82" y="149"/>
                  <a:pt x="83" y="150"/>
                </a:cubicBezTo>
                <a:cubicBezTo>
                  <a:pt x="81" y="150"/>
                  <a:pt x="78" y="150"/>
                  <a:pt x="78" y="152"/>
                </a:cubicBezTo>
                <a:cubicBezTo>
                  <a:pt x="74" y="150"/>
                  <a:pt x="75" y="154"/>
                  <a:pt x="74" y="156"/>
                </a:cubicBezTo>
                <a:cubicBezTo>
                  <a:pt x="74" y="156"/>
                  <a:pt x="74" y="156"/>
                  <a:pt x="74" y="156"/>
                </a:cubicBezTo>
                <a:cubicBezTo>
                  <a:pt x="74" y="157"/>
                  <a:pt x="74" y="158"/>
                  <a:pt x="74" y="159"/>
                </a:cubicBezTo>
                <a:cubicBezTo>
                  <a:pt x="71" y="159"/>
                  <a:pt x="71" y="157"/>
                  <a:pt x="69" y="156"/>
                </a:cubicBezTo>
                <a:cubicBezTo>
                  <a:pt x="68" y="156"/>
                  <a:pt x="66" y="155"/>
                  <a:pt x="64" y="156"/>
                </a:cubicBezTo>
                <a:cubicBezTo>
                  <a:pt x="63" y="156"/>
                  <a:pt x="66" y="159"/>
                  <a:pt x="66" y="160"/>
                </a:cubicBezTo>
                <a:cubicBezTo>
                  <a:pt x="66" y="161"/>
                  <a:pt x="65" y="161"/>
                  <a:pt x="64" y="162"/>
                </a:cubicBezTo>
                <a:cubicBezTo>
                  <a:pt x="64" y="163"/>
                  <a:pt x="64" y="164"/>
                  <a:pt x="64" y="165"/>
                </a:cubicBezTo>
                <a:cubicBezTo>
                  <a:pt x="62" y="165"/>
                  <a:pt x="61" y="164"/>
                  <a:pt x="59" y="164"/>
                </a:cubicBezTo>
                <a:cubicBezTo>
                  <a:pt x="60" y="165"/>
                  <a:pt x="61" y="166"/>
                  <a:pt x="60" y="167"/>
                </a:cubicBezTo>
                <a:cubicBezTo>
                  <a:pt x="56" y="168"/>
                  <a:pt x="54" y="165"/>
                  <a:pt x="50" y="165"/>
                </a:cubicBezTo>
                <a:cubicBezTo>
                  <a:pt x="48" y="164"/>
                  <a:pt x="48" y="167"/>
                  <a:pt x="48" y="168"/>
                </a:cubicBezTo>
                <a:cubicBezTo>
                  <a:pt x="44" y="164"/>
                  <a:pt x="45" y="173"/>
                  <a:pt x="42" y="173"/>
                </a:cubicBezTo>
                <a:cubicBezTo>
                  <a:pt x="40" y="174"/>
                  <a:pt x="37" y="174"/>
                  <a:pt x="35" y="175"/>
                </a:cubicBezTo>
                <a:cubicBezTo>
                  <a:pt x="33" y="176"/>
                  <a:pt x="30" y="178"/>
                  <a:pt x="28" y="179"/>
                </a:cubicBezTo>
                <a:cubicBezTo>
                  <a:pt x="26" y="181"/>
                  <a:pt x="25" y="181"/>
                  <a:pt x="24" y="184"/>
                </a:cubicBezTo>
                <a:cubicBezTo>
                  <a:pt x="24" y="186"/>
                  <a:pt x="23" y="186"/>
                  <a:pt x="21" y="186"/>
                </a:cubicBezTo>
                <a:cubicBezTo>
                  <a:pt x="17" y="186"/>
                  <a:pt x="16" y="184"/>
                  <a:pt x="15" y="180"/>
                </a:cubicBezTo>
                <a:cubicBezTo>
                  <a:pt x="13" y="180"/>
                  <a:pt x="11" y="180"/>
                  <a:pt x="9" y="180"/>
                </a:cubicBezTo>
                <a:cubicBezTo>
                  <a:pt x="9" y="182"/>
                  <a:pt x="11" y="183"/>
                  <a:pt x="10" y="184"/>
                </a:cubicBezTo>
                <a:cubicBezTo>
                  <a:pt x="8" y="184"/>
                  <a:pt x="5" y="184"/>
                  <a:pt x="2" y="184"/>
                </a:cubicBezTo>
                <a:cubicBezTo>
                  <a:pt x="4" y="185"/>
                  <a:pt x="5" y="192"/>
                  <a:pt x="2" y="192"/>
                </a:cubicBezTo>
                <a:cubicBezTo>
                  <a:pt x="1" y="193"/>
                  <a:pt x="0" y="196"/>
                  <a:pt x="0" y="197"/>
                </a:cubicBezTo>
                <a:cubicBezTo>
                  <a:pt x="1" y="197"/>
                  <a:pt x="4" y="197"/>
                  <a:pt x="4" y="198"/>
                </a:cubicBezTo>
                <a:cubicBezTo>
                  <a:pt x="4" y="199"/>
                  <a:pt x="4" y="200"/>
                  <a:pt x="6" y="200"/>
                </a:cubicBezTo>
                <a:cubicBezTo>
                  <a:pt x="9" y="199"/>
                  <a:pt x="11" y="200"/>
                  <a:pt x="12" y="203"/>
                </a:cubicBezTo>
                <a:cubicBezTo>
                  <a:pt x="15" y="202"/>
                  <a:pt x="16" y="204"/>
                  <a:pt x="17" y="206"/>
                </a:cubicBezTo>
                <a:cubicBezTo>
                  <a:pt x="19" y="209"/>
                  <a:pt x="21" y="207"/>
                  <a:pt x="24" y="207"/>
                </a:cubicBezTo>
                <a:cubicBezTo>
                  <a:pt x="24" y="208"/>
                  <a:pt x="25" y="209"/>
                  <a:pt x="26" y="209"/>
                </a:cubicBezTo>
                <a:cubicBezTo>
                  <a:pt x="26" y="208"/>
                  <a:pt x="26" y="208"/>
                  <a:pt x="26" y="208"/>
                </a:cubicBezTo>
                <a:cubicBezTo>
                  <a:pt x="28" y="208"/>
                  <a:pt x="34" y="207"/>
                  <a:pt x="33" y="210"/>
                </a:cubicBezTo>
                <a:cubicBezTo>
                  <a:pt x="30" y="211"/>
                  <a:pt x="27" y="214"/>
                  <a:pt x="30" y="217"/>
                </a:cubicBezTo>
                <a:cubicBezTo>
                  <a:pt x="30" y="218"/>
                  <a:pt x="32" y="220"/>
                  <a:pt x="33" y="220"/>
                </a:cubicBezTo>
                <a:cubicBezTo>
                  <a:pt x="34" y="222"/>
                  <a:pt x="36" y="223"/>
                  <a:pt x="38" y="223"/>
                </a:cubicBezTo>
                <a:cubicBezTo>
                  <a:pt x="38" y="224"/>
                  <a:pt x="38" y="225"/>
                  <a:pt x="37" y="226"/>
                </a:cubicBezTo>
                <a:cubicBezTo>
                  <a:pt x="39" y="226"/>
                  <a:pt x="40" y="226"/>
                  <a:pt x="41" y="226"/>
                </a:cubicBezTo>
                <a:cubicBezTo>
                  <a:pt x="40" y="228"/>
                  <a:pt x="44" y="229"/>
                  <a:pt x="45" y="231"/>
                </a:cubicBezTo>
                <a:cubicBezTo>
                  <a:pt x="46" y="233"/>
                  <a:pt x="44" y="232"/>
                  <a:pt x="43" y="234"/>
                </a:cubicBezTo>
                <a:cubicBezTo>
                  <a:pt x="45" y="235"/>
                  <a:pt x="47" y="235"/>
                  <a:pt x="47" y="238"/>
                </a:cubicBezTo>
                <a:cubicBezTo>
                  <a:pt x="47" y="241"/>
                  <a:pt x="48" y="239"/>
                  <a:pt x="50" y="241"/>
                </a:cubicBezTo>
                <a:cubicBezTo>
                  <a:pt x="48" y="241"/>
                  <a:pt x="47" y="244"/>
                  <a:pt x="44" y="244"/>
                </a:cubicBezTo>
                <a:cubicBezTo>
                  <a:pt x="43" y="244"/>
                  <a:pt x="43" y="244"/>
                  <a:pt x="42" y="245"/>
                </a:cubicBezTo>
                <a:cubicBezTo>
                  <a:pt x="43" y="245"/>
                  <a:pt x="43" y="245"/>
                  <a:pt x="44" y="245"/>
                </a:cubicBezTo>
                <a:cubicBezTo>
                  <a:pt x="45" y="251"/>
                  <a:pt x="50" y="248"/>
                  <a:pt x="54" y="251"/>
                </a:cubicBezTo>
                <a:cubicBezTo>
                  <a:pt x="57" y="254"/>
                  <a:pt x="53" y="257"/>
                  <a:pt x="55" y="260"/>
                </a:cubicBezTo>
                <a:cubicBezTo>
                  <a:pt x="56" y="261"/>
                  <a:pt x="59" y="263"/>
                  <a:pt x="59" y="260"/>
                </a:cubicBezTo>
                <a:cubicBezTo>
                  <a:pt x="62" y="259"/>
                  <a:pt x="62" y="260"/>
                  <a:pt x="63" y="257"/>
                </a:cubicBezTo>
                <a:cubicBezTo>
                  <a:pt x="66" y="256"/>
                  <a:pt x="67" y="259"/>
                  <a:pt x="67" y="262"/>
                </a:cubicBezTo>
                <a:cubicBezTo>
                  <a:pt x="68" y="265"/>
                  <a:pt x="72" y="264"/>
                  <a:pt x="74" y="266"/>
                </a:cubicBezTo>
                <a:cubicBezTo>
                  <a:pt x="77" y="269"/>
                  <a:pt x="80" y="269"/>
                  <a:pt x="79" y="274"/>
                </a:cubicBezTo>
                <a:cubicBezTo>
                  <a:pt x="81" y="273"/>
                  <a:pt x="82" y="272"/>
                  <a:pt x="84" y="271"/>
                </a:cubicBezTo>
                <a:cubicBezTo>
                  <a:pt x="87" y="270"/>
                  <a:pt x="90" y="271"/>
                  <a:pt x="91" y="267"/>
                </a:cubicBezTo>
                <a:cubicBezTo>
                  <a:pt x="91" y="266"/>
                  <a:pt x="91" y="266"/>
                  <a:pt x="92" y="264"/>
                </a:cubicBezTo>
                <a:cubicBezTo>
                  <a:pt x="92" y="263"/>
                  <a:pt x="94" y="263"/>
                  <a:pt x="95" y="262"/>
                </a:cubicBezTo>
                <a:cubicBezTo>
                  <a:pt x="96" y="261"/>
                  <a:pt x="96" y="260"/>
                  <a:pt x="97" y="259"/>
                </a:cubicBezTo>
                <a:cubicBezTo>
                  <a:pt x="97" y="259"/>
                  <a:pt x="98" y="259"/>
                  <a:pt x="98" y="258"/>
                </a:cubicBezTo>
                <a:cubicBezTo>
                  <a:pt x="99" y="257"/>
                  <a:pt x="99" y="256"/>
                  <a:pt x="100" y="256"/>
                </a:cubicBezTo>
                <a:cubicBezTo>
                  <a:pt x="102" y="255"/>
                  <a:pt x="102" y="256"/>
                  <a:pt x="103" y="255"/>
                </a:cubicBezTo>
                <a:cubicBezTo>
                  <a:pt x="104" y="253"/>
                  <a:pt x="103" y="253"/>
                  <a:pt x="105" y="252"/>
                </a:cubicBezTo>
                <a:cubicBezTo>
                  <a:pt x="105" y="252"/>
                  <a:pt x="107" y="252"/>
                  <a:pt x="107" y="252"/>
                </a:cubicBezTo>
                <a:cubicBezTo>
                  <a:pt x="108" y="250"/>
                  <a:pt x="108" y="248"/>
                  <a:pt x="108" y="247"/>
                </a:cubicBezTo>
                <a:cubicBezTo>
                  <a:pt x="107" y="245"/>
                  <a:pt x="106" y="244"/>
                  <a:pt x="105" y="243"/>
                </a:cubicBezTo>
                <a:cubicBezTo>
                  <a:pt x="110" y="242"/>
                  <a:pt x="110" y="247"/>
                  <a:pt x="110" y="250"/>
                </a:cubicBezTo>
                <a:cubicBezTo>
                  <a:pt x="109" y="252"/>
                  <a:pt x="108" y="253"/>
                  <a:pt x="107" y="254"/>
                </a:cubicBezTo>
                <a:cubicBezTo>
                  <a:pt x="107" y="256"/>
                  <a:pt x="108" y="257"/>
                  <a:pt x="109" y="258"/>
                </a:cubicBezTo>
                <a:cubicBezTo>
                  <a:pt x="110" y="259"/>
                  <a:pt x="110" y="259"/>
                  <a:pt x="110" y="261"/>
                </a:cubicBezTo>
                <a:cubicBezTo>
                  <a:pt x="110" y="261"/>
                  <a:pt x="110" y="263"/>
                  <a:pt x="110" y="263"/>
                </a:cubicBezTo>
                <a:cubicBezTo>
                  <a:pt x="111" y="265"/>
                  <a:pt x="113" y="262"/>
                  <a:pt x="114" y="261"/>
                </a:cubicBezTo>
                <a:cubicBezTo>
                  <a:pt x="115" y="260"/>
                  <a:pt x="115" y="259"/>
                  <a:pt x="116" y="258"/>
                </a:cubicBezTo>
                <a:cubicBezTo>
                  <a:pt x="119" y="257"/>
                  <a:pt x="120" y="258"/>
                  <a:pt x="119" y="261"/>
                </a:cubicBezTo>
                <a:cubicBezTo>
                  <a:pt x="120" y="261"/>
                  <a:pt x="121" y="261"/>
                  <a:pt x="122" y="261"/>
                </a:cubicBezTo>
                <a:cubicBezTo>
                  <a:pt x="122" y="257"/>
                  <a:pt x="122" y="257"/>
                  <a:pt x="125" y="257"/>
                </a:cubicBezTo>
                <a:cubicBezTo>
                  <a:pt x="125" y="256"/>
                  <a:pt x="125" y="253"/>
                  <a:pt x="125" y="252"/>
                </a:cubicBezTo>
                <a:cubicBezTo>
                  <a:pt x="125" y="251"/>
                  <a:pt x="126" y="250"/>
                  <a:pt x="126" y="248"/>
                </a:cubicBezTo>
                <a:cubicBezTo>
                  <a:pt x="129" y="248"/>
                  <a:pt x="133" y="249"/>
                  <a:pt x="133" y="246"/>
                </a:cubicBezTo>
                <a:cubicBezTo>
                  <a:pt x="135" y="245"/>
                  <a:pt x="136" y="244"/>
                  <a:pt x="137" y="242"/>
                </a:cubicBezTo>
                <a:cubicBezTo>
                  <a:pt x="138" y="241"/>
                  <a:pt x="137" y="241"/>
                  <a:pt x="139" y="240"/>
                </a:cubicBezTo>
                <a:cubicBezTo>
                  <a:pt x="140" y="240"/>
                  <a:pt x="141" y="240"/>
                  <a:pt x="142" y="240"/>
                </a:cubicBezTo>
                <a:cubicBezTo>
                  <a:pt x="144" y="241"/>
                  <a:pt x="146" y="243"/>
                  <a:pt x="147" y="244"/>
                </a:cubicBezTo>
                <a:cubicBezTo>
                  <a:pt x="147" y="245"/>
                  <a:pt x="148" y="246"/>
                  <a:pt x="149" y="246"/>
                </a:cubicBezTo>
                <a:cubicBezTo>
                  <a:pt x="148" y="244"/>
                  <a:pt x="148" y="243"/>
                  <a:pt x="147" y="241"/>
                </a:cubicBezTo>
                <a:cubicBezTo>
                  <a:pt x="145" y="238"/>
                  <a:pt x="144" y="236"/>
                  <a:pt x="144" y="232"/>
                </a:cubicBezTo>
                <a:cubicBezTo>
                  <a:pt x="144" y="228"/>
                  <a:pt x="143" y="226"/>
                  <a:pt x="141" y="222"/>
                </a:cubicBezTo>
                <a:cubicBezTo>
                  <a:pt x="141" y="221"/>
                  <a:pt x="141" y="219"/>
                  <a:pt x="141" y="218"/>
                </a:cubicBezTo>
                <a:cubicBezTo>
                  <a:pt x="140" y="216"/>
                  <a:pt x="139" y="214"/>
                  <a:pt x="141" y="214"/>
                </a:cubicBezTo>
                <a:cubicBezTo>
                  <a:pt x="141" y="212"/>
                  <a:pt x="141" y="211"/>
                  <a:pt x="141" y="209"/>
                </a:cubicBezTo>
                <a:cubicBezTo>
                  <a:pt x="140" y="208"/>
                  <a:pt x="139" y="208"/>
                  <a:pt x="139" y="207"/>
                </a:cubicBezTo>
                <a:cubicBezTo>
                  <a:pt x="138" y="206"/>
                  <a:pt x="138" y="206"/>
                  <a:pt x="137" y="205"/>
                </a:cubicBezTo>
                <a:cubicBezTo>
                  <a:pt x="138" y="203"/>
                  <a:pt x="137" y="198"/>
                  <a:pt x="140" y="197"/>
                </a:cubicBezTo>
                <a:cubicBezTo>
                  <a:pt x="140" y="195"/>
                  <a:pt x="141" y="194"/>
                  <a:pt x="143" y="194"/>
                </a:cubicBezTo>
                <a:cubicBezTo>
                  <a:pt x="142" y="194"/>
                  <a:pt x="137" y="192"/>
                  <a:pt x="136" y="192"/>
                </a:cubicBezTo>
                <a:cubicBezTo>
                  <a:pt x="133" y="192"/>
                  <a:pt x="131" y="197"/>
                  <a:pt x="130" y="193"/>
                </a:cubicBezTo>
                <a:cubicBezTo>
                  <a:pt x="129" y="191"/>
                  <a:pt x="130" y="188"/>
                  <a:pt x="131" y="186"/>
                </a:cubicBezTo>
                <a:cubicBezTo>
                  <a:pt x="131" y="185"/>
                  <a:pt x="131" y="184"/>
                  <a:pt x="131" y="184"/>
                </a:cubicBezTo>
                <a:cubicBezTo>
                  <a:pt x="131" y="183"/>
                  <a:pt x="132" y="183"/>
                  <a:pt x="132" y="182"/>
                </a:cubicBezTo>
                <a:cubicBezTo>
                  <a:pt x="133" y="180"/>
                  <a:pt x="131" y="180"/>
                  <a:pt x="129" y="179"/>
                </a:cubicBezTo>
                <a:cubicBezTo>
                  <a:pt x="128" y="179"/>
                  <a:pt x="127" y="178"/>
                  <a:pt x="125" y="177"/>
                </a:cubicBezTo>
                <a:cubicBezTo>
                  <a:pt x="125" y="176"/>
                  <a:pt x="125" y="175"/>
                  <a:pt x="125" y="175"/>
                </a:cubicBezTo>
                <a:cubicBezTo>
                  <a:pt x="124" y="175"/>
                  <a:pt x="122" y="175"/>
                  <a:pt x="122" y="175"/>
                </a:cubicBezTo>
                <a:cubicBezTo>
                  <a:pt x="122" y="172"/>
                  <a:pt x="121" y="169"/>
                  <a:pt x="122" y="166"/>
                </a:cubicBezTo>
                <a:cubicBezTo>
                  <a:pt x="122" y="165"/>
                  <a:pt x="122" y="163"/>
                  <a:pt x="123" y="163"/>
                </a:cubicBezTo>
                <a:cubicBezTo>
                  <a:pt x="124" y="162"/>
                  <a:pt x="125" y="163"/>
                  <a:pt x="126" y="162"/>
                </a:cubicBezTo>
                <a:cubicBezTo>
                  <a:pt x="128" y="162"/>
                  <a:pt x="127" y="161"/>
                  <a:pt x="128" y="160"/>
                </a:cubicBezTo>
                <a:cubicBezTo>
                  <a:pt x="129" y="157"/>
                  <a:pt x="130" y="156"/>
                  <a:pt x="131" y="153"/>
                </a:cubicBezTo>
                <a:cubicBezTo>
                  <a:pt x="131" y="150"/>
                  <a:pt x="130" y="144"/>
                  <a:pt x="127" y="142"/>
                </a:cubicBezTo>
                <a:cubicBezTo>
                  <a:pt x="125" y="141"/>
                  <a:pt x="123" y="141"/>
                  <a:pt x="121" y="141"/>
                </a:cubicBezTo>
                <a:cubicBezTo>
                  <a:pt x="119" y="141"/>
                  <a:pt x="118" y="140"/>
                  <a:pt x="117" y="139"/>
                </a:cubicBezTo>
                <a:cubicBezTo>
                  <a:pt x="115" y="139"/>
                  <a:pt x="112" y="139"/>
                  <a:pt x="110" y="139"/>
                </a:cubicBezTo>
                <a:cubicBezTo>
                  <a:pt x="111" y="136"/>
                  <a:pt x="109" y="135"/>
                  <a:pt x="107" y="135"/>
                </a:cubicBezTo>
                <a:cubicBezTo>
                  <a:pt x="106" y="134"/>
                  <a:pt x="103" y="133"/>
                  <a:pt x="101" y="131"/>
                </a:cubicBezTo>
                <a:cubicBezTo>
                  <a:pt x="101" y="130"/>
                  <a:pt x="101" y="129"/>
                  <a:pt x="100" y="128"/>
                </a:cubicBezTo>
                <a:cubicBezTo>
                  <a:pt x="99" y="127"/>
                  <a:pt x="97" y="126"/>
                  <a:pt x="97" y="125"/>
                </a:cubicBezTo>
                <a:cubicBezTo>
                  <a:pt x="96" y="124"/>
                  <a:pt x="98" y="124"/>
                  <a:pt x="99" y="123"/>
                </a:cubicBezTo>
                <a:cubicBezTo>
                  <a:pt x="99" y="122"/>
                  <a:pt x="98" y="121"/>
                  <a:pt x="99" y="121"/>
                </a:cubicBezTo>
                <a:cubicBezTo>
                  <a:pt x="99" y="120"/>
                  <a:pt x="100" y="120"/>
                  <a:pt x="100" y="119"/>
                </a:cubicBezTo>
                <a:cubicBezTo>
                  <a:pt x="102" y="117"/>
                  <a:pt x="101" y="114"/>
                  <a:pt x="102" y="111"/>
                </a:cubicBezTo>
                <a:cubicBezTo>
                  <a:pt x="103" y="111"/>
                  <a:pt x="107" y="111"/>
                  <a:pt x="108" y="112"/>
                </a:cubicBezTo>
                <a:cubicBezTo>
                  <a:pt x="108" y="112"/>
                  <a:pt x="107" y="114"/>
                  <a:pt x="108" y="114"/>
                </a:cubicBezTo>
                <a:cubicBezTo>
                  <a:pt x="109" y="115"/>
                  <a:pt x="110" y="115"/>
                  <a:pt x="111" y="115"/>
                </a:cubicBezTo>
                <a:cubicBezTo>
                  <a:pt x="110" y="114"/>
                  <a:pt x="109" y="113"/>
                  <a:pt x="110" y="111"/>
                </a:cubicBezTo>
                <a:cubicBezTo>
                  <a:pt x="111" y="111"/>
                  <a:pt x="112" y="112"/>
                  <a:pt x="113" y="111"/>
                </a:cubicBezTo>
                <a:cubicBezTo>
                  <a:pt x="114" y="108"/>
                  <a:pt x="113" y="108"/>
                  <a:pt x="116" y="107"/>
                </a:cubicBezTo>
                <a:cubicBezTo>
                  <a:pt x="117" y="105"/>
                  <a:pt x="115" y="103"/>
                  <a:pt x="116" y="100"/>
                </a:cubicBezTo>
                <a:cubicBezTo>
                  <a:pt x="118" y="99"/>
                  <a:pt x="121" y="100"/>
                  <a:pt x="123" y="99"/>
                </a:cubicBezTo>
                <a:cubicBezTo>
                  <a:pt x="125" y="99"/>
                  <a:pt x="128" y="99"/>
                  <a:pt x="131" y="99"/>
                </a:cubicBezTo>
                <a:cubicBezTo>
                  <a:pt x="131" y="97"/>
                  <a:pt x="135" y="100"/>
                  <a:pt x="137" y="99"/>
                </a:cubicBezTo>
                <a:cubicBezTo>
                  <a:pt x="138" y="98"/>
                  <a:pt x="139" y="92"/>
                  <a:pt x="139" y="90"/>
                </a:cubicBezTo>
                <a:cubicBezTo>
                  <a:pt x="137" y="90"/>
                  <a:pt x="138" y="92"/>
                  <a:pt x="136" y="93"/>
                </a:cubicBezTo>
                <a:cubicBezTo>
                  <a:pt x="135" y="93"/>
                  <a:pt x="133" y="91"/>
                  <a:pt x="132" y="90"/>
                </a:cubicBezTo>
                <a:cubicBezTo>
                  <a:pt x="132" y="89"/>
                  <a:pt x="131" y="88"/>
                  <a:pt x="131" y="87"/>
                </a:cubicBezTo>
                <a:cubicBezTo>
                  <a:pt x="130" y="85"/>
                  <a:pt x="129" y="84"/>
                  <a:pt x="129" y="83"/>
                </a:cubicBezTo>
                <a:cubicBezTo>
                  <a:pt x="127" y="84"/>
                  <a:pt x="127" y="85"/>
                  <a:pt x="125" y="86"/>
                </a:cubicBezTo>
                <a:cubicBezTo>
                  <a:pt x="123" y="86"/>
                  <a:pt x="122" y="86"/>
                  <a:pt x="120" y="85"/>
                </a:cubicBezTo>
                <a:cubicBezTo>
                  <a:pt x="118" y="84"/>
                  <a:pt x="115" y="83"/>
                  <a:pt x="114" y="80"/>
                </a:cubicBezTo>
                <a:cubicBezTo>
                  <a:pt x="113" y="79"/>
                  <a:pt x="114" y="78"/>
                  <a:pt x="114" y="77"/>
                </a:cubicBezTo>
                <a:cubicBezTo>
                  <a:pt x="113" y="77"/>
                  <a:pt x="112" y="76"/>
                  <a:pt x="111" y="75"/>
                </a:cubicBezTo>
                <a:cubicBezTo>
                  <a:pt x="110" y="74"/>
                  <a:pt x="109" y="73"/>
                  <a:pt x="108" y="73"/>
                </a:cubicBezTo>
                <a:cubicBezTo>
                  <a:pt x="107" y="72"/>
                  <a:pt x="105" y="72"/>
                  <a:pt x="104" y="71"/>
                </a:cubicBezTo>
                <a:cubicBezTo>
                  <a:pt x="102" y="71"/>
                  <a:pt x="101" y="72"/>
                  <a:pt x="99" y="71"/>
                </a:cubicBezTo>
                <a:cubicBezTo>
                  <a:pt x="99" y="68"/>
                  <a:pt x="98" y="61"/>
                  <a:pt x="102" y="61"/>
                </a:cubicBezTo>
                <a:cubicBezTo>
                  <a:pt x="103" y="59"/>
                  <a:pt x="101" y="59"/>
                  <a:pt x="101" y="57"/>
                </a:cubicBezTo>
                <a:cubicBezTo>
                  <a:pt x="101" y="56"/>
                  <a:pt x="102" y="55"/>
                  <a:pt x="103" y="54"/>
                </a:cubicBezTo>
                <a:cubicBezTo>
                  <a:pt x="104" y="52"/>
                  <a:pt x="107" y="52"/>
                  <a:pt x="109" y="50"/>
                </a:cubicBezTo>
                <a:cubicBezTo>
                  <a:pt x="110" y="49"/>
                  <a:pt x="110" y="47"/>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2" y="45"/>
                  <a:pt x="114" y="44"/>
                  <a:pt x="115" y="44"/>
                </a:cubicBezTo>
                <a:cubicBezTo>
                  <a:pt x="116" y="43"/>
                  <a:pt x="115" y="42"/>
                  <a:pt x="115" y="40"/>
                </a:cubicBezTo>
                <a:cubicBezTo>
                  <a:pt x="112" y="40"/>
                  <a:pt x="111" y="40"/>
                  <a:pt x="110" y="37"/>
                </a:cubicBezTo>
                <a:cubicBezTo>
                  <a:pt x="109" y="36"/>
                  <a:pt x="108" y="36"/>
                  <a:pt x="109" y="34"/>
                </a:cubicBezTo>
                <a:cubicBezTo>
                  <a:pt x="109" y="33"/>
                  <a:pt x="110" y="32"/>
                  <a:pt x="110" y="31"/>
                </a:cubicBezTo>
                <a:cubicBezTo>
                  <a:pt x="110" y="31"/>
                  <a:pt x="110" y="32"/>
                  <a:pt x="110" y="33"/>
                </a:cubicBezTo>
                <a:cubicBezTo>
                  <a:pt x="111" y="33"/>
                  <a:pt x="111" y="33"/>
                  <a:pt x="112" y="33"/>
                </a:cubicBezTo>
                <a:cubicBezTo>
                  <a:pt x="112" y="35"/>
                  <a:pt x="116" y="37"/>
                  <a:pt x="117" y="37"/>
                </a:cubicBezTo>
                <a:cubicBezTo>
                  <a:pt x="117" y="38"/>
                  <a:pt x="117" y="39"/>
                  <a:pt x="117" y="39"/>
                </a:cubicBezTo>
                <a:cubicBezTo>
                  <a:pt x="119" y="39"/>
                  <a:pt x="120" y="39"/>
                  <a:pt x="121" y="39"/>
                </a:cubicBezTo>
                <a:cubicBezTo>
                  <a:pt x="121" y="40"/>
                  <a:pt x="121" y="41"/>
                  <a:pt x="120" y="42"/>
                </a:cubicBezTo>
                <a:cubicBezTo>
                  <a:pt x="122" y="42"/>
                  <a:pt x="124" y="42"/>
                  <a:pt x="125" y="42"/>
                </a:cubicBezTo>
                <a:cubicBezTo>
                  <a:pt x="125" y="43"/>
                  <a:pt x="126" y="45"/>
                  <a:pt x="125" y="46"/>
                </a:cubicBezTo>
                <a:cubicBezTo>
                  <a:pt x="125" y="48"/>
                  <a:pt x="123" y="49"/>
                  <a:pt x="123" y="50"/>
                </a:cubicBezTo>
                <a:cubicBezTo>
                  <a:pt x="124" y="51"/>
                  <a:pt x="126" y="50"/>
                  <a:pt x="127" y="50"/>
                </a:cubicBezTo>
                <a:cubicBezTo>
                  <a:pt x="127" y="52"/>
                  <a:pt x="126" y="54"/>
                  <a:pt x="127" y="55"/>
                </a:cubicBezTo>
                <a:cubicBezTo>
                  <a:pt x="127" y="54"/>
                  <a:pt x="128" y="53"/>
                  <a:pt x="128" y="52"/>
                </a:cubicBezTo>
                <a:cubicBezTo>
                  <a:pt x="129" y="51"/>
                  <a:pt x="127" y="47"/>
                  <a:pt x="130" y="47"/>
                </a:cubicBezTo>
                <a:cubicBezTo>
                  <a:pt x="130" y="48"/>
                  <a:pt x="130" y="49"/>
                  <a:pt x="131" y="50"/>
                </a:cubicBezTo>
                <a:cubicBezTo>
                  <a:pt x="131" y="49"/>
                  <a:pt x="131" y="48"/>
                  <a:pt x="131" y="47"/>
                </a:cubicBezTo>
                <a:cubicBezTo>
                  <a:pt x="133" y="46"/>
                  <a:pt x="133" y="47"/>
                  <a:pt x="134" y="48"/>
                </a:cubicBezTo>
                <a:cubicBezTo>
                  <a:pt x="135" y="48"/>
                  <a:pt x="135" y="49"/>
                  <a:pt x="136" y="49"/>
                </a:cubicBezTo>
                <a:cubicBezTo>
                  <a:pt x="137" y="49"/>
                  <a:pt x="138" y="49"/>
                  <a:pt x="139" y="49"/>
                </a:cubicBezTo>
                <a:cubicBezTo>
                  <a:pt x="138" y="47"/>
                  <a:pt x="137" y="46"/>
                  <a:pt x="136" y="44"/>
                </a:cubicBezTo>
                <a:cubicBezTo>
                  <a:pt x="135" y="43"/>
                  <a:pt x="133" y="42"/>
                  <a:pt x="134" y="40"/>
                </a:cubicBezTo>
                <a:cubicBezTo>
                  <a:pt x="135" y="39"/>
                  <a:pt x="137" y="39"/>
                  <a:pt x="139" y="39"/>
                </a:cubicBezTo>
                <a:cubicBezTo>
                  <a:pt x="139" y="42"/>
                  <a:pt x="141" y="41"/>
                  <a:pt x="142" y="43"/>
                </a:cubicBezTo>
                <a:cubicBezTo>
                  <a:pt x="143" y="43"/>
                  <a:pt x="143" y="46"/>
                  <a:pt x="143" y="47"/>
                </a:cubicBezTo>
                <a:cubicBezTo>
                  <a:pt x="143" y="49"/>
                  <a:pt x="143" y="50"/>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5" y="53"/>
                  <a:pt x="145" y="53"/>
                  <a:pt x="146" y="54"/>
                </a:cubicBezTo>
                <a:cubicBezTo>
                  <a:pt x="146" y="54"/>
                  <a:pt x="147" y="54"/>
                  <a:pt x="147" y="55"/>
                </a:cubicBezTo>
                <a:cubicBezTo>
                  <a:pt x="150" y="56"/>
                  <a:pt x="153" y="58"/>
                  <a:pt x="156" y="59"/>
                </a:cubicBezTo>
                <a:cubicBezTo>
                  <a:pt x="157" y="59"/>
                  <a:pt x="162" y="60"/>
                  <a:pt x="163" y="59"/>
                </a:cubicBezTo>
                <a:cubicBezTo>
                  <a:pt x="163" y="59"/>
                  <a:pt x="163" y="57"/>
                  <a:pt x="164" y="57"/>
                </a:cubicBezTo>
                <a:cubicBezTo>
                  <a:pt x="164" y="56"/>
                  <a:pt x="165" y="55"/>
                  <a:pt x="165" y="55"/>
                </a:cubicBezTo>
                <a:cubicBezTo>
                  <a:pt x="165" y="53"/>
                  <a:pt x="165" y="53"/>
                  <a:pt x="165" y="53"/>
                </a:cubicBezTo>
                <a:cubicBezTo>
                  <a:pt x="166" y="52"/>
                  <a:pt x="167" y="52"/>
                  <a:pt x="168" y="51"/>
                </a:cubicBezTo>
                <a:cubicBezTo>
                  <a:pt x="169" y="50"/>
                  <a:pt x="169" y="50"/>
                  <a:pt x="169" y="50"/>
                </a:cubicBezTo>
                <a:cubicBezTo>
                  <a:pt x="169" y="48"/>
                  <a:pt x="170" y="46"/>
                  <a:pt x="172" y="45"/>
                </a:cubicBezTo>
                <a:cubicBezTo>
                  <a:pt x="173" y="44"/>
                  <a:pt x="174" y="43"/>
                  <a:pt x="175" y="43"/>
                </a:cubicBezTo>
                <a:cubicBezTo>
                  <a:pt x="176" y="41"/>
                  <a:pt x="177" y="40"/>
                  <a:pt x="178" y="39"/>
                </a:cubicBezTo>
                <a:cubicBezTo>
                  <a:pt x="179" y="38"/>
                  <a:pt x="179" y="37"/>
                  <a:pt x="180" y="36"/>
                </a:cubicBezTo>
                <a:cubicBezTo>
                  <a:pt x="178" y="36"/>
                  <a:pt x="178" y="35"/>
                  <a:pt x="177" y="34"/>
                </a:cubicBezTo>
                <a:close/>
              </a:path>
            </a:pathLst>
          </a:custGeom>
          <a:solidFill>
            <a:schemeClr val="accent1"/>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3" name="Freeform 353">
            <a:extLst>
              <a:ext uri="{FF2B5EF4-FFF2-40B4-BE49-F238E27FC236}">
                <a16:creationId xmlns:a16="http://schemas.microsoft.com/office/drawing/2014/main" id="{334031ED-7332-4401-B512-075E47EAD922}"/>
              </a:ext>
            </a:extLst>
          </p:cNvPr>
          <p:cNvSpPr>
            <a:spLocks/>
          </p:cNvSpPr>
          <p:nvPr/>
        </p:nvSpPr>
        <p:spPr bwMode="auto">
          <a:xfrm>
            <a:off x="2796198" y="331820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7" name="Freeform 357">
            <a:extLst>
              <a:ext uri="{FF2B5EF4-FFF2-40B4-BE49-F238E27FC236}">
                <a16:creationId xmlns:a16="http://schemas.microsoft.com/office/drawing/2014/main" id="{38144FAF-25A6-430B-A5F0-AF1B8886F08A}"/>
              </a:ext>
            </a:extLst>
          </p:cNvPr>
          <p:cNvSpPr>
            <a:spLocks/>
          </p:cNvSpPr>
          <p:nvPr/>
        </p:nvSpPr>
        <p:spPr bwMode="auto">
          <a:xfrm>
            <a:off x="1007942" y="3922051"/>
            <a:ext cx="979046" cy="753407"/>
          </a:xfrm>
          <a:custGeom>
            <a:avLst/>
            <a:gdLst>
              <a:gd name="T0" fmla="*/ 373 w 396"/>
              <a:gd name="T1" fmla="*/ 119 h 303"/>
              <a:gd name="T2" fmla="*/ 372 w 396"/>
              <a:gd name="T3" fmla="*/ 98 h 303"/>
              <a:gd name="T4" fmla="*/ 380 w 396"/>
              <a:gd name="T5" fmla="*/ 65 h 303"/>
              <a:gd name="T6" fmla="*/ 386 w 396"/>
              <a:gd name="T7" fmla="*/ 49 h 303"/>
              <a:gd name="T8" fmla="*/ 354 w 396"/>
              <a:gd name="T9" fmla="*/ 35 h 303"/>
              <a:gd name="T10" fmla="*/ 315 w 396"/>
              <a:gd name="T11" fmla="*/ 28 h 303"/>
              <a:gd name="T12" fmla="*/ 283 w 396"/>
              <a:gd name="T13" fmla="*/ 31 h 303"/>
              <a:gd name="T14" fmla="*/ 245 w 396"/>
              <a:gd name="T15" fmla="*/ 36 h 303"/>
              <a:gd name="T16" fmla="*/ 242 w 396"/>
              <a:gd name="T17" fmla="*/ 29 h 303"/>
              <a:gd name="T18" fmla="*/ 202 w 396"/>
              <a:gd name="T19" fmla="*/ 27 h 303"/>
              <a:gd name="T20" fmla="*/ 187 w 396"/>
              <a:gd name="T21" fmla="*/ 43 h 303"/>
              <a:gd name="T22" fmla="*/ 166 w 396"/>
              <a:gd name="T23" fmla="*/ 33 h 303"/>
              <a:gd name="T24" fmla="*/ 116 w 396"/>
              <a:gd name="T25" fmla="*/ 17 h 303"/>
              <a:gd name="T26" fmla="*/ 77 w 396"/>
              <a:gd name="T27" fmla="*/ 4 h 303"/>
              <a:gd name="T28" fmla="*/ 66 w 396"/>
              <a:gd name="T29" fmla="*/ 17 h 303"/>
              <a:gd name="T30" fmla="*/ 72 w 396"/>
              <a:gd name="T31" fmla="*/ 27 h 303"/>
              <a:gd name="T32" fmla="*/ 52 w 396"/>
              <a:gd name="T33" fmla="*/ 40 h 303"/>
              <a:gd name="T34" fmla="*/ 54 w 396"/>
              <a:gd name="T35" fmla="*/ 65 h 303"/>
              <a:gd name="T36" fmla="*/ 41 w 396"/>
              <a:gd name="T37" fmla="*/ 69 h 303"/>
              <a:gd name="T38" fmla="*/ 18 w 396"/>
              <a:gd name="T39" fmla="*/ 79 h 303"/>
              <a:gd name="T40" fmla="*/ 5 w 396"/>
              <a:gd name="T41" fmla="*/ 89 h 303"/>
              <a:gd name="T42" fmla="*/ 1 w 396"/>
              <a:gd name="T43" fmla="*/ 111 h 303"/>
              <a:gd name="T44" fmla="*/ 4 w 396"/>
              <a:gd name="T45" fmla="*/ 120 h 303"/>
              <a:gd name="T46" fmla="*/ 4 w 396"/>
              <a:gd name="T47" fmla="*/ 139 h 303"/>
              <a:gd name="T48" fmla="*/ 10 w 396"/>
              <a:gd name="T49" fmla="*/ 135 h 303"/>
              <a:gd name="T50" fmla="*/ 7 w 396"/>
              <a:gd name="T51" fmla="*/ 145 h 303"/>
              <a:gd name="T52" fmla="*/ 7 w 396"/>
              <a:gd name="T53" fmla="*/ 159 h 303"/>
              <a:gd name="T54" fmla="*/ 9 w 396"/>
              <a:gd name="T55" fmla="*/ 170 h 303"/>
              <a:gd name="T56" fmla="*/ 8 w 396"/>
              <a:gd name="T57" fmla="*/ 180 h 303"/>
              <a:gd name="T58" fmla="*/ 13 w 396"/>
              <a:gd name="T59" fmla="*/ 218 h 303"/>
              <a:gd name="T60" fmla="*/ 15 w 396"/>
              <a:gd name="T61" fmla="*/ 234 h 303"/>
              <a:gd name="T62" fmla="*/ 18 w 396"/>
              <a:gd name="T63" fmla="*/ 265 h 303"/>
              <a:gd name="T64" fmla="*/ 24 w 396"/>
              <a:gd name="T65" fmla="*/ 286 h 303"/>
              <a:gd name="T66" fmla="*/ 43 w 396"/>
              <a:gd name="T67" fmla="*/ 301 h 303"/>
              <a:gd name="T68" fmla="*/ 60 w 396"/>
              <a:gd name="T69" fmla="*/ 296 h 303"/>
              <a:gd name="T70" fmla="*/ 71 w 396"/>
              <a:gd name="T71" fmla="*/ 282 h 303"/>
              <a:gd name="T72" fmla="*/ 67 w 396"/>
              <a:gd name="T73" fmla="*/ 258 h 303"/>
              <a:gd name="T74" fmla="*/ 91 w 396"/>
              <a:gd name="T75" fmla="*/ 251 h 303"/>
              <a:gd name="T76" fmla="*/ 114 w 396"/>
              <a:gd name="T77" fmla="*/ 242 h 303"/>
              <a:gd name="T78" fmla="*/ 136 w 396"/>
              <a:gd name="T79" fmla="*/ 230 h 303"/>
              <a:gd name="T80" fmla="*/ 158 w 396"/>
              <a:gd name="T81" fmla="*/ 225 h 303"/>
              <a:gd name="T82" fmla="*/ 172 w 396"/>
              <a:gd name="T83" fmla="*/ 217 h 303"/>
              <a:gd name="T84" fmla="*/ 193 w 396"/>
              <a:gd name="T85" fmla="*/ 207 h 303"/>
              <a:gd name="T86" fmla="*/ 203 w 396"/>
              <a:gd name="T87" fmla="*/ 199 h 303"/>
              <a:gd name="T88" fmla="*/ 226 w 396"/>
              <a:gd name="T89" fmla="*/ 179 h 303"/>
              <a:gd name="T90" fmla="*/ 232 w 396"/>
              <a:gd name="T91" fmla="*/ 171 h 303"/>
              <a:gd name="T92" fmla="*/ 248 w 396"/>
              <a:gd name="T93" fmla="*/ 154 h 303"/>
              <a:gd name="T94" fmla="*/ 263 w 396"/>
              <a:gd name="T95" fmla="*/ 138 h 303"/>
              <a:gd name="T96" fmla="*/ 270 w 396"/>
              <a:gd name="T97" fmla="*/ 117 h 303"/>
              <a:gd name="T98" fmla="*/ 297 w 396"/>
              <a:gd name="T99" fmla="*/ 113 h 303"/>
              <a:gd name="T100" fmla="*/ 308 w 396"/>
              <a:gd name="T101" fmla="*/ 127 h 303"/>
              <a:gd name="T102" fmla="*/ 322 w 396"/>
              <a:gd name="T103" fmla="*/ 124 h 303"/>
              <a:gd name="T104" fmla="*/ 333 w 396"/>
              <a:gd name="T105" fmla="*/ 125 h 303"/>
              <a:gd name="T106" fmla="*/ 347 w 396"/>
              <a:gd name="T107" fmla="*/ 148 h 303"/>
              <a:gd name="T108" fmla="*/ 362 w 396"/>
              <a:gd name="T109" fmla="*/ 170 h 303"/>
              <a:gd name="T110" fmla="*/ 369 w 396"/>
              <a:gd name="T111" fmla="*/ 145 h 303"/>
              <a:gd name="T112" fmla="*/ 393 w 396"/>
              <a:gd name="T113" fmla="*/ 14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6" h="303">
                <a:moveTo>
                  <a:pt x="395" y="132"/>
                </a:moveTo>
                <a:cubicBezTo>
                  <a:pt x="394" y="129"/>
                  <a:pt x="390" y="130"/>
                  <a:pt x="387" y="129"/>
                </a:cubicBezTo>
                <a:cubicBezTo>
                  <a:pt x="387" y="129"/>
                  <a:pt x="387" y="128"/>
                  <a:pt x="387" y="127"/>
                </a:cubicBezTo>
                <a:cubicBezTo>
                  <a:pt x="383" y="127"/>
                  <a:pt x="384" y="125"/>
                  <a:pt x="383" y="122"/>
                </a:cubicBezTo>
                <a:cubicBezTo>
                  <a:pt x="381" y="121"/>
                  <a:pt x="382" y="118"/>
                  <a:pt x="380" y="117"/>
                </a:cubicBezTo>
                <a:cubicBezTo>
                  <a:pt x="377" y="115"/>
                  <a:pt x="375" y="118"/>
                  <a:pt x="373" y="119"/>
                </a:cubicBezTo>
                <a:cubicBezTo>
                  <a:pt x="372" y="117"/>
                  <a:pt x="374" y="117"/>
                  <a:pt x="375" y="115"/>
                </a:cubicBezTo>
                <a:cubicBezTo>
                  <a:pt x="375" y="113"/>
                  <a:pt x="373" y="112"/>
                  <a:pt x="374" y="111"/>
                </a:cubicBezTo>
                <a:cubicBezTo>
                  <a:pt x="378" y="111"/>
                  <a:pt x="378" y="110"/>
                  <a:pt x="379" y="106"/>
                </a:cubicBezTo>
                <a:cubicBezTo>
                  <a:pt x="379" y="103"/>
                  <a:pt x="377" y="102"/>
                  <a:pt x="375" y="100"/>
                </a:cubicBezTo>
                <a:cubicBezTo>
                  <a:pt x="374" y="101"/>
                  <a:pt x="373" y="102"/>
                  <a:pt x="372" y="102"/>
                </a:cubicBezTo>
                <a:cubicBezTo>
                  <a:pt x="372" y="100"/>
                  <a:pt x="372" y="99"/>
                  <a:pt x="372" y="98"/>
                </a:cubicBezTo>
                <a:cubicBezTo>
                  <a:pt x="373" y="96"/>
                  <a:pt x="374" y="96"/>
                  <a:pt x="374" y="94"/>
                </a:cubicBezTo>
                <a:cubicBezTo>
                  <a:pt x="374" y="96"/>
                  <a:pt x="381" y="93"/>
                  <a:pt x="381" y="92"/>
                </a:cubicBezTo>
                <a:cubicBezTo>
                  <a:pt x="382" y="90"/>
                  <a:pt x="382" y="87"/>
                  <a:pt x="382" y="85"/>
                </a:cubicBezTo>
                <a:cubicBezTo>
                  <a:pt x="382" y="83"/>
                  <a:pt x="383" y="81"/>
                  <a:pt x="383" y="79"/>
                </a:cubicBezTo>
                <a:cubicBezTo>
                  <a:pt x="381" y="79"/>
                  <a:pt x="379" y="81"/>
                  <a:pt x="378" y="80"/>
                </a:cubicBezTo>
                <a:cubicBezTo>
                  <a:pt x="377" y="75"/>
                  <a:pt x="384" y="70"/>
                  <a:pt x="380" y="65"/>
                </a:cubicBezTo>
                <a:cubicBezTo>
                  <a:pt x="379" y="63"/>
                  <a:pt x="376" y="64"/>
                  <a:pt x="375" y="62"/>
                </a:cubicBezTo>
                <a:cubicBezTo>
                  <a:pt x="375" y="60"/>
                  <a:pt x="375" y="58"/>
                  <a:pt x="375" y="56"/>
                </a:cubicBezTo>
                <a:cubicBezTo>
                  <a:pt x="375" y="55"/>
                  <a:pt x="374" y="54"/>
                  <a:pt x="374" y="52"/>
                </a:cubicBezTo>
                <a:cubicBezTo>
                  <a:pt x="376" y="52"/>
                  <a:pt x="377" y="52"/>
                  <a:pt x="377" y="54"/>
                </a:cubicBezTo>
                <a:cubicBezTo>
                  <a:pt x="379" y="55"/>
                  <a:pt x="380" y="52"/>
                  <a:pt x="382" y="52"/>
                </a:cubicBezTo>
                <a:cubicBezTo>
                  <a:pt x="383" y="52"/>
                  <a:pt x="385" y="51"/>
                  <a:pt x="386" y="49"/>
                </a:cubicBezTo>
                <a:cubicBezTo>
                  <a:pt x="387" y="45"/>
                  <a:pt x="383" y="45"/>
                  <a:pt x="380" y="44"/>
                </a:cubicBezTo>
                <a:cubicBezTo>
                  <a:pt x="375" y="44"/>
                  <a:pt x="372" y="40"/>
                  <a:pt x="371" y="36"/>
                </a:cubicBezTo>
                <a:cubicBezTo>
                  <a:pt x="370" y="34"/>
                  <a:pt x="367" y="34"/>
                  <a:pt x="367" y="33"/>
                </a:cubicBezTo>
                <a:cubicBezTo>
                  <a:pt x="365" y="33"/>
                  <a:pt x="364" y="33"/>
                  <a:pt x="363" y="32"/>
                </a:cubicBezTo>
                <a:cubicBezTo>
                  <a:pt x="362" y="31"/>
                  <a:pt x="361" y="32"/>
                  <a:pt x="360" y="32"/>
                </a:cubicBezTo>
                <a:cubicBezTo>
                  <a:pt x="358" y="34"/>
                  <a:pt x="357" y="35"/>
                  <a:pt x="354" y="35"/>
                </a:cubicBezTo>
                <a:cubicBezTo>
                  <a:pt x="351" y="35"/>
                  <a:pt x="348" y="35"/>
                  <a:pt x="346" y="34"/>
                </a:cubicBezTo>
                <a:cubicBezTo>
                  <a:pt x="342" y="32"/>
                  <a:pt x="340" y="32"/>
                  <a:pt x="336" y="32"/>
                </a:cubicBezTo>
                <a:cubicBezTo>
                  <a:pt x="335" y="33"/>
                  <a:pt x="329" y="34"/>
                  <a:pt x="329" y="32"/>
                </a:cubicBezTo>
                <a:cubicBezTo>
                  <a:pt x="329" y="29"/>
                  <a:pt x="326" y="28"/>
                  <a:pt x="324" y="28"/>
                </a:cubicBezTo>
                <a:cubicBezTo>
                  <a:pt x="320" y="28"/>
                  <a:pt x="321" y="26"/>
                  <a:pt x="319" y="25"/>
                </a:cubicBezTo>
                <a:cubicBezTo>
                  <a:pt x="316" y="23"/>
                  <a:pt x="316" y="27"/>
                  <a:pt x="315" y="28"/>
                </a:cubicBezTo>
                <a:cubicBezTo>
                  <a:pt x="314" y="28"/>
                  <a:pt x="313" y="28"/>
                  <a:pt x="312" y="29"/>
                </a:cubicBezTo>
                <a:cubicBezTo>
                  <a:pt x="312" y="29"/>
                  <a:pt x="312" y="30"/>
                  <a:pt x="312" y="30"/>
                </a:cubicBezTo>
                <a:cubicBezTo>
                  <a:pt x="309" y="30"/>
                  <a:pt x="306" y="29"/>
                  <a:pt x="303" y="29"/>
                </a:cubicBezTo>
                <a:cubicBezTo>
                  <a:pt x="303" y="31"/>
                  <a:pt x="303" y="32"/>
                  <a:pt x="303" y="34"/>
                </a:cubicBezTo>
                <a:cubicBezTo>
                  <a:pt x="299" y="34"/>
                  <a:pt x="294" y="37"/>
                  <a:pt x="290" y="35"/>
                </a:cubicBezTo>
                <a:cubicBezTo>
                  <a:pt x="288" y="34"/>
                  <a:pt x="286" y="30"/>
                  <a:pt x="283" y="31"/>
                </a:cubicBezTo>
                <a:cubicBezTo>
                  <a:pt x="282" y="32"/>
                  <a:pt x="280" y="34"/>
                  <a:pt x="279" y="32"/>
                </a:cubicBezTo>
                <a:cubicBezTo>
                  <a:pt x="278" y="30"/>
                  <a:pt x="279" y="29"/>
                  <a:pt x="279" y="27"/>
                </a:cubicBezTo>
                <a:cubicBezTo>
                  <a:pt x="277" y="27"/>
                  <a:pt x="277" y="29"/>
                  <a:pt x="276" y="30"/>
                </a:cubicBezTo>
                <a:cubicBezTo>
                  <a:pt x="274" y="31"/>
                  <a:pt x="273" y="29"/>
                  <a:pt x="271" y="29"/>
                </a:cubicBezTo>
                <a:cubicBezTo>
                  <a:pt x="268" y="27"/>
                  <a:pt x="265" y="30"/>
                  <a:pt x="264" y="33"/>
                </a:cubicBezTo>
                <a:cubicBezTo>
                  <a:pt x="257" y="34"/>
                  <a:pt x="252" y="37"/>
                  <a:pt x="245" y="36"/>
                </a:cubicBezTo>
                <a:cubicBezTo>
                  <a:pt x="242" y="35"/>
                  <a:pt x="241" y="36"/>
                  <a:pt x="240" y="34"/>
                </a:cubicBezTo>
                <a:cubicBezTo>
                  <a:pt x="238" y="32"/>
                  <a:pt x="236" y="35"/>
                  <a:pt x="236" y="36"/>
                </a:cubicBezTo>
                <a:cubicBezTo>
                  <a:pt x="234" y="36"/>
                  <a:pt x="233" y="30"/>
                  <a:pt x="232" y="28"/>
                </a:cubicBezTo>
                <a:cubicBezTo>
                  <a:pt x="234" y="28"/>
                  <a:pt x="237" y="29"/>
                  <a:pt x="239" y="28"/>
                </a:cubicBezTo>
                <a:cubicBezTo>
                  <a:pt x="239" y="29"/>
                  <a:pt x="239" y="30"/>
                  <a:pt x="239" y="30"/>
                </a:cubicBezTo>
                <a:cubicBezTo>
                  <a:pt x="240" y="30"/>
                  <a:pt x="241" y="29"/>
                  <a:pt x="242" y="29"/>
                </a:cubicBezTo>
                <a:cubicBezTo>
                  <a:pt x="239" y="26"/>
                  <a:pt x="238" y="19"/>
                  <a:pt x="234" y="18"/>
                </a:cubicBezTo>
                <a:cubicBezTo>
                  <a:pt x="229" y="17"/>
                  <a:pt x="227" y="19"/>
                  <a:pt x="224" y="22"/>
                </a:cubicBezTo>
                <a:cubicBezTo>
                  <a:pt x="223" y="22"/>
                  <a:pt x="221" y="22"/>
                  <a:pt x="220" y="23"/>
                </a:cubicBezTo>
                <a:cubicBezTo>
                  <a:pt x="220" y="20"/>
                  <a:pt x="215" y="21"/>
                  <a:pt x="214" y="21"/>
                </a:cubicBezTo>
                <a:cubicBezTo>
                  <a:pt x="210" y="22"/>
                  <a:pt x="208" y="23"/>
                  <a:pt x="205" y="24"/>
                </a:cubicBezTo>
                <a:cubicBezTo>
                  <a:pt x="205" y="26"/>
                  <a:pt x="204" y="27"/>
                  <a:pt x="202" y="27"/>
                </a:cubicBezTo>
                <a:cubicBezTo>
                  <a:pt x="203" y="28"/>
                  <a:pt x="203" y="31"/>
                  <a:pt x="201" y="32"/>
                </a:cubicBezTo>
                <a:cubicBezTo>
                  <a:pt x="199" y="32"/>
                  <a:pt x="198" y="32"/>
                  <a:pt x="198" y="34"/>
                </a:cubicBezTo>
                <a:cubicBezTo>
                  <a:pt x="196" y="34"/>
                  <a:pt x="195" y="36"/>
                  <a:pt x="193" y="38"/>
                </a:cubicBezTo>
                <a:cubicBezTo>
                  <a:pt x="196" y="38"/>
                  <a:pt x="197" y="39"/>
                  <a:pt x="196" y="41"/>
                </a:cubicBezTo>
                <a:cubicBezTo>
                  <a:pt x="194" y="41"/>
                  <a:pt x="193" y="43"/>
                  <a:pt x="192" y="43"/>
                </a:cubicBezTo>
                <a:cubicBezTo>
                  <a:pt x="190" y="44"/>
                  <a:pt x="188" y="43"/>
                  <a:pt x="187" y="43"/>
                </a:cubicBezTo>
                <a:cubicBezTo>
                  <a:pt x="186" y="45"/>
                  <a:pt x="187" y="47"/>
                  <a:pt x="185" y="47"/>
                </a:cubicBezTo>
                <a:cubicBezTo>
                  <a:pt x="184" y="47"/>
                  <a:pt x="182" y="47"/>
                  <a:pt x="181" y="47"/>
                </a:cubicBezTo>
                <a:cubicBezTo>
                  <a:pt x="179" y="47"/>
                  <a:pt x="173" y="48"/>
                  <a:pt x="173" y="45"/>
                </a:cubicBezTo>
                <a:cubicBezTo>
                  <a:pt x="173" y="45"/>
                  <a:pt x="173" y="45"/>
                  <a:pt x="173" y="45"/>
                </a:cubicBezTo>
                <a:cubicBezTo>
                  <a:pt x="174" y="43"/>
                  <a:pt x="173" y="35"/>
                  <a:pt x="171" y="34"/>
                </a:cubicBezTo>
                <a:cubicBezTo>
                  <a:pt x="170" y="34"/>
                  <a:pt x="167" y="34"/>
                  <a:pt x="166" y="33"/>
                </a:cubicBezTo>
                <a:cubicBezTo>
                  <a:pt x="165" y="30"/>
                  <a:pt x="164" y="31"/>
                  <a:pt x="161" y="31"/>
                </a:cubicBezTo>
                <a:cubicBezTo>
                  <a:pt x="156" y="31"/>
                  <a:pt x="150" y="33"/>
                  <a:pt x="145" y="31"/>
                </a:cubicBezTo>
                <a:cubicBezTo>
                  <a:pt x="143" y="30"/>
                  <a:pt x="141" y="30"/>
                  <a:pt x="139" y="31"/>
                </a:cubicBezTo>
                <a:cubicBezTo>
                  <a:pt x="137" y="31"/>
                  <a:pt x="135" y="30"/>
                  <a:pt x="133" y="30"/>
                </a:cubicBezTo>
                <a:cubicBezTo>
                  <a:pt x="128" y="30"/>
                  <a:pt x="127" y="28"/>
                  <a:pt x="125" y="24"/>
                </a:cubicBezTo>
                <a:cubicBezTo>
                  <a:pt x="123" y="19"/>
                  <a:pt x="121" y="18"/>
                  <a:pt x="116" y="17"/>
                </a:cubicBezTo>
                <a:cubicBezTo>
                  <a:pt x="112" y="17"/>
                  <a:pt x="106" y="20"/>
                  <a:pt x="102" y="17"/>
                </a:cubicBezTo>
                <a:cubicBezTo>
                  <a:pt x="99" y="13"/>
                  <a:pt x="100" y="9"/>
                  <a:pt x="99" y="5"/>
                </a:cubicBezTo>
                <a:cubicBezTo>
                  <a:pt x="93" y="0"/>
                  <a:pt x="93" y="0"/>
                  <a:pt x="93" y="0"/>
                </a:cubicBezTo>
                <a:cubicBezTo>
                  <a:pt x="90" y="0"/>
                  <a:pt x="91" y="6"/>
                  <a:pt x="86" y="4"/>
                </a:cubicBezTo>
                <a:cubicBezTo>
                  <a:pt x="84" y="3"/>
                  <a:pt x="82" y="2"/>
                  <a:pt x="80" y="2"/>
                </a:cubicBezTo>
                <a:cubicBezTo>
                  <a:pt x="79" y="2"/>
                  <a:pt x="78" y="4"/>
                  <a:pt x="77" y="4"/>
                </a:cubicBezTo>
                <a:cubicBezTo>
                  <a:pt x="76" y="4"/>
                  <a:pt x="75" y="4"/>
                  <a:pt x="74" y="4"/>
                </a:cubicBezTo>
                <a:cubicBezTo>
                  <a:pt x="72" y="4"/>
                  <a:pt x="72" y="7"/>
                  <a:pt x="70" y="7"/>
                </a:cubicBezTo>
                <a:cubicBezTo>
                  <a:pt x="68" y="8"/>
                  <a:pt x="67" y="7"/>
                  <a:pt x="65" y="7"/>
                </a:cubicBezTo>
                <a:cubicBezTo>
                  <a:pt x="64" y="9"/>
                  <a:pt x="67" y="9"/>
                  <a:pt x="68" y="10"/>
                </a:cubicBezTo>
                <a:cubicBezTo>
                  <a:pt x="68" y="11"/>
                  <a:pt x="68" y="12"/>
                  <a:pt x="68" y="14"/>
                </a:cubicBezTo>
                <a:cubicBezTo>
                  <a:pt x="67" y="14"/>
                  <a:pt x="65" y="16"/>
                  <a:pt x="66" y="17"/>
                </a:cubicBezTo>
                <a:cubicBezTo>
                  <a:pt x="69" y="17"/>
                  <a:pt x="67" y="26"/>
                  <a:pt x="73" y="21"/>
                </a:cubicBezTo>
                <a:cubicBezTo>
                  <a:pt x="78" y="17"/>
                  <a:pt x="85" y="21"/>
                  <a:pt x="89" y="24"/>
                </a:cubicBezTo>
                <a:cubicBezTo>
                  <a:pt x="87" y="24"/>
                  <a:pt x="86" y="25"/>
                  <a:pt x="84" y="25"/>
                </a:cubicBezTo>
                <a:cubicBezTo>
                  <a:pt x="82" y="25"/>
                  <a:pt x="80" y="24"/>
                  <a:pt x="79" y="25"/>
                </a:cubicBezTo>
                <a:cubicBezTo>
                  <a:pt x="78" y="25"/>
                  <a:pt x="77" y="26"/>
                  <a:pt x="77" y="27"/>
                </a:cubicBezTo>
                <a:cubicBezTo>
                  <a:pt x="76" y="28"/>
                  <a:pt x="74" y="27"/>
                  <a:pt x="72" y="27"/>
                </a:cubicBezTo>
                <a:cubicBezTo>
                  <a:pt x="72" y="28"/>
                  <a:pt x="72" y="29"/>
                  <a:pt x="72" y="30"/>
                </a:cubicBezTo>
                <a:cubicBezTo>
                  <a:pt x="70" y="30"/>
                  <a:pt x="66" y="29"/>
                  <a:pt x="64" y="32"/>
                </a:cubicBezTo>
                <a:cubicBezTo>
                  <a:pt x="63" y="33"/>
                  <a:pt x="65" y="36"/>
                  <a:pt x="62" y="36"/>
                </a:cubicBezTo>
                <a:cubicBezTo>
                  <a:pt x="61" y="37"/>
                  <a:pt x="60" y="38"/>
                  <a:pt x="59" y="38"/>
                </a:cubicBezTo>
                <a:cubicBezTo>
                  <a:pt x="56" y="38"/>
                  <a:pt x="54" y="38"/>
                  <a:pt x="52" y="38"/>
                </a:cubicBezTo>
                <a:cubicBezTo>
                  <a:pt x="52" y="40"/>
                  <a:pt x="52" y="40"/>
                  <a:pt x="52" y="40"/>
                </a:cubicBezTo>
                <a:cubicBezTo>
                  <a:pt x="53" y="40"/>
                  <a:pt x="55" y="40"/>
                  <a:pt x="55" y="40"/>
                </a:cubicBezTo>
                <a:cubicBezTo>
                  <a:pt x="59" y="40"/>
                  <a:pt x="59" y="41"/>
                  <a:pt x="61" y="43"/>
                </a:cubicBezTo>
                <a:cubicBezTo>
                  <a:pt x="66" y="47"/>
                  <a:pt x="67" y="51"/>
                  <a:pt x="66" y="57"/>
                </a:cubicBezTo>
                <a:cubicBezTo>
                  <a:pt x="65" y="57"/>
                  <a:pt x="60" y="57"/>
                  <a:pt x="60" y="58"/>
                </a:cubicBezTo>
                <a:cubicBezTo>
                  <a:pt x="60" y="59"/>
                  <a:pt x="62" y="60"/>
                  <a:pt x="62" y="61"/>
                </a:cubicBezTo>
                <a:cubicBezTo>
                  <a:pt x="61" y="65"/>
                  <a:pt x="55" y="62"/>
                  <a:pt x="54" y="65"/>
                </a:cubicBezTo>
                <a:cubicBezTo>
                  <a:pt x="53" y="64"/>
                  <a:pt x="53" y="63"/>
                  <a:pt x="51" y="63"/>
                </a:cubicBezTo>
                <a:cubicBezTo>
                  <a:pt x="51" y="62"/>
                  <a:pt x="51" y="61"/>
                  <a:pt x="51" y="60"/>
                </a:cubicBezTo>
                <a:cubicBezTo>
                  <a:pt x="49" y="60"/>
                  <a:pt x="47" y="60"/>
                  <a:pt x="45" y="59"/>
                </a:cubicBezTo>
                <a:cubicBezTo>
                  <a:pt x="44" y="57"/>
                  <a:pt x="44" y="56"/>
                  <a:pt x="42" y="56"/>
                </a:cubicBezTo>
                <a:cubicBezTo>
                  <a:pt x="41" y="57"/>
                  <a:pt x="41" y="58"/>
                  <a:pt x="40" y="59"/>
                </a:cubicBezTo>
                <a:cubicBezTo>
                  <a:pt x="45" y="60"/>
                  <a:pt x="41" y="67"/>
                  <a:pt x="41" y="69"/>
                </a:cubicBezTo>
                <a:cubicBezTo>
                  <a:pt x="40" y="71"/>
                  <a:pt x="42" y="74"/>
                  <a:pt x="40" y="75"/>
                </a:cubicBezTo>
                <a:cubicBezTo>
                  <a:pt x="37" y="76"/>
                  <a:pt x="38" y="80"/>
                  <a:pt x="38" y="81"/>
                </a:cubicBezTo>
                <a:cubicBezTo>
                  <a:pt x="37" y="82"/>
                  <a:pt x="36" y="81"/>
                  <a:pt x="34" y="81"/>
                </a:cubicBezTo>
                <a:cubicBezTo>
                  <a:pt x="34" y="81"/>
                  <a:pt x="34" y="83"/>
                  <a:pt x="33" y="83"/>
                </a:cubicBezTo>
                <a:cubicBezTo>
                  <a:pt x="32" y="84"/>
                  <a:pt x="30" y="83"/>
                  <a:pt x="29" y="83"/>
                </a:cubicBezTo>
                <a:cubicBezTo>
                  <a:pt x="18" y="79"/>
                  <a:pt x="18" y="79"/>
                  <a:pt x="18" y="79"/>
                </a:cubicBezTo>
                <a:cubicBezTo>
                  <a:pt x="17" y="78"/>
                  <a:pt x="15" y="78"/>
                  <a:pt x="14" y="78"/>
                </a:cubicBezTo>
                <a:cubicBezTo>
                  <a:pt x="12" y="79"/>
                  <a:pt x="11" y="80"/>
                  <a:pt x="11" y="82"/>
                </a:cubicBezTo>
                <a:cubicBezTo>
                  <a:pt x="9" y="82"/>
                  <a:pt x="8" y="82"/>
                  <a:pt x="6" y="81"/>
                </a:cubicBezTo>
                <a:cubicBezTo>
                  <a:pt x="6" y="82"/>
                  <a:pt x="5" y="82"/>
                  <a:pt x="4" y="83"/>
                </a:cubicBezTo>
                <a:cubicBezTo>
                  <a:pt x="2" y="86"/>
                  <a:pt x="7" y="88"/>
                  <a:pt x="7" y="91"/>
                </a:cubicBezTo>
                <a:cubicBezTo>
                  <a:pt x="6" y="90"/>
                  <a:pt x="5" y="90"/>
                  <a:pt x="5" y="89"/>
                </a:cubicBezTo>
                <a:cubicBezTo>
                  <a:pt x="4" y="88"/>
                  <a:pt x="3" y="88"/>
                  <a:pt x="2" y="89"/>
                </a:cubicBezTo>
                <a:cubicBezTo>
                  <a:pt x="1" y="90"/>
                  <a:pt x="2" y="91"/>
                  <a:pt x="3" y="92"/>
                </a:cubicBezTo>
                <a:cubicBezTo>
                  <a:pt x="3" y="92"/>
                  <a:pt x="5" y="95"/>
                  <a:pt x="4" y="95"/>
                </a:cubicBezTo>
                <a:cubicBezTo>
                  <a:pt x="4" y="95"/>
                  <a:pt x="3" y="95"/>
                  <a:pt x="2" y="95"/>
                </a:cubicBezTo>
                <a:cubicBezTo>
                  <a:pt x="2" y="97"/>
                  <a:pt x="1" y="99"/>
                  <a:pt x="1" y="102"/>
                </a:cubicBezTo>
                <a:cubicBezTo>
                  <a:pt x="5" y="101"/>
                  <a:pt x="0" y="110"/>
                  <a:pt x="1" y="111"/>
                </a:cubicBezTo>
                <a:cubicBezTo>
                  <a:pt x="2" y="111"/>
                  <a:pt x="3" y="111"/>
                  <a:pt x="4" y="111"/>
                </a:cubicBezTo>
                <a:cubicBezTo>
                  <a:pt x="4" y="110"/>
                  <a:pt x="4" y="107"/>
                  <a:pt x="5" y="107"/>
                </a:cubicBezTo>
                <a:cubicBezTo>
                  <a:pt x="6" y="107"/>
                  <a:pt x="8" y="110"/>
                  <a:pt x="8" y="110"/>
                </a:cubicBezTo>
                <a:cubicBezTo>
                  <a:pt x="7" y="112"/>
                  <a:pt x="3" y="111"/>
                  <a:pt x="3" y="113"/>
                </a:cubicBezTo>
                <a:cubicBezTo>
                  <a:pt x="2" y="115"/>
                  <a:pt x="3" y="115"/>
                  <a:pt x="4" y="116"/>
                </a:cubicBezTo>
                <a:cubicBezTo>
                  <a:pt x="4" y="117"/>
                  <a:pt x="4" y="119"/>
                  <a:pt x="4" y="120"/>
                </a:cubicBezTo>
                <a:cubicBezTo>
                  <a:pt x="6" y="120"/>
                  <a:pt x="8" y="120"/>
                  <a:pt x="10" y="120"/>
                </a:cubicBezTo>
                <a:cubicBezTo>
                  <a:pt x="8" y="121"/>
                  <a:pt x="4" y="120"/>
                  <a:pt x="3" y="122"/>
                </a:cubicBezTo>
                <a:cubicBezTo>
                  <a:pt x="3" y="123"/>
                  <a:pt x="3" y="128"/>
                  <a:pt x="4" y="129"/>
                </a:cubicBezTo>
                <a:cubicBezTo>
                  <a:pt x="4" y="130"/>
                  <a:pt x="4" y="130"/>
                  <a:pt x="4" y="131"/>
                </a:cubicBezTo>
                <a:cubicBezTo>
                  <a:pt x="2" y="132"/>
                  <a:pt x="4" y="133"/>
                  <a:pt x="4" y="135"/>
                </a:cubicBezTo>
                <a:cubicBezTo>
                  <a:pt x="2" y="135"/>
                  <a:pt x="2" y="139"/>
                  <a:pt x="4" y="139"/>
                </a:cubicBezTo>
                <a:cubicBezTo>
                  <a:pt x="5" y="137"/>
                  <a:pt x="6" y="136"/>
                  <a:pt x="7" y="134"/>
                </a:cubicBezTo>
                <a:cubicBezTo>
                  <a:pt x="8" y="134"/>
                  <a:pt x="9" y="134"/>
                  <a:pt x="11" y="134"/>
                </a:cubicBezTo>
                <a:cubicBezTo>
                  <a:pt x="11" y="133"/>
                  <a:pt x="10" y="128"/>
                  <a:pt x="12" y="128"/>
                </a:cubicBezTo>
                <a:cubicBezTo>
                  <a:pt x="12" y="130"/>
                  <a:pt x="13" y="131"/>
                  <a:pt x="13" y="132"/>
                </a:cubicBezTo>
                <a:cubicBezTo>
                  <a:pt x="13" y="133"/>
                  <a:pt x="13" y="134"/>
                  <a:pt x="13" y="135"/>
                </a:cubicBezTo>
                <a:cubicBezTo>
                  <a:pt x="12" y="135"/>
                  <a:pt x="11" y="135"/>
                  <a:pt x="10" y="135"/>
                </a:cubicBezTo>
                <a:cubicBezTo>
                  <a:pt x="9" y="136"/>
                  <a:pt x="9" y="136"/>
                  <a:pt x="9" y="137"/>
                </a:cubicBezTo>
                <a:cubicBezTo>
                  <a:pt x="8" y="138"/>
                  <a:pt x="5" y="140"/>
                  <a:pt x="8" y="141"/>
                </a:cubicBezTo>
                <a:cubicBezTo>
                  <a:pt x="7" y="142"/>
                  <a:pt x="8" y="142"/>
                  <a:pt x="8" y="143"/>
                </a:cubicBezTo>
                <a:cubicBezTo>
                  <a:pt x="9" y="143"/>
                  <a:pt x="10" y="143"/>
                  <a:pt x="11" y="143"/>
                </a:cubicBezTo>
                <a:cubicBezTo>
                  <a:pt x="11" y="143"/>
                  <a:pt x="12" y="144"/>
                  <a:pt x="13" y="145"/>
                </a:cubicBezTo>
                <a:cubicBezTo>
                  <a:pt x="11" y="145"/>
                  <a:pt x="9" y="145"/>
                  <a:pt x="7" y="145"/>
                </a:cubicBezTo>
                <a:cubicBezTo>
                  <a:pt x="7" y="144"/>
                  <a:pt x="7" y="144"/>
                  <a:pt x="7" y="144"/>
                </a:cubicBezTo>
                <a:cubicBezTo>
                  <a:pt x="3" y="143"/>
                  <a:pt x="3" y="149"/>
                  <a:pt x="4" y="152"/>
                </a:cubicBezTo>
                <a:cubicBezTo>
                  <a:pt x="4" y="152"/>
                  <a:pt x="5" y="152"/>
                  <a:pt x="5" y="153"/>
                </a:cubicBezTo>
                <a:cubicBezTo>
                  <a:pt x="6" y="154"/>
                  <a:pt x="6" y="155"/>
                  <a:pt x="6" y="155"/>
                </a:cubicBezTo>
                <a:cubicBezTo>
                  <a:pt x="7" y="157"/>
                  <a:pt x="7" y="158"/>
                  <a:pt x="9" y="159"/>
                </a:cubicBezTo>
                <a:cubicBezTo>
                  <a:pt x="8" y="159"/>
                  <a:pt x="7" y="159"/>
                  <a:pt x="7" y="159"/>
                </a:cubicBezTo>
                <a:cubicBezTo>
                  <a:pt x="7" y="158"/>
                  <a:pt x="7" y="158"/>
                  <a:pt x="7" y="158"/>
                </a:cubicBezTo>
                <a:cubicBezTo>
                  <a:pt x="6" y="158"/>
                  <a:pt x="6" y="158"/>
                  <a:pt x="6" y="158"/>
                </a:cubicBezTo>
                <a:cubicBezTo>
                  <a:pt x="5" y="161"/>
                  <a:pt x="5" y="163"/>
                  <a:pt x="5" y="166"/>
                </a:cubicBezTo>
                <a:cubicBezTo>
                  <a:pt x="6" y="166"/>
                  <a:pt x="6" y="166"/>
                  <a:pt x="7" y="167"/>
                </a:cubicBezTo>
                <a:cubicBezTo>
                  <a:pt x="7" y="168"/>
                  <a:pt x="7" y="169"/>
                  <a:pt x="7" y="170"/>
                </a:cubicBezTo>
                <a:cubicBezTo>
                  <a:pt x="7" y="170"/>
                  <a:pt x="8" y="170"/>
                  <a:pt x="9" y="170"/>
                </a:cubicBezTo>
                <a:cubicBezTo>
                  <a:pt x="9" y="169"/>
                  <a:pt x="10" y="169"/>
                  <a:pt x="11" y="169"/>
                </a:cubicBezTo>
                <a:cubicBezTo>
                  <a:pt x="11" y="170"/>
                  <a:pt x="11" y="172"/>
                  <a:pt x="11" y="173"/>
                </a:cubicBezTo>
                <a:cubicBezTo>
                  <a:pt x="11" y="171"/>
                  <a:pt x="7" y="171"/>
                  <a:pt x="5" y="171"/>
                </a:cubicBezTo>
                <a:cubicBezTo>
                  <a:pt x="5" y="174"/>
                  <a:pt x="7" y="174"/>
                  <a:pt x="8" y="175"/>
                </a:cubicBezTo>
                <a:cubicBezTo>
                  <a:pt x="9" y="177"/>
                  <a:pt x="7" y="178"/>
                  <a:pt x="7" y="180"/>
                </a:cubicBezTo>
                <a:cubicBezTo>
                  <a:pt x="7" y="180"/>
                  <a:pt x="7" y="180"/>
                  <a:pt x="8" y="180"/>
                </a:cubicBezTo>
                <a:cubicBezTo>
                  <a:pt x="8" y="182"/>
                  <a:pt x="9" y="186"/>
                  <a:pt x="11" y="185"/>
                </a:cubicBezTo>
                <a:cubicBezTo>
                  <a:pt x="7" y="186"/>
                  <a:pt x="10" y="191"/>
                  <a:pt x="11" y="193"/>
                </a:cubicBezTo>
                <a:cubicBezTo>
                  <a:pt x="14" y="196"/>
                  <a:pt x="12" y="200"/>
                  <a:pt x="12" y="204"/>
                </a:cubicBezTo>
                <a:cubicBezTo>
                  <a:pt x="13" y="204"/>
                  <a:pt x="15" y="204"/>
                  <a:pt x="15" y="204"/>
                </a:cubicBezTo>
                <a:cubicBezTo>
                  <a:pt x="15" y="205"/>
                  <a:pt x="13" y="205"/>
                  <a:pt x="12" y="206"/>
                </a:cubicBezTo>
                <a:cubicBezTo>
                  <a:pt x="14" y="209"/>
                  <a:pt x="16" y="215"/>
                  <a:pt x="13" y="218"/>
                </a:cubicBezTo>
                <a:cubicBezTo>
                  <a:pt x="14" y="218"/>
                  <a:pt x="15" y="218"/>
                  <a:pt x="16" y="218"/>
                </a:cubicBezTo>
                <a:cubicBezTo>
                  <a:pt x="16" y="220"/>
                  <a:pt x="15" y="219"/>
                  <a:pt x="14" y="220"/>
                </a:cubicBezTo>
                <a:cubicBezTo>
                  <a:pt x="14" y="221"/>
                  <a:pt x="14" y="222"/>
                  <a:pt x="14" y="223"/>
                </a:cubicBezTo>
                <a:cubicBezTo>
                  <a:pt x="16" y="224"/>
                  <a:pt x="17" y="224"/>
                  <a:pt x="16" y="226"/>
                </a:cubicBezTo>
                <a:cubicBezTo>
                  <a:pt x="15" y="226"/>
                  <a:pt x="15" y="227"/>
                  <a:pt x="15" y="228"/>
                </a:cubicBezTo>
                <a:cubicBezTo>
                  <a:pt x="17" y="228"/>
                  <a:pt x="15" y="233"/>
                  <a:pt x="15" y="234"/>
                </a:cubicBezTo>
                <a:cubicBezTo>
                  <a:pt x="16" y="234"/>
                  <a:pt x="17" y="235"/>
                  <a:pt x="17" y="235"/>
                </a:cubicBezTo>
                <a:cubicBezTo>
                  <a:pt x="18" y="236"/>
                  <a:pt x="16" y="236"/>
                  <a:pt x="15" y="236"/>
                </a:cubicBezTo>
                <a:cubicBezTo>
                  <a:pt x="17" y="239"/>
                  <a:pt x="16" y="245"/>
                  <a:pt x="17" y="248"/>
                </a:cubicBezTo>
                <a:cubicBezTo>
                  <a:pt x="17" y="249"/>
                  <a:pt x="16" y="251"/>
                  <a:pt x="16" y="253"/>
                </a:cubicBezTo>
                <a:cubicBezTo>
                  <a:pt x="16" y="255"/>
                  <a:pt x="17" y="257"/>
                  <a:pt x="17" y="259"/>
                </a:cubicBezTo>
                <a:cubicBezTo>
                  <a:pt x="18" y="261"/>
                  <a:pt x="17" y="263"/>
                  <a:pt x="18" y="265"/>
                </a:cubicBezTo>
                <a:cubicBezTo>
                  <a:pt x="19" y="267"/>
                  <a:pt x="19" y="268"/>
                  <a:pt x="19" y="270"/>
                </a:cubicBezTo>
                <a:cubicBezTo>
                  <a:pt x="19" y="271"/>
                  <a:pt x="19" y="273"/>
                  <a:pt x="19" y="274"/>
                </a:cubicBezTo>
                <a:cubicBezTo>
                  <a:pt x="19" y="275"/>
                  <a:pt x="21" y="276"/>
                  <a:pt x="21" y="276"/>
                </a:cubicBezTo>
                <a:cubicBezTo>
                  <a:pt x="21" y="278"/>
                  <a:pt x="19" y="279"/>
                  <a:pt x="18" y="280"/>
                </a:cubicBezTo>
                <a:cubicBezTo>
                  <a:pt x="19" y="281"/>
                  <a:pt x="20" y="282"/>
                  <a:pt x="21" y="283"/>
                </a:cubicBezTo>
                <a:cubicBezTo>
                  <a:pt x="22" y="283"/>
                  <a:pt x="23" y="285"/>
                  <a:pt x="24" y="286"/>
                </a:cubicBezTo>
                <a:cubicBezTo>
                  <a:pt x="25" y="288"/>
                  <a:pt x="26" y="291"/>
                  <a:pt x="27" y="294"/>
                </a:cubicBezTo>
                <a:cubicBezTo>
                  <a:pt x="27" y="294"/>
                  <a:pt x="27" y="294"/>
                  <a:pt x="27" y="294"/>
                </a:cubicBezTo>
                <a:cubicBezTo>
                  <a:pt x="27" y="294"/>
                  <a:pt x="27" y="294"/>
                  <a:pt x="27" y="294"/>
                </a:cubicBezTo>
                <a:cubicBezTo>
                  <a:pt x="29" y="294"/>
                  <a:pt x="32" y="294"/>
                  <a:pt x="34" y="294"/>
                </a:cubicBezTo>
                <a:cubicBezTo>
                  <a:pt x="35" y="292"/>
                  <a:pt x="37" y="292"/>
                  <a:pt x="39" y="292"/>
                </a:cubicBezTo>
                <a:cubicBezTo>
                  <a:pt x="40" y="296"/>
                  <a:pt x="43" y="297"/>
                  <a:pt x="43" y="301"/>
                </a:cubicBezTo>
                <a:cubicBezTo>
                  <a:pt x="46" y="302"/>
                  <a:pt x="50" y="303"/>
                  <a:pt x="53" y="303"/>
                </a:cubicBezTo>
                <a:cubicBezTo>
                  <a:pt x="53" y="303"/>
                  <a:pt x="53" y="303"/>
                  <a:pt x="53" y="303"/>
                </a:cubicBezTo>
                <a:cubicBezTo>
                  <a:pt x="53" y="303"/>
                  <a:pt x="53" y="303"/>
                  <a:pt x="53" y="303"/>
                </a:cubicBezTo>
                <a:cubicBezTo>
                  <a:pt x="53" y="303"/>
                  <a:pt x="52" y="303"/>
                  <a:pt x="51" y="303"/>
                </a:cubicBezTo>
                <a:cubicBezTo>
                  <a:pt x="50" y="298"/>
                  <a:pt x="58" y="297"/>
                  <a:pt x="61" y="297"/>
                </a:cubicBezTo>
                <a:cubicBezTo>
                  <a:pt x="61" y="296"/>
                  <a:pt x="61" y="296"/>
                  <a:pt x="60" y="296"/>
                </a:cubicBezTo>
                <a:cubicBezTo>
                  <a:pt x="60" y="295"/>
                  <a:pt x="60" y="295"/>
                  <a:pt x="60" y="295"/>
                </a:cubicBezTo>
                <a:cubicBezTo>
                  <a:pt x="62" y="295"/>
                  <a:pt x="63" y="296"/>
                  <a:pt x="65" y="296"/>
                </a:cubicBezTo>
                <a:cubicBezTo>
                  <a:pt x="65" y="295"/>
                  <a:pt x="65" y="293"/>
                  <a:pt x="65" y="292"/>
                </a:cubicBezTo>
                <a:cubicBezTo>
                  <a:pt x="67" y="292"/>
                  <a:pt x="71" y="288"/>
                  <a:pt x="69" y="286"/>
                </a:cubicBezTo>
                <a:cubicBezTo>
                  <a:pt x="67" y="285"/>
                  <a:pt x="63" y="286"/>
                  <a:pt x="64" y="283"/>
                </a:cubicBezTo>
                <a:cubicBezTo>
                  <a:pt x="67" y="282"/>
                  <a:pt x="69" y="282"/>
                  <a:pt x="71" y="282"/>
                </a:cubicBezTo>
                <a:cubicBezTo>
                  <a:pt x="71" y="279"/>
                  <a:pt x="70" y="272"/>
                  <a:pt x="65" y="273"/>
                </a:cubicBezTo>
                <a:cubicBezTo>
                  <a:pt x="65" y="275"/>
                  <a:pt x="63" y="273"/>
                  <a:pt x="63" y="272"/>
                </a:cubicBezTo>
                <a:cubicBezTo>
                  <a:pt x="62" y="269"/>
                  <a:pt x="63" y="269"/>
                  <a:pt x="64" y="268"/>
                </a:cubicBezTo>
                <a:cubicBezTo>
                  <a:pt x="66" y="266"/>
                  <a:pt x="60" y="262"/>
                  <a:pt x="61" y="260"/>
                </a:cubicBezTo>
                <a:cubicBezTo>
                  <a:pt x="63" y="259"/>
                  <a:pt x="63" y="262"/>
                  <a:pt x="65" y="261"/>
                </a:cubicBezTo>
                <a:cubicBezTo>
                  <a:pt x="65" y="260"/>
                  <a:pt x="65" y="259"/>
                  <a:pt x="67" y="258"/>
                </a:cubicBezTo>
                <a:cubicBezTo>
                  <a:pt x="70" y="258"/>
                  <a:pt x="69" y="258"/>
                  <a:pt x="70" y="256"/>
                </a:cubicBezTo>
                <a:cubicBezTo>
                  <a:pt x="71" y="254"/>
                  <a:pt x="73" y="255"/>
                  <a:pt x="75" y="255"/>
                </a:cubicBezTo>
                <a:cubicBezTo>
                  <a:pt x="77" y="256"/>
                  <a:pt x="77" y="257"/>
                  <a:pt x="77" y="259"/>
                </a:cubicBezTo>
                <a:cubicBezTo>
                  <a:pt x="79" y="259"/>
                  <a:pt x="81" y="258"/>
                  <a:pt x="83" y="258"/>
                </a:cubicBezTo>
                <a:cubicBezTo>
                  <a:pt x="80" y="256"/>
                  <a:pt x="82" y="253"/>
                  <a:pt x="86" y="253"/>
                </a:cubicBezTo>
                <a:cubicBezTo>
                  <a:pt x="86" y="252"/>
                  <a:pt x="90" y="251"/>
                  <a:pt x="91" y="251"/>
                </a:cubicBezTo>
                <a:cubicBezTo>
                  <a:pt x="94" y="251"/>
                  <a:pt x="95" y="249"/>
                  <a:pt x="95" y="246"/>
                </a:cubicBezTo>
                <a:cubicBezTo>
                  <a:pt x="96" y="246"/>
                  <a:pt x="97" y="246"/>
                  <a:pt x="97" y="246"/>
                </a:cubicBezTo>
                <a:cubicBezTo>
                  <a:pt x="97" y="245"/>
                  <a:pt x="98" y="242"/>
                  <a:pt x="97" y="242"/>
                </a:cubicBezTo>
                <a:cubicBezTo>
                  <a:pt x="101" y="242"/>
                  <a:pt x="106" y="242"/>
                  <a:pt x="109" y="246"/>
                </a:cubicBezTo>
                <a:cubicBezTo>
                  <a:pt x="110" y="247"/>
                  <a:pt x="112" y="247"/>
                  <a:pt x="113" y="246"/>
                </a:cubicBezTo>
                <a:cubicBezTo>
                  <a:pt x="115" y="245"/>
                  <a:pt x="114" y="244"/>
                  <a:pt x="114" y="242"/>
                </a:cubicBezTo>
                <a:cubicBezTo>
                  <a:pt x="118" y="241"/>
                  <a:pt x="124" y="243"/>
                  <a:pt x="129" y="243"/>
                </a:cubicBezTo>
                <a:cubicBezTo>
                  <a:pt x="129" y="242"/>
                  <a:pt x="129" y="241"/>
                  <a:pt x="129" y="240"/>
                </a:cubicBezTo>
                <a:cubicBezTo>
                  <a:pt x="132" y="240"/>
                  <a:pt x="131" y="241"/>
                  <a:pt x="133" y="242"/>
                </a:cubicBezTo>
                <a:cubicBezTo>
                  <a:pt x="135" y="244"/>
                  <a:pt x="135" y="241"/>
                  <a:pt x="135" y="239"/>
                </a:cubicBezTo>
                <a:cubicBezTo>
                  <a:pt x="135" y="237"/>
                  <a:pt x="135" y="236"/>
                  <a:pt x="134" y="234"/>
                </a:cubicBezTo>
                <a:cubicBezTo>
                  <a:pt x="133" y="232"/>
                  <a:pt x="134" y="230"/>
                  <a:pt x="136" y="230"/>
                </a:cubicBezTo>
                <a:cubicBezTo>
                  <a:pt x="136" y="227"/>
                  <a:pt x="134" y="225"/>
                  <a:pt x="134" y="223"/>
                </a:cubicBezTo>
                <a:cubicBezTo>
                  <a:pt x="134" y="220"/>
                  <a:pt x="135" y="218"/>
                  <a:pt x="135" y="216"/>
                </a:cubicBezTo>
                <a:cubicBezTo>
                  <a:pt x="138" y="215"/>
                  <a:pt x="139" y="217"/>
                  <a:pt x="141" y="219"/>
                </a:cubicBezTo>
                <a:cubicBezTo>
                  <a:pt x="141" y="220"/>
                  <a:pt x="145" y="221"/>
                  <a:pt x="145" y="219"/>
                </a:cubicBezTo>
                <a:cubicBezTo>
                  <a:pt x="148" y="219"/>
                  <a:pt x="150" y="223"/>
                  <a:pt x="151" y="224"/>
                </a:cubicBezTo>
                <a:cubicBezTo>
                  <a:pt x="153" y="225"/>
                  <a:pt x="156" y="225"/>
                  <a:pt x="158" y="225"/>
                </a:cubicBezTo>
                <a:cubicBezTo>
                  <a:pt x="158" y="223"/>
                  <a:pt x="158" y="223"/>
                  <a:pt x="158" y="223"/>
                </a:cubicBezTo>
                <a:cubicBezTo>
                  <a:pt x="165" y="226"/>
                  <a:pt x="165" y="226"/>
                  <a:pt x="165" y="226"/>
                </a:cubicBezTo>
                <a:cubicBezTo>
                  <a:pt x="169" y="226"/>
                  <a:pt x="169" y="227"/>
                  <a:pt x="172" y="229"/>
                </a:cubicBezTo>
                <a:cubicBezTo>
                  <a:pt x="173" y="228"/>
                  <a:pt x="174" y="227"/>
                  <a:pt x="174" y="226"/>
                </a:cubicBezTo>
                <a:cubicBezTo>
                  <a:pt x="172" y="225"/>
                  <a:pt x="171" y="222"/>
                  <a:pt x="171" y="220"/>
                </a:cubicBezTo>
                <a:cubicBezTo>
                  <a:pt x="171" y="219"/>
                  <a:pt x="173" y="218"/>
                  <a:pt x="172" y="217"/>
                </a:cubicBezTo>
                <a:cubicBezTo>
                  <a:pt x="172" y="216"/>
                  <a:pt x="171" y="215"/>
                  <a:pt x="171" y="214"/>
                </a:cubicBezTo>
                <a:cubicBezTo>
                  <a:pt x="173" y="214"/>
                  <a:pt x="175" y="215"/>
                  <a:pt x="176" y="215"/>
                </a:cubicBezTo>
                <a:cubicBezTo>
                  <a:pt x="178" y="215"/>
                  <a:pt x="177" y="212"/>
                  <a:pt x="178" y="211"/>
                </a:cubicBezTo>
                <a:cubicBezTo>
                  <a:pt x="180" y="210"/>
                  <a:pt x="180" y="208"/>
                  <a:pt x="182" y="208"/>
                </a:cubicBezTo>
                <a:cubicBezTo>
                  <a:pt x="184" y="207"/>
                  <a:pt x="186" y="209"/>
                  <a:pt x="188" y="208"/>
                </a:cubicBezTo>
                <a:cubicBezTo>
                  <a:pt x="190" y="214"/>
                  <a:pt x="190" y="208"/>
                  <a:pt x="193" y="207"/>
                </a:cubicBezTo>
                <a:cubicBezTo>
                  <a:pt x="196" y="206"/>
                  <a:pt x="196" y="205"/>
                  <a:pt x="194" y="204"/>
                </a:cubicBezTo>
                <a:cubicBezTo>
                  <a:pt x="193" y="203"/>
                  <a:pt x="194" y="201"/>
                  <a:pt x="194" y="199"/>
                </a:cubicBezTo>
                <a:cubicBezTo>
                  <a:pt x="194" y="199"/>
                  <a:pt x="194" y="199"/>
                  <a:pt x="194" y="199"/>
                </a:cubicBezTo>
                <a:cubicBezTo>
                  <a:pt x="194" y="200"/>
                  <a:pt x="194" y="200"/>
                  <a:pt x="194" y="201"/>
                </a:cubicBezTo>
                <a:cubicBezTo>
                  <a:pt x="197" y="202"/>
                  <a:pt x="199" y="202"/>
                  <a:pt x="202" y="200"/>
                </a:cubicBezTo>
                <a:cubicBezTo>
                  <a:pt x="203" y="199"/>
                  <a:pt x="203" y="199"/>
                  <a:pt x="203" y="199"/>
                </a:cubicBezTo>
                <a:cubicBezTo>
                  <a:pt x="203" y="199"/>
                  <a:pt x="203" y="197"/>
                  <a:pt x="203" y="196"/>
                </a:cubicBezTo>
                <a:cubicBezTo>
                  <a:pt x="205" y="196"/>
                  <a:pt x="205" y="196"/>
                  <a:pt x="205" y="194"/>
                </a:cubicBezTo>
                <a:cubicBezTo>
                  <a:pt x="205" y="193"/>
                  <a:pt x="205" y="192"/>
                  <a:pt x="203" y="192"/>
                </a:cubicBezTo>
                <a:cubicBezTo>
                  <a:pt x="206" y="185"/>
                  <a:pt x="213" y="192"/>
                  <a:pt x="215" y="188"/>
                </a:cubicBezTo>
                <a:cubicBezTo>
                  <a:pt x="217" y="186"/>
                  <a:pt x="220" y="185"/>
                  <a:pt x="221" y="182"/>
                </a:cubicBezTo>
                <a:cubicBezTo>
                  <a:pt x="223" y="179"/>
                  <a:pt x="222" y="179"/>
                  <a:pt x="226" y="179"/>
                </a:cubicBezTo>
                <a:cubicBezTo>
                  <a:pt x="227" y="181"/>
                  <a:pt x="226" y="192"/>
                  <a:pt x="230" y="186"/>
                </a:cubicBezTo>
                <a:cubicBezTo>
                  <a:pt x="230" y="185"/>
                  <a:pt x="230" y="185"/>
                  <a:pt x="230" y="185"/>
                </a:cubicBezTo>
                <a:cubicBezTo>
                  <a:pt x="231" y="185"/>
                  <a:pt x="231" y="184"/>
                  <a:pt x="231" y="184"/>
                </a:cubicBezTo>
                <a:cubicBezTo>
                  <a:pt x="232" y="182"/>
                  <a:pt x="233" y="180"/>
                  <a:pt x="232" y="178"/>
                </a:cubicBezTo>
                <a:cubicBezTo>
                  <a:pt x="232" y="176"/>
                  <a:pt x="231" y="176"/>
                  <a:pt x="231" y="174"/>
                </a:cubicBezTo>
                <a:cubicBezTo>
                  <a:pt x="232" y="174"/>
                  <a:pt x="232" y="172"/>
                  <a:pt x="232" y="171"/>
                </a:cubicBezTo>
                <a:cubicBezTo>
                  <a:pt x="233" y="172"/>
                  <a:pt x="234" y="171"/>
                  <a:pt x="234" y="169"/>
                </a:cubicBezTo>
                <a:cubicBezTo>
                  <a:pt x="236" y="169"/>
                  <a:pt x="238" y="170"/>
                  <a:pt x="240" y="170"/>
                </a:cubicBezTo>
                <a:cubicBezTo>
                  <a:pt x="240" y="169"/>
                  <a:pt x="241" y="165"/>
                  <a:pt x="242" y="164"/>
                </a:cubicBezTo>
                <a:cubicBezTo>
                  <a:pt x="243" y="161"/>
                  <a:pt x="245" y="159"/>
                  <a:pt x="248" y="158"/>
                </a:cubicBezTo>
                <a:cubicBezTo>
                  <a:pt x="249" y="157"/>
                  <a:pt x="250" y="156"/>
                  <a:pt x="250" y="154"/>
                </a:cubicBezTo>
                <a:cubicBezTo>
                  <a:pt x="248" y="154"/>
                  <a:pt x="248" y="154"/>
                  <a:pt x="248" y="154"/>
                </a:cubicBezTo>
                <a:cubicBezTo>
                  <a:pt x="248" y="151"/>
                  <a:pt x="239" y="146"/>
                  <a:pt x="246" y="144"/>
                </a:cubicBezTo>
                <a:cubicBezTo>
                  <a:pt x="249" y="143"/>
                  <a:pt x="247" y="140"/>
                  <a:pt x="248" y="138"/>
                </a:cubicBezTo>
                <a:cubicBezTo>
                  <a:pt x="249" y="136"/>
                  <a:pt x="252" y="136"/>
                  <a:pt x="251" y="133"/>
                </a:cubicBezTo>
                <a:cubicBezTo>
                  <a:pt x="252" y="133"/>
                  <a:pt x="253" y="133"/>
                  <a:pt x="254" y="133"/>
                </a:cubicBezTo>
                <a:cubicBezTo>
                  <a:pt x="254" y="136"/>
                  <a:pt x="258" y="136"/>
                  <a:pt x="256" y="139"/>
                </a:cubicBezTo>
                <a:cubicBezTo>
                  <a:pt x="258" y="137"/>
                  <a:pt x="261" y="138"/>
                  <a:pt x="263" y="138"/>
                </a:cubicBezTo>
                <a:cubicBezTo>
                  <a:pt x="264" y="137"/>
                  <a:pt x="264" y="137"/>
                  <a:pt x="264" y="137"/>
                </a:cubicBezTo>
                <a:cubicBezTo>
                  <a:pt x="263" y="136"/>
                  <a:pt x="263" y="134"/>
                  <a:pt x="261" y="133"/>
                </a:cubicBezTo>
                <a:cubicBezTo>
                  <a:pt x="260" y="133"/>
                  <a:pt x="259" y="132"/>
                  <a:pt x="259" y="131"/>
                </a:cubicBezTo>
                <a:cubicBezTo>
                  <a:pt x="264" y="131"/>
                  <a:pt x="266" y="131"/>
                  <a:pt x="269" y="128"/>
                </a:cubicBezTo>
                <a:cubicBezTo>
                  <a:pt x="271" y="127"/>
                  <a:pt x="271" y="121"/>
                  <a:pt x="271" y="119"/>
                </a:cubicBezTo>
                <a:cubicBezTo>
                  <a:pt x="271" y="118"/>
                  <a:pt x="269" y="118"/>
                  <a:pt x="270" y="117"/>
                </a:cubicBezTo>
                <a:cubicBezTo>
                  <a:pt x="270" y="116"/>
                  <a:pt x="272" y="116"/>
                  <a:pt x="272" y="115"/>
                </a:cubicBezTo>
                <a:cubicBezTo>
                  <a:pt x="275" y="112"/>
                  <a:pt x="270" y="111"/>
                  <a:pt x="270" y="108"/>
                </a:cubicBezTo>
                <a:cubicBezTo>
                  <a:pt x="271" y="108"/>
                  <a:pt x="272" y="108"/>
                  <a:pt x="272" y="107"/>
                </a:cubicBezTo>
                <a:cubicBezTo>
                  <a:pt x="274" y="108"/>
                  <a:pt x="280" y="111"/>
                  <a:pt x="280" y="113"/>
                </a:cubicBezTo>
                <a:cubicBezTo>
                  <a:pt x="283" y="113"/>
                  <a:pt x="286" y="111"/>
                  <a:pt x="289" y="113"/>
                </a:cubicBezTo>
                <a:cubicBezTo>
                  <a:pt x="291" y="114"/>
                  <a:pt x="294" y="113"/>
                  <a:pt x="297" y="113"/>
                </a:cubicBezTo>
                <a:cubicBezTo>
                  <a:pt x="297" y="116"/>
                  <a:pt x="296" y="118"/>
                  <a:pt x="296" y="120"/>
                </a:cubicBezTo>
                <a:cubicBezTo>
                  <a:pt x="299" y="121"/>
                  <a:pt x="301" y="120"/>
                  <a:pt x="303" y="120"/>
                </a:cubicBezTo>
                <a:cubicBezTo>
                  <a:pt x="303" y="122"/>
                  <a:pt x="303" y="122"/>
                  <a:pt x="301" y="123"/>
                </a:cubicBezTo>
                <a:cubicBezTo>
                  <a:pt x="300" y="124"/>
                  <a:pt x="300" y="126"/>
                  <a:pt x="300" y="127"/>
                </a:cubicBezTo>
                <a:cubicBezTo>
                  <a:pt x="303" y="128"/>
                  <a:pt x="306" y="127"/>
                  <a:pt x="308" y="127"/>
                </a:cubicBezTo>
                <a:cubicBezTo>
                  <a:pt x="308" y="127"/>
                  <a:pt x="308" y="127"/>
                  <a:pt x="308" y="127"/>
                </a:cubicBezTo>
                <a:cubicBezTo>
                  <a:pt x="311" y="126"/>
                  <a:pt x="312" y="130"/>
                  <a:pt x="315" y="129"/>
                </a:cubicBezTo>
                <a:cubicBezTo>
                  <a:pt x="314" y="128"/>
                  <a:pt x="313" y="126"/>
                  <a:pt x="315" y="126"/>
                </a:cubicBezTo>
                <a:cubicBezTo>
                  <a:pt x="315" y="124"/>
                  <a:pt x="315" y="123"/>
                  <a:pt x="315" y="122"/>
                </a:cubicBezTo>
                <a:cubicBezTo>
                  <a:pt x="315" y="122"/>
                  <a:pt x="316" y="122"/>
                  <a:pt x="316" y="122"/>
                </a:cubicBezTo>
                <a:cubicBezTo>
                  <a:pt x="317" y="122"/>
                  <a:pt x="317" y="124"/>
                  <a:pt x="317" y="124"/>
                </a:cubicBezTo>
                <a:cubicBezTo>
                  <a:pt x="318" y="125"/>
                  <a:pt x="320" y="124"/>
                  <a:pt x="322" y="124"/>
                </a:cubicBezTo>
                <a:cubicBezTo>
                  <a:pt x="322" y="125"/>
                  <a:pt x="322" y="126"/>
                  <a:pt x="322" y="126"/>
                </a:cubicBezTo>
                <a:cubicBezTo>
                  <a:pt x="322" y="126"/>
                  <a:pt x="323" y="126"/>
                  <a:pt x="324" y="126"/>
                </a:cubicBezTo>
                <a:cubicBezTo>
                  <a:pt x="323" y="128"/>
                  <a:pt x="326" y="131"/>
                  <a:pt x="328" y="129"/>
                </a:cubicBezTo>
                <a:cubicBezTo>
                  <a:pt x="329" y="128"/>
                  <a:pt x="327" y="127"/>
                  <a:pt x="328" y="126"/>
                </a:cubicBezTo>
                <a:cubicBezTo>
                  <a:pt x="330" y="125"/>
                  <a:pt x="330" y="127"/>
                  <a:pt x="330" y="128"/>
                </a:cubicBezTo>
                <a:cubicBezTo>
                  <a:pt x="332" y="128"/>
                  <a:pt x="332" y="126"/>
                  <a:pt x="333" y="125"/>
                </a:cubicBezTo>
                <a:cubicBezTo>
                  <a:pt x="335" y="125"/>
                  <a:pt x="337" y="126"/>
                  <a:pt x="339" y="126"/>
                </a:cubicBezTo>
                <a:cubicBezTo>
                  <a:pt x="340" y="125"/>
                  <a:pt x="341" y="125"/>
                  <a:pt x="341" y="126"/>
                </a:cubicBezTo>
                <a:cubicBezTo>
                  <a:pt x="343" y="129"/>
                  <a:pt x="346" y="131"/>
                  <a:pt x="349" y="132"/>
                </a:cubicBezTo>
                <a:cubicBezTo>
                  <a:pt x="349" y="133"/>
                  <a:pt x="351" y="134"/>
                  <a:pt x="351" y="135"/>
                </a:cubicBezTo>
                <a:cubicBezTo>
                  <a:pt x="351" y="137"/>
                  <a:pt x="350" y="138"/>
                  <a:pt x="349" y="140"/>
                </a:cubicBezTo>
                <a:cubicBezTo>
                  <a:pt x="348" y="143"/>
                  <a:pt x="350" y="146"/>
                  <a:pt x="347" y="148"/>
                </a:cubicBezTo>
                <a:cubicBezTo>
                  <a:pt x="345" y="150"/>
                  <a:pt x="344" y="153"/>
                  <a:pt x="347" y="154"/>
                </a:cubicBezTo>
                <a:cubicBezTo>
                  <a:pt x="349" y="155"/>
                  <a:pt x="350" y="161"/>
                  <a:pt x="350" y="163"/>
                </a:cubicBezTo>
                <a:cubicBezTo>
                  <a:pt x="347" y="164"/>
                  <a:pt x="350" y="166"/>
                  <a:pt x="351" y="167"/>
                </a:cubicBezTo>
                <a:cubicBezTo>
                  <a:pt x="353" y="169"/>
                  <a:pt x="357" y="170"/>
                  <a:pt x="360" y="171"/>
                </a:cubicBezTo>
                <a:cubicBezTo>
                  <a:pt x="361" y="171"/>
                  <a:pt x="361" y="171"/>
                  <a:pt x="361" y="171"/>
                </a:cubicBezTo>
                <a:cubicBezTo>
                  <a:pt x="362" y="170"/>
                  <a:pt x="362" y="170"/>
                  <a:pt x="362" y="170"/>
                </a:cubicBezTo>
                <a:cubicBezTo>
                  <a:pt x="362" y="170"/>
                  <a:pt x="363" y="170"/>
                  <a:pt x="364" y="169"/>
                </a:cubicBezTo>
                <a:cubicBezTo>
                  <a:pt x="364" y="169"/>
                  <a:pt x="363" y="168"/>
                  <a:pt x="362" y="168"/>
                </a:cubicBezTo>
                <a:cubicBezTo>
                  <a:pt x="361" y="164"/>
                  <a:pt x="365" y="165"/>
                  <a:pt x="367" y="164"/>
                </a:cubicBezTo>
                <a:cubicBezTo>
                  <a:pt x="371" y="162"/>
                  <a:pt x="366" y="160"/>
                  <a:pt x="365" y="158"/>
                </a:cubicBezTo>
                <a:cubicBezTo>
                  <a:pt x="364" y="157"/>
                  <a:pt x="363" y="151"/>
                  <a:pt x="366" y="151"/>
                </a:cubicBezTo>
                <a:cubicBezTo>
                  <a:pt x="369" y="150"/>
                  <a:pt x="366" y="146"/>
                  <a:pt x="369" y="145"/>
                </a:cubicBezTo>
                <a:cubicBezTo>
                  <a:pt x="369" y="144"/>
                  <a:pt x="369" y="144"/>
                  <a:pt x="369" y="144"/>
                </a:cubicBezTo>
                <a:cubicBezTo>
                  <a:pt x="372" y="145"/>
                  <a:pt x="377" y="137"/>
                  <a:pt x="379" y="138"/>
                </a:cubicBezTo>
                <a:cubicBezTo>
                  <a:pt x="380" y="139"/>
                  <a:pt x="381" y="142"/>
                  <a:pt x="383" y="142"/>
                </a:cubicBezTo>
                <a:cubicBezTo>
                  <a:pt x="385" y="143"/>
                  <a:pt x="387" y="143"/>
                  <a:pt x="389" y="143"/>
                </a:cubicBezTo>
                <a:cubicBezTo>
                  <a:pt x="390" y="142"/>
                  <a:pt x="390" y="142"/>
                  <a:pt x="392" y="141"/>
                </a:cubicBezTo>
                <a:cubicBezTo>
                  <a:pt x="392" y="140"/>
                  <a:pt x="392" y="141"/>
                  <a:pt x="393" y="140"/>
                </a:cubicBezTo>
                <a:cubicBezTo>
                  <a:pt x="392" y="139"/>
                  <a:pt x="394" y="138"/>
                  <a:pt x="394" y="137"/>
                </a:cubicBezTo>
                <a:cubicBezTo>
                  <a:pt x="394" y="137"/>
                  <a:pt x="394" y="137"/>
                  <a:pt x="393" y="137"/>
                </a:cubicBezTo>
                <a:cubicBezTo>
                  <a:pt x="392" y="135"/>
                  <a:pt x="396" y="134"/>
                  <a:pt x="395" y="132"/>
                </a:cubicBezTo>
                <a:close/>
              </a:path>
            </a:pathLst>
          </a:custGeom>
          <a:solidFill>
            <a:schemeClr val="accent3"/>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9" name="Freeform 427">
            <a:extLst>
              <a:ext uri="{FF2B5EF4-FFF2-40B4-BE49-F238E27FC236}">
                <a16:creationId xmlns:a16="http://schemas.microsoft.com/office/drawing/2014/main" id="{B42A127D-DBBF-469A-B95E-AD765912B324}"/>
              </a:ext>
            </a:extLst>
          </p:cNvPr>
          <p:cNvSpPr>
            <a:spLocks/>
          </p:cNvSpPr>
          <p:nvPr/>
        </p:nvSpPr>
        <p:spPr bwMode="auto">
          <a:xfrm>
            <a:off x="1455283" y="2985594"/>
            <a:ext cx="333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0" name="Freeform 428">
            <a:extLst>
              <a:ext uri="{FF2B5EF4-FFF2-40B4-BE49-F238E27FC236}">
                <a16:creationId xmlns:a16="http://schemas.microsoft.com/office/drawing/2014/main" id="{4E6A7767-F93A-410B-93B7-568809C97A28}"/>
              </a:ext>
            </a:extLst>
          </p:cNvPr>
          <p:cNvSpPr>
            <a:spLocks/>
          </p:cNvSpPr>
          <p:nvPr/>
        </p:nvSpPr>
        <p:spPr bwMode="auto">
          <a:xfrm>
            <a:off x="1450844" y="2987826"/>
            <a:ext cx="0" cy="223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1" name="Freeform 429">
            <a:extLst>
              <a:ext uri="{FF2B5EF4-FFF2-40B4-BE49-F238E27FC236}">
                <a16:creationId xmlns:a16="http://schemas.microsoft.com/office/drawing/2014/main" id="{D516AA71-903F-41B3-982A-F6A1CA7CD26A}"/>
              </a:ext>
            </a:extLst>
          </p:cNvPr>
          <p:cNvSpPr>
            <a:spLocks/>
          </p:cNvSpPr>
          <p:nvPr/>
        </p:nvSpPr>
        <p:spPr bwMode="auto">
          <a:xfrm>
            <a:off x="1450845" y="2985594"/>
            <a:ext cx="2219" cy="2233"/>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lnTo>
                  <a:pt x="2" y="0"/>
                </a:lnTo>
                <a:lnTo>
                  <a:pt x="0" y="2"/>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2" name="Freeform 430">
            <a:extLst>
              <a:ext uri="{FF2B5EF4-FFF2-40B4-BE49-F238E27FC236}">
                <a16:creationId xmlns:a16="http://schemas.microsoft.com/office/drawing/2014/main" id="{62A300FC-15BB-4B61-A313-67B3D0D6B58D}"/>
              </a:ext>
            </a:extLst>
          </p:cNvPr>
          <p:cNvSpPr>
            <a:spLocks/>
          </p:cNvSpPr>
          <p:nvPr/>
        </p:nvSpPr>
        <p:spPr bwMode="auto">
          <a:xfrm>
            <a:off x="1279898" y="288067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3" name="Freeform 431">
            <a:extLst>
              <a:ext uri="{FF2B5EF4-FFF2-40B4-BE49-F238E27FC236}">
                <a16:creationId xmlns:a16="http://schemas.microsoft.com/office/drawing/2014/main" id="{D0ECD974-FEB1-467A-9D7D-7ECB9803888F}"/>
              </a:ext>
            </a:extLst>
          </p:cNvPr>
          <p:cNvSpPr>
            <a:spLocks/>
          </p:cNvSpPr>
          <p:nvPr/>
        </p:nvSpPr>
        <p:spPr bwMode="auto">
          <a:xfrm>
            <a:off x="725995" y="2933134"/>
            <a:ext cx="986816" cy="854977"/>
          </a:xfrm>
          <a:custGeom>
            <a:avLst/>
            <a:gdLst>
              <a:gd name="T0" fmla="*/ 392 w 399"/>
              <a:gd name="T1" fmla="*/ 167 h 344"/>
              <a:gd name="T2" fmla="*/ 375 w 399"/>
              <a:gd name="T3" fmla="*/ 167 h 344"/>
              <a:gd name="T4" fmla="*/ 366 w 399"/>
              <a:gd name="T5" fmla="*/ 166 h 344"/>
              <a:gd name="T6" fmla="*/ 372 w 399"/>
              <a:gd name="T7" fmla="*/ 156 h 344"/>
              <a:gd name="T8" fmla="*/ 369 w 399"/>
              <a:gd name="T9" fmla="*/ 146 h 344"/>
              <a:gd name="T10" fmla="*/ 357 w 399"/>
              <a:gd name="T11" fmla="*/ 124 h 344"/>
              <a:gd name="T12" fmla="*/ 341 w 399"/>
              <a:gd name="T13" fmla="*/ 122 h 344"/>
              <a:gd name="T14" fmla="*/ 336 w 399"/>
              <a:gd name="T15" fmla="*/ 109 h 344"/>
              <a:gd name="T16" fmla="*/ 316 w 399"/>
              <a:gd name="T17" fmla="*/ 107 h 344"/>
              <a:gd name="T18" fmla="*/ 309 w 399"/>
              <a:gd name="T19" fmla="*/ 121 h 344"/>
              <a:gd name="T20" fmla="*/ 295 w 399"/>
              <a:gd name="T21" fmla="*/ 94 h 344"/>
              <a:gd name="T22" fmla="*/ 281 w 399"/>
              <a:gd name="T23" fmla="*/ 61 h 344"/>
              <a:gd name="T24" fmla="*/ 274 w 399"/>
              <a:gd name="T25" fmla="*/ 48 h 344"/>
              <a:gd name="T26" fmla="*/ 250 w 399"/>
              <a:gd name="T27" fmla="*/ 44 h 344"/>
              <a:gd name="T28" fmla="*/ 242 w 399"/>
              <a:gd name="T29" fmla="*/ 38 h 344"/>
              <a:gd name="T30" fmla="*/ 242 w 399"/>
              <a:gd name="T31" fmla="*/ 18 h 344"/>
              <a:gd name="T32" fmla="*/ 237 w 399"/>
              <a:gd name="T33" fmla="*/ 10 h 344"/>
              <a:gd name="T34" fmla="*/ 213 w 399"/>
              <a:gd name="T35" fmla="*/ 0 h 344"/>
              <a:gd name="T36" fmla="*/ 190 w 399"/>
              <a:gd name="T37" fmla="*/ 8 h 344"/>
              <a:gd name="T38" fmla="*/ 166 w 399"/>
              <a:gd name="T39" fmla="*/ 52 h 344"/>
              <a:gd name="T40" fmla="*/ 132 w 399"/>
              <a:gd name="T41" fmla="*/ 80 h 344"/>
              <a:gd name="T42" fmla="*/ 94 w 399"/>
              <a:gd name="T43" fmla="*/ 101 h 344"/>
              <a:gd name="T44" fmla="*/ 58 w 399"/>
              <a:gd name="T45" fmla="*/ 92 h 344"/>
              <a:gd name="T46" fmla="*/ 22 w 399"/>
              <a:gd name="T47" fmla="*/ 116 h 344"/>
              <a:gd name="T48" fmla="*/ 12 w 399"/>
              <a:gd name="T49" fmla="*/ 152 h 344"/>
              <a:gd name="T50" fmla="*/ 29 w 399"/>
              <a:gd name="T51" fmla="*/ 158 h 344"/>
              <a:gd name="T52" fmla="*/ 25 w 399"/>
              <a:gd name="T53" fmla="*/ 187 h 344"/>
              <a:gd name="T54" fmla="*/ 35 w 399"/>
              <a:gd name="T55" fmla="*/ 200 h 344"/>
              <a:gd name="T56" fmla="*/ 55 w 399"/>
              <a:gd name="T57" fmla="*/ 226 h 344"/>
              <a:gd name="T58" fmla="*/ 78 w 399"/>
              <a:gd name="T59" fmla="*/ 252 h 344"/>
              <a:gd name="T60" fmla="*/ 92 w 399"/>
              <a:gd name="T61" fmla="*/ 255 h 344"/>
              <a:gd name="T62" fmla="*/ 109 w 399"/>
              <a:gd name="T63" fmla="*/ 258 h 344"/>
              <a:gd name="T64" fmla="*/ 127 w 399"/>
              <a:gd name="T65" fmla="*/ 262 h 344"/>
              <a:gd name="T66" fmla="*/ 143 w 399"/>
              <a:gd name="T67" fmla="*/ 272 h 344"/>
              <a:gd name="T68" fmla="*/ 163 w 399"/>
              <a:gd name="T69" fmla="*/ 273 h 344"/>
              <a:gd name="T70" fmla="*/ 165 w 399"/>
              <a:gd name="T71" fmla="*/ 291 h 344"/>
              <a:gd name="T72" fmla="*/ 173 w 399"/>
              <a:gd name="T73" fmla="*/ 310 h 344"/>
              <a:gd name="T74" fmla="*/ 193 w 399"/>
              <a:gd name="T75" fmla="*/ 330 h 344"/>
              <a:gd name="T76" fmla="*/ 206 w 399"/>
              <a:gd name="T77" fmla="*/ 339 h 344"/>
              <a:gd name="T78" fmla="*/ 215 w 399"/>
              <a:gd name="T79" fmla="*/ 344 h 344"/>
              <a:gd name="T80" fmla="*/ 235 w 399"/>
              <a:gd name="T81" fmla="*/ 322 h 344"/>
              <a:gd name="T82" fmla="*/ 241 w 399"/>
              <a:gd name="T83" fmla="*/ 296 h 344"/>
              <a:gd name="T84" fmla="*/ 237 w 399"/>
              <a:gd name="T85" fmla="*/ 279 h 344"/>
              <a:gd name="T86" fmla="*/ 238 w 399"/>
              <a:gd name="T87" fmla="*/ 263 h 344"/>
              <a:gd name="T88" fmla="*/ 242 w 399"/>
              <a:gd name="T89" fmla="*/ 257 h 344"/>
              <a:gd name="T90" fmla="*/ 260 w 399"/>
              <a:gd name="T91" fmla="*/ 257 h 344"/>
              <a:gd name="T92" fmla="*/ 275 w 399"/>
              <a:gd name="T93" fmla="*/ 268 h 344"/>
              <a:gd name="T94" fmla="*/ 282 w 399"/>
              <a:gd name="T95" fmla="*/ 281 h 344"/>
              <a:gd name="T96" fmla="*/ 284 w 399"/>
              <a:gd name="T97" fmla="*/ 299 h 344"/>
              <a:gd name="T98" fmla="*/ 275 w 399"/>
              <a:gd name="T99" fmla="*/ 314 h 344"/>
              <a:gd name="T100" fmla="*/ 287 w 399"/>
              <a:gd name="T101" fmla="*/ 302 h 344"/>
              <a:gd name="T102" fmla="*/ 315 w 399"/>
              <a:gd name="T103" fmla="*/ 296 h 344"/>
              <a:gd name="T104" fmla="*/ 320 w 399"/>
              <a:gd name="T105" fmla="*/ 296 h 344"/>
              <a:gd name="T106" fmla="*/ 330 w 399"/>
              <a:gd name="T107" fmla="*/ 280 h 344"/>
              <a:gd name="T108" fmla="*/ 330 w 399"/>
              <a:gd name="T109" fmla="*/ 266 h 344"/>
              <a:gd name="T110" fmla="*/ 344 w 399"/>
              <a:gd name="T111" fmla="*/ 255 h 344"/>
              <a:gd name="T112" fmla="*/ 357 w 399"/>
              <a:gd name="T113" fmla="*/ 243 h 344"/>
              <a:gd name="T114" fmla="*/ 341 w 399"/>
              <a:gd name="T115" fmla="*/ 242 h 344"/>
              <a:gd name="T116" fmla="*/ 320 w 399"/>
              <a:gd name="T117" fmla="*/ 216 h 344"/>
              <a:gd name="T118" fmla="*/ 351 w 399"/>
              <a:gd name="T119" fmla="*/ 196 h 344"/>
              <a:gd name="T120" fmla="*/ 378 w 399"/>
              <a:gd name="T121" fmla="*/ 185 h 344"/>
              <a:gd name="T122" fmla="*/ 399 w 399"/>
              <a:gd name="T123" fmla="*/ 16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9" h="344">
                <a:moveTo>
                  <a:pt x="399" y="169"/>
                </a:moveTo>
                <a:cubicBezTo>
                  <a:pt x="398" y="169"/>
                  <a:pt x="396" y="167"/>
                  <a:pt x="396" y="165"/>
                </a:cubicBezTo>
                <a:cubicBezTo>
                  <a:pt x="395" y="165"/>
                  <a:pt x="394" y="166"/>
                  <a:pt x="394" y="167"/>
                </a:cubicBezTo>
                <a:cubicBezTo>
                  <a:pt x="393" y="167"/>
                  <a:pt x="393" y="167"/>
                  <a:pt x="392" y="167"/>
                </a:cubicBezTo>
                <a:cubicBezTo>
                  <a:pt x="392" y="168"/>
                  <a:pt x="391" y="170"/>
                  <a:pt x="391" y="171"/>
                </a:cubicBezTo>
                <a:cubicBezTo>
                  <a:pt x="389" y="171"/>
                  <a:pt x="389" y="169"/>
                  <a:pt x="388" y="167"/>
                </a:cubicBezTo>
                <a:cubicBezTo>
                  <a:pt x="386" y="167"/>
                  <a:pt x="383" y="171"/>
                  <a:pt x="382" y="169"/>
                </a:cubicBezTo>
                <a:cubicBezTo>
                  <a:pt x="380" y="167"/>
                  <a:pt x="378" y="167"/>
                  <a:pt x="375" y="167"/>
                </a:cubicBezTo>
                <a:cubicBezTo>
                  <a:pt x="375" y="168"/>
                  <a:pt x="375" y="169"/>
                  <a:pt x="375" y="171"/>
                </a:cubicBezTo>
                <a:cubicBezTo>
                  <a:pt x="370" y="171"/>
                  <a:pt x="363" y="168"/>
                  <a:pt x="364" y="175"/>
                </a:cubicBezTo>
                <a:cubicBezTo>
                  <a:pt x="360" y="175"/>
                  <a:pt x="362" y="167"/>
                  <a:pt x="366" y="167"/>
                </a:cubicBezTo>
                <a:cubicBezTo>
                  <a:pt x="366" y="166"/>
                  <a:pt x="366" y="166"/>
                  <a:pt x="366" y="166"/>
                </a:cubicBezTo>
                <a:cubicBezTo>
                  <a:pt x="368" y="166"/>
                  <a:pt x="370" y="166"/>
                  <a:pt x="372" y="166"/>
                </a:cubicBezTo>
                <a:cubicBezTo>
                  <a:pt x="372" y="164"/>
                  <a:pt x="376" y="164"/>
                  <a:pt x="378" y="164"/>
                </a:cubicBezTo>
                <a:cubicBezTo>
                  <a:pt x="377" y="160"/>
                  <a:pt x="372" y="161"/>
                  <a:pt x="369" y="161"/>
                </a:cubicBezTo>
                <a:cubicBezTo>
                  <a:pt x="369" y="158"/>
                  <a:pt x="369" y="156"/>
                  <a:pt x="372" y="156"/>
                </a:cubicBezTo>
                <a:cubicBezTo>
                  <a:pt x="372" y="155"/>
                  <a:pt x="372" y="154"/>
                  <a:pt x="374" y="154"/>
                </a:cubicBezTo>
                <a:cubicBezTo>
                  <a:pt x="375" y="149"/>
                  <a:pt x="370" y="152"/>
                  <a:pt x="370" y="149"/>
                </a:cubicBezTo>
                <a:cubicBezTo>
                  <a:pt x="370" y="149"/>
                  <a:pt x="374" y="149"/>
                  <a:pt x="372" y="147"/>
                </a:cubicBezTo>
                <a:cubicBezTo>
                  <a:pt x="371" y="146"/>
                  <a:pt x="370" y="146"/>
                  <a:pt x="369" y="146"/>
                </a:cubicBezTo>
                <a:cubicBezTo>
                  <a:pt x="367" y="145"/>
                  <a:pt x="363" y="145"/>
                  <a:pt x="363" y="142"/>
                </a:cubicBezTo>
                <a:cubicBezTo>
                  <a:pt x="363" y="137"/>
                  <a:pt x="356" y="129"/>
                  <a:pt x="361" y="124"/>
                </a:cubicBezTo>
                <a:cubicBezTo>
                  <a:pt x="363" y="122"/>
                  <a:pt x="364" y="122"/>
                  <a:pt x="362" y="120"/>
                </a:cubicBezTo>
                <a:cubicBezTo>
                  <a:pt x="360" y="121"/>
                  <a:pt x="359" y="123"/>
                  <a:pt x="357" y="124"/>
                </a:cubicBezTo>
                <a:cubicBezTo>
                  <a:pt x="355" y="126"/>
                  <a:pt x="350" y="126"/>
                  <a:pt x="347" y="125"/>
                </a:cubicBezTo>
                <a:cubicBezTo>
                  <a:pt x="348" y="126"/>
                  <a:pt x="348" y="127"/>
                  <a:pt x="348" y="128"/>
                </a:cubicBezTo>
                <a:cubicBezTo>
                  <a:pt x="345" y="128"/>
                  <a:pt x="343" y="128"/>
                  <a:pt x="343" y="131"/>
                </a:cubicBezTo>
                <a:cubicBezTo>
                  <a:pt x="338" y="133"/>
                  <a:pt x="340" y="124"/>
                  <a:pt x="341" y="122"/>
                </a:cubicBezTo>
                <a:cubicBezTo>
                  <a:pt x="341" y="119"/>
                  <a:pt x="340" y="111"/>
                  <a:pt x="344" y="110"/>
                </a:cubicBezTo>
                <a:cubicBezTo>
                  <a:pt x="344" y="109"/>
                  <a:pt x="344" y="109"/>
                  <a:pt x="344" y="109"/>
                </a:cubicBezTo>
                <a:cubicBezTo>
                  <a:pt x="341" y="108"/>
                  <a:pt x="339" y="103"/>
                  <a:pt x="337" y="105"/>
                </a:cubicBezTo>
                <a:cubicBezTo>
                  <a:pt x="337" y="106"/>
                  <a:pt x="336" y="107"/>
                  <a:pt x="336" y="109"/>
                </a:cubicBezTo>
                <a:cubicBezTo>
                  <a:pt x="335" y="109"/>
                  <a:pt x="332" y="108"/>
                  <a:pt x="331" y="109"/>
                </a:cubicBezTo>
                <a:cubicBezTo>
                  <a:pt x="330" y="110"/>
                  <a:pt x="331" y="112"/>
                  <a:pt x="330" y="113"/>
                </a:cubicBezTo>
                <a:cubicBezTo>
                  <a:pt x="323" y="114"/>
                  <a:pt x="322" y="103"/>
                  <a:pt x="313" y="105"/>
                </a:cubicBezTo>
                <a:cubicBezTo>
                  <a:pt x="313" y="106"/>
                  <a:pt x="314" y="107"/>
                  <a:pt x="316" y="107"/>
                </a:cubicBezTo>
                <a:cubicBezTo>
                  <a:pt x="316" y="107"/>
                  <a:pt x="315" y="107"/>
                  <a:pt x="315" y="107"/>
                </a:cubicBezTo>
                <a:cubicBezTo>
                  <a:pt x="314" y="109"/>
                  <a:pt x="315" y="111"/>
                  <a:pt x="316" y="113"/>
                </a:cubicBezTo>
                <a:cubicBezTo>
                  <a:pt x="314" y="113"/>
                  <a:pt x="309" y="111"/>
                  <a:pt x="308" y="114"/>
                </a:cubicBezTo>
                <a:cubicBezTo>
                  <a:pt x="308" y="116"/>
                  <a:pt x="309" y="119"/>
                  <a:pt x="309" y="121"/>
                </a:cubicBezTo>
                <a:cubicBezTo>
                  <a:pt x="308" y="121"/>
                  <a:pt x="307" y="120"/>
                  <a:pt x="305" y="120"/>
                </a:cubicBezTo>
                <a:cubicBezTo>
                  <a:pt x="305" y="120"/>
                  <a:pt x="304" y="121"/>
                  <a:pt x="303" y="121"/>
                </a:cubicBezTo>
                <a:cubicBezTo>
                  <a:pt x="293" y="119"/>
                  <a:pt x="304" y="107"/>
                  <a:pt x="302" y="103"/>
                </a:cubicBezTo>
                <a:cubicBezTo>
                  <a:pt x="301" y="99"/>
                  <a:pt x="298" y="96"/>
                  <a:pt x="295" y="94"/>
                </a:cubicBezTo>
                <a:cubicBezTo>
                  <a:pt x="292" y="93"/>
                  <a:pt x="291" y="91"/>
                  <a:pt x="291" y="88"/>
                </a:cubicBezTo>
                <a:cubicBezTo>
                  <a:pt x="289" y="88"/>
                  <a:pt x="285" y="89"/>
                  <a:pt x="284" y="86"/>
                </a:cubicBezTo>
                <a:cubicBezTo>
                  <a:pt x="284" y="84"/>
                  <a:pt x="283" y="82"/>
                  <a:pt x="282" y="80"/>
                </a:cubicBezTo>
                <a:cubicBezTo>
                  <a:pt x="279" y="74"/>
                  <a:pt x="280" y="67"/>
                  <a:pt x="281" y="61"/>
                </a:cubicBezTo>
                <a:cubicBezTo>
                  <a:pt x="281" y="62"/>
                  <a:pt x="278" y="60"/>
                  <a:pt x="278" y="60"/>
                </a:cubicBezTo>
                <a:cubicBezTo>
                  <a:pt x="277" y="59"/>
                  <a:pt x="278" y="57"/>
                  <a:pt x="278" y="56"/>
                </a:cubicBezTo>
                <a:cubicBezTo>
                  <a:pt x="278" y="53"/>
                  <a:pt x="278" y="50"/>
                  <a:pt x="274" y="50"/>
                </a:cubicBezTo>
                <a:cubicBezTo>
                  <a:pt x="274" y="49"/>
                  <a:pt x="274" y="49"/>
                  <a:pt x="274" y="48"/>
                </a:cubicBezTo>
                <a:cubicBezTo>
                  <a:pt x="271" y="48"/>
                  <a:pt x="262" y="53"/>
                  <a:pt x="261" y="47"/>
                </a:cubicBezTo>
                <a:cubicBezTo>
                  <a:pt x="260" y="48"/>
                  <a:pt x="260" y="47"/>
                  <a:pt x="259" y="47"/>
                </a:cubicBezTo>
                <a:cubicBezTo>
                  <a:pt x="259" y="46"/>
                  <a:pt x="259" y="45"/>
                  <a:pt x="259" y="44"/>
                </a:cubicBezTo>
                <a:cubicBezTo>
                  <a:pt x="256" y="43"/>
                  <a:pt x="251" y="39"/>
                  <a:pt x="250" y="44"/>
                </a:cubicBezTo>
                <a:cubicBezTo>
                  <a:pt x="247" y="43"/>
                  <a:pt x="245" y="42"/>
                  <a:pt x="242" y="43"/>
                </a:cubicBezTo>
                <a:cubicBezTo>
                  <a:pt x="242" y="42"/>
                  <a:pt x="241" y="42"/>
                  <a:pt x="241" y="41"/>
                </a:cubicBezTo>
                <a:cubicBezTo>
                  <a:pt x="240" y="41"/>
                  <a:pt x="238" y="40"/>
                  <a:pt x="238" y="38"/>
                </a:cubicBezTo>
                <a:cubicBezTo>
                  <a:pt x="239" y="38"/>
                  <a:pt x="241" y="38"/>
                  <a:pt x="242" y="38"/>
                </a:cubicBezTo>
                <a:cubicBezTo>
                  <a:pt x="242" y="36"/>
                  <a:pt x="241" y="33"/>
                  <a:pt x="242" y="31"/>
                </a:cubicBezTo>
                <a:cubicBezTo>
                  <a:pt x="244" y="29"/>
                  <a:pt x="244" y="27"/>
                  <a:pt x="243" y="25"/>
                </a:cubicBezTo>
                <a:cubicBezTo>
                  <a:pt x="242" y="25"/>
                  <a:pt x="241" y="25"/>
                  <a:pt x="240" y="24"/>
                </a:cubicBezTo>
                <a:cubicBezTo>
                  <a:pt x="239" y="22"/>
                  <a:pt x="239" y="18"/>
                  <a:pt x="242" y="18"/>
                </a:cubicBezTo>
                <a:cubicBezTo>
                  <a:pt x="243" y="18"/>
                  <a:pt x="243" y="16"/>
                  <a:pt x="242" y="15"/>
                </a:cubicBezTo>
                <a:cubicBezTo>
                  <a:pt x="242" y="15"/>
                  <a:pt x="240" y="15"/>
                  <a:pt x="239" y="15"/>
                </a:cubicBezTo>
                <a:cubicBezTo>
                  <a:pt x="238" y="14"/>
                  <a:pt x="238" y="12"/>
                  <a:pt x="238" y="11"/>
                </a:cubicBezTo>
                <a:cubicBezTo>
                  <a:pt x="237" y="10"/>
                  <a:pt x="237" y="10"/>
                  <a:pt x="237" y="10"/>
                </a:cubicBezTo>
                <a:cubicBezTo>
                  <a:pt x="235" y="9"/>
                  <a:pt x="232" y="10"/>
                  <a:pt x="229" y="9"/>
                </a:cubicBezTo>
                <a:cubicBezTo>
                  <a:pt x="226" y="8"/>
                  <a:pt x="224" y="7"/>
                  <a:pt x="221" y="7"/>
                </a:cubicBezTo>
                <a:cubicBezTo>
                  <a:pt x="219" y="7"/>
                  <a:pt x="215" y="8"/>
                  <a:pt x="216" y="6"/>
                </a:cubicBezTo>
                <a:cubicBezTo>
                  <a:pt x="216" y="2"/>
                  <a:pt x="215" y="1"/>
                  <a:pt x="213" y="0"/>
                </a:cubicBezTo>
                <a:cubicBezTo>
                  <a:pt x="212" y="1"/>
                  <a:pt x="211" y="1"/>
                  <a:pt x="210" y="2"/>
                </a:cubicBezTo>
                <a:cubicBezTo>
                  <a:pt x="209" y="5"/>
                  <a:pt x="209" y="7"/>
                  <a:pt x="206" y="7"/>
                </a:cubicBezTo>
                <a:cubicBezTo>
                  <a:pt x="203" y="7"/>
                  <a:pt x="201" y="6"/>
                  <a:pt x="199" y="6"/>
                </a:cubicBezTo>
                <a:cubicBezTo>
                  <a:pt x="195" y="6"/>
                  <a:pt x="193" y="7"/>
                  <a:pt x="190" y="8"/>
                </a:cubicBezTo>
                <a:cubicBezTo>
                  <a:pt x="189" y="14"/>
                  <a:pt x="188" y="18"/>
                  <a:pt x="186" y="23"/>
                </a:cubicBezTo>
                <a:cubicBezTo>
                  <a:pt x="185" y="25"/>
                  <a:pt x="184" y="28"/>
                  <a:pt x="183" y="31"/>
                </a:cubicBezTo>
                <a:cubicBezTo>
                  <a:pt x="182" y="33"/>
                  <a:pt x="181" y="36"/>
                  <a:pt x="179" y="37"/>
                </a:cubicBezTo>
                <a:cubicBezTo>
                  <a:pt x="173" y="42"/>
                  <a:pt x="172" y="48"/>
                  <a:pt x="166" y="52"/>
                </a:cubicBezTo>
                <a:cubicBezTo>
                  <a:pt x="161" y="56"/>
                  <a:pt x="156" y="56"/>
                  <a:pt x="151" y="60"/>
                </a:cubicBezTo>
                <a:cubicBezTo>
                  <a:pt x="149" y="62"/>
                  <a:pt x="147" y="61"/>
                  <a:pt x="144" y="62"/>
                </a:cubicBezTo>
                <a:cubicBezTo>
                  <a:pt x="139" y="63"/>
                  <a:pt x="136" y="68"/>
                  <a:pt x="134" y="72"/>
                </a:cubicBezTo>
                <a:cubicBezTo>
                  <a:pt x="131" y="73"/>
                  <a:pt x="133" y="77"/>
                  <a:pt x="132" y="80"/>
                </a:cubicBezTo>
                <a:cubicBezTo>
                  <a:pt x="131" y="82"/>
                  <a:pt x="130" y="82"/>
                  <a:pt x="128" y="83"/>
                </a:cubicBezTo>
                <a:cubicBezTo>
                  <a:pt x="125" y="84"/>
                  <a:pt x="123" y="85"/>
                  <a:pt x="122" y="87"/>
                </a:cubicBezTo>
                <a:cubicBezTo>
                  <a:pt x="119" y="91"/>
                  <a:pt x="119" y="96"/>
                  <a:pt x="115" y="99"/>
                </a:cubicBezTo>
                <a:cubicBezTo>
                  <a:pt x="109" y="104"/>
                  <a:pt x="101" y="102"/>
                  <a:pt x="94" y="101"/>
                </a:cubicBezTo>
                <a:cubicBezTo>
                  <a:pt x="89" y="101"/>
                  <a:pt x="85" y="102"/>
                  <a:pt x="82" y="103"/>
                </a:cubicBezTo>
                <a:cubicBezTo>
                  <a:pt x="77" y="105"/>
                  <a:pt x="73" y="109"/>
                  <a:pt x="68" y="107"/>
                </a:cubicBezTo>
                <a:cubicBezTo>
                  <a:pt x="65" y="107"/>
                  <a:pt x="60" y="102"/>
                  <a:pt x="60" y="99"/>
                </a:cubicBezTo>
                <a:cubicBezTo>
                  <a:pt x="59" y="96"/>
                  <a:pt x="61" y="94"/>
                  <a:pt x="58" y="92"/>
                </a:cubicBezTo>
                <a:cubicBezTo>
                  <a:pt x="52" y="87"/>
                  <a:pt x="43" y="91"/>
                  <a:pt x="39" y="96"/>
                </a:cubicBezTo>
                <a:cubicBezTo>
                  <a:pt x="38" y="97"/>
                  <a:pt x="38" y="98"/>
                  <a:pt x="37" y="100"/>
                </a:cubicBezTo>
                <a:cubicBezTo>
                  <a:pt x="35" y="102"/>
                  <a:pt x="33" y="104"/>
                  <a:pt x="30" y="107"/>
                </a:cubicBezTo>
                <a:cubicBezTo>
                  <a:pt x="28" y="110"/>
                  <a:pt x="25" y="114"/>
                  <a:pt x="22" y="116"/>
                </a:cubicBezTo>
                <a:cubicBezTo>
                  <a:pt x="19" y="118"/>
                  <a:pt x="15" y="120"/>
                  <a:pt x="11" y="122"/>
                </a:cubicBezTo>
                <a:cubicBezTo>
                  <a:pt x="6" y="125"/>
                  <a:pt x="7" y="127"/>
                  <a:pt x="5" y="133"/>
                </a:cubicBezTo>
                <a:cubicBezTo>
                  <a:pt x="5" y="135"/>
                  <a:pt x="3" y="136"/>
                  <a:pt x="3" y="139"/>
                </a:cubicBezTo>
                <a:cubicBezTo>
                  <a:pt x="0" y="148"/>
                  <a:pt x="7" y="148"/>
                  <a:pt x="12" y="152"/>
                </a:cubicBezTo>
                <a:cubicBezTo>
                  <a:pt x="13" y="153"/>
                  <a:pt x="14" y="154"/>
                  <a:pt x="15" y="155"/>
                </a:cubicBezTo>
                <a:cubicBezTo>
                  <a:pt x="16" y="156"/>
                  <a:pt x="16" y="157"/>
                  <a:pt x="18" y="157"/>
                </a:cubicBezTo>
                <a:cubicBezTo>
                  <a:pt x="19" y="157"/>
                  <a:pt x="19" y="156"/>
                  <a:pt x="19" y="156"/>
                </a:cubicBezTo>
                <a:cubicBezTo>
                  <a:pt x="22" y="155"/>
                  <a:pt x="27" y="156"/>
                  <a:pt x="29" y="158"/>
                </a:cubicBezTo>
                <a:cubicBezTo>
                  <a:pt x="33" y="160"/>
                  <a:pt x="31" y="164"/>
                  <a:pt x="31" y="168"/>
                </a:cubicBezTo>
                <a:cubicBezTo>
                  <a:pt x="31" y="170"/>
                  <a:pt x="31" y="172"/>
                  <a:pt x="30" y="173"/>
                </a:cubicBezTo>
                <a:cubicBezTo>
                  <a:pt x="29" y="175"/>
                  <a:pt x="28" y="175"/>
                  <a:pt x="27" y="177"/>
                </a:cubicBezTo>
                <a:cubicBezTo>
                  <a:pt x="25" y="179"/>
                  <a:pt x="25" y="184"/>
                  <a:pt x="25" y="187"/>
                </a:cubicBezTo>
                <a:cubicBezTo>
                  <a:pt x="26" y="188"/>
                  <a:pt x="28" y="189"/>
                  <a:pt x="28" y="190"/>
                </a:cubicBezTo>
                <a:cubicBezTo>
                  <a:pt x="29" y="191"/>
                  <a:pt x="28" y="193"/>
                  <a:pt x="28" y="195"/>
                </a:cubicBezTo>
                <a:cubicBezTo>
                  <a:pt x="32" y="195"/>
                  <a:pt x="30" y="197"/>
                  <a:pt x="31" y="198"/>
                </a:cubicBezTo>
                <a:cubicBezTo>
                  <a:pt x="32" y="199"/>
                  <a:pt x="34" y="199"/>
                  <a:pt x="35" y="200"/>
                </a:cubicBezTo>
                <a:cubicBezTo>
                  <a:pt x="38" y="201"/>
                  <a:pt x="41" y="201"/>
                  <a:pt x="45" y="201"/>
                </a:cubicBezTo>
                <a:cubicBezTo>
                  <a:pt x="51" y="201"/>
                  <a:pt x="50" y="202"/>
                  <a:pt x="50" y="208"/>
                </a:cubicBezTo>
                <a:cubicBezTo>
                  <a:pt x="50" y="211"/>
                  <a:pt x="50" y="214"/>
                  <a:pt x="51" y="217"/>
                </a:cubicBezTo>
                <a:cubicBezTo>
                  <a:pt x="52" y="220"/>
                  <a:pt x="54" y="223"/>
                  <a:pt x="55" y="226"/>
                </a:cubicBezTo>
                <a:cubicBezTo>
                  <a:pt x="57" y="229"/>
                  <a:pt x="59" y="231"/>
                  <a:pt x="60" y="234"/>
                </a:cubicBezTo>
                <a:cubicBezTo>
                  <a:pt x="60" y="238"/>
                  <a:pt x="62" y="239"/>
                  <a:pt x="64" y="243"/>
                </a:cubicBezTo>
                <a:cubicBezTo>
                  <a:pt x="66" y="245"/>
                  <a:pt x="70" y="250"/>
                  <a:pt x="70" y="253"/>
                </a:cubicBezTo>
                <a:cubicBezTo>
                  <a:pt x="73" y="252"/>
                  <a:pt x="77" y="251"/>
                  <a:pt x="78" y="252"/>
                </a:cubicBezTo>
                <a:cubicBezTo>
                  <a:pt x="79" y="253"/>
                  <a:pt x="78" y="255"/>
                  <a:pt x="79" y="256"/>
                </a:cubicBezTo>
                <a:cubicBezTo>
                  <a:pt x="79" y="258"/>
                  <a:pt x="81" y="258"/>
                  <a:pt x="83" y="258"/>
                </a:cubicBezTo>
                <a:cubicBezTo>
                  <a:pt x="83" y="257"/>
                  <a:pt x="83" y="256"/>
                  <a:pt x="83" y="255"/>
                </a:cubicBezTo>
                <a:cubicBezTo>
                  <a:pt x="86" y="255"/>
                  <a:pt x="89" y="254"/>
                  <a:pt x="92" y="255"/>
                </a:cubicBezTo>
                <a:cubicBezTo>
                  <a:pt x="94" y="256"/>
                  <a:pt x="96" y="257"/>
                  <a:pt x="98" y="257"/>
                </a:cubicBezTo>
                <a:cubicBezTo>
                  <a:pt x="100" y="256"/>
                  <a:pt x="103" y="256"/>
                  <a:pt x="103" y="259"/>
                </a:cubicBezTo>
                <a:cubicBezTo>
                  <a:pt x="104" y="260"/>
                  <a:pt x="105" y="262"/>
                  <a:pt x="107" y="262"/>
                </a:cubicBezTo>
                <a:cubicBezTo>
                  <a:pt x="107" y="260"/>
                  <a:pt x="108" y="258"/>
                  <a:pt x="109" y="258"/>
                </a:cubicBezTo>
                <a:cubicBezTo>
                  <a:pt x="109" y="259"/>
                  <a:pt x="110" y="260"/>
                  <a:pt x="111" y="260"/>
                </a:cubicBezTo>
                <a:cubicBezTo>
                  <a:pt x="112" y="258"/>
                  <a:pt x="116" y="256"/>
                  <a:pt x="118" y="256"/>
                </a:cubicBezTo>
                <a:cubicBezTo>
                  <a:pt x="118" y="258"/>
                  <a:pt x="118" y="260"/>
                  <a:pt x="120" y="261"/>
                </a:cubicBezTo>
                <a:cubicBezTo>
                  <a:pt x="122" y="262"/>
                  <a:pt x="126" y="260"/>
                  <a:pt x="127" y="262"/>
                </a:cubicBezTo>
                <a:cubicBezTo>
                  <a:pt x="128" y="264"/>
                  <a:pt x="128" y="265"/>
                  <a:pt x="130" y="267"/>
                </a:cubicBezTo>
                <a:cubicBezTo>
                  <a:pt x="132" y="268"/>
                  <a:pt x="132" y="269"/>
                  <a:pt x="132" y="272"/>
                </a:cubicBezTo>
                <a:cubicBezTo>
                  <a:pt x="134" y="271"/>
                  <a:pt x="135" y="270"/>
                  <a:pt x="136" y="268"/>
                </a:cubicBezTo>
                <a:cubicBezTo>
                  <a:pt x="138" y="267"/>
                  <a:pt x="140" y="272"/>
                  <a:pt x="143" y="272"/>
                </a:cubicBezTo>
                <a:cubicBezTo>
                  <a:pt x="143" y="274"/>
                  <a:pt x="143" y="275"/>
                  <a:pt x="143" y="277"/>
                </a:cubicBezTo>
                <a:cubicBezTo>
                  <a:pt x="146" y="277"/>
                  <a:pt x="152" y="275"/>
                  <a:pt x="153" y="279"/>
                </a:cubicBezTo>
                <a:cubicBezTo>
                  <a:pt x="156" y="280"/>
                  <a:pt x="156" y="275"/>
                  <a:pt x="157" y="273"/>
                </a:cubicBezTo>
                <a:cubicBezTo>
                  <a:pt x="158" y="271"/>
                  <a:pt x="161" y="272"/>
                  <a:pt x="163" y="273"/>
                </a:cubicBezTo>
                <a:cubicBezTo>
                  <a:pt x="163" y="275"/>
                  <a:pt x="162" y="277"/>
                  <a:pt x="163" y="278"/>
                </a:cubicBezTo>
                <a:cubicBezTo>
                  <a:pt x="164" y="279"/>
                  <a:pt x="166" y="278"/>
                  <a:pt x="167" y="279"/>
                </a:cubicBezTo>
                <a:cubicBezTo>
                  <a:pt x="164" y="281"/>
                  <a:pt x="161" y="281"/>
                  <a:pt x="160" y="285"/>
                </a:cubicBezTo>
                <a:cubicBezTo>
                  <a:pt x="160" y="288"/>
                  <a:pt x="162" y="292"/>
                  <a:pt x="165" y="291"/>
                </a:cubicBezTo>
                <a:cubicBezTo>
                  <a:pt x="164" y="295"/>
                  <a:pt x="166" y="297"/>
                  <a:pt x="169" y="294"/>
                </a:cubicBezTo>
                <a:cubicBezTo>
                  <a:pt x="172" y="290"/>
                  <a:pt x="176" y="295"/>
                  <a:pt x="175" y="299"/>
                </a:cubicBezTo>
                <a:cubicBezTo>
                  <a:pt x="174" y="301"/>
                  <a:pt x="167" y="305"/>
                  <a:pt x="169" y="308"/>
                </a:cubicBezTo>
                <a:cubicBezTo>
                  <a:pt x="170" y="310"/>
                  <a:pt x="172" y="309"/>
                  <a:pt x="173" y="310"/>
                </a:cubicBezTo>
                <a:cubicBezTo>
                  <a:pt x="175" y="312"/>
                  <a:pt x="173" y="315"/>
                  <a:pt x="175" y="317"/>
                </a:cubicBezTo>
                <a:cubicBezTo>
                  <a:pt x="184" y="312"/>
                  <a:pt x="177" y="322"/>
                  <a:pt x="181" y="325"/>
                </a:cubicBezTo>
                <a:cubicBezTo>
                  <a:pt x="182" y="327"/>
                  <a:pt x="186" y="326"/>
                  <a:pt x="188" y="326"/>
                </a:cubicBezTo>
                <a:cubicBezTo>
                  <a:pt x="190" y="327"/>
                  <a:pt x="190" y="331"/>
                  <a:pt x="193" y="330"/>
                </a:cubicBezTo>
                <a:cubicBezTo>
                  <a:pt x="193" y="331"/>
                  <a:pt x="193" y="331"/>
                  <a:pt x="193" y="331"/>
                </a:cubicBezTo>
                <a:cubicBezTo>
                  <a:pt x="195" y="331"/>
                  <a:pt x="198" y="330"/>
                  <a:pt x="200" y="332"/>
                </a:cubicBezTo>
                <a:cubicBezTo>
                  <a:pt x="202" y="334"/>
                  <a:pt x="201" y="335"/>
                  <a:pt x="200" y="338"/>
                </a:cubicBezTo>
                <a:cubicBezTo>
                  <a:pt x="200" y="341"/>
                  <a:pt x="205" y="339"/>
                  <a:pt x="206" y="339"/>
                </a:cubicBezTo>
                <a:cubicBezTo>
                  <a:pt x="208" y="339"/>
                  <a:pt x="208" y="342"/>
                  <a:pt x="208" y="344"/>
                </a:cubicBezTo>
                <a:cubicBezTo>
                  <a:pt x="209" y="344"/>
                  <a:pt x="209" y="344"/>
                  <a:pt x="209" y="344"/>
                </a:cubicBezTo>
                <a:cubicBezTo>
                  <a:pt x="210" y="344"/>
                  <a:pt x="210" y="344"/>
                  <a:pt x="210" y="343"/>
                </a:cubicBezTo>
                <a:cubicBezTo>
                  <a:pt x="210" y="342"/>
                  <a:pt x="214" y="343"/>
                  <a:pt x="215" y="344"/>
                </a:cubicBezTo>
                <a:cubicBezTo>
                  <a:pt x="217" y="340"/>
                  <a:pt x="224" y="342"/>
                  <a:pt x="227" y="338"/>
                </a:cubicBezTo>
                <a:cubicBezTo>
                  <a:pt x="229" y="335"/>
                  <a:pt x="221" y="333"/>
                  <a:pt x="219" y="332"/>
                </a:cubicBezTo>
                <a:cubicBezTo>
                  <a:pt x="222" y="330"/>
                  <a:pt x="220" y="329"/>
                  <a:pt x="221" y="327"/>
                </a:cubicBezTo>
                <a:cubicBezTo>
                  <a:pt x="225" y="325"/>
                  <a:pt x="230" y="324"/>
                  <a:pt x="235" y="322"/>
                </a:cubicBezTo>
                <a:cubicBezTo>
                  <a:pt x="238" y="320"/>
                  <a:pt x="239" y="316"/>
                  <a:pt x="239" y="313"/>
                </a:cubicBezTo>
                <a:cubicBezTo>
                  <a:pt x="239" y="311"/>
                  <a:pt x="238" y="309"/>
                  <a:pt x="238" y="307"/>
                </a:cubicBezTo>
                <a:cubicBezTo>
                  <a:pt x="239" y="304"/>
                  <a:pt x="240" y="303"/>
                  <a:pt x="242" y="301"/>
                </a:cubicBezTo>
                <a:cubicBezTo>
                  <a:pt x="243" y="299"/>
                  <a:pt x="242" y="298"/>
                  <a:pt x="241" y="296"/>
                </a:cubicBezTo>
                <a:cubicBezTo>
                  <a:pt x="240" y="294"/>
                  <a:pt x="240" y="291"/>
                  <a:pt x="240" y="289"/>
                </a:cubicBezTo>
                <a:cubicBezTo>
                  <a:pt x="237" y="288"/>
                  <a:pt x="235" y="288"/>
                  <a:pt x="232" y="288"/>
                </a:cubicBezTo>
                <a:cubicBezTo>
                  <a:pt x="233" y="287"/>
                  <a:pt x="235" y="286"/>
                  <a:pt x="235" y="284"/>
                </a:cubicBezTo>
                <a:cubicBezTo>
                  <a:pt x="236" y="283"/>
                  <a:pt x="234" y="280"/>
                  <a:pt x="237" y="279"/>
                </a:cubicBezTo>
                <a:cubicBezTo>
                  <a:pt x="236" y="278"/>
                  <a:pt x="234" y="277"/>
                  <a:pt x="232" y="277"/>
                </a:cubicBezTo>
                <a:cubicBezTo>
                  <a:pt x="232" y="275"/>
                  <a:pt x="231" y="273"/>
                  <a:pt x="232" y="272"/>
                </a:cubicBezTo>
                <a:cubicBezTo>
                  <a:pt x="233" y="270"/>
                  <a:pt x="236" y="270"/>
                  <a:pt x="236" y="269"/>
                </a:cubicBezTo>
                <a:cubicBezTo>
                  <a:pt x="236" y="266"/>
                  <a:pt x="232" y="262"/>
                  <a:pt x="238" y="263"/>
                </a:cubicBezTo>
                <a:cubicBezTo>
                  <a:pt x="237" y="265"/>
                  <a:pt x="239" y="264"/>
                  <a:pt x="240" y="265"/>
                </a:cubicBezTo>
                <a:cubicBezTo>
                  <a:pt x="241" y="266"/>
                  <a:pt x="242" y="268"/>
                  <a:pt x="244" y="267"/>
                </a:cubicBezTo>
                <a:cubicBezTo>
                  <a:pt x="244" y="262"/>
                  <a:pt x="235" y="258"/>
                  <a:pt x="238" y="253"/>
                </a:cubicBezTo>
                <a:cubicBezTo>
                  <a:pt x="241" y="253"/>
                  <a:pt x="241" y="256"/>
                  <a:pt x="242" y="257"/>
                </a:cubicBezTo>
                <a:cubicBezTo>
                  <a:pt x="243" y="259"/>
                  <a:pt x="247" y="259"/>
                  <a:pt x="248" y="258"/>
                </a:cubicBezTo>
                <a:cubicBezTo>
                  <a:pt x="251" y="257"/>
                  <a:pt x="250" y="254"/>
                  <a:pt x="251" y="252"/>
                </a:cubicBezTo>
                <a:cubicBezTo>
                  <a:pt x="253" y="249"/>
                  <a:pt x="258" y="250"/>
                  <a:pt x="261" y="250"/>
                </a:cubicBezTo>
                <a:cubicBezTo>
                  <a:pt x="261" y="253"/>
                  <a:pt x="261" y="255"/>
                  <a:pt x="260" y="257"/>
                </a:cubicBezTo>
                <a:cubicBezTo>
                  <a:pt x="257" y="256"/>
                  <a:pt x="258" y="260"/>
                  <a:pt x="258" y="262"/>
                </a:cubicBezTo>
                <a:cubicBezTo>
                  <a:pt x="254" y="262"/>
                  <a:pt x="253" y="266"/>
                  <a:pt x="257" y="267"/>
                </a:cubicBezTo>
                <a:cubicBezTo>
                  <a:pt x="261" y="268"/>
                  <a:pt x="266" y="268"/>
                  <a:pt x="270" y="268"/>
                </a:cubicBezTo>
                <a:cubicBezTo>
                  <a:pt x="269" y="273"/>
                  <a:pt x="273" y="270"/>
                  <a:pt x="275" y="268"/>
                </a:cubicBezTo>
                <a:cubicBezTo>
                  <a:pt x="278" y="267"/>
                  <a:pt x="279" y="266"/>
                  <a:pt x="282" y="267"/>
                </a:cubicBezTo>
                <a:cubicBezTo>
                  <a:pt x="283" y="269"/>
                  <a:pt x="282" y="272"/>
                  <a:pt x="282" y="275"/>
                </a:cubicBezTo>
                <a:cubicBezTo>
                  <a:pt x="284" y="275"/>
                  <a:pt x="285" y="275"/>
                  <a:pt x="287" y="275"/>
                </a:cubicBezTo>
                <a:cubicBezTo>
                  <a:pt x="287" y="278"/>
                  <a:pt x="286" y="286"/>
                  <a:pt x="282" y="281"/>
                </a:cubicBezTo>
                <a:cubicBezTo>
                  <a:pt x="279" y="281"/>
                  <a:pt x="278" y="284"/>
                  <a:pt x="279" y="286"/>
                </a:cubicBezTo>
                <a:cubicBezTo>
                  <a:pt x="279" y="288"/>
                  <a:pt x="281" y="287"/>
                  <a:pt x="281" y="290"/>
                </a:cubicBezTo>
                <a:cubicBezTo>
                  <a:pt x="281" y="292"/>
                  <a:pt x="280" y="293"/>
                  <a:pt x="280" y="295"/>
                </a:cubicBezTo>
                <a:cubicBezTo>
                  <a:pt x="281" y="298"/>
                  <a:pt x="284" y="297"/>
                  <a:pt x="284" y="299"/>
                </a:cubicBezTo>
                <a:cubicBezTo>
                  <a:pt x="281" y="300"/>
                  <a:pt x="280" y="302"/>
                  <a:pt x="276" y="302"/>
                </a:cubicBezTo>
                <a:cubicBezTo>
                  <a:pt x="274" y="303"/>
                  <a:pt x="272" y="302"/>
                  <a:pt x="270" y="301"/>
                </a:cubicBezTo>
                <a:cubicBezTo>
                  <a:pt x="266" y="299"/>
                  <a:pt x="266" y="307"/>
                  <a:pt x="267" y="309"/>
                </a:cubicBezTo>
                <a:cubicBezTo>
                  <a:pt x="272" y="309"/>
                  <a:pt x="271" y="312"/>
                  <a:pt x="275" y="314"/>
                </a:cubicBezTo>
                <a:cubicBezTo>
                  <a:pt x="275" y="312"/>
                  <a:pt x="275" y="310"/>
                  <a:pt x="276" y="309"/>
                </a:cubicBezTo>
                <a:cubicBezTo>
                  <a:pt x="278" y="308"/>
                  <a:pt x="282" y="309"/>
                  <a:pt x="285" y="309"/>
                </a:cubicBezTo>
                <a:cubicBezTo>
                  <a:pt x="285" y="308"/>
                  <a:pt x="286" y="307"/>
                  <a:pt x="288" y="308"/>
                </a:cubicBezTo>
                <a:cubicBezTo>
                  <a:pt x="288" y="305"/>
                  <a:pt x="287" y="304"/>
                  <a:pt x="287" y="302"/>
                </a:cubicBezTo>
                <a:cubicBezTo>
                  <a:pt x="289" y="302"/>
                  <a:pt x="291" y="302"/>
                  <a:pt x="292" y="300"/>
                </a:cubicBezTo>
                <a:cubicBezTo>
                  <a:pt x="294" y="298"/>
                  <a:pt x="296" y="295"/>
                  <a:pt x="296" y="292"/>
                </a:cubicBezTo>
                <a:cubicBezTo>
                  <a:pt x="299" y="291"/>
                  <a:pt x="302" y="293"/>
                  <a:pt x="306" y="294"/>
                </a:cubicBezTo>
                <a:cubicBezTo>
                  <a:pt x="309" y="294"/>
                  <a:pt x="312" y="294"/>
                  <a:pt x="315" y="296"/>
                </a:cubicBezTo>
                <a:cubicBezTo>
                  <a:pt x="315" y="295"/>
                  <a:pt x="316" y="294"/>
                  <a:pt x="316" y="293"/>
                </a:cubicBezTo>
                <a:cubicBezTo>
                  <a:pt x="317" y="293"/>
                  <a:pt x="318" y="293"/>
                  <a:pt x="320" y="293"/>
                </a:cubicBezTo>
                <a:cubicBezTo>
                  <a:pt x="320" y="292"/>
                  <a:pt x="320" y="292"/>
                  <a:pt x="320" y="292"/>
                </a:cubicBezTo>
                <a:cubicBezTo>
                  <a:pt x="320" y="293"/>
                  <a:pt x="320" y="295"/>
                  <a:pt x="320" y="296"/>
                </a:cubicBezTo>
                <a:cubicBezTo>
                  <a:pt x="322" y="296"/>
                  <a:pt x="323" y="298"/>
                  <a:pt x="325" y="297"/>
                </a:cubicBezTo>
                <a:cubicBezTo>
                  <a:pt x="325" y="299"/>
                  <a:pt x="326" y="301"/>
                  <a:pt x="328" y="301"/>
                </a:cubicBezTo>
                <a:cubicBezTo>
                  <a:pt x="328" y="298"/>
                  <a:pt x="333" y="298"/>
                  <a:pt x="333" y="296"/>
                </a:cubicBezTo>
                <a:cubicBezTo>
                  <a:pt x="329" y="295"/>
                  <a:pt x="331" y="283"/>
                  <a:pt x="330" y="280"/>
                </a:cubicBezTo>
                <a:cubicBezTo>
                  <a:pt x="333" y="279"/>
                  <a:pt x="334" y="282"/>
                  <a:pt x="336" y="283"/>
                </a:cubicBezTo>
                <a:cubicBezTo>
                  <a:pt x="340" y="284"/>
                  <a:pt x="341" y="279"/>
                  <a:pt x="341" y="277"/>
                </a:cubicBezTo>
                <a:cubicBezTo>
                  <a:pt x="341" y="273"/>
                  <a:pt x="340" y="272"/>
                  <a:pt x="337" y="271"/>
                </a:cubicBezTo>
                <a:cubicBezTo>
                  <a:pt x="333" y="270"/>
                  <a:pt x="331" y="269"/>
                  <a:pt x="330" y="266"/>
                </a:cubicBezTo>
                <a:cubicBezTo>
                  <a:pt x="332" y="266"/>
                  <a:pt x="336" y="266"/>
                  <a:pt x="335" y="263"/>
                </a:cubicBezTo>
                <a:cubicBezTo>
                  <a:pt x="335" y="261"/>
                  <a:pt x="333" y="261"/>
                  <a:pt x="333" y="259"/>
                </a:cubicBezTo>
                <a:cubicBezTo>
                  <a:pt x="332" y="258"/>
                  <a:pt x="333" y="256"/>
                  <a:pt x="333" y="255"/>
                </a:cubicBezTo>
                <a:cubicBezTo>
                  <a:pt x="337" y="254"/>
                  <a:pt x="340" y="255"/>
                  <a:pt x="344" y="255"/>
                </a:cubicBezTo>
                <a:cubicBezTo>
                  <a:pt x="347" y="254"/>
                  <a:pt x="349" y="253"/>
                  <a:pt x="352" y="252"/>
                </a:cubicBezTo>
                <a:cubicBezTo>
                  <a:pt x="352" y="252"/>
                  <a:pt x="352" y="254"/>
                  <a:pt x="352" y="254"/>
                </a:cubicBezTo>
                <a:cubicBezTo>
                  <a:pt x="354" y="254"/>
                  <a:pt x="355" y="253"/>
                  <a:pt x="357" y="254"/>
                </a:cubicBezTo>
                <a:cubicBezTo>
                  <a:pt x="357" y="250"/>
                  <a:pt x="357" y="247"/>
                  <a:pt x="357" y="243"/>
                </a:cubicBezTo>
                <a:cubicBezTo>
                  <a:pt x="354" y="244"/>
                  <a:pt x="355" y="240"/>
                  <a:pt x="355" y="238"/>
                </a:cubicBezTo>
                <a:cubicBezTo>
                  <a:pt x="351" y="238"/>
                  <a:pt x="350" y="239"/>
                  <a:pt x="349" y="243"/>
                </a:cubicBezTo>
                <a:cubicBezTo>
                  <a:pt x="348" y="243"/>
                  <a:pt x="347" y="242"/>
                  <a:pt x="346" y="241"/>
                </a:cubicBezTo>
                <a:cubicBezTo>
                  <a:pt x="344" y="241"/>
                  <a:pt x="343" y="242"/>
                  <a:pt x="341" y="242"/>
                </a:cubicBezTo>
                <a:cubicBezTo>
                  <a:pt x="336" y="243"/>
                  <a:pt x="330" y="242"/>
                  <a:pt x="325" y="240"/>
                </a:cubicBezTo>
                <a:cubicBezTo>
                  <a:pt x="322" y="239"/>
                  <a:pt x="321" y="238"/>
                  <a:pt x="320" y="235"/>
                </a:cubicBezTo>
                <a:cubicBezTo>
                  <a:pt x="319" y="231"/>
                  <a:pt x="318" y="226"/>
                  <a:pt x="316" y="222"/>
                </a:cubicBezTo>
                <a:cubicBezTo>
                  <a:pt x="320" y="223"/>
                  <a:pt x="318" y="218"/>
                  <a:pt x="320" y="216"/>
                </a:cubicBezTo>
                <a:cubicBezTo>
                  <a:pt x="324" y="216"/>
                  <a:pt x="328" y="215"/>
                  <a:pt x="331" y="211"/>
                </a:cubicBezTo>
                <a:cubicBezTo>
                  <a:pt x="333" y="208"/>
                  <a:pt x="336" y="203"/>
                  <a:pt x="341" y="202"/>
                </a:cubicBezTo>
                <a:cubicBezTo>
                  <a:pt x="343" y="202"/>
                  <a:pt x="346" y="202"/>
                  <a:pt x="348" y="200"/>
                </a:cubicBezTo>
                <a:cubicBezTo>
                  <a:pt x="349" y="198"/>
                  <a:pt x="349" y="197"/>
                  <a:pt x="351" y="196"/>
                </a:cubicBezTo>
                <a:cubicBezTo>
                  <a:pt x="354" y="195"/>
                  <a:pt x="359" y="195"/>
                  <a:pt x="361" y="192"/>
                </a:cubicBezTo>
                <a:cubicBezTo>
                  <a:pt x="364" y="192"/>
                  <a:pt x="367" y="191"/>
                  <a:pt x="369" y="189"/>
                </a:cubicBezTo>
                <a:cubicBezTo>
                  <a:pt x="370" y="188"/>
                  <a:pt x="371" y="187"/>
                  <a:pt x="372" y="186"/>
                </a:cubicBezTo>
                <a:cubicBezTo>
                  <a:pt x="374" y="185"/>
                  <a:pt x="376" y="185"/>
                  <a:pt x="378" y="185"/>
                </a:cubicBezTo>
                <a:cubicBezTo>
                  <a:pt x="379" y="177"/>
                  <a:pt x="389" y="180"/>
                  <a:pt x="394" y="179"/>
                </a:cubicBezTo>
                <a:cubicBezTo>
                  <a:pt x="395" y="176"/>
                  <a:pt x="395" y="176"/>
                  <a:pt x="395" y="176"/>
                </a:cubicBezTo>
                <a:cubicBezTo>
                  <a:pt x="396" y="174"/>
                  <a:pt x="398" y="173"/>
                  <a:pt x="399" y="172"/>
                </a:cubicBezTo>
                <a:cubicBezTo>
                  <a:pt x="398" y="172"/>
                  <a:pt x="398" y="170"/>
                  <a:pt x="399" y="169"/>
                </a:cubicBezTo>
                <a:close/>
              </a:path>
            </a:pathLst>
          </a:custGeom>
          <a:solidFill>
            <a:schemeClr val="accent1"/>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4" name="Freeform 432">
            <a:extLst>
              <a:ext uri="{FF2B5EF4-FFF2-40B4-BE49-F238E27FC236}">
                <a16:creationId xmlns:a16="http://schemas.microsoft.com/office/drawing/2014/main" id="{A6E34D6F-E34F-4D57-93D5-8E3D760B023C}"/>
              </a:ext>
            </a:extLst>
          </p:cNvPr>
          <p:cNvSpPr>
            <a:spLocks/>
          </p:cNvSpPr>
          <p:nvPr/>
        </p:nvSpPr>
        <p:spPr bwMode="auto">
          <a:xfrm>
            <a:off x="1453064" y="2985594"/>
            <a:ext cx="2219"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5" name="Freeform 433">
            <a:extLst>
              <a:ext uri="{FF2B5EF4-FFF2-40B4-BE49-F238E27FC236}">
                <a16:creationId xmlns:a16="http://schemas.microsoft.com/office/drawing/2014/main" id="{0827B6EF-0295-4726-9C46-6118F83405D6}"/>
              </a:ext>
            </a:extLst>
          </p:cNvPr>
          <p:cNvSpPr>
            <a:spLocks/>
          </p:cNvSpPr>
          <p:nvPr/>
        </p:nvSpPr>
        <p:spPr bwMode="auto">
          <a:xfrm>
            <a:off x="1253258" y="2930901"/>
            <a:ext cx="4441" cy="2233"/>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1"/>
                  <a:pt x="2" y="0"/>
                </a:cubicBezTo>
                <a:cubicBezTo>
                  <a:pt x="1" y="1"/>
                  <a:pt x="1" y="1"/>
                  <a:pt x="0" y="1"/>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6" name="Freeform 434">
            <a:extLst>
              <a:ext uri="{FF2B5EF4-FFF2-40B4-BE49-F238E27FC236}">
                <a16:creationId xmlns:a16="http://schemas.microsoft.com/office/drawing/2014/main" id="{8EE418FA-FA29-4792-B947-9C5892B6DD15}"/>
              </a:ext>
            </a:extLst>
          </p:cNvPr>
          <p:cNvSpPr>
            <a:spLocks/>
          </p:cNvSpPr>
          <p:nvPr/>
        </p:nvSpPr>
        <p:spPr bwMode="auto">
          <a:xfrm>
            <a:off x="1455283" y="4188813"/>
            <a:ext cx="980156" cy="885115"/>
          </a:xfrm>
          <a:custGeom>
            <a:avLst/>
            <a:gdLst>
              <a:gd name="T0" fmla="*/ 381 w 396"/>
              <a:gd name="T1" fmla="*/ 69 h 356"/>
              <a:gd name="T2" fmla="*/ 360 w 396"/>
              <a:gd name="T3" fmla="*/ 91 h 356"/>
              <a:gd name="T4" fmla="*/ 325 w 396"/>
              <a:gd name="T5" fmla="*/ 118 h 356"/>
              <a:gd name="T6" fmla="*/ 291 w 396"/>
              <a:gd name="T7" fmla="*/ 138 h 356"/>
              <a:gd name="T8" fmla="*/ 278 w 396"/>
              <a:gd name="T9" fmla="*/ 150 h 356"/>
              <a:gd name="T10" fmla="*/ 276 w 396"/>
              <a:gd name="T11" fmla="*/ 166 h 356"/>
              <a:gd name="T12" fmla="*/ 248 w 396"/>
              <a:gd name="T13" fmla="*/ 176 h 356"/>
              <a:gd name="T14" fmla="*/ 233 w 396"/>
              <a:gd name="T15" fmla="*/ 177 h 356"/>
              <a:gd name="T16" fmla="*/ 221 w 396"/>
              <a:gd name="T17" fmla="*/ 194 h 356"/>
              <a:gd name="T18" fmla="*/ 211 w 396"/>
              <a:gd name="T19" fmla="*/ 204 h 356"/>
              <a:gd name="T20" fmla="*/ 203 w 396"/>
              <a:gd name="T21" fmla="*/ 198 h 356"/>
              <a:gd name="T22" fmla="*/ 176 w 396"/>
              <a:gd name="T23" fmla="*/ 215 h 356"/>
              <a:gd name="T24" fmla="*/ 173 w 396"/>
              <a:gd name="T25" fmla="*/ 261 h 356"/>
              <a:gd name="T26" fmla="*/ 170 w 396"/>
              <a:gd name="T27" fmla="*/ 283 h 356"/>
              <a:gd name="T28" fmla="*/ 174 w 396"/>
              <a:gd name="T29" fmla="*/ 315 h 356"/>
              <a:gd name="T30" fmla="*/ 165 w 396"/>
              <a:gd name="T31" fmla="*/ 296 h 356"/>
              <a:gd name="T32" fmla="*/ 163 w 396"/>
              <a:gd name="T33" fmla="*/ 314 h 356"/>
              <a:gd name="T34" fmla="*/ 154 w 396"/>
              <a:gd name="T35" fmla="*/ 324 h 356"/>
              <a:gd name="T36" fmla="*/ 130 w 396"/>
              <a:gd name="T37" fmla="*/ 324 h 356"/>
              <a:gd name="T38" fmla="*/ 106 w 396"/>
              <a:gd name="T39" fmla="*/ 332 h 356"/>
              <a:gd name="T40" fmla="*/ 75 w 396"/>
              <a:gd name="T41" fmla="*/ 354 h 356"/>
              <a:gd name="T42" fmla="*/ 79 w 396"/>
              <a:gd name="T43" fmla="*/ 342 h 356"/>
              <a:gd name="T44" fmla="*/ 76 w 396"/>
              <a:gd name="T45" fmla="*/ 317 h 356"/>
              <a:gd name="T46" fmla="*/ 66 w 396"/>
              <a:gd name="T47" fmla="*/ 303 h 356"/>
              <a:gd name="T48" fmla="*/ 58 w 396"/>
              <a:gd name="T49" fmla="*/ 288 h 356"/>
              <a:gd name="T50" fmla="*/ 46 w 396"/>
              <a:gd name="T51" fmla="*/ 295 h 356"/>
              <a:gd name="T52" fmla="*/ 30 w 396"/>
              <a:gd name="T53" fmla="*/ 292 h 356"/>
              <a:gd name="T54" fmla="*/ 12 w 396"/>
              <a:gd name="T55" fmla="*/ 284 h 356"/>
              <a:gd name="T56" fmla="*/ 18 w 396"/>
              <a:gd name="T57" fmla="*/ 285 h 356"/>
              <a:gd name="T58" fmla="*/ 33 w 396"/>
              <a:gd name="T59" fmla="*/ 273 h 356"/>
              <a:gd name="T60" fmla="*/ 25 w 396"/>
              <a:gd name="T61" fmla="*/ 268 h 356"/>
              <a:gd name="T62" fmla="*/ 6 w 396"/>
              <a:gd name="T63" fmla="*/ 265 h 356"/>
              <a:gd name="T64" fmla="*/ 1 w 396"/>
              <a:gd name="T65" fmla="*/ 257 h 356"/>
              <a:gd name="T66" fmla="*/ 3 w 396"/>
              <a:gd name="T67" fmla="*/ 231 h 356"/>
              <a:gd name="T68" fmla="*/ 19 w 396"/>
              <a:gd name="T69" fmla="*/ 223 h 356"/>
              <a:gd name="T70" fmla="*/ 41 w 396"/>
              <a:gd name="T71" fmla="*/ 194 h 356"/>
              <a:gd name="T72" fmla="*/ 37 w 396"/>
              <a:gd name="T73" fmla="*/ 165 h 356"/>
              <a:gd name="T74" fmla="*/ 41 w 396"/>
              <a:gd name="T75" fmla="*/ 146 h 356"/>
              <a:gd name="T76" fmla="*/ 46 w 396"/>
              <a:gd name="T77" fmla="*/ 116 h 356"/>
              <a:gd name="T78" fmla="*/ 56 w 396"/>
              <a:gd name="T79" fmla="*/ 90 h 356"/>
              <a:gd name="T80" fmla="*/ 50 w 396"/>
              <a:gd name="T81" fmla="*/ 77 h 356"/>
              <a:gd name="T82" fmla="*/ 61 w 396"/>
              <a:gd name="T83" fmla="*/ 57 h 356"/>
              <a:gd name="T84" fmla="*/ 70 w 396"/>
              <a:gd name="T85" fmla="*/ 26 h 356"/>
              <a:gd name="T86" fmla="*/ 78 w 396"/>
              <a:gd name="T87" fmla="*/ 24 h 356"/>
              <a:gd name="T88" fmla="*/ 91 w 396"/>
              <a:gd name="T89" fmla="*/ 0 h 356"/>
              <a:gd name="T90" fmla="*/ 120 w 396"/>
              <a:gd name="T91" fmla="*/ 16 h 356"/>
              <a:gd name="T92" fmla="*/ 134 w 396"/>
              <a:gd name="T93" fmla="*/ 15 h 356"/>
              <a:gd name="T94" fmla="*/ 147 w 396"/>
              <a:gd name="T95" fmla="*/ 22 h 356"/>
              <a:gd name="T96" fmla="*/ 168 w 396"/>
              <a:gd name="T97" fmla="*/ 25 h 356"/>
              <a:gd name="T98" fmla="*/ 170 w 396"/>
              <a:gd name="T99" fmla="*/ 60 h 356"/>
              <a:gd name="T100" fmla="*/ 205 w 396"/>
              <a:gd name="T101" fmla="*/ 85 h 356"/>
              <a:gd name="T102" fmla="*/ 215 w 396"/>
              <a:gd name="T103" fmla="*/ 97 h 356"/>
              <a:gd name="T104" fmla="*/ 251 w 396"/>
              <a:gd name="T105" fmla="*/ 106 h 356"/>
              <a:gd name="T106" fmla="*/ 278 w 396"/>
              <a:gd name="T107" fmla="*/ 99 h 356"/>
              <a:gd name="T108" fmla="*/ 282 w 396"/>
              <a:gd name="T109" fmla="*/ 86 h 356"/>
              <a:gd name="T110" fmla="*/ 301 w 396"/>
              <a:gd name="T111" fmla="*/ 84 h 356"/>
              <a:gd name="T112" fmla="*/ 317 w 396"/>
              <a:gd name="T113" fmla="*/ 78 h 356"/>
              <a:gd name="T114" fmla="*/ 327 w 396"/>
              <a:gd name="T115" fmla="*/ 63 h 356"/>
              <a:gd name="T116" fmla="*/ 338 w 396"/>
              <a:gd name="T117" fmla="*/ 53 h 356"/>
              <a:gd name="T118" fmla="*/ 354 w 396"/>
              <a:gd name="T119" fmla="*/ 60 h 356"/>
              <a:gd name="T120" fmla="*/ 379 w 396"/>
              <a:gd name="T121" fmla="*/ 55 h 356"/>
              <a:gd name="T122" fmla="*/ 396 w 396"/>
              <a:gd name="T123" fmla="*/ 52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 h="356">
                <a:moveTo>
                  <a:pt x="396" y="52"/>
                </a:moveTo>
                <a:cubicBezTo>
                  <a:pt x="396" y="53"/>
                  <a:pt x="396" y="54"/>
                  <a:pt x="395" y="55"/>
                </a:cubicBezTo>
                <a:cubicBezTo>
                  <a:pt x="394" y="57"/>
                  <a:pt x="392" y="58"/>
                  <a:pt x="390" y="59"/>
                </a:cubicBezTo>
                <a:cubicBezTo>
                  <a:pt x="389" y="60"/>
                  <a:pt x="387" y="62"/>
                  <a:pt x="386" y="63"/>
                </a:cubicBezTo>
                <a:cubicBezTo>
                  <a:pt x="385" y="64"/>
                  <a:pt x="385" y="66"/>
                  <a:pt x="384" y="67"/>
                </a:cubicBezTo>
                <a:cubicBezTo>
                  <a:pt x="383" y="68"/>
                  <a:pt x="382" y="68"/>
                  <a:pt x="381" y="69"/>
                </a:cubicBezTo>
                <a:cubicBezTo>
                  <a:pt x="380" y="71"/>
                  <a:pt x="379" y="73"/>
                  <a:pt x="378" y="75"/>
                </a:cubicBezTo>
                <a:cubicBezTo>
                  <a:pt x="377" y="75"/>
                  <a:pt x="376" y="75"/>
                  <a:pt x="376" y="76"/>
                </a:cubicBezTo>
                <a:cubicBezTo>
                  <a:pt x="374" y="76"/>
                  <a:pt x="372" y="79"/>
                  <a:pt x="370" y="80"/>
                </a:cubicBezTo>
                <a:cubicBezTo>
                  <a:pt x="368" y="81"/>
                  <a:pt x="367" y="81"/>
                  <a:pt x="366" y="82"/>
                </a:cubicBezTo>
                <a:cubicBezTo>
                  <a:pt x="366" y="83"/>
                  <a:pt x="367" y="87"/>
                  <a:pt x="364" y="88"/>
                </a:cubicBezTo>
                <a:cubicBezTo>
                  <a:pt x="362" y="88"/>
                  <a:pt x="362" y="90"/>
                  <a:pt x="360" y="91"/>
                </a:cubicBezTo>
                <a:cubicBezTo>
                  <a:pt x="358" y="93"/>
                  <a:pt x="356" y="94"/>
                  <a:pt x="353" y="95"/>
                </a:cubicBezTo>
                <a:cubicBezTo>
                  <a:pt x="352" y="95"/>
                  <a:pt x="351" y="96"/>
                  <a:pt x="350" y="96"/>
                </a:cubicBezTo>
                <a:cubicBezTo>
                  <a:pt x="349" y="97"/>
                  <a:pt x="348" y="98"/>
                  <a:pt x="347" y="99"/>
                </a:cubicBezTo>
                <a:cubicBezTo>
                  <a:pt x="342" y="102"/>
                  <a:pt x="338" y="103"/>
                  <a:pt x="334" y="107"/>
                </a:cubicBezTo>
                <a:cubicBezTo>
                  <a:pt x="331" y="109"/>
                  <a:pt x="329" y="111"/>
                  <a:pt x="327" y="114"/>
                </a:cubicBezTo>
                <a:cubicBezTo>
                  <a:pt x="326" y="115"/>
                  <a:pt x="326" y="117"/>
                  <a:pt x="325" y="118"/>
                </a:cubicBezTo>
                <a:cubicBezTo>
                  <a:pt x="325" y="119"/>
                  <a:pt x="323" y="120"/>
                  <a:pt x="322" y="121"/>
                </a:cubicBezTo>
                <a:cubicBezTo>
                  <a:pt x="320" y="122"/>
                  <a:pt x="320" y="123"/>
                  <a:pt x="318" y="124"/>
                </a:cubicBezTo>
                <a:cubicBezTo>
                  <a:pt x="317" y="125"/>
                  <a:pt x="314" y="126"/>
                  <a:pt x="312" y="126"/>
                </a:cubicBezTo>
                <a:cubicBezTo>
                  <a:pt x="309" y="127"/>
                  <a:pt x="306" y="128"/>
                  <a:pt x="303" y="130"/>
                </a:cubicBezTo>
                <a:cubicBezTo>
                  <a:pt x="300" y="131"/>
                  <a:pt x="298" y="132"/>
                  <a:pt x="296" y="134"/>
                </a:cubicBezTo>
                <a:cubicBezTo>
                  <a:pt x="295" y="136"/>
                  <a:pt x="293" y="137"/>
                  <a:pt x="291" y="138"/>
                </a:cubicBezTo>
                <a:cubicBezTo>
                  <a:pt x="289" y="140"/>
                  <a:pt x="287" y="142"/>
                  <a:pt x="284" y="143"/>
                </a:cubicBezTo>
                <a:cubicBezTo>
                  <a:pt x="282" y="144"/>
                  <a:pt x="280" y="145"/>
                  <a:pt x="278" y="147"/>
                </a:cubicBezTo>
                <a:cubicBezTo>
                  <a:pt x="277" y="148"/>
                  <a:pt x="273" y="159"/>
                  <a:pt x="278" y="158"/>
                </a:cubicBezTo>
                <a:cubicBezTo>
                  <a:pt x="279" y="156"/>
                  <a:pt x="278" y="154"/>
                  <a:pt x="278" y="152"/>
                </a:cubicBezTo>
                <a:cubicBezTo>
                  <a:pt x="278" y="152"/>
                  <a:pt x="278" y="152"/>
                  <a:pt x="278" y="152"/>
                </a:cubicBezTo>
                <a:cubicBezTo>
                  <a:pt x="277" y="151"/>
                  <a:pt x="277" y="150"/>
                  <a:pt x="278" y="150"/>
                </a:cubicBezTo>
                <a:cubicBezTo>
                  <a:pt x="279" y="150"/>
                  <a:pt x="281" y="152"/>
                  <a:pt x="281" y="153"/>
                </a:cubicBezTo>
                <a:cubicBezTo>
                  <a:pt x="281" y="155"/>
                  <a:pt x="280" y="156"/>
                  <a:pt x="279" y="158"/>
                </a:cubicBezTo>
                <a:cubicBezTo>
                  <a:pt x="278" y="159"/>
                  <a:pt x="278" y="162"/>
                  <a:pt x="277" y="163"/>
                </a:cubicBezTo>
                <a:cubicBezTo>
                  <a:pt x="277" y="164"/>
                  <a:pt x="278" y="169"/>
                  <a:pt x="277" y="169"/>
                </a:cubicBezTo>
                <a:cubicBezTo>
                  <a:pt x="277" y="169"/>
                  <a:pt x="277" y="169"/>
                  <a:pt x="276" y="169"/>
                </a:cubicBezTo>
                <a:cubicBezTo>
                  <a:pt x="276" y="168"/>
                  <a:pt x="276" y="167"/>
                  <a:pt x="276" y="166"/>
                </a:cubicBezTo>
                <a:cubicBezTo>
                  <a:pt x="275" y="167"/>
                  <a:pt x="276" y="168"/>
                  <a:pt x="275" y="170"/>
                </a:cubicBezTo>
                <a:cubicBezTo>
                  <a:pt x="274" y="171"/>
                  <a:pt x="274" y="171"/>
                  <a:pt x="273" y="172"/>
                </a:cubicBezTo>
                <a:cubicBezTo>
                  <a:pt x="270" y="173"/>
                  <a:pt x="267" y="173"/>
                  <a:pt x="265" y="175"/>
                </a:cubicBezTo>
                <a:cubicBezTo>
                  <a:pt x="262" y="176"/>
                  <a:pt x="261" y="178"/>
                  <a:pt x="258" y="179"/>
                </a:cubicBezTo>
                <a:cubicBezTo>
                  <a:pt x="255" y="180"/>
                  <a:pt x="252" y="181"/>
                  <a:pt x="249" y="180"/>
                </a:cubicBezTo>
                <a:cubicBezTo>
                  <a:pt x="249" y="179"/>
                  <a:pt x="250" y="177"/>
                  <a:pt x="248" y="176"/>
                </a:cubicBezTo>
                <a:cubicBezTo>
                  <a:pt x="248" y="178"/>
                  <a:pt x="248" y="179"/>
                  <a:pt x="248" y="180"/>
                </a:cubicBezTo>
                <a:cubicBezTo>
                  <a:pt x="248" y="179"/>
                  <a:pt x="248" y="179"/>
                  <a:pt x="248" y="179"/>
                </a:cubicBezTo>
                <a:cubicBezTo>
                  <a:pt x="246" y="179"/>
                  <a:pt x="244" y="177"/>
                  <a:pt x="243" y="177"/>
                </a:cubicBezTo>
                <a:cubicBezTo>
                  <a:pt x="241" y="176"/>
                  <a:pt x="239" y="176"/>
                  <a:pt x="237" y="176"/>
                </a:cubicBezTo>
                <a:cubicBezTo>
                  <a:pt x="235" y="176"/>
                  <a:pt x="229" y="176"/>
                  <a:pt x="229" y="178"/>
                </a:cubicBezTo>
                <a:cubicBezTo>
                  <a:pt x="231" y="179"/>
                  <a:pt x="231" y="177"/>
                  <a:pt x="233" y="177"/>
                </a:cubicBezTo>
                <a:cubicBezTo>
                  <a:pt x="235" y="176"/>
                  <a:pt x="238" y="176"/>
                  <a:pt x="238" y="178"/>
                </a:cubicBezTo>
                <a:cubicBezTo>
                  <a:pt x="236" y="179"/>
                  <a:pt x="233" y="179"/>
                  <a:pt x="231" y="179"/>
                </a:cubicBezTo>
                <a:cubicBezTo>
                  <a:pt x="228" y="180"/>
                  <a:pt x="227" y="180"/>
                  <a:pt x="227" y="183"/>
                </a:cubicBezTo>
                <a:cubicBezTo>
                  <a:pt x="226" y="186"/>
                  <a:pt x="227" y="186"/>
                  <a:pt x="225" y="187"/>
                </a:cubicBezTo>
                <a:cubicBezTo>
                  <a:pt x="224" y="188"/>
                  <a:pt x="223" y="189"/>
                  <a:pt x="222" y="190"/>
                </a:cubicBezTo>
                <a:cubicBezTo>
                  <a:pt x="221" y="191"/>
                  <a:pt x="222" y="192"/>
                  <a:pt x="221" y="194"/>
                </a:cubicBezTo>
                <a:cubicBezTo>
                  <a:pt x="220" y="197"/>
                  <a:pt x="217" y="197"/>
                  <a:pt x="215" y="200"/>
                </a:cubicBezTo>
                <a:cubicBezTo>
                  <a:pt x="213" y="201"/>
                  <a:pt x="213" y="204"/>
                  <a:pt x="215" y="204"/>
                </a:cubicBezTo>
                <a:cubicBezTo>
                  <a:pt x="214" y="204"/>
                  <a:pt x="213" y="204"/>
                  <a:pt x="212" y="203"/>
                </a:cubicBezTo>
                <a:cubicBezTo>
                  <a:pt x="213" y="204"/>
                  <a:pt x="212" y="205"/>
                  <a:pt x="212" y="205"/>
                </a:cubicBezTo>
                <a:cubicBezTo>
                  <a:pt x="212" y="205"/>
                  <a:pt x="212" y="205"/>
                  <a:pt x="211" y="205"/>
                </a:cubicBezTo>
                <a:cubicBezTo>
                  <a:pt x="211" y="204"/>
                  <a:pt x="211" y="204"/>
                  <a:pt x="211" y="204"/>
                </a:cubicBezTo>
                <a:cubicBezTo>
                  <a:pt x="209" y="205"/>
                  <a:pt x="209" y="202"/>
                  <a:pt x="209" y="201"/>
                </a:cubicBezTo>
                <a:cubicBezTo>
                  <a:pt x="208" y="203"/>
                  <a:pt x="209" y="207"/>
                  <a:pt x="206" y="207"/>
                </a:cubicBezTo>
                <a:cubicBezTo>
                  <a:pt x="206" y="206"/>
                  <a:pt x="207" y="205"/>
                  <a:pt x="207" y="203"/>
                </a:cubicBezTo>
                <a:cubicBezTo>
                  <a:pt x="205" y="204"/>
                  <a:pt x="205" y="205"/>
                  <a:pt x="205" y="206"/>
                </a:cubicBezTo>
                <a:cubicBezTo>
                  <a:pt x="203" y="207"/>
                  <a:pt x="204" y="204"/>
                  <a:pt x="204" y="203"/>
                </a:cubicBezTo>
                <a:cubicBezTo>
                  <a:pt x="203" y="201"/>
                  <a:pt x="203" y="200"/>
                  <a:pt x="203" y="198"/>
                </a:cubicBezTo>
                <a:cubicBezTo>
                  <a:pt x="199" y="198"/>
                  <a:pt x="196" y="197"/>
                  <a:pt x="193" y="199"/>
                </a:cubicBezTo>
                <a:cubicBezTo>
                  <a:pt x="193" y="200"/>
                  <a:pt x="193" y="200"/>
                  <a:pt x="193" y="200"/>
                </a:cubicBezTo>
                <a:cubicBezTo>
                  <a:pt x="191" y="200"/>
                  <a:pt x="191" y="201"/>
                  <a:pt x="189" y="202"/>
                </a:cubicBezTo>
                <a:cubicBezTo>
                  <a:pt x="188" y="202"/>
                  <a:pt x="187" y="201"/>
                  <a:pt x="185" y="202"/>
                </a:cubicBezTo>
                <a:cubicBezTo>
                  <a:pt x="183" y="202"/>
                  <a:pt x="182" y="205"/>
                  <a:pt x="181" y="206"/>
                </a:cubicBezTo>
                <a:cubicBezTo>
                  <a:pt x="179" y="209"/>
                  <a:pt x="179" y="212"/>
                  <a:pt x="176" y="215"/>
                </a:cubicBezTo>
                <a:cubicBezTo>
                  <a:pt x="173" y="217"/>
                  <a:pt x="172" y="222"/>
                  <a:pt x="171" y="226"/>
                </a:cubicBezTo>
                <a:cubicBezTo>
                  <a:pt x="170" y="227"/>
                  <a:pt x="170" y="227"/>
                  <a:pt x="169" y="229"/>
                </a:cubicBezTo>
                <a:cubicBezTo>
                  <a:pt x="168" y="232"/>
                  <a:pt x="167" y="236"/>
                  <a:pt x="168" y="239"/>
                </a:cubicBezTo>
                <a:cubicBezTo>
                  <a:pt x="168" y="242"/>
                  <a:pt x="169" y="246"/>
                  <a:pt x="170" y="249"/>
                </a:cubicBezTo>
                <a:cubicBezTo>
                  <a:pt x="171" y="252"/>
                  <a:pt x="172" y="255"/>
                  <a:pt x="173" y="258"/>
                </a:cubicBezTo>
                <a:cubicBezTo>
                  <a:pt x="173" y="259"/>
                  <a:pt x="173" y="260"/>
                  <a:pt x="173" y="261"/>
                </a:cubicBezTo>
                <a:cubicBezTo>
                  <a:pt x="173" y="264"/>
                  <a:pt x="173" y="267"/>
                  <a:pt x="172" y="269"/>
                </a:cubicBezTo>
                <a:cubicBezTo>
                  <a:pt x="172" y="271"/>
                  <a:pt x="171" y="271"/>
                  <a:pt x="170" y="272"/>
                </a:cubicBezTo>
                <a:cubicBezTo>
                  <a:pt x="169" y="273"/>
                  <a:pt x="169" y="274"/>
                  <a:pt x="169" y="275"/>
                </a:cubicBezTo>
                <a:cubicBezTo>
                  <a:pt x="167" y="275"/>
                  <a:pt x="165" y="275"/>
                  <a:pt x="166" y="277"/>
                </a:cubicBezTo>
                <a:cubicBezTo>
                  <a:pt x="166" y="276"/>
                  <a:pt x="167" y="276"/>
                  <a:pt x="169" y="276"/>
                </a:cubicBezTo>
                <a:cubicBezTo>
                  <a:pt x="169" y="279"/>
                  <a:pt x="170" y="280"/>
                  <a:pt x="170" y="283"/>
                </a:cubicBezTo>
                <a:cubicBezTo>
                  <a:pt x="170" y="285"/>
                  <a:pt x="171" y="288"/>
                  <a:pt x="171" y="290"/>
                </a:cubicBezTo>
                <a:cubicBezTo>
                  <a:pt x="172" y="293"/>
                  <a:pt x="171" y="295"/>
                  <a:pt x="172" y="297"/>
                </a:cubicBezTo>
                <a:cubicBezTo>
                  <a:pt x="172" y="301"/>
                  <a:pt x="173" y="304"/>
                  <a:pt x="173" y="307"/>
                </a:cubicBezTo>
                <a:cubicBezTo>
                  <a:pt x="174" y="309"/>
                  <a:pt x="173" y="311"/>
                  <a:pt x="173" y="313"/>
                </a:cubicBezTo>
                <a:cubicBezTo>
                  <a:pt x="173" y="313"/>
                  <a:pt x="175" y="314"/>
                  <a:pt x="174" y="315"/>
                </a:cubicBezTo>
                <a:cubicBezTo>
                  <a:pt x="174" y="315"/>
                  <a:pt x="174" y="315"/>
                  <a:pt x="174" y="315"/>
                </a:cubicBezTo>
                <a:cubicBezTo>
                  <a:pt x="173" y="315"/>
                  <a:pt x="173" y="315"/>
                  <a:pt x="172" y="314"/>
                </a:cubicBezTo>
                <a:cubicBezTo>
                  <a:pt x="172" y="314"/>
                  <a:pt x="172" y="314"/>
                  <a:pt x="172" y="313"/>
                </a:cubicBezTo>
                <a:cubicBezTo>
                  <a:pt x="171" y="312"/>
                  <a:pt x="172" y="311"/>
                  <a:pt x="171" y="310"/>
                </a:cubicBezTo>
                <a:cubicBezTo>
                  <a:pt x="171" y="309"/>
                  <a:pt x="170" y="309"/>
                  <a:pt x="170" y="307"/>
                </a:cubicBezTo>
                <a:cubicBezTo>
                  <a:pt x="170" y="303"/>
                  <a:pt x="167" y="300"/>
                  <a:pt x="167" y="296"/>
                </a:cubicBezTo>
                <a:cubicBezTo>
                  <a:pt x="165" y="296"/>
                  <a:pt x="165" y="296"/>
                  <a:pt x="165" y="296"/>
                </a:cubicBezTo>
                <a:cubicBezTo>
                  <a:pt x="165" y="298"/>
                  <a:pt x="165" y="301"/>
                  <a:pt x="165" y="303"/>
                </a:cubicBezTo>
                <a:cubicBezTo>
                  <a:pt x="165" y="304"/>
                  <a:pt x="169" y="309"/>
                  <a:pt x="166" y="309"/>
                </a:cubicBezTo>
                <a:cubicBezTo>
                  <a:pt x="166" y="310"/>
                  <a:pt x="167" y="311"/>
                  <a:pt x="168" y="313"/>
                </a:cubicBezTo>
                <a:cubicBezTo>
                  <a:pt x="168" y="312"/>
                  <a:pt x="168" y="312"/>
                  <a:pt x="168" y="312"/>
                </a:cubicBezTo>
                <a:cubicBezTo>
                  <a:pt x="167" y="312"/>
                  <a:pt x="167" y="312"/>
                  <a:pt x="166" y="312"/>
                </a:cubicBezTo>
                <a:cubicBezTo>
                  <a:pt x="165" y="313"/>
                  <a:pt x="165" y="314"/>
                  <a:pt x="163" y="314"/>
                </a:cubicBezTo>
                <a:cubicBezTo>
                  <a:pt x="163" y="313"/>
                  <a:pt x="163" y="312"/>
                  <a:pt x="163" y="312"/>
                </a:cubicBezTo>
                <a:cubicBezTo>
                  <a:pt x="162" y="311"/>
                  <a:pt x="162" y="311"/>
                  <a:pt x="162" y="311"/>
                </a:cubicBezTo>
                <a:cubicBezTo>
                  <a:pt x="161" y="311"/>
                  <a:pt x="160" y="310"/>
                  <a:pt x="159" y="311"/>
                </a:cubicBezTo>
                <a:cubicBezTo>
                  <a:pt x="159" y="312"/>
                  <a:pt x="159" y="314"/>
                  <a:pt x="159" y="315"/>
                </a:cubicBezTo>
                <a:cubicBezTo>
                  <a:pt x="155" y="315"/>
                  <a:pt x="156" y="319"/>
                  <a:pt x="153" y="321"/>
                </a:cubicBezTo>
                <a:cubicBezTo>
                  <a:pt x="152" y="322"/>
                  <a:pt x="154" y="323"/>
                  <a:pt x="154" y="324"/>
                </a:cubicBezTo>
                <a:cubicBezTo>
                  <a:pt x="150" y="324"/>
                  <a:pt x="147" y="323"/>
                  <a:pt x="147" y="328"/>
                </a:cubicBezTo>
                <a:cubicBezTo>
                  <a:pt x="146" y="328"/>
                  <a:pt x="144" y="328"/>
                  <a:pt x="143" y="328"/>
                </a:cubicBezTo>
                <a:cubicBezTo>
                  <a:pt x="143" y="325"/>
                  <a:pt x="139" y="321"/>
                  <a:pt x="139" y="325"/>
                </a:cubicBezTo>
                <a:cubicBezTo>
                  <a:pt x="138" y="326"/>
                  <a:pt x="137" y="326"/>
                  <a:pt x="136" y="326"/>
                </a:cubicBezTo>
                <a:cubicBezTo>
                  <a:pt x="136" y="323"/>
                  <a:pt x="136" y="322"/>
                  <a:pt x="132" y="321"/>
                </a:cubicBezTo>
                <a:cubicBezTo>
                  <a:pt x="129" y="321"/>
                  <a:pt x="125" y="322"/>
                  <a:pt x="130" y="324"/>
                </a:cubicBezTo>
                <a:cubicBezTo>
                  <a:pt x="127" y="325"/>
                  <a:pt x="130" y="328"/>
                  <a:pt x="127" y="329"/>
                </a:cubicBezTo>
                <a:cubicBezTo>
                  <a:pt x="125" y="329"/>
                  <a:pt x="125" y="330"/>
                  <a:pt x="124" y="332"/>
                </a:cubicBezTo>
                <a:cubicBezTo>
                  <a:pt x="122" y="335"/>
                  <a:pt x="119" y="328"/>
                  <a:pt x="119" y="334"/>
                </a:cubicBezTo>
                <a:cubicBezTo>
                  <a:pt x="118" y="334"/>
                  <a:pt x="117" y="334"/>
                  <a:pt x="117" y="334"/>
                </a:cubicBezTo>
                <a:cubicBezTo>
                  <a:pt x="117" y="336"/>
                  <a:pt x="114" y="337"/>
                  <a:pt x="112" y="336"/>
                </a:cubicBezTo>
                <a:cubicBezTo>
                  <a:pt x="109" y="336"/>
                  <a:pt x="109" y="333"/>
                  <a:pt x="106" y="332"/>
                </a:cubicBezTo>
                <a:cubicBezTo>
                  <a:pt x="101" y="331"/>
                  <a:pt x="94" y="333"/>
                  <a:pt x="89" y="335"/>
                </a:cubicBezTo>
                <a:cubicBezTo>
                  <a:pt x="89" y="336"/>
                  <a:pt x="88" y="337"/>
                  <a:pt x="89" y="338"/>
                </a:cubicBezTo>
                <a:cubicBezTo>
                  <a:pt x="89" y="338"/>
                  <a:pt x="89" y="338"/>
                  <a:pt x="89" y="338"/>
                </a:cubicBezTo>
                <a:cubicBezTo>
                  <a:pt x="89" y="340"/>
                  <a:pt x="89" y="342"/>
                  <a:pt x="89" y="344"/>
                </a:cubicBezTo>
                <a:cubicBezTo>
                  <a:pt x="86" y="344"/>
                  <a:pt x="85" y="349"/>
                  <a:pt x="83" y="350"/>
                </a:cubicBezTo>
                <a:cubicBezTo>
                  <a:pt x="81" y="352"/>
                  <a:pt x="78" y="356"/>
                  <a:pt x="75" y="354"/>
                </a:cubicBezTo>
                <a:cubicBezTo>
                  <a:pt x="73" y="353"/>
                  <a:pt x="70" y="352"/>
                  <a:pt x="69" y="350"/>
                </a:cubicBezTo>
                <a:cubicBezTo>
                  <a:pt x="69" y="350"/>
                  <a:pt x="69" y="348"/>
                  <a:pt x="68" y="347"/>
                </a:cubicBezTo>
                <a:cubicBezTo>
                  <a:pt x="69" y="346"/>
                  <a:pt x="69" y="344"/>
                  <a:pt x="71" y="343"/>
                </a:cubicBezTo>
                <a:cubicBezTo>
                  <a:pt x="72" y="342"/>
                  <a:pt x="75" y="342"/>
                  <a:pt x="75" y="341"/>
                </a:cubicBezTo>
                <a:cubicBezTo>
                  <a:pt x="73" y="341"/>
                  <a:pt x="70" y="338"/>
                  <a:pt x="73" y="337"/>
                </a:cubicBezTo>
                <a:cubicBezTo>
                  <a:pt x="76" y="337"/>
                  <a:pt x="77" y="342"/>
                  <a:pt x="79" y="342"/>
                </a:cubicBezTo>
                <a:cubicBezTo>
                  <a:pt x="82" y="342"/>
                  <a:pt x="79" y="336"/>
                  <a:pt x="80" y="335"/>
                </a:cubicBezTo>
                <a:cubicBezTo>
                  <a:pt x="80" y="332"/>
                  <a:pt x="82" y="332"/>
                  <a:pt x="84" y="332"/>
                </a:cubicBezTo>
                <a:cubicBezTo>
                  <a:pt x="84" y="331"/>
                  <a:pt x="84" y="329"/>
                  <a:pt x="85" y="329"/>
                </a:cubicBezTo>
                <a:cubicBezTo>
                  <a:pt x="86" y="327"/>
                  <a:pt x="87" y="321"/>
                  <a:pt x="86" y="321"/>
                </a:cubicBezTo>
                <a:cubicBezTo>
                  <a:pt x="83" y="319"/>
                  <a:pt x="80" y="320"/>
                  <a:pt x="77" y="320"/>
                </a:cubicBezTo>
                <a:cubicBezTo>
                  <a:pt x="77" y="319"/>
                  <a:pt x="77" y="318"/>
                  <a:pt x="76" y="317"/>
                </a:cubicBezTo>
                <a:cubicBezTo>
                  <a:pt x="76" y="316"/>
                  <a:pt x="76" y="314"/>
                  <a:pt x="76" y="313"/>
                </a:cubicBezTo>
                <a:cubicBezTo>
                  <a:pt x="76" y="312"/>
                  <a:pt x="78" y="308"/>
                  <a:pt x="76" y="307"/>
                </a:cubicBezTo>
                <a:cubicBezTo>
                  <a:pt x="75" y="306"/>
                  <a:pt x="68" y="306"/>
                  <a:pt x="68" y="308"/>
                </a:cubicBezTo>
                <a:cubicBezTo>
                  <a:pt x="67" y="308"/>
                  <a:pt x="67" y="308"/>
                  <a:pt x="67" y="308"/>
                </a:cubicBezTo>
                <a:cubicBezTo>
                  <a:pt x="67" y="307"/>
                  <a:pt x="68" y="305"/>
                  <a:pt x="67" y="304"/>
                </a:cubicBezTo>
                <a:cubicBezTo>
                  <a:pt x="67" y="304"/>
                  <a:pt x="66" y="303"/>
                  <a:pt x="66" y="303"/>
                </a:cubicBezTo>
                <a:cubicBezTo>
                  <a:pt x="65" y="303"/>
                  <a:pt x="64" y="304"/>
                  <a:pt x="63" y="303"/>
                </a:cubicBezTo>
                <a:cubicBezTo>
                  <a:pt x="61" y="302"/>
                  <a:pt x="63" y="301"/>
                  <a:pt x="64" y="302"/>
                </a:cubicBezTo>
                <a:cubicBezTo>
                  <a:pt x="64" y="300"/>
                  <a:pt x="66" y="294"/>
                  <a:pt x="63" y="293"/>
                </a:cubicBezTo>
                <a:cubicBezTo>
                  <a:pt x="62" y="292"/>
                  <a:pt x="58" y="292"/>
                  <a:pt x="58" y="294"/>
                </a:cubicBezTo>
                <a:cubicBezTo>
                  <a:pt x="58" y="294"/>
                  <a:pt x="57" y="294"/>
                  <a:pt x="57" y="294"/>
                </a:cubicBezTo>
                <a:cubicBezTo>
                  <a:pt x="57" y="292"/>
                  <a:pt x="58" y="291"/>
                  <a:pt x="58" y="288"/>
                </a:cubicBezTo>
                <a:cubicBezTo>
                  <a:pt x="58" y="288"/>
                  <a:pt x="57" y="288"/>
                  <a:pt x="57" y="288"/>
                </a:cubicBezTo>
                <a:cubicBezTo>
                  <a:pt x="56" y="289"/>
                  <a:pt x="57" y="290"/>
                  <a:pt x="56" y="290"/>
                </a:cubicBezTo>
                <a:cubicBezTo>
                  <a:pt x="56" y="290"/>
                  <a:pt x="55" y="290"/>
                  <a:pt x="55" y="290"/>
                </a:cubicBezTo>
                <a:cubicBezTo>
                  <a:pt x="55" y="288"/>
                  <a:pt x="51" y="289"/>
                  <a:pt x="49" y="289"/>
                </a:cubicBezTo>
                <a:cubicBezTo>
                  <a:pt x="50" y="290"/>
                  <a:pt x="50" y="291"/>
                  <a:pt x="50" y="292"/>
                </a:cubicBezTo>
                <a:cubicBezTo>
                  <a:pt x="48" y="292"/>
                  <a:pt x="47" y="293"/>
                  <a:pt x="46" y="295"/>
                </a:cubicBezTo>
                <a:cubicBezTo>
                  <a:pt x="45" y="296"/>
                  <a:pt x="43" y="296"/>
                  <a:pt x="42" y="296"/>
                </a:cubicBezTo>
                <a:cubicBezTo>
                  <a:pt x="42" y="297"/>
                  <a:pt x="42" y="297"/>
                  <a:pt x="42" y="297"/>
                </a:cubicBezTo>
                <a:cubicBezTo>
                  <a:pt x="39" y="297"/>
                  <a:pt x="36" y="296"/>
                  <a:pt x="34" y="296"/>
                </a:cubicBezTo>
                <a:cubicBezTo>
                  <a:pt x="34" y="297"/>
                  <a:pt x="34" y="298"/>
                  <a:pt x="33" y="299"/>
                </a:cubicBezTo>
                <a:cubicBezTo>
                  <a:pt x="33" y="297"/>
                  <a:pt x="33" y="297"/>
                  <a:pt x="33" y="297"/>
                </a:cubicBezTo>
                <a:cubicBezTo>
                  <a:pt x="29" y="297"/>
                  <a:pt x="30" y="294"/>
                  <a:pt x="30" y="292"/>
                </a:cubicBezTo>
                <a:cubicBezTo>
                  <a:pt x="28" y="292"/>
                  <a:pt x="23" y="292"/>
                  <a:pt x="21" y="290"/>
                </a:cubicBezTo>
                <a:cubicBezTo>
                  <a:pt x="20" y="289"/>
                  <a:pt x="19" y="287"/>
                  <a:pt x="17" y="288"/>
                </a:cubicBezTo>
                <a:cubicBezTo>
                  <a:pt x="16" y="289"/>
                  <a:pt x="17" y="295"/>
                  <a:pt x="16" y="295"/>
                </a:cubicBezTo>
                <a:cubicBezTo>
                  <a:pt x="14" y="295"/>
                  <a:pt x="11" y="295"/>
                  <a:pt x="9" y="294"/>
                </a:cubicBezTo>
                <a:cubicBezTo>
                  <a:pt x="9" y="293"/>
                  <a:pt x="10" y="291"/>
                  <a:pt x="10" y="289"/>
                </a:cubicBezTo>
                <a:cubicBezTo>
                  <a:pt x="14" y="289"/>
                  <a:pt x="14" y="286"/>
                  <a:pt x="12" y="284"/>
                </a:cubicBezTo>
                <a:cubicBezTo>
                  <a:pt x="11" y="283"/>
                  <a:pt x="10" y="283"/>
                  <a:pt x="9" y="282"/>
                </a:cubicBezTo>
                <a:cubicBezTo>
                  <a:pt x="8" y="281"/>
                  <a:pt x="9" y="280"/>
                  <a:pt x="9" y="278"/>
                </a:cubicBezTo>
                <a:cubicBezTo>
                  <a:pt x="8" y="278"/>
                  <a:pt x="6" y="277"/>
                  <a:pt x="5" y="277"/>
                </a:cubicBezTo>
                <a:cubicBezTo>
                  <a:pt x="5" y="276"/>
                  <a:pt x="5" y="275"/>
                  <a:pt x="5" y="274"/>
                </a:cubicBezTo>
                <a:cubicBezTo>
                  <a:pt x="9" y="275"/>
                  <a:pt x="12" y="277"/>
                  <a:pt x="13" y="280"/>
                </a:cubicBezTo>
                <a:cubicBezTo>
                  <a:pt x="14" y="283"/>
                  <a:pt x="17" y="281"/>
                  <a:pt x="18" y="285"/>
                </a:cubicBezTo>
                <a:cubicBezTo>
                  <a:pt x="19" y="286"/>
                  <a:pt x="19" y="285"/>
                  <a:pt x="20" y="284"/>
                </a:cubicBezTo>
                <a:cubicBezTo>
                  <a:pt x="23" y="283"/>
                  <a:pt x="26" y="285"/>
                  <a:pt x="28" y="288"/>
                </a:cubicBezTo>
                <a:cubicBezTo>
                  <a:pt x="30" y="292"/>
                  <a:pt x="35" y="287"/>
                  <a:pt x="30" y="285"/>
                </a:cubicBezTo>
                <a:cubicBezTo>
                  <a:pt x="28" y="284"/>
                  <a:pt x="27" y="280"/>
                  <a:pt x="29" y="278"/>
                </a:cubicBezTo>
                <a:cubicBezTo>
                  <a:pt x="31" y="277"/>
                  <a:pt x="36" y="279"/>
                  <a:pt x="36" y="276"/>
                </a:cubicBezTo>
                <a:cubicBezTo>
                  <a:pt x="34" y="276"/>
                  <a:pt x="33" y="274"/>
                  <a:pt x="33" y="273"/>
                </a:cubicBezTo>
                <a:cubicBezTo>
                  <a:pt x="32" y="272"/>
                  <a:pt x="32" y="272"/>
                  <a:pt x="32" y="271"/>
                </a:cubicBezTo>
                <a:cubicBezTo>
                  <a:pt x="32" y="269"/>
                  <a:pt x="31" y="270"/>
                  <a:pt x="30" y="269"/>
                </a:cubicBezTo>
                <a:cubicBezTo>
                  <a:pt x="30" y="270"/>
                  <a:pt x="31" y="274"/>
                  <a:pt x="30" y="274"/>
                </a:cubicBezTo>
                <a:cubicBezTo>
                  <a:pt x="30" y="275"/>
                  <a:pt x="27" y="272"/>
                  <a:pt x="26" y="272"/>
                </a:cubicBezTo>
                <a:cubicBezTo>
                  <a:pt x="26" y="271"/>
                  <a:pt x="26" y="270"/>
                  <a:pt x="26" y="268"/>
                </a:cubicBezTo>
                <a:cubicBezTo>
                  <a:pt x="25" y="268"/>
                  <a:pt x="25" y="268"/>
                  <a:pt x="25" y="268"/>
                </a:cubicBezTo>
                <a:cubicBezTo>
                  <a:pt x="25" y="270"/>
                  <a:pt x="22" y="269"/>
                  <a:pt x="20" y="269"/>
                </a:cubicBezTo>
                <a:cubicBezTo>
                  <a:pt x="17" y="269"/>
                  <a:pt x="17" y="271"/>
                  <a:pt x="17" y="273"/>
                </a:cubicBezTo>
                <a:cubicBezTo>
                  <a:pt x="16" y="273"/>
                  <a:pt x="15" y="273"/>
                  <a:pt x="14" y="273"/>
                </a:cubicBezTo>
                <a:cubicBezTo>
                  <a:pt x="13" y="272"/>
                  <a:pt x="11" y="273"/>
                  <a:pt x="9" y="273"/>
                </a:cubicBezTo>
                <a:cubicBezTo>
                  <a:pt x="7" y="272"/>
                  <a:pt x="8" y="269"/>
                  <a:pt x="8" y="268"/>
                </a:cubicBezTo>
                <a:cubicBezTo>
                  <a:pt x="6" y="268"/>
                  <a:pt x="6" y="267"/>
                  <a:pt x="6" y="265"/>
                </a:cubicBezTo>
                <a:cubicBezTo>
                  <a:pt x="6" y="265"/>
                  <a:pt x="6" y="265"/>
                  <a:pt x="6" y="265"/>
                </a:cubicBezTo>
                <a:cubicBezTo>
                  <a:pt x="7" y="265"/>
                  <a:pt x="7" y="265"/>
                  <a:pt x="7" y="264"/>
                </a:cubicBezTo>
                <a:cubicBezTo>
                  <a:pt x="7" y="263"/>
                  <a:pt x="8" y="263"/>
                  <a:pt x="10" y="263"/>
                </a:cubicBezTo>
                <a:cubicBezTo>
                  <a:pt x="10" y="261"/>
                  <a:pt x="9" y="261"/>
                  <a:pt x="7" y="261"/>
                </a:cubicBezTo>
                <a:cubicBezTo>
                  <a:pt x="5" y="262"/>
                  <a:pt x="5" y="260"/>
                  <a:pt x="3" y="259"/>
                </a:cubicBezTo>
                <a:cubicBezTo>
                  <a:pt x="3" y="258"/>
                  <a:pt x="2" y="258"/>
                  <a:pt x="1" y="257"/>
                </a:cubicBezTo>
                <a:cubicBezTo>
                  <a:pt x="0" y="256"/>
                  <a:pt x="0" y="254"/>
                  <a:pt x="0" y="252"/>
                </a:cubicBezTo>
                <a:cubicBezTo>
                  <a:pt x="1" y="252"/>
                  <a:pt x="2" y="247"/>
                  <a:pt x="2" y="247"/>
                </a:cubicBezTo>
                <a:cubicBezTo>
                  <a:pt x="2" y="247"/>
                  <a:pt x="3" y="246"/>
                  <a:pt x="3" y="247"/>
                </a:cubicBezTo>
                <a:cubicBezTo>
                  <a:pt x="4" y="243"/>
                  <a:pt x="4" y="240"/>
                  <a:pt x="5" y="237"/>
                </a:cubicBezTo>
                <a:cubicBezTo>
                  <a:pt x="1" y="237"/>
                  <a:pt x="1" y="236"/>
                  <a:pt x="1" y="233"/>
                </a:cubicBezTo>
                <a:cubicBezTo>
                  <a:pt x="2" y="233"/>
                  <a:pt x="2" y="232"/>
                  <a:pt x="3" y="231"/>
                </a:cubicBezTo>
                <a:cubicBezTo>
                  <a:pt x="4" y="232"/>
                  <a:pt x="5" y="235"/>
                  <a:pt x="8" y="235"/>
                </a:cubicBezTo>
                <a:cubicBezTo>
                  <a:pt x="10" y="235"/>
                  <a:pt x="12" y="234"/>
                  <a:pt x="14" y="235"/>
                </a:cubicBezTo>
                <a:cubicBezTo>
                  <a:pt x="16" y="235"/>
                  <a:pt x="17" y="237"/>
                  <a:pt x="18" y="234"/>
                </a:cubicBezTo>
                <a:cubicBezTo>
                  <a:pt x="20" y="232"/>
                  <a:pt x="23" y="232"/>
                  <a:pt x="21" y="229"/>
                </a:cubicBezTo>
                <a:cubicBezTo>
                  <a:pt x="21" y="229"/>
                  <a:pt x="20" y="228"/>
                  <a:pt x="20" y="228"/>
                </a:cubicBezTo>
                <a:cubicBezTo>
                  <a:pt x="19" y="227"/>
                  <a:pt x="19" y="224"/>
                  <a:pt x="19" y="223"/>
                </a:cubicBezTo>
                <a:cubicBezTo>
                  <a:pt x="19" y="220"/>
                  <a:pt x="16" y="218"/>
                  <a:pt x="14" y="216"/>
                </a:cubicBezTo>
                <a:cubicBezTo>
                  <a:pt x="12" y="214"/>
                  <a:pt x="16" y="213"/>
                  <a:pt x="16" y="211"/>
                </a:cubicBezTo>
                <a:cubicBezTo>
                  <a:pt x="16" y="208"/>
                  <a:pt x="16" y="206"/>
                  <a:pt x="20" y="206"/>
                </a:cubicBezTo>
                <a:cubicBezTo>
                  <a:pt x="20" y="205"/>
                  <a:pt x="20" y="204"/>
                  <a:pt x="20" y="203"/>
                </a:cubicBezTo>
                <a:cubicBezTo>
                  <a:pt x="17" y="203"/>
                  <a:pt x="17" y="200"/>
                  <a:pt x="18" y="197"/>
                </a:cubicBezTo>
                <a:cubicBezTo>
                  <a:pt x="21" y="188"/>
                  <a:pt x="34" y="194"/>
                  <a:pt x="41" y="194"/>
                </a:cubicBezTo>
                <a:cubicBezTo>
                  <a:pt x="41" y="189"/>
                  <a:pt x="39" y="180"/>
                  <a:pt x="43" y="176"/>
                </a:cubicBezTo>
                <a:cubicBezTo>
                  <a:pt x="45" y="176"/>
                  <a:pt x="47" y="176"/>
                  <a:pt x="47" y="173"/>
                </a:cubicBezTo>
                <a:cubicBezTo>
                  <a:pt x="47" y="173"/>
                  <a:pt x="46" y="173"/>
                  <a:pt x="45" y="173"/>
                </a:cubicBezTo>
                <a:cubicBezTo>
                  <a:pt x="44" y="171"/>
                  <a:pt x="40" y="171"/>
                  <a:pt x="39" y="171"/>
                </a:cubicBezTo>
                <a:cubicBezTo>
                  <a:pt x="35" y="171"/>
                  <a:pt x="32" y="169"/>
                  <a:pt x="29" y="168"/>
                </a:cubicBezTo>
                <a:cubicBezTo>
                  <a:pt x="28" y="164"/>
                  <a:pt x="34" y="166"/>
                  <a:pt x="37" y="165"/>
                </a:cubicBezTo>
                <a:cubicBezTo>
                  <a:pt x="37" y="164"/>
                  <a:pt x="39" y="162"/>
                  <a:pt x="40" y="162"/>
                </a:cubicBezTo>
                <a:cubicBezTo>
                  <a:pt x="40" y="161"/>
                  <a:pt x="40" y="160"/>
                  <a:pt x="41" y="160"/>
                </a:cubicBezTo>
                <a:cubicBezTo>
                  <a:pt x="41" y="158"/>
                  <a:pt x="41" y="158"/>
                  <a:pt x="39" y="158"/>
                </a:cubicBezTo>
                <a:cubicBezTo>
                  <a:pt x="40" y="156"/>
                  <a:pt x="39" y="154"/>
                  <a:pt x="39" y="152"/>
                </a:cubicBezTo>
                <a:cubicBezTo>
                  <a:pt x="40" y="152"/>
                  <a:pt x="41" y="152"/>
                  <a:pt x="42" y="152"/>
                </a:cubicBezTo>
                <a:cubicBezTo>
                  <a:pt x="42" y="150"/>
                  <a:pt x="39" y="148"/>
                  <a:pt x="41" y="146"/>
                </a:cubicBezTo>
                <a:cubicBezTo>
                  <a:pt x="43" y="143"/>
                  <a:pt x="43" y="141"/>
                  <a:pt x="43" y="138"/>
                </a:cubicBezTo>
                <a:cubicBezTo>
                  <a:pt x="44" y="134"/>
                  <a:pt x="42" y="135"/>
                  <a:pt x="40" y="134"/>
                </a:cubicBezTo>
                <a:cubicBezTo>
                  <a:pt x="37" y="132"/>
                  <a:pt x="40" y="129"/>
                  <a:pt x="42" y="130"/>
                </a:cubicBezTo>
                <a:cubicBezTo>
                  <a:pt x="43" y="124"/>
                  <a:pt x="51" y="119"/>
                  <a:pt x="56" y="119"/>
                </a:cubicBezTo>
                <a:cubicBezTo>
                  <a:pt x="57" y="116"/>
                  <a:pt x="52" y="116"/>
                  <a:pt x="51" y="116"/>
                </a:cubicBezTo>
                <a:cubicBezTo>
                  <a:pt x="49" y="116"/>
                  <a:pt x="48" y="116"/>
                  <a:pt x="46" y="116"/>
                </a:cubicBezTo>
                <a:cubicBezTo>
                  <a:pt x="44" y="115"/>
                  <a:pt x="44" y="114"/>
                  <a:pt x="42" y="114"/>
                </a:cubicBezTo>
                <a:cubicBezTo>
                  <a:pt x="41" y="111"/>
                  <a:pt x="43" y="111"/>
                  <a:pt x="45" y="111"/>
                </a:cubicBezTo>
                <a:cubicBezTo>
                  <a:pt x="46" y="108"/>
                  <a:pt x="46" y="108"/>
                  <a:pt x="49" y="107"/>
                </a:cubicBezTo>
                <a:cubicBezTo>
                  <a:pt x="49" y="106"/>
                  <a:pt x="49" y="105"/>
                  <a:pt x="49" y="104"/>
                </a:cubicBezTo>
                <a:cubicBezTo>
                  <a:pt x="51" y="104"/>
                  <a:pt x="55" y="100"/>
                  <a:pt x="55" y="99"/>
                </a:cubicBezTo>
                <a:cubicBezTo>
                  <a:pt x="56" y="96"/>
                  <a:pt x="52" y="90"/>
                  <a:pt x="56" y="90"/>
                </a:cubicBezTo>
                <a:cubicBezTo>
                  <a:pt x="56" y="89"/>
                  <a:pt x="56" y="88"/>
                  <a:pt x="56" y="87"/>
                </a:cubicBezTo>
                <a:cubicBezTo>
                  <a:pt x="55" y="87"/>
                  <a:pt x="55" y="83"/>
                  <a:pt x="55" y="82"/>
                </a:cubicBezTo>
                <a:cubicBezTo>
                  <a:pt x="56" y="82"/>
                  <a:pt x="56" y="82"/>
                  <a:pt x="57" y="82"/>
                </a:cubicBezTo>
                <a:cubicBezTo>
                  <a:pt x="56" y="79"/>
                  <a:pt x="56" y="79"/>
                  <a:pt x="56" y="79"/>
                </a:cubicBezTo>
                <a:cubicBezTo>
                  <a:pt x="56" y="79"/>
                  <a:pt x="51" y="78"/>
                  <a:pt x="49" y="78"/>
                </a:cubicBezTo>
                <a:cubicBezTo>
                  <a:pt x="50" y="78"/>
                  <a:pt x="50" y="77"/>
                  <a:pt x="50" y="77"/>
                </a:cubicBezTo>
                <a:cubicBezTo>
                  <a:pt x="51" y="75"/>
                  <a:pt x="52" y="73"/>
                  <a:pt x="51" y="71"/>
                </a:cubicBezTo>
                <a:cubicBezTo>
                  <a:pt x="51" y="69"/>
                  <a:pt x="50" y="69"/>
                  <a:pt x="50" y="67"/>
                </a:cubicBezTo>
                <a:cubicBezTo>
                  <a:pt x="51" y="67"/>
                  <a:pt x="51" y="65"/>
                  <a:pt x="51" y="64"/>
                </a:cubicBezTo>
                <a:cubicBezTo>
                  <a:pt x="52" y="65"/>
                  <a:pt x="53" y="64"/>
                  <a:pt x="53" y="62"/>
                </a:cubicBezTo>
                <a:cubicBezTo>
                  <a:pt x="55" y="62"/>
                  <a:pt x="57" y="63"/>
                  <a:pt x="59" y="63"/>
                </a:cubicBezTo>
                <a:cubicBezTo>
                  <a:pt x="59" y="62"/>
                  <a:pt x="60" y="58"/>
                  <a:pt x="61" y="57"/>
                </a:cubicBezTo>
                <a:cubicBezTo>
                  <a:pt x="62" y="54"/>
                  <a:pt x="64" y="52"/>
                  <a:pt x="67" y="51"/>
                </a:cubicBezTo>
                <a:cubicBezTo>
                  <a:pt x="68" y="50"/>
                  <a:pt x="69" y="49"/>
                  <a:pt x="69" y="47"/>
                </a:cubicBezTo>
                <a:cubicBezTo>
                  <a:pt x="67" y="47"/>
                  <a:pt x="67" y="47"/>
                  <a:pt x="67" y="47"/>
                </a:cubicBezTo>
                <a:cubicBezTo>
                  <a:pt x="67" y="44"/>
                  <a:pt x="58" y="39"/>
                  <a:pt x="65" y="37"/>
                </a:cubicBezTo>
                <a:cubicBezTo>
                  <a:pt x="68" y="36"/>
                  <a:pt x="66" y="33"/>
                  <a:pt x="67" y="31"/>
                </a:cubicBezTo>
                <a:cubicBezTo>
                  <a:pt x="68" y="29"/>
                  <a:pt x="71" y="29"/>
                  <a:pt x="70" y="26"/>
                </a:cubicBezTo>
                <a:cubicBezTo>
                  <a:pt x="71" y="26"/>
                  <a:pt x="72" y="26"/>
                  <a:pt x="73" y="26"/>
                </a:cubicBezTo>
                <a:cubicBezTo>
                  <a:pt x="73" y="29"/>
                  <a:pt x="77" y="29"/>
                  <a:pt x="75" y="32"/>
                </a:cubicBezTo>
                <a:cubicBezTo>
                  <a:pt x="77" y="30"/>
                  <a:pt x="80" y="31"/>
                  <a:pt x="82" y="31"/>
                </a:cubicBezTo>
                <a:cubicBezTo>
                  <a:pt x="83" y="30"/>
                  <a:pt x="83" y="30"/>
                  <a:pt x="83" y="30"/>
                </a:cubicBezTo>
                <a:cubicBezTo>
                  <a:pt x="82" y="29"/>
                  <a:pt x="82" y="27"/>
                  <a:pt x="80" y="26"/>
                </a:cubicBezTo>
                <a:cubicBezTo>
                  <a:pt x="79" y="26"/>
                  <a:pt x="78" y="25"/>
                  <a:pt x="78" y="24"/>
                </a:cubicBezTo>
                <a:cubicBezTo>
                  <a:pt x="83" y="24"/>
                  <a:pt x="85" y="24"/>
                  <a:pt x="88" y="21"/>
                </a:cubicBezTo>
                <a:cubicBezTo>
                  <a:pt x="90" y="20"/>
                  <a:pt x="90" y="14"/>
                  <a:pt x="90" y="12"/>
                </a:cubicBezTo>
                <a:cubicBezTo>
                  <a:pt x="90" y="11"/>
                  <a:pt x="88" y="11"/>
                  <a:pt x="89" y="10"/>
                </a:cubicBezTo>
                <a:cubicBezTo>
                  <a:pt x="89" y="9"/>
                  <a:pt x="91" y="9"/>
                  <a:pt x="91" y="8"/>
                </a:cubicBezTo>
                <a:cubicBezTo>
                  <a:pt x="94" y="5"/>
                  <a:pt x="89" y="4"/>
                  <a:pt x="89" y="1"/>
                </a:cubicBezTo>
                <a:cubicBezTo>
                  <a:pt x="90" y="1"/>
                  <a:pt x="91" y="1"/>
                  <a:pt x="91" y="0"/>
                </a:cubicBezTo>
                <a:cubicBezTo>
                  <a:pt x="93" y="1"/>
                  <a:pt x="99" y="4"/>
                  <a:pt x="99" y="6"/>
                </a:cubicBezTo>
                <a:cubicBezTo>
                  <a:pt x="102" y="6"/>
                  <a:pt x="105" y="4"/>
                  <a:pt x="108" y="6"/>
                </a:cubicBezTo>
                <a:cubicBezTo>
                  <a:pt x="110" y="7"/>
                  <a:pt x="113" y="6"/>
                  <a:pt x="116" y="6"/>
                </a:cubicBezTo>
                <a:cubicBezTo>
                  <a:pt x="116" y="9"/>
                  <a:pt x="115" y="11"/>
                  <a:pt x="115" y="13"/>
                </a:cubicBezTo>
                <a:cubicBezTo>
                  <a:pt x="118" y="14"/>
                  <a:pt x="120" y="13"/>
                  <a:pt x="122" y="13"/>
                </a:cubicBezTo>
                <a:cubicBezTo>
                  <a:pt x="122" y="15"/>
                  <a:pt x="122" y="15"/>
                  <a:pt x="120" y="16"/>
                </a:cubicBezTo>
                <a:cubicBezTo>
                  <a:pt x="119" y="17"/>
                  <a:pt x="119" y="19"/>
                  <a:pt x="119" y="20"/>
                </a:cubicBezTo>
                <a:cubicBezTo>
                  <a:pt x="122" y="21"/>
                  <a:pt x="125" y="20"/>
                  <a:pt x="127" y="20"/>
                </a:cubicBezTo>
                <a:cubicBezTo>
                  <a:pt x="127" y="20"/>
                  <a:pt x="127" y="20"/>
                  <a:pt x="127" y="20"/>
                </a:cubicBezTo>
                <a:cubicBezTo>
                  <a:pt x="130" y="19"/>
                  <a:pt x="131" y="23"/>
                  <a:pt x="134" y="22"/>
                </a:cubicBezTo>
                <a:cubicBezTo>
                  <a:pt x="133" y="21"/>
                  <a:pt x="132" y="19"/>
                  <a:pt x="134" y="19"/>
                </a:cubicBezTo>
                <a:cubicBezTo>
                  <a:pt x="134" y="17"/>
                  <a:pt x="134" y="16"/>
                  <a:pt x="134" y="15"/>
                </a:cubicBezTo>
                <a:cubicBezTo>
                  <a:pt x="134" y="15"/>
                  <a:pt x="135" y="15"/>
                  <a:pt x="135" y="15"/>
                </a:cubicBezTo>
                <a:cubicBezTo>
                  <a:pt x="136" y="15"/>
                  <a:pt x="136" y="17"/>
                  <a:pt x="136" y="17"/>
                </a:cubicBezTo>
                <a:cubicBezTo>
                  <a:pt x="137" y="18"/>
                  <a:pt x="139" y="17"/>
                  <a:pt x="141" y="17"/>
                </a:cubicBezTo>
                <a:cubicBezTo>
                  <a:pt x="141" y="18"/>
                  <a:pt x="141" y="19"/>
                  <a:pt x="141" y="19"/>
                </a:cubicBezTo>
                <a:cubicBezTo>
                  <a:pt x="141" y="19"/>
                  <a:pt x="142" y="19"/>
                  <a:pt x="143" y="19"/>
                </a:cubicBezTo>
                <a:cubicBezTo>
                  <a:pt x="142" y="21"/>
                  <a:pt x="145" y="24"/>
                  <a:pt x="147" y="22"/>
                </a:cubicBezTo>
                <a:cubicBezTo>
                  <a:pt x="148" y="21"/>
                  <a:pt x="146" y="20"/>
                  <a:pt x="147" y="19"/>
                </a:cubicBezTo>
                <a:cubicBezTo>
                  <a:pt x="149" y="18"/>
                  <a:pt x="149" y="20"/>
                  <a:pt x="149" y="21"/>
                </a:cubicBezTo>
                <a:cubicBezTo>
                  <a:pt x="151" y="21"/>
                  <a:pt x="151" y="19"/>
                  <a:pt x="152" y="18"/>
                </a:cubicBezTo>
                <a:cubicBezTo>
                  <a:pt x="154" y="18"/>
                  <a:pt x="156" y="19"/>
                  <a:pt x="158" y="19"/>
                </a:cubicBezTo>
                <a:cubicBezTo>
                  <a:pt x="159" y="18"/>
                  <a:pt x="160" y="18"/>
                  <a:pt x="160" y="19"/>
                </a:cubicBezTo>
                <a:cubicBezTo>
                  <a:pt x="162" y="22"/>
                  <a:pt x="165" y="24"/>
                  <a:pt x="168" y="25"/>
                </a:cubicBezTo>
                <a:cubicBezTo>
                  <a:pt x="168" y="26"/>
                  <a:pt x="170" y="27"/>
                  <a:pt x="170" y="28"/>
                </a:cubicBezTo>
                <a:cubicBezTo>
                  <a:pt x="170" y="30"/>
                  <a:pt x="169" y="31"/>
                  <a:pt x="168" y="33"/>
                </a:cubicBezTo>
                <a:cubicBezTo>
                  <a:pt x="167" y="36"/>
                  <a:pt x="169" y="39"/>
                  <a:pt x="166" y="41"/>
                </a:cubicBezTo>
                <a:cubicBezTo>
                  <a:pt x="164" y="43"/>
                  <a:pt x="163" y="46"/>
                  <a:pt x="166" y="47"/>
                </a:cubicBezTo>
                <a:cubicBezTo>
                  <a:pt x="168" y="48"/>
                  <a:pt x="169" y="54"/>
                  <a:pt x="169" y="56"/>
                </a:cubicBezTo>
                <a:cubicBezTo>
                  <a:pt x="166" y="57"/>
                  <a:pt x="169" y="59"/>
                  <a:pt x="170" y="60"/>
                </a:cubicBezTo>
                <a:cubicBezTo>
                  <a:pt x="172" y="62"/>
                  <a:pt x="176" y="63"/>
                  <a:pt x="179" y="64"/>
                </a:cubicBezTo>
                <a:cubicBezTo>
                  <a:pt x="180" y="64"/>
                  <a:pt x="182" y="63"/>
                  <a:pt x="183" y="64"/>
                </a:cubicBezTo>
                <a:cubicBezTo>
                  <a:pt x="184" y="65"/>
                  <a:pt x="184" y="66"/>
                  <a:pt x="185" y="67"/>
                </a:cubicBezTo>
                <a:cubicBezTo>
                  <a:pt x="186" y="68"/>
                  <a:pt x="190" y="69"/>
                  <a:pt x="191" y="68"/>
                </a:cubicBezTo>
                <a:cubicBezTo>
                  <a:pt x="194" y="64"/>
                  <a:pt x="201" y="75"/>
                  <a:pt x="202" y="77"/>
                </a:cubicBezTo>
                <a:cubicBezTo>
                  <a:pt x="203" y="80"/>
                  <a:pt x="204" y="82"/>
                  <a:pt x="205" y="85"/>
                </a:cubicBezTo>
                <a:cubicBezTo>
                  <a:pt x="206" y="87"/>
                  <a:pt x="203" y="88"/>
                  <a:pt x="204" y="91"/>
                </a:cubicBezTo>
                <a:cubicBezTo>
                  <a:pt x="206" y="92"/>
                  <a:pt x="208" y="89"/>
                  <a:pt x="211" y="89"/>
                </a:cubicBezTo>
                <a:cubicBezTo>
                  <a:pt x="211" y="90"/>
                  <a:pt x="211" y="91"/>
                  <a:pt x="211" y="92"/>
                </a:cubicBezTo>
                <a:cubicBezTo>
                  <a:pt x="213" y="93"/>
                  <a:pt x="213" y="91"/>
                  <a:pt x="215" y="91"/>
                </a:cubicBezTo>
                <a:cubicBezTo>
                  <a:pt x="215" y="92"/>
                  <a:pt x="215" y="92"/>
                  <a:pt x="215" y="92"/>
                </a:cubicBezTo>
                <a:cubicBezTo>
                  <a:pt x="216" y="93"/>
                  <a:pt x="213" y="95"/>
                  <a:pt x="215" y="97"/>
                </a:cubicBezTo>
                <a:cubicBezTo>
                  <a:pt x="217" y="99"/>
                  <a:pt x="217" y="102"/>
                  <a:pt x="217" y="105"/>
                </a:cubicBezTo>
                <a:cubicBezTo>
                  <a:pt x="216" y="113"/>
                  <a:pt x="220" y="107"/>
                  <a:pt x="225" y="107"/>
                </a:cubicBezTo>
                <a:cubicBezTo>
                  <a:pt x="227" y="107"/>
                  <a:pt x="229" y="109"/>
                  <a:pt x="231" y="108"/>
                </a:cubicBezTo>
                <a:cubicBezTo>
                  <a:pt x="234" y="108"/>
                  <a:pt x="237" y="107"/>
                  <a:pt x="241" y="108"/>
                </a:cubicBezTo>
                <a:cubicBezTo>
                  <a:pt x="243" y="108"/>
                  <a:pt x="244" y="107"/>
                  <a:pt x="247" y="106"/>
                </a:cubicBezTo>
                <a:cubicBezTo>
                  <a:pt x="248" y="106"/>
                  <a:pt x="250" y="107"/>
                  <a:pt x="251" y="106"/>
                </a:cubicBezTo>
                <a:cubicBezTo>
                  <a:pt x="252" y="106"/>
                  <a:pt x="253" y="106"/>
                  <a:pt x="254" y="105"/>
                </a:cubicBezTo>
                <a:cubicBezTo>
                  <a:pt x="255" y="101"/>
                  <a:pt x="257" y="102"/>
                  <a:pt x="260" y="102"/>
                </a:cubicBezTo>
                <a:cubicBezTo>
                  <a:pt x="264" y="101"/>
                  <a:pt x="264" y="97"/>
                  <a:pt x="268" y="97"/>
                </a:cubicBezTo>
                <a:cubicBezTo>
                  <a:pt x="270" y="98"/>
                  <a:pt x="272" y="97"/>
                  <a:pt x="273" y="99"/>
                </a:cubicBezTo>
                <a:cubicBezTo>
                  <a:pt x="273" y="100"/>
                  <a:pt x="273" y="102"/>
                  <a:pt x="275" y="102"/>
                </a:cubicBezTo>
                <a:cubicBezTo>
                  <a:pt x="277" y="102"/>
                  <a:pt x="277" y="100"/>
                  <a:pt x="278" y="99"/>
                </a:cubicBezTo>
                <a:cubicBezTo>
                  <a:pt x="278" y="97"/>
                  <a:pt x="279" y="98"/>
                  <a:pt x="280" y="98"/>
                </a:cubicBezTo>
                <a:cubicBezTo>
                  <a:pt x="281" y="96"/>
                  <a:pt x="280" y="94"/>
                  <a:pt x="282" y="95"/>
                </a:cubicBezTo>
                <a:cubicBezTo>
                  <a:pt x="282" y="94"/>
                  <a:pt x="282" y="93"/>
                  <a:pt x="282" y="93"/>
                </a:cubicBezTo>
                <a:cubicBezTo>
                  <a:pt x="281" y="93"/>
                  <a:pt x="281" y="92"/>
                  <a:pt x="280" y="92"/>
                </a:cubicBezTo>
                <a:cubicBezTo>
                  <a:pt x="280" y="91"/>
                  <a:pt x="279" y="88"/>
                  <a:pt x="281" y="88"/>
                </a:cubicBezTo>
                <a:cubicBezTo>
                  <a:pt x="282" y="87"/>
                  <a:pt x="283" y="87"/>
                  <a:pt x="282" y="86"/>
                </a:cubicBezTo>
                <a:cubicBezTo>
                  <a:pt x="282" y="86"/>
                  <a:pt x="282" y="86"/>
                  <a:pt x="282" y="86"/>
                </a:cubicBezTo>
                <a:cubicBezTo>
                  <a:pt x="282" y="84"/>
                  <a:pt x="281" y="82"/>
                  <a:pt x="281" y="80"/>
                </a:cubicBezTo>
                <a:cubicBezTo>
                  <a:pt x="284" y="79"/>
                  <a:pt x="285" y="78"/>
                  <a:pt x="287" y="76"/>
                </a:cubicBezTo>
                <a:cubicBezTo>
                  <a:pt x="290" y="77"/>
                  <a:pt x="292" y="81"/>
                  <a:pt x="293" y="84"/>
                </a:cubicBezTo>
                <a:cubicBezTo>
                  <a:pt x="295" y="85"/>
                  <a:pt x="292" y="86"/>
                  <a:pt x="291" y="87"/>
                </a:cubicBezTo>
                <a:cubicBezTo>
                  <a:pt x="293" y="93"/>
                  <a:pt x="299" y="84"/>
                  <a:pt x="301" y="84"/>
                </a:cubicBezTo>
                <a:cubicBezTo>
                  <a:pt x="302" y="83"/>
                  <a:pt x="302" y="82"/>
                  <a:pt x="302" y="81"/>
                </a:cubicBezTo>
                <a:cubicBezTo>
                  <a:pt x="303" y="80"/>
                  <a:pt x="305" y="81"/>
                  <a:pt x="306" y="82"/>
                </a:cubicBezTo>
                <a:cubicBezTo>
                  <a:pt x="307" y="83"/>
                  <a:pt x="308" y="85"/>
                  <a:pt x="309" y="85"/>
                </a:cubicBezTo>
                <a:cubicBezTo>
                  <a:pt x="311" y="85"/>
                  <a:pt x="312" y="82"/>
                  <a:pt x="315" y="82"/>
                </a:cubicBezTo>
                <a:cubicBezTo>
                  <a:pt x="315" y="81"/>
                  <a:pt x="315" y="81"/>
                  <a:pt x="314" y="81"/>
                </a:cubicBezTo>
                <a:cubicBezTo>
                  <a:pt x="314" y="79"/>
                  <a:pt x="314" y="77"/>
                  <a:pt x="317" y="78"/>
                </a:cubicBezTo>
                <a:cubicBezTo>
                  <a:pt x="317" y="77"/>
                  <a:pt x="317" y="76"/>
                  <a:pt x="315" y="76"/>
                </a:cubicBezTo>
                <a:cubicBezTo>
                  <a:pt x="315" y="74"/>
                  <a:pt x="312" y="74"/>
                  <a:pt x="313" y="72"/>
                </a:cubicBezTo>
                <a:cubicBezTo>
                  <a:pt x="313" y="70"/>
                  <a:pt x="314" y="69"/>
                  <a:pt x="315" y="69"/>
                </a:cubicBezTo>
                <a:cubicBezTo>
                  <a:pt x="318" y="68"/>
                  <a:pt x="316" y="64"/>
                  <a:pt x="317" y="64"/>
                </a:cubicBezTo>
                <a:cubicBezTo>
                  <a:pt x="319" y="64"/>
                  <a:pt x="320" y="64"/>
                  <a:pt x="322" y="64"/>
                </a:cubicBezTo>
                <a:cubicBezTo>
                  <a:pt x="324" y="64"/>
                  <a:pt x="326" y="64"/>
                  <a:pt x="327" y="63"/>
                </a:cubicBezTo>
                <a:cubicBezTo>
                  <a:pt x="329" y="62"/>
                  <a:pt x="330" y="58"/>
                  <a:pt x="332" y="58"/>
                </a:cubicBezTo>
                <a:cubicBezTo>
                  <a:pt x="331" y="58"/>
                  <a:pt x="331" y="58"/>
                  <a:pt x="331" y="58"/>
                </a:cubicBezTo>
                <a:cubicBezTo>
                  <a:pt x="331" y="57"/>
                  <a:pt x="326" y="56"/>
                  <a:pt x="328" y="54"/>
                </a:cubicBezTo>
                <a:cubicBezTo>
                  <a:pt x="331" y="51"/>
                  <a:pt x="332" y="55"/>
                  <a:pt x="334" y="56"/>
                </a:cubicBezTo>
                <a:cubicBezTo>
                  <a:pt x="334" y="54"/>
                  <a:pt x="335" y="51"/>
                  <a:pt x="336" y="50"/>
                </a:cubicBezTo>
                <a:cubicBezTo>
                  <a:pt x="337" y="50"/>
                  <a:pt x="337" y="52"/>
                  <a:pt x="338" y="53"/>
                </a:cubicBezTo>
                <a:cubicBezTo>
                  <a:pt x="338" y="52"/>
                  <a:pt x="338" y="52"/>
                  <a:pt x="339" y="51"/>
                </a:cubicBezTo>
                <a:cubicBezTo>
                  <a:pt x="342" y="54"/>
                  <a:pt x="342" y="48"/>
                  <a:pt x="342" y="46"/>
                </a:cubicBezTo>
                <a:cubicBezTo>
                  <a:pt x="343" y="46"/>
                  <a:pt x="343" y="46"/>
                  <a:pt x="343" y="47"/>
                </a:cubicBezTo>
                <a:cubicBezTo>
                  <a:pt x="343" y="49"/>
                  <a:pt x="345" y="54"/>
                  <a:pt x="348" y="53"/>
                </a:cubicBezTo>
                <a:cubicBezTo>
                  <a:pt x="348" y="52"/>
                  <a:pt x="349" y="52"/>
                  <a:pt x="350" y="52"/>
                </a:cubicBezTo>
                <a:cubicBezTo>
                  <a:pt x="351" y="55"/>
                  <a:pt x="353" y="57"/>
                  <a:pt x="354" y="60"/>
                </a:cubicBezTo>
                <a:cubicBezTo>
                  <a:pt x="354" y="63"/>
                  <a:pt x="357" y="62"/>
                  <a:pt x="359" y="62"/>
                </a:cubicBezTo>
                <a:cubicBezTo>
                  <a:pt x="362" y="62"/>
                  <a:pt x="364" y="63"/>
                  <a:pt x="367" y="65"/>
                </a:cubicBezTo>
                <a:cubicBezTo>
                  <a:pt x="369" y="65"/>
                  <a:pt x="372" y="65"/>
                  <a:pt x="375" y="65"/>
                </a:cubicBezTo>
                <a:cubicBezTo>
                  <a:pt x="375" y="64"/>
                  <a:pt x="375" y="64"/>
                  <a:pt x="375" y="63"/>
                </a:cubicBezTo>
                <a:cubicBezTo>
                  <a:pt x="379" y="63"/>
                  <a:pt x="378" y="59"/>
                  <a:pt x="382" y="59"/>
                </a:cubicBezTo>
                <a:cubicBezTo>
                  <a:pt x="381" y="59"/>
                  <a:pt x="379" y="56"/>
                  <a:pt x="379" y="55"/>
                </a:cubicBezTo>
                <a:cubicBezTo>
                  <a:pt x="380" y="54"/>
                  <a:pt x="381" y="55"/>
                  <a:pt x="382" y="55"/>
                </a:cubicBezTo>
                <a:cubicBezTo>
                  <a:pt x="383" y="55"/>
                  <a:pt x="383" y="54"/>
                  <a:pt x="384" y="53"/>
                </a:cubicBezTo>
                <a:cubicBezTo>
                  <a:pt x="385" y="52"/>
                  <a:pt x="392" y="53"/>
                  <a:pt x="391" y="50"/>
                </a:cubicBezTo>
                <a:cubicBezTo>
                  <a:pt x="390" y="50"/>
                  <a:pt x="389" y="49"/>
                  <a:pt x="390" y="48"/>
                </a:cubicBezTo>
                <a:cubicBezTo>
                  <a:pt x="391" y="47"/>
                  <a:pt x="392" y="47"/>
                  <a:pt x="395" y="47"/>
                </a:cubicBezTo>
                <a:cubicBezTo>
                  <a:pt x="395" y="49"/>
                  <a:pt x="394" y="51"/>
                  <a:pt x="396" y="52"/>
                </a:cubicBezTo>
                <a:close/>
              </a:path>
            </a:pathLst>
          </a:custGeom>
          <a:solidFill>
            <a:schemeClr val="accent1"/>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435">
            <a:extLst>
              <a:ext uri="{FF2B5EF4-FFF2-40B4-BE49-F238E27FC236}">
                <a16:creationId xmlns:a16="http://schemas.microsoft.com/office/drawing/2014/main" id="{9ED7BA5E-7F99-4312-B743-9C314D80762E}"/>
              </a:ext>
            </a:extLst>
          </p:cNvPr>
          <p:cNvSpPr>
            <a:spLocks/>
          </p:cNvSpPr>
          <p:nvPr/>
        </p:nvSpPr>
        <p:spPr bwMode="auto">
          <a:xfrm>
            <a:off x="2793979" y="3211058"/>
            <a:ext cx="101013" cy="129474"/>
          </a:xfrm>
          <a:custGeom>
            <a:avLst/>
            <a:gdLst>
              <a:gd name="T0" fmla="*/ 0 w 41"/>
              <a:gd name="T1" fmla="*/ 44 h 52"/>
              <a:gd name="T2" fmla="*/ 0 w 41"/>
              <a:gd name="T3" fmla="*/ 44 h 52"/>
              <a:gd name="T4" fmla="*/ 1 w 41"/>
              <a:gd name="T5" fmla="*/ 38 h 52"/>
              <a:gd name="T6" fmla="*/ 2 w 41"/>
              <a:gd name="T7" fmla="*/ 35 h 52"/>
              <a:gd name="T8" fmla="*/ 2 w 41"/>
              <a:gd name="T9" fmla="*/ 29 h 52"/>
              <a:gd name="T10" fmla="*/ 5 w 41"/>
              <a:gd name="T11" fmla="*/ 26 h 52"/>
              <a:gd name="T12" fmla="*/ 5 w 41"/>
              <a:gd name="T13" fmla="*/ 23 h 52"/>
              <a:gd name="T14" fmla="*/ 6 w 41"/>
              <a:gd name="T15" fmla="*/ 21 h 52"/>
              <a:gd name="T16" fmla="*/ 8 w 41"/>
              <a:gd name="T17" fmla="*/ 18 h 52"/>
              <a:gd name="T18" fmla="*/ 9 w 41"/>
              <a:gd name="T19" fmla="*/ 13 h 52"/>
              <a:gd name="T20" fmla="*/ 7 w 41"/>
              <a:gd name="T21" fmla="*/ 9 h 52"/>
              <a:gd name="T22" fmla="*/ 10 w 41"/>
              <a:gd name="T23" fmla="*/ 9 h 52"/>
              <a:gd name="T24" fmla="*/ 14 w 41"/>
              <a:gd name="T25" fmla="*/ 9 h 52"/>
              <a:gd name="T26" fmla="*/ 18 w 41"/>
              <a:gd name="T27" fmla="*/ 6 h 52"/>
              <a:gd name="T28" fmla="*/ 20 w 41"/>
              <a:gd name="T29" fmla="*/ 8 h 52"/>
              <a:gd name="T30" fmla="*/ 20 w 41"/>
              <a:gd name="T31" fmla="*/ 6 h 52"/>
              <a:gd name="T32" fmla="*/ 22 w 41"/>
              <a:gd name="T33" fmla="*/ 4 h 52"/>
              <a:gd name="T34" fmla="*/ 25 w 41"/>
              <a:gd name="T35" fmla="*/ 5 h 52"/>
              <a:gd name="T36" fmla="*/ 25 w 41"/>
              <a:gd name="T37" fmla="*/ 2 h 52"/>
              <a:gd name="T38" fmla="*/ 27 w 41"/>
              <a:gd name="T39" fmla="*/ 2 h 52"/>
              <a:gd name="T40" fmla="*/ 27 w 41"/>
              <a:gd name="T41" fmla="*/ 1 h 52"/>
              <a:gd name="T42" fmla="*/ 30 w 41"/>
              <a:gd name="T43" fmla="*/ 1 h 52"/>
              <a:gd name="T44" fmla="*/ 31 w 41"/>
              <a:gd name="T45" fmla="*/ 3 h 52"/>
              <a:gd name="T46" fmla="*/ 33 w 41"/>
              <a:gd name="T47" fmla="*/ 3 h 52"/>
              <a:gd name="T48" fmla="*/ 36 w 41"/>
              <a:gd name="T49" fmla="*/ 4 h 52"/>
              <a:gd name="T50" fmla="*/ 38 w 41"/>
              <a:gd name="T51" fmla="*/ 8 h 52"/>
              <a:gd name="T52" fmla="*/ 40 w 41"/>
              <a:gd name="T53" fmla="*/ 12 h 52"/>
              <a:gd name="T54" fmla="*/ 39 w 41"/>
              <a:gd name="T55" fmla="*/ 16 h 52"/>
              <a:gd name="T56" fmla="*/ 40 w 41"/>
              <a:gd name="T57" fmla="*/ 19 h 52"/>
              <a:gd name="T58" fmla="*/ 38 w 41"/>
              <a:gd name="T59" fmla="*/ 23 h 52"/>
              <a:gd name="T60" fmla="*/ 36 w 41"/>
              <a:gd name="T61" fmla="*/ 28 h 52"/>
              <a:gd name="T62" fmla="*/ 35 w 41"/>
              <a:gd name="T63" fmla="*/ 28 h 52"/>
              <a:gd name="T64" fmla="*/ 35 w 41"/>
              <a:gd name="T65" fmla="*/ 29 h 52"/>
              <a:gd name="T66" fmla="*/ 36 w 41"/>
              <a:gd name="T67" fmla="*/ 30 h 52"/>
              <a:gd name="T68" fmla="*/ 38 w 41"/>
              <a:gd name="T69" fmla="*/ 37 h 52"/>
              <a:gd name="T70" fmla="*/ 41 w 41"/>
              <a:gd name="T71" fmla="*/ 39 h 52"/>
              <a:gd name="T72" fmla="*/ 40 w 41"/>
              <a:gd name="T73" fmla="*/ 44 h 52"/>
              <a:gd name="T74" fmla="*/ 37 w 41"/>
              <a:gd name="T75" fmla="*/ 47 h 52"/>
              <a:gd name="T76" fmla="*/ 35 w 41"/>
              <a:gd name="T77" fmla="*/ 46 h 52"/>
              <a:gd name="T78" fmla="*/ 33 w 41"/>
              <a:gd name="T79" fmla="*/ 48 h 52"/>
              <a:gd name="T80" fmla="*/ 29 w 41"/>
              <a:gd name="T81" fmla="*/ 47 h 52"/>
              <a:gd name="T82" fmla="*/ 23 w 41"/>
              <a:gd name="T83" fmla="*/ 46 h 52"/>
              <a:gd name="T84" fmla="*/ 23 w 41"/>
              <a:gd name="T85" fmla="*/ 48 h 52"/>
              <a:gd name="T86" fmla="*/ 15 w 41"/>
              <a:gd name="T87" fmla="*/ 50 h 52"/>
              <a:gd name="T88" fmla="*/ 11 w 41"/>
              <a:gd name="T89" fmla="*/ 49 h 52"/>
              <a:gd name="T90" fmla="*/ 5 w 41"/>
              <a:gd name="T91" fmla="*/ 49 h 52"/>
              <a:gd name="T92" fmla="*/ 4 w 41"/>
              <a:gd name="T93" fmla="*/ 48 h 52"/>
              <a:gd name="T94" fmla="*/ 0 w 41"/>
              <a:gd name="T95"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52">
                <a:moveTo>
                  <a:pt x="0" y="44"/>
                </a:moveTo>
                <a:cubicBezTo>
                  <a:pt x="0" y="44"/>
                  <a:pt x="0" y="44"/>
                  <a:pt x="0" y="44"/>
                </a:cubicBezTo>
                <a:cubicBezTo>
                  <a:pt x="3" y="42"/>
                  <a:pt x="2" y="41"/>
                  <a:pt x="1" y="38"/>
                </a:cubicBezTo>
                <a:cubicBezTo>
                  <a:pt x="1" y="37"/>
                  <a:pt x="2" y="36"/>
                  <a:pt x="2" y="35"/>
                </a:cubicBezTo>
                <a:cubicBezTo>
                  <a:pt x="3" y="33"/>
                  <a:pt x="2" y="31"/>
                  <a:pt x="2" y="29"/>
                </a:cubicBezTo>
                <a:cubicBezTo>
                  <a:pt x="2" y="27"/>
                  <a:pt x="4" y="27"/>
                  <a:pt x="5" y="26"/>
                </a:cubicBezTo>
                <a:cubicBezTo>
                  <a:pt x="5" y="25"/>
                  <a:pt x="5" y="24"/>
                  <a:pt x="5" y="23"/>
                </a:cubicBezTo>
                <a:cubicBezTo>
                  <a:pt x="6" y="22"/>
                  <a:pt x="6" y="22"/>
                  <a:pt x="6" y="21"/>
                </a:cubicBezTo>
                <a:cubicBezTo>
                  <a:pt x="7" y="20"/>
                  <a:pt x="8" y="19"/>
                  <a:pt x="8" y="18"/>
                </a:cubicBezTo>
                <a:cubicBezTo>
                  <a:pt x="8" y="17"/>
                  <a:pt x="9" y="14"/>
                  <a:pt x="9" y="13"/>
                </a:cubicBezTo>
                <a:cubicBezTo>
                  <a:pt x="8" y="12"/>
                  <a:pt x="7" y="11"/>
                  <a:pt x="7" y="9"/>
                </a:cubicBezTo>
                <a:cubicBezTo>
                  <a:pt x="8" y="9"/>
                  <a:pt x="9" y="9"/>
                  <a:pt x="10" y="9"/>
                </a:cubicBezTo>
                <a:cubicBezTo>
                  <a:pt x="10" y="7"/>
                  <a:pt x="13" y="9"/>
                  <a:pt x="14" y="9"/>
                </a:cubicBezTo>
                <a:cubicBezTo>
                  <a:pt x="16" y="8"/>
                  <a:pt x="15" y="5"/>
                  <a:pt x="18" y="6"/>
                </a:cubicBezTo>
                <a:cubicBezTo>
                  <a:pt x="19" y="6"/>
                  <a:pt x="18" y="9"/>
                  <a:pt x="20" y="8"/>
                </a:cubicBezTo>
                <a:cubicBezTo>
                  <a:pt x="20" y="6"/>
                  <a:pt x="20" y="6"/>
                  <a:pt x="20" y="6"/>
                </a:cubicBezTo>
                <a:cubicBezTo>
                  <a:pt x="21" y="5"/>
                  <a:pt x="22" y="5"/>
                  <a:pt x="22" y="4"/>
                </a:cubicBezTo>
                <a:cubicBezTo>
                  <a:pt x="23" y="4"/>
                  <a:pt x="24" y="5"/>
                  <a:pt x="25" y="5"/>
                </a:cubicBezTo>
                <a:cubicBezTo>
                  <a:pt x="25" y="4"/>
                  <a:pt x="25" y="3"/>
                  <a:pt x="25" y="2"/>
                </a:cubicBezTo>
                <a:cubicBezTo>
                  <a:pt x="26" y="2"/>
                  <a:pt x="27" y="2"/>
                  <a:pt x="27" y="2"/>
                </a:cubicBezTo>
                <a:cubicBezTo>
                  <a:pt x="27" y="2"/>
                  <a:pt x="27" y="1"/>
                  <a:pt x="27" y="1"/>
                </a:cubicBezTo>
                <a:cubicBezTo>
                  <a:pt x="28" y="1"/>
                  <a:pt x="29" y="0"/>
                  <a:pt x="30" y="1"/>
                </a:cubicBezTo>
                <a:cubicBezTo>
                  <a:pt x="31" y="2"/>
                  <a:pt x="29" y="3"/>
                  <a:pt x="31" y="3"/>
                </a:cubicBezTo>
                <a:cubicBezTo>
                  <a:pt x="32" y="3"/>
                  <a:pt x="32" y="3"/>
                  <a:pt x="33" y="3"/>
                </a:cubicBezTo>
                <a:cubicBezTo>
                  <a:pt x="34" y="3"/>
                  <a:pt x="35" y="3"/>
                  <a:pt x="36" y="4"/>
                </a:cubicBezTo>
                <a:cubicBezTo>
                  <a:pt x="38" y="5"/>
                  <a:pt x="38" y="6"/>
                  <a:pt x="38" y="8"/>
                </a:cubicBezTo>
                <a:cubicBezTo>
                  <a:pt x="38" y="10"/>
                  <a:pt x="37" y="12"/>
                  <a:pt x="40" y="12"/>
                </a:cubicBezTo>
                <a:cubicBezTo>
                  <a:pt x="40" y="13"/>
                  <a:pt x="40" y="14"/>
                  <a:pt x="39" y="16"/>
                </a:cubicBezTo>
                <a:cubicBezTo>
                  <a:pt x="39" y="16"/>
                  <a:pt x="37" y="19"/>
                  <a:pt x="40" y="19"/>
                </a:cubicBezTo>
                <a:cubicBezTo>
                  <a:pt x="40" y="20"/>
                  <a:pt x="39" y="22"/>
                  <a:pt x="38" y="23"/>
                </a:cubicBezTo>
                <a:cubicBezTo>
                  <a:pt x="38" y="25"/>
                  <a:pt x="36" y="26"/>
                  <a:pt x="36" y="28"/>
                </a:cubicBezTo>
                <a:cubicBezTo>
                  <a:pt x="35" y="28"/>
                  <a:pt x="35" y="28"/>
                  <a:pt x="35" y="28"/>
                </a:cubicBezTo>
                <a:cubicBezTo>
                  <a:pt x="35" y="28"/>
                  <a:pt x="35" y="29"/>
                  <a:pt x="35" y="29"/>
                </a:cubicBezTo>
                <a:cubicBezTo>
                  <a:pt x="36" y="30"/>
                  <a:pt x="36" y="30"/>
                  <a:pt x="36" y="30"/>
                </a:cubicBezTo>
                <a:cubicBezTo>
                  <a:pt x="36" y="32"/>
                  <a:pt x="36" y="35"/>
                  <a:pt x="38" y="37"/>
                </a:cubicBezTo>
                <a:cubicBezTo>
                  <a:pt x="39" y="38"/>
                  <a:pt x="40" y="38"/>
                  <a:pt x="41" y="39"/>
                </a:cubicBezTo>
                <a:cubicBezTo>
                  <a:pt x="41" y="41"/>
                  <a:pt x="40" y="42"/>
                  <a:pt x="40" y="44"/>
                </a:cubicBezTo>
                <a:cubicBezTo>
                  <a:pt x="37" y="43"/>
                  <a:pt x="37" y="45"/>
                  <a:pt x="37" y="47"/>
                </a:cubicBezTo>
                <a:cubicBezTo>
                  <a:pt x="36" y="47"/>
                  <a:pt x="36" y="47"/>
                  <a:pt x="35" y="46"/>
                </a:cubicBezTo>
                <a:cubicBezTo>
                  <a:pt x="34" y="47"/>
                  <a:pt x="34" y="48"/>
                  <a:pt x="33" y="48"/>
                </a:cubicBezTo>
                <a:cubicBezTo>
                  <a:pt x="32" y="45"/>
                  <a:pt x="32" y="48"/>
                  <a:pt x="29" y="47"/>
                </a:cubicBezTo>
                <a:cubicBezTo>
                  <a:pt x="27" y="47"/>
                  <a:pt x="26" y="44"/>
                  <a:pt x="23" y="46"/>
                </a:cubicBezTo>
                <a:cubicBezTo>
                  <a:pt x="23" y="47"/>
                  <a:pt x="23" y="47"/>
                  <a:pt x="23" y="48"/>
                </a:cubicBezTo>
                <a:cubicBezTo>
                  <a:pt x="20" y="50"/>
                  <a:pt x="19" y="52"/>
                  <a:pt x="15" y="50"/>
                </a:cubicBezTo>
                <a:cubicBezTo>
                  <a:pt x="13" y="49"/>
                  <a:pt x="13" y="49"/>
                  <a:pt x="11" y="49"/>
                </a:cubicBezTo>
                <a:cubicBezTo>
                  <a:pt x="9" y="49"/>
                  <a:pt x="7" y="49"/>
                  <a:pt x="5" y="49"/>
                </a:cubicBezTo>
                <a:cubicBezTo>
                  <a:pt x="4" y="48"/>
                  <a:pt x="4" y="48"/>
                  <a:pt x="4" y="48"/>
                </a:cubicBezTo>
                <a:cubicBezTo>
                  <a:pt x="2" y="46"/>
                  <a:pt x="4" y="45"/>
                  <a:pt x="0" y="44"/>
                </a:cubicBezTo>
                <a:close/>
              </a:path>
            </a:pathLst>
          </a:custGeom>
          <a:solidFill>
            <a:schemeClr val="accent5"/>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8" name="Freeform 436">
            <a:extLst>
              <a:ext uri="{FF2B5EF4-FFF2-40B4-BE49-F238E27FC236}">
                <a16:creationId xmlns:a16="http://schemas.microsoft.com/office/drawing/2014/main" id="{D0B20F97-A8E5-42D8-B02C-A7A27932DCDE}"/>
              </a:ext>
            </a:extLst>
          </p:cNvPr>
          <p:cNvSpPr>
            <a:spLocks/>
          </p:cNvSpPr>
          <p:nvPr/>
        </p:nvSpPr>
        <p:spPr bwMode="auto">
          <a:xfrm>
            <a:off x="1205527" y="5031513"/>
            <a:ext cx="304148" cy="567009"/>
          </a:xfrm>
          <a:custGeom>
            <a:avLst/>
            <a:gdLst>
              <a:gd name="T0" fmla="*/ 95 w 123"/>
              <a:gd name="T1" fmla="*/ 222 h 228"/>
              <a:gd name="T2" fmla="*/ 81 w 123"/>
              <a:gd name="T3" fmla="*/ 201 h 228"/>
              <a:gd name="T4" fmla="*/ 77 w 123"/>
              <a:gd name="T5" fmla="*/ 196 h 228"/>
              <a:gd name="T6" fmla="*/ 76 w 123"/>
              <a:gd name="T7" fmla="*/ 193 h 228"/>
              <a:gd name="T8" fmla="*/ 73 w 123"/>
              <a:gd name="T9" fmla="*/ 188 h 228"/>
              <a:gd name="T10" fmla="*/ 71 w 123"/>
              <a:gd name="T11" fmla="*/ 181 h 228"/>
              <a:gd name="T12" fmla="*/ 72 w 123"/>
              <a:gd name="T13" fmla="*/ 189 h 228"/>
              <a:gd name="T14" fmla="*/ 67 w 123"/>
              <a:gd name="T15" fmla="*/ 175 h 228"/>
              <a:gd name="T16" fmla="*/ 64 w 123"/>
              <a:gd name="T17" fmla="*/ 153 h 228"/>
              <a:gd name="T18" fmla="*/ 64 w 123"/>
              <a:gd name="T19" fmla="*/ 147 h 228"/>
              <a:gd name="T20" fmla="*/ 67 w 123"/>
              <a:gd name="T21" fmla="*/ 159 h 228"/>
              <a:gd name="T22" fmla="*/ 71 w 123"/>
              <a:gd name="T23" fmla="*/ 162 h 228"/>
              <a:gd name="T24" fmla="*/ 68 w 123"/>
              <a:gd name="T25" fmla="*/ 152 h 228"/>
              <a:gd name="T26" fmla="*/ 61 w 123"/>
              <a:gd name="T27" fmla="*/ 140 h 228"/>
              <a:gd name="T28" fmla="*/ 61 w 123"/>
              <a:gd name="T29" fmla="*/ 132 h 228"/>
              <a:gd name="T30" fmla="*/ 61 w 123"/>
              <a:gd name="T31" fmla="*/ 131 h 228"/>
              <a:gd name="T32" fmla="*/ 57 w 123"/>
              <a:gd name="T33" fmla="*/ 125 h 228"/>
              <a:gd name="T34" fmla="*/ 54 w 123"/>
              <a:gd name="T35" fmla="*/ 115 h 228"/>
              <a:gd name="T36" fmla="*/ 54 w 123"/>
              <a:gd name="T37" fmla="*/ 115 h 228"/>
              <a:gd name="T38" fmla="*/ 49 w 123"/>
              <a:gd name="T39" fmla="*/ 106 h 228"/>
              <a:gd name="T40" fmla="*/ 50 w 123"/>
              <a:gd name="T41" fmla="*/ 102 h 228"/>
              <a:gd name="T42" fmla="*/ 48 w 123"/>
              <a:gd name="T43" fmla="*/ 105 h 228"/>
              <a:gd name="T44" fmla="*/ 45 w 123"/>
              <a:gd name="T45" fmla="*/ 92 h 228"/>
              <a:gd name="T46" fmla="*/ 45 w 123"/>
              <a:gd name="T47" fmla="*/ 80 h 228"/>
              <a:gd name="T48" fmla="*/ 41 w 123"/>
              <a:gd name="T49" fmla="*/ 75 h 228"/>
              <a:gd name="T50" fmla="*/ 38 w 123"/>
              <a:gd name="T51" fmla="*/ 70 h 228"/>
              <a:gd name="T52" fmla="*/ 34 w 123"/>
              <a:gd name="T53" fmla="*/ 65 h 228"/>
              <a:gd name="T54" fmla="*/ 33 w 123"/>
              <a:gd name="T55" fmla="*/ 60 h 228"/>
              <a:gd name="T56" fmla="*/ 26 w 123"/>
              <a:gd name="T57" fmla="*/ 50 h 228"/>
              <a:gd name="T58" fmla="*/ 22 w 123"/>
              <a:gd name="T59" fmla="*/ 43 h 228"/>
              <a:gd name="T60" fmla="*/ 14 w 123"/>
              <a:gd name="T61" fmla="*/ 38 h 228"/>
              <a:gd name="T62" fmla="*/ 9 w 123"/>
              <a:gd name="T63" fmla="*/ 23 h 228"/>
              <a:gd name="T64" fmla="*/ 3 w 123"/>
              <a:gd name="T65" fmla="*/ 1 h 228"/>
              <a:gd name="T66" fmla="*/ 11 w 123"/>
              <a:gd name="T67" fmla="*/ 7 h 228"/>
              <a:gd name="T68" fmla="*/ 18 w 123"/>
              <a:gd name="T69" fmla="*/ 12 h 228"/>
              <a:gd name="T70" fmla="*/ 25 w 123"/>
              <a:gd name="T71" fmla="*/ 16 h 228"/>
              <a:gd name="T72" fmla="*/ 30 w 123"/>
              <a:gd name="T73" fmla="*/ 26 h 228"/>
              <a:gd name="T74" fmla="*/ 51 w 123"/>
              <a:gd name="T75" fmla="*/ 45 h 228"/>
              <a:gd name="T76" fmla="*/ 66 w 123"/>
              <a:gd name="T77" fmla="*/ 49 h 228"/>
              <a:gd name="T78" fmla="*/ 77 w 123"/>
              <a:gd name="T79" fmla="*/ 57 h 228"/>
              <a:gd name="T80" fmla="*/ 73 w 123"/>
              <a:gd name="T81" fmla="*/ 64 h 228"/>
              <a:gd name="T82" fmla="*/ 76 w 123"/>
              <a:gd name="T83" fmla="*/ 72 h 228"/>
              <a:gd name="T84" fmla="*/ 76 w 123"/>
              <a:gd name="T85" fmla="*/ 83 h 228"/>
              <a:gd name="T86" fmla="*/ 87 w 123"/>
              <a:gd name="T87" fmla="*/ 98 h 228"/>
              <a:gd name="T88" fmla="*/ 95 w 123"/>
              <a:gd name="T89" fmla="*/ 125 h 228"/>
              <a:gd name="T90" fmla="*/ 108 w 123"/>
              <a:gd name="T91" fmla="*/ 129 h 228"/>
              <a:gd name="T92" fmla="*/ 113 w 123"/>
              <a:gd name="T93" fmla="*/ 152 h 228"/>
              <a:gd name="T94" fmla="*/ 116 w 123"/>
              <a:gd name="T95" fmla="*/ 166 h 228"/>
              <a:gd name="T96" fmla="*/ 112 w 123"/>
              <a:gd name="T97" fmla="*/ 189 h 228"/>
              <a:gd name="T98" fmla="*/ 109 w 123"/>
              <a:gd name="T99" fmla="*/ 207 h 228"/>
              <a:gd name="T100" fmla="*/ 109 w 123"/>
              <a:gd name="T101" fmla="*/ 221 h 228"/>
              <a:gd name="T102" fmla="*/ 102 w 123"/>
              <a:gd name="T103"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3" h="228">
                <a:moveTo>
                  <a:pt x="102" y="228"/>
                </a:moveTo>
                <a:cubicBezTo>
                  <a:pt x="102" y="228"/>
                  <a:pt x="102" y="228"/>
                  <a:pt x="102" y="228"/>
                </a:cubicBezTo>
                <a:cubicBezTo>
                  <a:pt x="101" y="227"/>
                  <a:pt x="100" y="226"/>
                  <a:pt x="99" y="225"/>
                </a:cubicBezTo>
                <a:cubicBezTo>
                  <a:pt x="97" y="224"/>
                  <a:pt x="96" y="224"/>
                  <a:pt x="95" y="222"/>
                </a:cubicBezTo>
                <a:cubicBezTo>
                  <a:pt x="94" y="220"/>
                  <a:pt x="94" y="219"/>
                  <a:pt x="92" y="217"/>
                </a:cubicBezTo>
                <a:cubicBezTo>
                  <a:pt x="90" y="214"/>
                  <a:pt x="87" y="212"/>
                  <a:pt x="85" y="209"/>
                </a:cubicBezTo>
                <a:cubicBezTo>
                  <a:pt x="83" y="207"/>
                  <a:pt x="79" y="203"/>
                  <a:pt x="79" y="200"/>
                </a:cubicBezTo>
                <a:cubicBezTo>
                  <a:pt x="80" y="200"/>
                  <a:pt x="80" y="200"/>
                  <a:pt x="81" y="201"/>
                </a:cubicBezTo>
                <a:cubicBezTo>
                  <a:pt x="81" y="200"/>
                  <a:pt x="81" y="199"/>
                  <a:pt x="81" y="199"/>
                </a:cubicBezTo>
                <a:cubicBezTo>
                  <a:pt x="81" y="199"/>
                  <a:pt x="78" y="199"/>
                  <a:pt x="78" y="199"/>
                </a:cubicBezTo>
                <a:cubicBezTo>
                  <a:pt x="77" y="198"/>
                  <a:pt x="75" y="197"/>
                  <a:pt x="76" y="196"/>
                </a:cubicBezTo>
                <a:cubicBezTo>
                  <a:pt x="76" y="196"/>
                  <a:pt x="77" y="196"/>
                  <a:pt x="77" y="196"/>
                </a:cubicBezTo>
                <a:cubicBezTo>
                  <a:pt x="77" y="196"/>
                  <a:pt x="77" y="195"/>
                  <a:pt x="76" y="195"/>
                </a:cubicBezTo>
                <a:cubicBezTo>
                  <a:pt x="77" y="194"/>
                  <a:pt x="79" y="194"/>
                  <a:pt x="80" y="193"/>
                </a:cubicBezTo>
                <a:cubicBezTo>
                  <a:pt x="79" y="192"/>
                  <a:pt x="78" y="191"/>
                  <a:pt x="76" y="191"/>
                </a:cubicBezTo>
                <a:cubicBezTo>
                  <a:pt x="76" y="192"/>
                  <a:pt x="76" y="192"/>
                  <a:pt x="76" y="193"/>
                </a:cubicBezTo>
                <a:cubicBezTo>
                  <a:pt x="75" y="193"/>
                  <a:pt x="74" y="193"/>
                  <a:pt x="74" y="194"/>
                </a:cubicBezTo>
                <a:cubicBezTo>
                  <a:pt x="73" y="192"/>
                  <a:pt x="74" y="191"/>
                  <a:pt x="72" y="190"/>
                </a:cubicBezTo>
                <a:cubicBezTo>
                  <a:pt x="72" y="190"/>
                  <a:pt x="73" y="190"/>
                  <a:pt x="73" y="189"/>
                </a:cubicBezTo>
                <a:cubicBezTo>
                  <a:pt x="73" y="189"/>
                  <a:pt x="73" y="188"/>
                  <a:pt x="73" y="188"/>
                </a:cubicBezTo>
                <a:cubicBezTo>
                  <a:pt x="73" y="187"/>
                  <a:pt x="73" y="187"/>
                  <a:pt x="73" y="186"/>
                </a:cubicBezTo>
                <a:cubicBezTo>
                  <a:pt x="72" y="185"/>
                  <a:pt x="72" y="185"/>
                  <a:pt x="72" y="184"/>
                </a:cubicBezTo>
                <a:cubicBezTo>
                  <a:pt x="72" y="184"/>
                  <a:pt x="72" y="183"/>
                  <a:pt x="71" y="182"/>
                </a:cubicBezTo>
                <a:cubicBezTo>
                  <a:pt x="71" y="182"/>
                  <a:pt x="71" y="182"/>
                  <a:pt x="71" y="181"/>
                </a:cubicBezTo>
                <a:cubicBezTo>
                  <a:pt x="71" y="182"/>
                  <a:pt x="71" y="182"/>
                  <a:pt x="72" y="183"/>
                </a:cubicBezTo>
                <a:cubicBezTo>
                  <a:pt x="72" y="184"/>
                  <a:pt x="72" y="184"/>
                  <a:pt x="72" y="185"/>
                </a:cubicBezTo>
                <a:cubicBezTo>
                  <a:pt x="72" y="185"/>
                  <a:pt x="72" y="186"/>
                  <a:pt x="72" y="187"/>
                </a:cubicBezTo>
                <a:cubicBezTo>
                  <a:pt x="72" y="187"/>
                  <a:pt x="72" y="188"/>
                  <a:pt x="72" y="189"/>
                </a:cubicBezTo>
                <a:cubicBezTo>
                  <a:pt x="71" y="189"/>
                  <a:pt x="71" y="188"/>
                  <a:pt x="71" y="187"/>
                </a:cubicBezTo>
                <a:cubicBezTo>
                  <a:pt x="71" y="186"/>
                  <a:pt x="71" y="185"/>
                  <a:pt x="71" y="184"/>
                </a:cubicBezTo>
                <a:cubicBezTo>
                  <a:pt x="70" y="183"/>
                  <a:pt x="69" y="181"/>
                  <a:pt x="69" y="179"/>
                </a:cubicBezTo>
                <a:cubicBezTo>
                  <a:pt x="68" y="178"/>
                  <a:pt x="67" y="176"/>
                  <a:pt x="67" y="175"/>
                </a:cubicBezTo>
                <a:cubicBezTo>
                  <a:pt x="66" y="173"/>
                  <a:pt x="67" y="171"/>
                  <a:pt x="66" y="170"/>
                </a:cubicBezTo>
                <a:cubicBezTo>
                  <a:pt x="65" y="168"/>
                  <a:pt x="65" y="167"/>
                  <a:pt x="64" y="165"/>
                </a:cubicBezTo>
                <a:cubicBezTo>
                  <a:pt x="64" y="163"/>
                  <a:pt x="64" y="161"/>
                  <a:pt x="64" y="159"/>
                </a:cubicBezTo>
                <a:cubicBezTo>
                  <a:pt x="64" y="157"/>
                  <a:pt x="64" y="155"/>
                  <a:pt x="64" y="153"/>
                </a:cubicBezTo>
                <a:cubicBezTo>
                  <a:pt x="63" y="149"/>
                  <a:pt x="61" y="145"/>
                  <a:pt x="61" y="141"/>
                </a:cubicBezTo>
                <a:cubicBezTo>
                  <a:pt x="61" y="142"/>
                  <a:pt x="62" y="142"/>
                  <a:pt x="62" y="143"/>
                </a:cubicBezTo>
                <a:cubicBezTo>
                  <a:pt x="62" y="143"/>
                  <a:pt x="63" y="144"/>
                  <a:pt x="63" y="144"/>
                </a:cubicBezTo>
                <a:cubicBezTo>
                  <a:pt x="63" y="145"/>
                  <a:pt x="64" y="146"/>
                  <a:pt x="64" y="147"/>
                </a:cubicBezTo>
                <a:cubicBezTo>
                  <a:pt x="64" y="148"/>
                  <a:pt x="65" y="150"/>
                  <a:pt x="65" y="151"/>
                </a:cubicBezTo>
                <a:cubicBezTo>
                  <a:pt x="66" y="152"/>
                  <a:pt x="65" y="153"/>
                  <a:pt x="66" y="154"/>
                </a:cubicBezTo>
                <a:cubicBezTo>
                  <a:pt x="66" y="156"/>
                  <a:pt x="68" y="155"/>
                  <a:pt x="68" y="157"/>
                </a:cubicBezTo>
                <a:cubicBezTo>
                  <a:pt x="68" y="158"/>
                  <a:pt x="67" y="159"/>
                  <a:pt x="67" y="159"/>
                </a:cubicBezTo>
                <a:cubicBezTo>
                  <a:pt x="66" y="161"/>
                  <a:pt x="66" y="162"/>
                  <a:pt x="66" y="163"/>
                </a:cubicBezTo>
                <a:cubicBezTo>
                  <a:pt x="66" y="165"/>
                  <a:pt x="68" y="165"/>
                  <a:pt x="69" y="165"/>
                </a:cubicBezTo>
                <a:cubicBezTo>
                  <a:pt x="71" y="165"/>
                  <a:pt x="72" y="166"/>
                  <a:pt x="74" y="166"/>
                </a:cubicBezTo>
                <a:cubicBezTo>
                  <a:pt x="74" y="164"/>
                  <a:pt x="73" y="163"/>
                  <a:pt x="71" y="162"/>
                </a:cubicBezTo>
                <a:cubicBezTo>
                  <a:pt x="71" y="163"/>
                  <a:pt x="71" y="163"/>
                  <a:pt x="71" y="163"/>
                </a:cubicBezTo>
                <a:cubicBezTo>
                  <a:pt x="71" y="163"/>
                  <a:pt x="70" y="163"/>
                  <a:pt x="69" y="163"/>
                </a:cubicBezTo>
                <a:cubicBezTo>
                  <a:pt x="69" y="161"/>
                  <a:pt x="69" y="158"/>
                  <a:pt x="69" y="155"/>
                </a:cubicBezTo>
                <a:cubicBezTo>
                  <a:pt x="69" y="154"/>
                  <a:pt x="68" y="154"/>
                  <a:pt x="68" y="152"/>
                </a:cubicBezTo>
                <a:cubicBezTo>
                  <a:pt x="68" y="151"/>
                  <a:pt x="68" y="150"/>
                  <a:pt x="68" y="149"/>
                </a:cubicBezTo>
                <a:cubicBezTo>
                  <a:pt x="68" y="147"/>
                  <a:pt x="67" y="147"/>
                  <a:pt x="66" y="146"/>
                </a:cubicBezTo>
                <a:cubicBezTo>
                  <a:pt x="65" y="145"/>
                  <a:pt x="65" y="144"/>
                  <a:pt x="64" y="143"/>
                </a:cubicBezTo>
                <a:cubicBezTo>
                  <a:pt x="63" y="142"/>
                  <a:pt x="62" y="141"/>
                  <a:pt x="61" y="140"/>
                </a:cubicBezTo>
                <a:cubicBezTo>
                  <a:pt x="60" y="139"/>
                  <a:pt x="60" y="138"/>
                  <a:pt x="60" y="136"/>
                </a:cubicBezTo>
                <a:cubicBezTo>
                  <a:pt x="60" y="136"/>
                  <a:pt x="60" y="135"/>
                  <a:pt x="59" y="134"/>
                </a:cubicBezTo>
                <a:cubicBezTo>
                  <a:pt x="60" y="134"/>
                  <a:pt x="60" y="134"/>
                  <a:pt x="60" y="134"/>
                </a:cubicBezTo>
                <a:cubicBezTo>
                  <a:pt x="60" y="133"/>
                  <a:pt x="60" y="131"/>
                  <a:pt x="61" y="132"/>
                </a:cubicBezTo>
                <a:cubicBezTo>
                  <a:pt x="61" y="132"/>
                  <a:pt x="61" y="132"/>
                  <a:pt x="61" y="132"/>
                </a:cubicBezTo>
                <a:cubicBezTo>
                  <a:pt x="62" y="132"/>
                  <a:pt x="62" y="134"/>
                  <a:pt x="63" y="133"/>
                </a:cubicBezTo>
                <a:cubicBezTo>
                  <a:pt x="62" y="134"/>
                  <a:pt x="61" y="129"/>
                  <a:pt x="60" y="128"/>
                </a:cubicBezTo>
                <a:cubicBezTo>
                  <a:pt x="60" y="129"/>
                  <a:pt x="61" y="130"/>
                  <a:pt x="61" y="131"/>
                </a:cubicBezTo>
                <a:cubicBezTo>
                  <a:pt x="60" y="131"/>
                  <a:pt x="59" y="130"/>
                  <a:pt x="58" y="131"/>
                </a:cubicBezTo>
                <a:cubicBezTo>
                  <a:pt x="58" y="130"/>
                  <a:pt x="58" y="128"/>
                  <a:pt x="58" y="127"/>
                </a:cubicBezTo>
                <a:cubicBezTo>
                  <a:pt x="57" y="126"/>
                  <a:pt x="57" y="126"/>
                  <a:pt x="57" y="126"/>
                </a:cubicBezTo>
                <a:cubicBezTo>
                  <a:pt x="57" y="125"/>
                  <a:pt x="57" y="125"/>
                  <a:pt x="57" y="125"/>
                </a:cubicBezTo>
                <a:cubicBezTo>
                  <a:pt x="57" y="124"/>
                  <a:pt x="57" y="123"/>
                  <a:pt x="57" y="123"/>
                </a:cubicBezTo>
                <a:cubicBezTo>
                  <a:pt x="57" y="122"/>
                  <a:pt x="56" y="122"/>
                  <a:pt x="56" y="121"/>
                </a:cubicBezTo>
                <a:cubicBezTo>
                  <a:pt x="56" y="120"/>
                  <a:pt x="56" y="120"/>
                  <a:pt x="55" y="119"/>
                </a:cubicBezTo>
                <a:cubicBezTo>
                  <a:pt x="55" y="118"/>
                  <a:pt x="54" y="117"/>
                  <a:pt x="54" y="115"/>
                </a:cubicBezTo>
                <a:cubicBezTo>
                  <a:pt x="55" y="115"/>
                  <a:pt x="55" y="115"/>
                  <a:pt x="55" y="115"/>
                </a:cubicBezTo>
                <a:cubicBezTo>
                  <a:pt x="55" y="117"/>
                  <a:pt x="55" y="117"/>
                  <a:pt x="57" y="117"/>
                </a:cubicBezTo>
                <a:cubicBezTo>
                  <a:pt x="56" y="117"/>
                  <a:pt x="56" y="115"/>
                  <a:pt x="55" y="115"/>
                </a:cubicBezTo>
                <a:cubicBezTo>
                  <a:pt x="55" y="114"/>
                  <a:pt x="54" y="114"/>
                  <a:pt x="54" y="115"/>
                </a:cubicBezTo>
                <a:cubicBezTo>
                  <a:pt x="52" y="115"/>
                  <a:pt x="52" y="113"/>
                  <a:pt x="52" y="113"/>
                </a:cubicBezTo>
                <a:cubicBezTo>
                  <a:pt x="52" y="112"/>
                  <a:pt x="52" y="111"/>
                  <a:pt x="51" y="111"/>
                </a:cubicBezTo>
                <a:cubicBezTo>
                  <a:pt x="51" y="110"/>
                  <a:pt x="50" y="108"/>
                  <a:pt x="49" y="108"/>
                </a:cubicBezTo>
                <a:cubicBezTo>
                  <a:pt x="49" y="107"/>
                  <a:pt x="49" y="107"/>
                  <a:pt x="49" y="106"/>
                </a:cubicBezTo>
                <a:cubicBezTo>
                  <a:pt x="49" y="106"/>
                  <a:pt x="50" y="106"/>
                  <a:pt x="51" y="106"/>
                </a:cubicBezTo>
                <a:cubicBezTo>
                  <a:pt x="51" y="106"/>
                  <a:pt x="50" y="105"/>
                  <a:pt x="50" y="104"/>
                </a:cubicBezTo>
                <a:cubicBezTo>
                  <a:pt x="51" y="104"/>
                  <a:pt x="51" y="104"/>
                  <a:pt x="51" y="103"/>
                </a:cubicBezTo>
                <a:cubicBezTo>
                  <a:pt x="51" y="102"/>
                  <a:pt x="50" y="102"/>
                  <a:pt x="50" y="102"/>
                </a:cubicBezTo>
                <a:cubicBezTo>
                  <a:pt x="49" y="102"/>
                  <a:pt x="49" y="102"/>
                  <a:pt x="49" y="102"/>
                </a:cubicBezTo>
                <a:cubicBezTo>
                  <a:pt x="49" y="102"/>
                  <a:pt x="49" y="103"/>
                  <a:pt x="49" y="103"/>
                </a:cubicBezTo>
                <a:cubicBezTo>
                  <a:pt x="49" y="103"/>
                  <a:pt x="49" y="103"/>
                  <a:pt x="49" y="103"/>
                </a:cubicBezTo>
                <a:cubicBezTo>
                  <a:pt x="48" y="104"/>
                  <a:pt x="48" y="105"/>
                  <a:pt x="48" y="105"/>
                </a:cubicBezTo>
                <a:cubicBezTo>
                  <a:pt x="48" y="105"/>
                  <a:pt x="48" y="103"/>
                  <a:pt x="48" y="102"/>
                </a:cubicBezTo>
                <a:cubicBezTo>
                  <a:pt x="48" y="101"/>
                  <a:pt x="47" y="100"/>
                  <a:pt x="47" y="99"/>
                </a:cubicBezTo>
                <a:cubicBezTo>
                  <a:pt x="47" y="98"/>
                  <a:pt x="47" y="96"/>
                  <a:pt x="47" y="95"/>
                </a:cubicBezTo>
                <a:cubicBezTo>
                  <a:pt x="46" y="94"/>
                  <a:pt x="46" y="93"/>
                  <a:pt x="45" y="92"/>
                </a:cubicBezTo>
                <a:cubicBezTo>
                  <a:pt x="45" y="91"/>
                  <a:pt x="45" y="90"/>
                  <a:pt x="45" y="89"/>
                </a:cubicBezTo>
                <a:cubicBezTo>
                  <a:pt x="45" y="88"/>
                  <a:pt x="45" y="87"/>
                  <a:pt x="44" y="86"/>
                </a:cubicBezTo>
                <a:cubicBezTo>
                  <a:pt x="44" y="85"/>
                  <a:pt x="43" y="83"/>
                  <a:pt x="43" y="83"/>
                </a:cubicBezTo>
                <a:cubicBezTo>
                  <a:pt x="43" y="81"/>
                  <a:pt x="45" y="82"/>
                  <a:pt x="45" y="80"/>
                </a:cubicBezTo>
                <a:cubicBezTo>
                  <a:pt x="44" y="80"/>
                  <a:pt x="43" y="80"/>
                  <a:pt x="43" y="81"/>
                </a:cubicBezTo>
                <a:cubicBezTo>
                  <a:pt x="42" y="81"/>
                  <a:pt x="42" y="81"/>
                  <a:pt x="42" y="81"/>
                </a:cubicBezTo>
                <a:cubicBezTo>
                  <a:pt x="42" y="79"/>
                  <a:pt x="41" y="78"/>
                  <a:pt x="41" y="77"/>
                </a:cubicBezTo>
                <a:cubicBezTo>
                  <a:pt x="41" y="76"/>
                  <a:pt x="41" y="75"/>
                  <a:pt x="41" y="75"/>
                </a:cubicBezTo>
                <a:cubicBezTo>
                  <a:pt x="41" y="74"/>
                  <a:pt x="40" y="74"/>
                  <a:pt x="40" y="73"/>
                </a:cubicBezTo>
                <a:cubicBezTo>
                  <a:pt x="41" y="73"/>
                  <a:pt x="42" y="73"/>
                  <a:pt x="43" y="73"/>
                </a:cubicBezTo>
                <a:cubicBezTo>
                  <a:pt x="43" y="72"/>
                  <a:pt x="40" y="73"/>
                  <a:pt x="39" y="72"/>
                </a:cubicBezTo>
                <a:cubicBezTo>
                  <a:pt x="39" y="72"/>
                  <a:pt x="39" y="71"/>
                  <a:pt x="38" y="70"/>
                </a:cubicBezTo>
                <a:cubicBezTo>
                  <a:pt x="38" y="70"/>
                  <a:pt x="37" y="69"/>
                  <a:pt x="37" y="69"/>
                </a:cubicBezTo>
                <a:cubicBezTo>
                  <a:pt x="36" y="68"/>
                  <a:pt x="37" y="68"/>
                  <a:pt x="35" y="68"/>
                </a:cubicBezTo>
                <a:cubicBezTo>
                  <a:pt x="35" y="68"/>
                  <a:pt x="34" y="67"/>
                  <a:pt x="34" y="67"/>
                </a:cubicBezTo>
                <a:cubicBezTo>
                  <a:pt x="34" y="66"/>
                  <a:pt x="34" y="65"/>
                  <a:pt x="34" y="65"/>
                </a:cubicBezTo>
                <a:cubicBezTo>
                  <a:pt x="34" y="64"/>
                  <a:pt x="33" y="63"/>
                  <a:pt x="33" y="62"/>
                </a:cubicBezTo>
                <a:cubicBezTo>
                  <a:pt x="33" y="62"/>
                  <a:pt x="34" y="62"/>
                  <a:pt x="35" y="62"/>
                </a:cubicBezTo>
                <a:cubicBezTo>
                  <a:pt x="35" y="62"/>
                  <a:pt x="35" y="62"/>
                  <a:pt x="35" y="62"/>
                </a:cubicBezTo>
                <a:cubicBezTo>
                  <a:pt x="33" y="62"/>
                  <a:pt x="33" y="60"/>
                  <a:pt x="33" y="60"/>
                </a:cubicBezTo>
                <a:cubicBezTo>
                  <a:pt x="32" y="58"/>
                  <a:pt x="33" y="58"/>
                  <a:pt x="32" y="56"/>
                </a:cubicBezTo>
                <a:cubicBezTo>
                  <a:pt x="32" y="55"/>
                  <a:pt x="30" y="54"/>
                  <a:pt x="30" y="54"/>
                </a:cubicBezTo>
                <a:cubicBezTo>
                  <a:pt x="29" y="53"/>
                  <a:pt x="28" y="52"/>
                  <a:pt x="28" y="51"/>
                </a:cubicBezTo>
                <a:cubicBezTo>
                  <a:pt x="27" y="51"/>
                  <a:pt x="26" y="50"/>
                  <a:pt x="26" y="50"/>
                </a:cubicBezTo>
                <a:cubicBezTo>
                  <a:pt x="25" y="49"/>
                  <a:pt x="24" y="49"/>
                  <a:pt x="22" y="48"/>
                </a:cubicBezTo>
                <a:cubicBezTo>
                  <a:pt x="21" y="47"/>
                  <a:pt x="22" y="47"/>
                  <a:pt x="21" y="45"/>
                </a:cubicBezTo>
                <a:cubicBezTo>
                  <a:pt x="21" y="45"/>
                  <a:pt x="19" y="44"/>
                  <a:pt x="20" y="43"/>
                </a:cubicBezTo>
                <a:cubicBezTo>
                  <a:pt x="20" y="43"/>
                  <a:pt x="21" y="43"/>
                  <a:pt x="22" y="43"/>
                </a:cubicBezTo>
                <a:cubicBezTo>
                  <a:pt x="21" y="43"/>
                  <a:pt x="17" y="40"/>
                  <a:pt x="17" y="40"/>
                </a:cubicBezTo>
                <a:cubicBezTo>
                  <a:pt x="18" y="40"/>
                  <a:pt x="18" y="39"/>
                  <a:pt x="18" y="39"/>
                </a:cubicBezTo>
                <a:cubicBezTo>
                  <a:pt x="18" y="38"/>
                  <a:pt x="16" y="39"/>
                  <a:pt x="16" y="39"/>
                </a:cubicBezTo>
                <a:cubicBezTo>
                  <a:pt x="15" y="39"/>
                  <a:pt x="15" y="38"/>
                  <a:pt x="14" y="38"/>
                </a:cubicBezTo>
                <a:cubicBezTo>
                  <a:pt x="14" y="38"/>
                  <a:pt x="14" y="39"/>
                  <a:pt x="13" y="38"/>
                </a:cubicBezTo>
                <a:cubicBezTo>
                  <a:pt x="13" y="37"/>
                  <a:pt x="13" y="35"/>
                  <a:pt x="13" y="34"/>
                </a:cubicBezTo>
                <a:cubicBezTo>
                  <a:pt x="13" y="33"/>
                  <a:pt x="12" y="32"/>
                  <a:pt x="12" y="31"/>
                </a:cubicBezTo>
                <a:cubicBezTo>
                  <a:pt x="10" y="28"/>
                  <a:pt x="10" y="25"/>
                  <a:pt x="9" y="23"/>
                </a:cubicBezTo>
                <a:cubicBezTo>
                  <a:pt x="8" y="20"/>
                  <a:pt x="7" y="17"/>
                  <a:pt x="6" y="14"/>
                </a:cubicBezTo>
                <a:cubicBezTo>
                  <a:pt x="6" y="10"/>
                  <a:pt x="4" y="7"/>
                  <a:pt x="2" y="5"/>
                </a:cubicBezTo>
                <a:cubicBezTo>
                  <a:pt x="1" y="3"/>
                  <a:pt x="1" y="2"/>
                  <a:pt x="0" y="1"/>
                </a:cubicBezTo>
                <a:cubicBezTo>
                  <a:pt x="1" y="1"/>
                  <a:pt x="2" y="1"/>
                  <a:pt x="3" y="1"/>
                </a:cubicBezTo>
                <a:cubicBezTo>
                  <a:pt x="5" y="1"/>
                  <a:pt x="5" y="0"/>
                  <a:pt x="7" y="0"/>
                </a:cubicBezTo>
                <a:cubicBezTo>
                  <a:pt x="8" y="0"/>
                  <a:pt x="7" y="3"/>
                  <a:pt x="7" y="3"/>
                </a:cubicBezTo>
                <a:cubicBezTo>
                  <a:pt x="9" y="3"/>
                  <a:pt x="11" y="5"/>
                  <a:pt x="9" y="5"/>
                </a:cubicBezTo>
                <a:cubicBezTo>
                  <a:pt x="9" y="6"/>
                  <a:pt x="10" y="7"/>
                  <a:pt x="11" y="7"/>
                </a:cubicBezTo>
                <a:cubicBezTo>
                  <a:pt x="11" y="5"/>
                  <a:pt x="12" y="5"/>
                  <a:pt x="14" y="6"/>
                </a:cubicBezTo>
                <a:cubicBezTo>
                  <a:pt x="17" y="8"/>
                  <a:pt x="14" y="8"/>
                  <a:pt x="15" y="9"/>
                </a:cubicBezTo>
                <a:cubicBezTo>
                  <a:pt x="16" y="10"/>
                  <a:pt x="17" y="10"/>
                  <a:pt x="18" y="10"/>
                </a:cubicBezTo>
                <a:cubicBezTo>
                  <a:pt x="18" y="10"/>
                  <a:pt x="18" y="11"/>
                  <a:pt x="18" y="12"/>
                </a:cubicBezTo>
                <a:cubicBezTo>
                  <a:pt x="18" y="11"/>
                  <a:pt x="20" y="9"/>
                  <a:pt x="21" y="9"/>
                </a:cubicBezTo>
                <a:cubicBezTo>
                  <a:pt x="21" y="11"/>
                  <a:pt x="21" y="12"/>
                  <a:pt x="20" y="13"/>
                </a:cubicBezTo>
                <a:cubicBezTo>
                  <a:pt x="22" y="13"/>
                  <a:pt x="23" y="15"/>
                  <a:pt x="23" y="16"/>
                </a:cubicBezTo>
                <a:cubicBezTo>
                  <a:pt x="25" y="16"/>
                  <a:pt x="25" y="16"/>
                  <a:pt x="25" y="16"/>
                </a:cubicBezTo>
                <a:cubicBezTo>
                  <a:pt x="25" y="15"/>
                  <a:pt x="28" y="15"/>
                  <a:pt x="27" y="16"/>
                </a:cubicBezTo>
                <a:cubicBezTo>
                  <a:pt x="27" y="18"/>
                  <a:pt x="25" y="18"/>
                  <a:pt x="25" y="19"/>
                </a:cubicBezTo>
                <a:cubicBezTo>
                  <a:pt x="25" y="21"/>
                  <a:pt x="26" y="21"/>
                  <a:pt x="26" y="23"/>
                </a:cubicBezTo>
                <a:cubicBezTo>
                  <a:pt x="26" y="26"/>
                  <a:pt x="27" y="25"/>
                  <a:pt x="30" y="26"/>
                </a:cubicBezTo>
                <a:cubicBezTo>
                  <a:pt x="32" y="26"/>
                  <a:pt x="34" y="31"/>
                  <a:pt x="34" y="33"/>
                </a:cubicBezTo>
                <a:cubicBezTo>
                  <a:pt x="37" y="33"/>
                  <a:pt x="38" y="35"/>
                  <a:pt x="40" y="36"/>
                </a:cubicBezTo>
                <a:cubicBezTo>
                  <a:pt x="41" y="38"/>
                  <a:pt x="46" y="37"/>
                  <a:pt x="47" y="39"/>
                </a:cubicBezTo>
                <a:cubicBezTo>
                  <a:pt x="47" y="42"/>
                  <a:pt x="48" y="43"/>
                  <a:pt x="51" y="45"/>
                </a:cubicBezTo>
                <a:cubicBezTo>
                  <a:pt x="52" y="45"/>
                  <a:pt x="54" y="45"/>
                  <a:pt x="55" y="45"/>
                </a:cubicBezTo>
                <a:cubicBezTo>
                  <a:pt x="57" y="45"/>
                  <a:pt x="59" y="44"/>
                  <a:pt x="61" y="44"/>
                </a:cubicBezTo>
                <a:cubicBezTo>
                  <a:pt x="61" y="45"/>
                  <a:pt x="61" y="47"/>
                  <a:pt x="61" y="48"/>
                </a:cubicBezTo>
                <a:cubicBezTo>
                  <a:pt x="62" y="48"/>
                  <a:pt x="65" y="48"/>
                  <a:pt x="66" y="49"/>
                </a:cubicBezTo>
                <a:cubicBezTo>
                  <a:pt x="66" y="50"/>
                  <a:pt x="67" y="52"/>
                  <a:pt x="67" y="52"/>
                </a:cubicBezTo>
                <a:cubicBezTo>
                  <a:pt x="67" y="52"/>
                  <a:pt x="67" y="52"/>
                  <a:pt x="67" y="52"/>
                </a:cubicBezTo>
                <a:cubicBezTo>
                  <a:pt x="69" y="51"/>
                  <a:pt x="70" y="54"/>
                  <a:pt x="72" y="55"/>
                </a:cubicBezTo>
                <a:cubicBezTo>
                  <a:pt x="74" y="55"/>
                  <a:pt x="77" y="55"/>
                  <a:pt x="77" y="57"/>
                </a:cubicBezTo>
                <a:cubicBezTo>
                  <a:pt x="77" y="57"/>
                  <a:pt x="78" y="58"/>
                  <a:pt x="78" y="59"/>
                </a:cubicBezTo>
                <a:cubicBezTo>
                  <a:pt x="78" y="59"/>
                  <a:pt x="78" y="59"/>
                  <a:pt x="78" y="59"/>
                </a:cubicBezTo>
                <a:cubicBezTo>
                  <a:pt x="77" y="59"/>
                  <a:pt x="77" y="59"/>
                  <a:pt x="77" y="59"/>
                </a:cubicBezTo>
                <a:cubicBezTo>
                  <a:pt x="77" y="63"/>
                  <a:pt x="73" y="61"/>
                  <a:pt x="73" y="64"/>
                </a:cubicBezTo>
                <a:cubicBezTo>
                  <a:pt x="70" y="64"/>
                  <a:pt x="69" y="63"/>
                  <a:pt x="67" y="62"/>
                </a:cubicBezTo>
                <a:cubicBezTo>
                  <a:pt x="67" y="65"/>
                  <a:pt x="67" y="67"/>
                  <a:pt x="67" y="70"/>
                </a:cubicBezTo>
                <a:cubicBezTo>
                  <a:pt x="69" y="70"/>
                  <a:pt x="71" y="69"/>
                  <a:pt x="72" y="71"/>
                </a:cubicBezTo>
                <a:cubicBezTo>
                  <a:pt x="73" y="72"/>
                  <a:pt x="75" y="71"/>
                  <a:pt x="76" y="72"/>
                </a:cubicBezTo>
                <a:cubicBezTo>
                  <a:pt x="77" y="73"/>
                  <a:pt x="78" y="74"/>
                  <a:pt x="79" y="75"/>
                </a:cubicBezTo>
                <a:cubicBezTo>
                  <a:pt x="80" y="75"/>
                  <a:pt x="82" y="75"/>
                  <a:pt x="82" y="77"/>
                </a:cubicBezTo>
                <a:cubicBezTo>
                  <a:pt x="80" y="77"/>
                  <a:pt x="77" y="82"/>
                  <a:pt x="77" y="83"/>
                </a:cubicBezTo>
                <a:cubicBezTo>
                  <a:pt x="76" y="83"/>
                  <a:pt x="76" y="83"/>
                  <a:pt x="76" y="83"/>
                </a:cubicBezTo>
                <a:cubicBezTo>
                  <a:pt x="80" y="84"/>
                  <a:pt x="85" y="82"/>
                  <a:pt x="89" y="84"/>
                </a:cubicBezTo>
                <a:cubicBezTo>
                  <a:pt x="92" y="85"/>
                  <a:pt x="91" y="90"/>
                  <a:pt x="90" y="92"/>
                </a:cubicBezTo>
                <a:cubicBezTo>
                  <a:pt x="90" y="92"/>
                  <a:pt x="89" y="92"/>
                  <a:pt x="88" y="92"/>
                </a:cubicBezTo>
                <a:cubicBezTo>
                  <a:pt x="87" y="94"/>
                  <a:pt x="88" y="96"/>
                  <a:pt x="87" y="98"/>
                </a:cubicBezTo>
                <a:cubicBezTo>
                  <a:pt x="89" y="98"/>
                  <a:pt x="95" y="101"/>
                  <a:pt x="96" y="102"/>
                </a:cubicBezTo>
                <a:cubicBezTo>
                  <a:pt x="98" y="104"/>
                  <a:pt x="98" y="108"/>
                  <a:pt x="97" y="110"/>
                </a:cubicBezTo>
                <a:cubicBezTo>
                  <a:pt x="95" y="112"/>
                  <a:pt x="96" y="115"/>
                  <a:pt x="95" y="118"/>
                </a:cubicBezTo>
                <a:cubicBezTo>
                  <a:pt x="94" y="120"/>
                  <a:pt x="94" y="122"/>
                  <a:pt x="95" y="125"/>
                </a:cubicBezTo>
                <a:cubicBezTo>
                  <a:pt x="95" y="127"/>
                  <a:pt x="95" y="130"/>
                  <a:pt x="97" y="131"/>
                </a:cubicBezTo>
                <a:cubicBezTo>
                  <a:pt x="98" y="132"/>
                  <a:pt x="100" y="131"/>
                  <a:pt x="101" y="134"/>
                </a:cubicBezTo>
                <a:cubicBezTo>
                  <a:pt x="101" y="134"/>
                  <a:pt x="102" y="134"/>
                  <a:pt x="102" y="133"/>
                </a:cubicBezTo>
                <a:cubicBezTo>
                  <a:pt x="102" y="130"/>
                  <a:pt x="106" y="131"/>
                  <a:pt x="108" y="129"/>
                </a:cubicBezTo>
                <a:cubicBezTo>
                  <a:pt x="109" y="127"/>
                  <a:pt x="112" y="127"/>
                  <a:pt x="114" y="128"/>
                </a:cubicBezTo>
                <a:cubicBezTo>
                  <a:pt x="117" y="129"/>
                  <a:pt x="118" y="139"/>
                  <a:pt x="113" y="138"/>
                </a:cubicBezTo>
                <a:cubicBezTo>
                  <a:pt x="113" y="140"/>
                  <a:pt x="114" y="140"/>
                  <a:pt x="114" y="141"/>
                </a:cubicBezTo>
                <a:cubicBezTo>
                  <a:pt x="121" y="143"/>
                  <a:pt x="113" y="148"/>
                  <a:pt x="113" y="152"/>
                </a:cubicBezTo>
                <a:cubicBezTo>
                  <a:pt x="114" y="152"/>
                  <a:pt x="114" y="152"/>
                  <a:pt x="114" y="152"/>
                </a:cubicBezTo>
                <a:cubicBezTo>
                  <a:pt x="114" y="153"/>
                  <a:pt x="114" y="154"/>
                  <a:pt x="114" y="155"/>
                </a:cubicBezTo>
                <a:cubicBezTo>
                  <a:pt x="110" y="156"/>
                  <a:pt x="113" y="163"/>
                  <a:pt x="110" y="163"/>
                </a:cubicBezTo>
                <a:cubicBezTo>
                  <a:pt x="112" y="163"/>
                  <a:pt x="113" y="166"/>
                  <a:pt x="116" y="166"/>
                </a:cubicBezTo>
                <a:cubicBezTo>
                  <a:pt x="117" y="165"/>
                  <a:pt x="117" y="164"/>
                  <a:pt x="119" y="164"/>
                </a:cubicBezTo>
                <a:cubicBezTo>
                  <a:pt x="119" y="167"/>
                  <a:pt x="123" y="168"/>
                  <a:pt x="120" y="170"/>
                </a:cubicBezTo>
                <a:cubicBezTo>
                  <a:pt x="118" y="171"/>
                  <a:pt x="117" y="176"/>
                  <a:pt x="117" y="178"/>
                </a:cubicBezTo>
                <a:cubicBezTo>
                  <a:pt x="113" y="177"/>
                  <a:pt x="114" y="186"/>
                  <a:pt x="112" y="189"/>
                </a:cubicBezTo>
                <a:cubicBezTo>
                  <a:pt x="111" y="191"/>
                  <a:pt x="108" y="190"/>
                  <a:pt x="109" y="192"/>
                </a:cubicBezTo>
                <a:cubicBezTo>
                  <a:pt x="109" y="194"/>
                  <a:pt x="111" y="198"/>
                  <a:pt x="113" y="198"/>
                </a:cubicBezTo>
                <a:cubicBezTo>
                  <a:pt x="113" y="200"/>
                  <a:pt x="113" y="202"/>
                  <a:pt x="113" y="203"/>
                </a:cubicBezTo>
                <a:cubicBezTo>
                  <a:pt x="111" y="203"/>
                  <a:pt x="109" y="206"/>
                  <a:pt x="109" y="207"/>
                </a:cubicBezTo>
                <a:cubicBezTo>
                  <a:pt x="108" y="209"/>
                  <a:pt x="111" y="211"/>
                  <a:pt x="111" y="213"/>
                </a:cubicBezTo>
                <a:cubicBezTo>
                  <a:pt x="111" y="213"/>
                  <a:pt x="111" y="213"/>
                  <a:pt x="111" y="213"/>
                </a:cubicBezTo>
                <a:cubicBezTo>
                  <a:pt x="112" y="216"/>
                  <a:pt x="114" y="220"/>
                  <a:pt x="109" y="218"/>
                </a:cubicBezTo>
                <a:cubicBezTo>
                  <a:pt x="109" y="219"/>
                  <a:pt x="109" y="220"/>
                  <a:pt x="109" y="221"/>
                </a:cubicBezTo>
                <a:cubicBezTo>
                  <a:pt x="108" y="221"/>
                  <a:pt x="108" y="221"/>
                  <a:pt x="108" y="221"/>
                </a:cubicBezTo>
                <a:cubicBezTo>
                  <a:pt x="108" y="223"/>
                  <a:pt x="108" y="225"/>
                  <a:pt x="108" y="226"/>
                </a:cubicBezTo>
                <a:cubicBezTo>
                  <a:pt x="106" y="226"/>
                  <a:pt x="106" y="226"/>
                  <a:pt x="106" y="226"/>
                </a:cubicBezTo>
                <a:cubicBezTo>
                  <a:pt x="106" y="227"/>
                  <a:pt x="104" y="228"/>
                  <a:pt x="102" y="228"/>
                </a:cubicBezTo>
                <a:close/>
              </a:path>
            </a:pathLst>
          </a:custGeom>
          <a:solidFill>
            <a:schemeClr val="accent3"/>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0" name="Freeform 438">
            <a:extLst>
              <a:ext uri="{FF2B5EF4-FFF2-40B4-BE49-F238E27FC236}">
                <a16:creationId xmlns:a16="http://schemas.microsoft.com/office/drawing/2014/main" id="{830B6DCC-D243-4370-B546-6288E3240521}"/>
              </a:ext>
            </a:extLst>
          </p:cNvPr>
          <p:cNvSpPr>
            <a:spLocks/>
          </p:cNvSpPr>
          <p:nvPr/>
        </p:nvSpPr>
        <p:spPr bwMode="auto">
          <a:xfrm>
            <a:off x="1253259" y="2657444"/>
            <a:ext cx="333009" cy="360520"/>
          </a:xfrm>
          <a:custGeom>
            <a:avLst/>
            <a:gdLst>
              <a:gd name="T0" fmla="*/ 129 w 135"/>
              <a:gd name="T1" fmla="*/ 89 h 145"/>
              <a:gd name="T2" fmla="*/ 127 w 135"/>
              <a:gd name="T3" fmla="*/ 85 h 145"/>
              <a:gd name="T4" fmla="*/ 131 w 135"/>
              <a:gd name="T5" fmla="*/ 83 h 145"/>
              <a:gd name="T6" fmla="*/ 129 w 135"/>
              <a:gd name="T7" fmla="*/ 76 h 145"/>
              <a:gd name="T8" fmla="*/ 121 w 135"/>
              <a:gd name="T9" fmla="*/ 62 h 145"/>
              <a:gd name="T10" fmla="*/ 113 w 135"/>
              <a:gd name="T11" fmla="*/ 54 h 145"/>
              <a:gd name="T12" fmla="*/ 102 w 135"/>
              <a:gd name="T13" fmla="*/ 49 h 145"/>
              <a:gd name="T14" fmla="*/ 91 w 135"/>
              <a:gd name="T15" fmla="*/ 25 h 145"/>
              <a:gd name="T16" fmla="*/ 82 w 135"/>
              <a:gd name="T17" fmla="*/ 20 h 145"/>
              <a:gd name="T18" fmla="*/ 90 w 135"/>
              <a:gd name="T19" fmla="*/ 9 h 145"/>
              <a:gd name="T20" fmla="*/ 91 w 135"/>
              <a:gd name="T21" fmla="*/ 0 h 145"/>
              <a:gd name="T22" fmla="*/ 87 w 135"/>
              <a:gd name="T23" fmla="*/ 4 h 145"/>
              <a:gd name="T24" fmla="*/ 75 w 135"/>
              <a:gd name="T25" fmla="*/ 6 h 145"/>
              <a:gd name="T26" fmla="*/ 72 w 135"/>
              <a:gd name="T27" fmla="*/ 6 h 145"/>
              <a:gd name="T28" fmla="*/ 67 w 135"/>
              <a:gd name="T29" fmla="*/ 20 h 145"/>
              <a:gd name="T30" fmla="*/ 49 w 135"/>
              <a:gd name="T31" fmla="*/ 23 h 145"/>
              <a:gd name="T32" fmla="*/ 38 w 135"/>
              <a:gd name="T33" fmla="*/ 32 h 145"/>
              <a:gd name="T34" fmla="*/ 38 w 135"/>
              <a:gd name="T35" fmla="*/ 45 h 145"/>
              <a:gd name="T36" fmla="*/ 38 w 135"/>
              <a:gd name="T37" fmla="*/ 50 h 145"/>
              <a:gd name="T38" fmla="*/ 35 w 135"/>
              <a:gd name="T39" fmla="*/ 63 h 145"/>
              <a:gd name="T40" fmla="*/ 40 w 135"/>
              <a:gd name="T41" fmla="*/ 62 h 145"/>
              <a:gd name="T42" fmla="*/ 36 w 135"/>
              <a:gd name="T43" fmla="*/ 66 h 145"/>
              <a:gd name="T44" fmla="*/ 31 w 135"/>
              <a:gd name="T45" fmla="*/ 70 h 145"/>
              <a:gd name="T46" fmla="*/ 21 w 135"/>
              <a:gd name="T47" fmla="*/ 80 h 145"/>
              <a:gd name="T48" fmla="*/ 13 w 135"/>
              <a:gd name="T49" fmla="*/ 88 h 145"/>
              <a:gd name="T50" fmla="*/ 4 w 135"/>
              <a:gd name="T51" fmla="*/ 93 h 145"/>
              <a:gd name="T52" fmla="*/ 5 w 135"/>
              <a:gd name="T53" fmla="*/ 100 h 145"/>
              <a:gd name="T54" fmla="*/ 0 w 135"/>
              <a:gd name="T55" fmla="*/ 111 h 145"/>
              <a:gd name="T56" fmla="*/ 16 w 135"/>
              <a:gd name="T57" fmla="*/ 120 h 145"/>
              <a:gd name="T58" fmla="*/ 36 w 135"/>
              <a:gd name="T59" fmla="*/ 121 h 145"/>
              <a:gd name="T60" fmla="*/ 57 w 135"/>
              <a:gd name="T61" fmla="*/ 131 h 145"/>
              <a:gd name="T62" fmla="*/ 55 w 135"/>
              <a:gd name="T63" fmla="*/ 139 h 145"/>
              <a:gd name="T64" fmla="*/ 62 w 135"/>
              <a:gd name="T65" fmla="*/ 142 h 145"/>
              <a:gd name="T66" fmla="*/ 80 w 135"/>
              <a:gd name="T67" fmla="*/ 134 h 145"/>
              <a:gd name="T68" fmla="*/ 97 w 135"/>
              <a:gd name="T69" fmla="*/ 135 h 145"/>
              <a:gd name="T70" fmla="*/ 100 w 135"/>
              <a:gd name="T71" fmla="*/ 132 h 145"/>
              <a:gd name="T72" fmla="*/ 103 w 135"/>
              <a:gd name="T73" fmla="*/ 125 h 145"/>
              <a:gd name="T74" fmla="*/ 112 w 135"/>
              <a:gd name="T75" fmla="*/ 116 h 145"/>
              <a:gd name="T76" fmla="*/ 119 w 135"/>
              <a:gd name="T77" fmla="*/ 118 h 145"/>
              <a:gd name="T78" fmla="*/ 119 w 135"/>
              <a:gd name="T79" fmla="*/ 111 h 145"/>
              <a:gd name="T80" fmla="*/ 126 w 135"/>
              <a:gd name="T81" fmla="*/ 105 h 145"/>
              <a:gd name="T82" fmla="*/ 131 w 135"/>
              <a:gd name="T83" fmla="*/ 103 h 145"/>
              <a:gd name="T84" fmla="*/ 134 w 135"/>
              <a:gd name="T85" fmla="*/ 9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45">
                <a:moveTo>
                  <a:pt x="134" y="94"/>
                </a:moveTo>
                <a:cubicBezTo>
                  <a:pt x="132" y="92"/>
                  <a:pt x="130" y="93"/>
                  <a:pt x="129" y="90"/>
                </a:cubicBezTo>
                <a:cubicBezTo>
                  <a:pt x="129" y="89"/>
                  <a:pt x="129" y="89"/>
                  <a:pt x="129" y="89"/>
                </a:cubicBezTo>
                <a:cubicBezTo>
                  <a:pt x="129" y="89"/>
                  <a:pt x="128" y="89"/>
                  <a:pt x="128" y="89"/>
                </a:cubicBezTo>
                <a:cubicBezTo>
                  <a:pt x="127" y="87"/>
                  <a:pt x="127" y="87"/>
                  <a:pt x="127" y="87"/>
                </a:cubicBezTo>
                <a:cubicBezTo>
                  <a:pt x="126" y="87"/>
                  <a:pt x="127" y="86"/>
                  <a:pt x="127" y="85"/>
                </a:cubicBezTo>
                <a:cubicBezTo>
                  <a:pt x="126" y="85"/>
                  <a:pt x="125" y="84"/>
                  <a:pt x="126" y="83"/>
                </a:cubicBezTo>
                <a:cubicBezTo>
                  <a:pt x="126" y="82"/>
                  <a:pt x="128" y="83"/>
                  <a:pt x="130" y="83"/>
                </a:cubicBezTo>
                <a:cubicBezTo>
                  <a:pt x="130" y="83"/>
                  <a:pt x="130" y="83"/>
                  <a:pt x="131" y="83"/>
                </a:cubicBezTo>
                <a:cubicBezTo>
                  <a:pt x="131" y="82"/>
                  <a:pt x="131" y="82"/>
                  <a:pt x="131" y="82"/>
                </a:cubicBezTo>
                <a:cubicBezTo>
                  <a:pt x="131" y="81"/>
                  <a:pt x="130" y="80"/>
                  <a:pt x="129" y="79"/>
                </a:cubicBezTo>
                <a:cubicBezTo>
                  <a:pt x="129" y="78"/>
                  <a:pt x="129" y="77"/>
                  <a:pt x="129" y="76"/>
                </a:cubicBezTo>
                <a:cubicBezTo>
                  <a:pt x="127" y="75"/>
                  <a:pt x="123" y="75"/>
                  <a:pt x="121" y="72"/>
                </a:cubicBezTo>
                <a:cubicBezTo>
                  <a:pt x="120" y="70"/>
                  <a:pt x="121" y="69"/>
                  <a:pt x="122" y="67"/>
                </a:cubicBezTo>
                <a:cubicBezTo>
                  <a:pt x="122" y="66"/>
                  <a:pt x="121" y="63"/>
                  <a:pt x="121" y="62"/>
                </a:cubicBezTo>
                <a:cubicBezTo>
                  <a:pt x="121" y="61"/>
                  <a:pt x="121" y="61"/>
                  <a:pt x="121" y="61"/>
                </a:cubicBezTo>
                <a:cubicBezTo>
                  <a:pt x="121" y="58"/>
                  <a:pt x="119" y="60"/>
                  <a:pt x="117" y="59"/>
                </a:cubicBezTo>
                <a:cubicBezTo>
                  <a:pt x="115" y="59"/>
                  <a:pt x="114" y="55"/>
                  <a:pt x="113" y="54"/>
                </a:cubicBezTo>
                <a:cubicBezTo>
                  <a:pt x="111" y="51"/>
                  <a:pt x="110" y="51"/>
                  <a:pt x="109" y="54"/>
                </a:cubicBezTo>
                <a:cubicBezTo>
                  <a:pt x="109" y="57"/>
                  <a:pt x="105" y="56"/>
                  <a:pt x="102" y="56"/>
                </a:cubicBezTo>
                <a:cubicBezTo>
                  <a:pt x="102" y="54"/>
                  <a:pt x="103" y="51"/>
                  <a:pt x="102" y="49"/>
                </a:cubicBezTo>
                <a:cubicBezTo>
                  <a:pt x="101" y="47"/>
                  <a:pt x="100" y="45"/>
                  <a:pt x="98" y="43"/>
                </a:cubicBezTo>
                <a:cubicBezTo>
                  <a:pt x="97" y="42"/>
                  <a:pt x="89" y="32"/>
                  <a:pt x="96" y="33"/>
                </a:cubicBezTo>
                <a:cubicBezTo>
                  <a:pt x="96" y="32"/>
                  <a:pt x="92" y="26"/>
                  <a:pt x="91" y="25"/>
                </a:cubicBezTo>
                <a:cubicBezTo>
                  <a:pt x="90" y="24"/>
                  <a:pt x="87" y="23"/>
                  <a:pt x="85" y="22"/>
                </a:cubicBezTo>
                <a:cubicBezTo>
                  <a:pt x="83" y="21"/>
                  <a:pt x="81" y="22"/>
                  <a:pt x="79" y="21"/>
                </a:cubicBezTo>
                <a:cubicBezTo>
                  <a:pt x="80" y="20"/>
                  <a:pt x="81" y="20"/>
                  <a:pt x="82" y="20"/>
                </a:cubicBezTo>
                <a:cubicBezTo>
                  <a:pt x="84" y="19"/>
                  <a:pt x="83" y="17"/>
                  <a:pt x="83" y="15"/>
                </a:cubicBezTo>
                <a:cubicBezTo>
                  <a:pt x="82" y="12"/>
                  <a:pt x="86" y="13"/>
                  <a:pt x="88" y="13"/>
                </a:cubicBezTo>
                <a:cubicBezTo>
                  <a:pt x="90" y="9"/>
                  <a:pt x="90" y="9"/>
                  <a:pt x="90" y="9"/>
                </a:cubicBezTo>
                <a:cubicBezTo>
                  <a:pt x="91" y="7"/>
                  <a:pt x="93" y="7"/>
                  <a:pt x="95" y="7"/>
                </a:cubicBezTo>
                <a:cubicBezTo>
                  <a:pt x="95" y="5"/>
                  <a:pt x="93" y="4"/>
                  <a:pt x="92" y="2"/>
                </a:cubicBezTo>
                <a:cubicBezTo>
                  <a:pt x="91" y="2"/>
                  <a:pt x="91" y="1"/>
                  <a:pt x="91" y="0"/>
                </a:cubicBezTo>
                <a:cubicBezTo>
                  <a:pt x="91" y="0"/>
                  <a:pt x="91" y="0"/>
                  <a:pt x="91" y="0"/>
                </a:cubicBezTo>
                <a:cubicBezTo>
                  <a:pt x="90" y="0"/>
                  <a:pt x="90" y="0"/>
                  <a:pt x="89" y="2"/>
                </a:cubicBezTo>
                <a:cubicBezTo>
                  <a:pt x="89" y="3"/>
                  <a:pt x="89" y="4"/>
                  <a:pt x="87" y="4"/>
                </a:cubicBezTo>
                <a:cubicBezTo>
                  <a:pt x="85" y="4"/>
                  <a:pt x="84" y="4"/>
                  <a:pt x="82" y="4"/>
                </a:cubicBezTo>
                <a:cubicBezTo>
                  <a:pt x="82" y="6"/>
                  <a:pt x="80" y="5"/>
                  <a:pt x="80" y="7"/>
                </a:cubicBezTo>
                <a:cubicBezTo>
                  <a:pt x="78" y="8"/>
                  <a:pt x="77" y="7"/>
                  <a:pt x="75" y="6"/>
                </a:cubicBezTo>
                <a:cubicBezTo>
                  <a:pt x="74" y="6"/>
                  <a:pt x="73" y="6"/>
                  <a:pt x="72" y="6"/>
                </a:cubicBezTo>
                <a:cubicBezTo>
                  <a:pt x="72" y="6"/>
                  <a:pt x="72" y="6"/>
                  <a:pt x="72" y="6"/>
                </a:cubicBezTo>
                <a:cubicBezTo>
                  <a:pt x="72" y="6"/>
                  <a:pt x="72" y="6"/>
                  <a:pt x="72" y="6"/>
                </a:cubicBezTo>
                <a:cubicBezTo>
                  <a:pt x="73" y="9"/>
                  <a:pt x="71" y="12"/>
                  <a:pt x="71" y="14"/>
                </a:cubicBezTo>
                <a:cubicBezTo>
                  <a:pt x="71" y="16"/>
                  <a:pt x="71" y="16"/>
                  <a:pt x="69" y="17"/>
                </a:cubicBezTo>
                <a:cubicBezTo>
                  <a:pt x="68" y="18"/>
                  <a:pt x="67" y="18"/>
                  <a:pt x="67" y="20"/>
                </a:cubicBezTo>
                <a:cubicBezTo>
                  <a:pt x="64" y="20"/>
                  <a:pt x="60" y="20"/>
                  <a:pt x="57" y="20"/>
                </a:cubicBezTo>
                <a:cubicBezTo>
                  <a:pt x="55" y="20"/>
                  <a:pt x="53" y="19"/>
                  <a:pt x="52" y="20"/>
                </a:cubicBezTo>
                <a:cubicBezTo>
                  <a:pt x="51" y="21"/>
                  <a:pt x="51" y="23"/>
                  <a:pt x="49" y="23"/>
                </a:cubicBezTo>
                <a:cubicBezTo>
                  <a:pt x="49" y="27"/>
                  <a:pt x="46" y="25"/>
                  <a:pt x="43" y="26"/>
                </a:cubicBezTo>
                <a:cubicBezTo>
                  <a:pt x="42" y="26"/>
                  <a:pt x="41" y="27"/>
                  <a:pt x="40" y="29"/>
                </a:cubicBezTo>
                <a:cubicBezTo>
                  <a:pt x="38" y="30"/>
                  <a:pt x="39" y="30"/>
                  <a:pt x="38" y="32"/>
                </a:cubicBezTo>
                <a:cubicBezTo>
                  <a:pt x="37" y="34"/>
                  <a:pt x="36" y="32"/>
                  <a:pt x="35" y="33"/>
                </a:cubicBezTo>
                <a:cubicBezTo>
                  <a:pt x="34" y="34"/>
                  <a:pt x="36" y="37"/>
                  <a:pt x="37" y="38"/>
                </a:cubicBezTo>
                <a:cubicBezTo>
                  <a:pt x="38" y="40"/>
                  <a:pt x="39" y="42"/>
                  <a:pt x="38" y="45"/>
                </a:cubicBezTo>
                <a:cubicBezTo>
                  <a:pt x="38" y="45"/>
                  <a:pt x="37" y="45"/>
                  <a:pt x="37" y="45"/>
                </a:cubicBezTo>
                <a:cubicBezTo>
                  <a:pt x="39" y="45"/>
                  <a:pt x="40" y="46"/>
                  <a:pt x="40" y="49"/>
                </a:cubicBezTo>
                <a:cubicBezTo>
                  <a:pt x="40" y="49"/>
                  <a:pt x="38" y="49"/>
                  <a:pt x="38" y="50"/>
                </a:cubicBezTo>
                <a:cubicBezTo>
                  <a:pt x="37" y="50"/>
                  <a:pt x="36" y="52"/>
                  <a:pt x="35" y="53"/>
                </a:cubicBezTo>
                <a:cubicBezTo>
                  <a:pt x="35" y="54"/>
                  <a:pt x="32" y="63"/>
                  <a:pt x="35" y="63"/>
                </a:cubicBezTo>
                <a:cubicBezTo>
                  <a:pt x="35" y="63"/>
                  <a:pt x="35" y="63"/>
                  <a:pt x="35" y="63"/>
                </a:cubicBezTo>
                <a:cubicBezTo>
                  <a:pt x="35" y="64"/>
                  <a:pt x="36" y="64"/>
                  <a:pt x="37" y="64"/>
                </a:cubicBezTo>
                <a:cubicBezTo>
                  <a:pt x="37" y="62"/>
                  <a:pt x="37" y="62"/>
                  <a:pt x="37" y="62"/>
                </a:cubicBezTo>
                <a:cubicBezTo>
                  <a:pt x="38" y="62"/>
                  <a:pt x="39" y="62"/>
                  <a:pt x="40" y="62"/>
                </a:cubicBezTo>
                <a:cubicBezTo>
                  <a:pt x="40" y="63"/>
                  <a:pt x="41" y="64"/>
                  <a:pt x="40" y="65"/>
                </a:cubicBezTo>
                <a:cubicBezTo>
                  <a:pt x="40" y="65"/>
                  <a:pt x="38" y="65"/>
                  <a:pt x="38" y="65"/>
                </a:cubicBezTo>
                <a:cubicBezTo>
                  <a:pt x="37" y="65"/>
                  <a:pt x="37" y="66"/>
                  <a:pt x="36" y="66"/>
                </a:cubicBezTo>
                <a:cubicBezTo>
                  <a:pt x="35" y="67"/>
                  <a:pt x="35" y="67"/>
                  <a:pt x="34" y="67"/>
                </a:cubicBezTo>
                <a:cubicBezTo>
                  <a:pt x="33" y="68"/>
                  <a:pt x="33" y="68"/>
                  <a:pt x="33" y="69"/>
                </a:cubicBezTo>
                <a:cubicBezTo>
                  <a:pt x="32" y="69"/>
                  <a:pt x="32" y="70"/>
                  <a:pt x="31" y="70"/>
                </a:cubicBezTo>
                <a:cubicBezTo>
                  <a:pt x="30" y="72"/>
                  <a:pt x="29" y="73"/>
                  <a:pt x="27" y="74"/>
                </a:cubicBezTo>
                <a:cubicBezTo>
                  <a:pt x="26" y="76"/>
                  <a:pt x="25" y="76"/>
                  <a:pt x="23" y="77"/>
                </a:cubicBezTo>
                <a:cubicBezTo>
                  <a:pt x="20" y="77"/>
                  <a:pt x="22" y="79"/>
                  <a:pt x="21" y="80"/>
                </a:cubicBezTo>
                <a:cubicBezTo>
                  <a:pt x="20" y="82"/>
                  <a:pt x="18" y="82"/>
                  <a:pt x="17" y="83"/>
                </a:cubicBezTo>
                <a:cubicBezTo>
                  <a:pt x="16" y="85"/>
                  <a:pt x="16" y="85"/>
                  <a:pt x="13" y="85"/>
                </a:cubicBezTo>
                <a:cubicBezTo>
                  <a:pt x="13" y="86"/>
                  <a:pt x="13" y="87"/>
                  <a:pt x="13" y="88"/>
                </a:cubicBezTo>
                <a:cubicBezTo>
                  <a:pt x="12" y="88"/>
                  <a:pt x="11" y="91"/>
                  <a:pt x="10" y="91"/>
                </a:cubicBezTo>
                <a:cubicBezTo>
                  <a:pt x="9" y="91"/>
                  <a:pt x="9" y="91"/>
                  <a:pt x="9" y="91"/>
                </a:cubicBezTo>
                <a:cubicBezTo>
                  <a:pt x="8" y="91"/>
                  <a:pt x="4" y="91"/>
                  <a:pt x="4" y="93"/>
                </a:cubicBezTo>
                <a:cubicBezTo>
                  <a:pt x="6" y="93"/>
                  <a:pt x="7" y="94"/>
                  <a:pt x="6" y="95"/>
                </a:cubicBezTo>
                <a:cubicBezTo>
                  <a:pt x="6" y="95"/>
                  <a:pt x="3" y="96"/>
                  <a:pt x="3" y="96"/>
                </a:cubicBezTo>
                <a:cubicBezTo>
                  <a:pt x="1" y="98"/>
                  <a:pt x="3" y="99"/>
                  <a:pt x="5" y="100"/>
                </a:cubicBezTo>
                <a:cubicBezTo>
                  <a:pt x="5" y="103"/>
                  <a:pt x="4" y="105"/>
                  <a:pt x="4" y="107"/>
                </a:cubicBezTo>
                <a:cubicBezTo>
                  <a:pt x="3" y="109"/>
                  <a:pt x="4" y="110"/>
                  <a:pt x="2" y="110"/>
                </a:cubicBezTo>
                <a:cubicBezTo>
                  <a:pt x="1" y="111"/>
                  <a:pt x="1" y="111"/>
                  <a:pt x="0" y="111"/>
                </a:cubicBezTo>
                <a:cubicBezTo>
                  <a:pt x="2" y="112"/>
                  <a:pt x="3" y="113"/>
                  <a:pt x="3" y="117"/>
                </a:cubicBezTo>
                <a:cubicBezTo>
                  <a:pt x="2" y="119"/>
                  <a:pt x="6" y="118"/>
                  <a:pt x="8" y="118"/>
                </a:cubicBezTo>
                <a:cubicBezTo>
                  <a:pt x="11" y="118"/>
                  <a:pt x="13" y="119"/>
                  <a:pt x="16" y="120"/>
                </a:cubicBezTo>
                <a:cubicBezTo>
                  <a:pt x="19" y="121"/>
                  <a:pt x="22" y="120"/>
                  <a:pt x="25" y="121"/>
                </a:cubicBezTo>
                <a:cubicBezTo>
                  <a:pt x="29" y="121"/>
                  <a:pt x="31" y="124"/>
                  <a:pt x="34" y="123"/>
                </a:cubicBezTo>
                <a:cubicBezTo>
                  <a:pt x="35" y="122"/>
                  <a:pt x="36" y="122"/>
                  <a:pt x="36" y="121"/>
                </a:cubicBezTo>
                <a:cubicBezTo>
                  <a:pt x="40" y="121"/>
                  <a:pt x="46" y="121"/>
                  <a:pt x="48" y="124"/>
                </a:cubicBezTo>
                <a:cubicBezTo>
                  <a:pt x="52" y="130"/>
                  <a:pt x="52" y="123"/>
                  <a:pt x="54" y="126"/>
                </a:cubicBezTo>
                <a:cubicBezTo>
                  <a:pt x="54" y="126"/>
                  <a:pt x="53" y="135"/>
                  <a:pt x="57" y="131"/>
                </a:cubicBezTo>
                <a:cubicBezTo>
                  <a:pt x="57" y="131"/>
                  <a:pt x="56" y="130"/>
                  <a:pt x="58" y="130"/>
                </a:cubicBezTo>
                <a:cubicBezTo>
                  <a:pt x="59" y="130"/>
                  <a:pt x="59" y="132"/>
                  <a:pt x="58" y="133"/>
                </a:cubicBezTo>
                <a:cubicBezTo>
                  <a:pt x="58" y="135"/>
                  <a:pt x="55" y="136"/>
                  <a:pt x="55" y="139"/>
                </a:cubicBezTo>
                <a:cubicBezTo>
                  <a:pt x="55" y="139"/>
                  <a:pt x="57" y="140"/>
                  <a:pt x="57" y="141"/>
                </a:cubicBezTo>
                <a:cubicBezTo>
                  <a:pt x="58" y="142"/>
                  <a:pt x="59" y="143"/>
                  <a:pt x="59" y="145"/>
                </a:cubicBezTo>
                <a:cubicBezTo>
                  <a:pt x="62" y="145"/>
                  <a:pt x="62" y="144"/>
                  <a:pt x="62" y="142"/>
                </a:cubicBezTo>
                <a:cubicBezTo>
                  <a:pt x="62" y="139"/>
                  <a:pt x="65" y="138"/>
                  <a:pt x="66" y="136"/>
                </a:cubicBezTo>
                <a:cubicBezTo>
                  <a:pt x="68" y="134"/>
                  <a:pt x="69" y="131"/>
                  <a:pt x="72" y="133"/>
                </a:cubicBezTo>
                <a:cubicBezTo>
                  <a:pt x="75" y="134"/>
                  <a:pt x="77" y="135"/>
                  <a:pt x="80" y="134"/>
                </a:cubicBezTo>
                <a:cubicBezTo>
                  <a:pt x="80" y="130"/>
                  <a:pt x="89" y="131"/>
                  <a:pt x="89" y="136"/>
                </a:cubicBezTo>
                <a:cubicBezTo>
                  <a:pt x="91" y="136"/>
                  <a:pt x="93" y="136"/>
                  <a:pt x="94" y="136"/>
                </a:cubicBezTo>
                <a:cubicBezTo>
                  <a:pt x="97" y="137"/>
                  <a:pt x="96" y="136"/>
                  <a:pt x="97" y="135"/>
                </a:cubicBezTo>
                <a:cubicBezTo>
                  <a:pt x="97" y="134"/>
                  <a:pt x="98" y="134"/>
                  <a:pt x="98" y="133"/>
                </a:cubicBezTo>
                <a:cubicBezTo>
                  <a:pt x="98" y="134"/>
                  <a:pt x="99" y="134"/>
                  <a:pt x="99" y="134"/>
                </a:cubicBezTo>
                <a:cubicBezTo>
                  <a:pt x="100" y="134"/>
                  <a:pt x="99" y="133"/>
                  <a:pt x="100" y="132"/>
                </a:cubicBezTo>
                <a:cubicBezTo>
                  <a:pt x="101" y="132"/>
                  <a:pt x="102" y="132"/>
                  <a:pt x="103" y="132"/>
                </a:cubicBezTo>
                <a:cubicBezTo>
                  <a:pt x="103" y="131"/>
                  <a:pt x="104" y="130"/>
                  <a:pt x="104" y="130"/>
                </a:cubicBezTo>
                <a:cubicBezTo>
                  <a:pt x="102" y="130"/>
                  <a:pt x="102" y="126"/>
                  <a:pt x="103" y="125"/>
                </a:cubicBezTo>
                <a:cubicBezTo>
                  <a:pt x="103" y="124"/>
                  <a:pt x="103" y="123"/>
                  <a:pt x="104" y="122"/>
                </a:cubicBezTo>
                <a:cubicBezTo>
                  <a:pt x="104" y="120"/>
                  <a:pt x="104" y="117"/>
                  <a:pt x="105" y="115"/>
                </a:cubicBezTo>
                <a:cubicBezTo>
                  <a:pt x="106" y="116"/>
                  <a:pt x="111" y="119"/>
                  <a:pt x="112" y="116"/>
                </a:cubicBezTo>
                <a:cubicBezTo>
                  <a:pt x="112" y="114"/>
                  <a:pt x="114" y="113"/>
                  <a:pt x="115" y="116"/>
                </a:cubicBezTo>
                <a:cubicBezTo>
                  <a:pt x="115" y="117"/>
                  <a:pt x="115" y="118"/>
                  <a:pt x="116" y="119"/>
                </a:cubicBezTo>
                <a:cubicBezTo>
                  <a:pt x="118" y="121"/>
                  <a:pt x="118" y="119"/>
                  <a:pt x="119" y="118"/>
                </a:cubicBezTo>
                <a:cubicBezTo>
                  <a:pt x="121" y="117"/>
                  <a:pt x="122" y="117"/>
                  <a:pt x="122" y="115"/>
                </a:cubicBezTo>
                <a:cubicBezTo>
                  <a:pt x="122" y="113"/>
                  <a:pt x="121" y="112"/>
                  <a:pt x="119" y="112"/>
                </a:cubicBezTo>
                <a:cubicBezTo>
                  <a:pt x="119" y="111"/>
                  <a:pt x="119" y="111"/>
                  <a:pt x="119" y="111"/>
                </a:cubicBezTo>
                <a:cubicBezTo>
                  <a:pt x="121" y="112"/>
                  <a:pt x="121" y="110"/>
                  <a:pt x="122" y="109"/>
                </a:cubicBezTo>
                <a:cubicBezTo>
                  <a:pt x="123" y="109"/>
                  <a:pt x="125" y="108"/>
                  <a:pt x="126" y="108"/>
                </a:cubicBezTo>
                <a:cubicBezTo>
                  <a:pt x="126" y="107"/>
                  <a:pt x="126" y="106"/>
                  <a:pt x="126" y="105"/>
                </a:cubicBezTo>
                <a:cubicBezTo>
                  <a:pt x="125" y="104"/>
                  <a:pt x="125" y="103"/>
                  <a:pt x="125" y="102"/>
                </a:cubicBezTo>
                <a:cubicBezTo>
                  <a:pt x="126" y="101"/>
                  <a:pt x="127" y="101"/>
                  <a:pt x="128" y="102"/>
                </a:cubicBezTo>
                <a:cubicBezTo>
                  <a:pt x="128" y="103"/>
                  <a:pt x="130" y="103"/>
                  <a:pt x="131" y="103"/>
                </a:cubicBezTo>
                <a:cubicBezTo>
                  <a:pt x="133" y="104"/>
                  <a:pt x="132" y="106"/>
                  <a:pt x="133" y="107"/>
                </a:cubicBezTo>
                <a:cubicBezTo>
                  <a:pt x="135" y="107"/>
                  <a:pt x="134" y="100"/>
                  <a:pt x="134" y="99"/>
                </a:cubicBezTo>
                <a:cubicBezTo>
                  <a:pt x="134" y="97"/>
                  <a:pt x="135" y="95"/>
                  <a:pt x="134" y="94"/>
                </a:cubicBezTo>
                <a:close/>
              </a:path>
            </a:pathLst>
          </a:custGeom>
          <a:solidFill>
            <a:schemeClr val="accent1"/>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1" name="Freeform 439">
            <a:extLst>
              <a:ext uri="{FF2B5EF4-FFF2-40B4-BE49-F238E27FC236}">
                <a16:creationId xmlns:a16="http://schemas.microsoft.com/office/drawing/2014/main" id="{242B3B4D-1076-4384-B5B5-366D86B23424}"/>
              </a:ext>
            </a:extLst>
          </p:cNvPr>
          <p:cNvSpPr>
            <a:spLocks/>
          </p:cNvSpPr>
          <p:nvPr/>
        </p:nvSpPr>
        <p:spPr bwMode="auto">
          <a:xfrm>
            <a:off x="1171116" y="2107177"/>
            <a:ext cx="811432" cy="589332"/>
          </a:xfrm>
          <a:custGeom>
            <a:avLst/>
            <a:gdLst>
              <a:gd name="T0" fmla="*/ 93 w 328"/>
              <a:gd name="T1" fmla="*/ 219 h 237"/>
              <a:gd name="T2" fmla="*/ 87 w 328"/>
              <a:gd name="T3" fmla="*/ 220 h 237"/>
              <a:gd name="T4" fmla="*/ 78 w 328"/>
              <a:gd name="T5" fmla="*/ 208 h 237"/>
              <a:gd name="T6" fmla="*/ 66 w 328"/>
              <a:gd name="T7" fmla="*/ 203 h 237"/>
              <a:gd name="T8" fmla="*/ 40 w 328"/>
              <a:gd name="T9" fmla="*/ 191 h 237"/>
              <a:gd name="T10" fmla="*/ 34 w 328"/>
              <a:gd name="T11" fmla="*/ 175 h 237"/>
              <a:gd name="T12" fmla="*/ 36 w 328"/>
              <a:gd name="T13" fmla="*/ 156 h 237"/>
              <a:gd name="T14" fmla="*/ 33 w 328"/>
              <a:gd name="T15" fmla="*/ 132 h 237"/>
              <a:gd name="T16" fmla="*/ 41 w 328"/>
              <a:gd name="T17" fmla="*/ 115 h 237"/>
              <a:gd name="T18" fmla="*/ 50 w 328"/>
              <a:gd name="T19" fmla="*/ 104 h 237"/>
              <a:gd name="T20" fmla="*/ 61 w 328"/>
              <a:gd name="T21" fmla="*/ 97 h 237"/>
              <a:gd name="T22" fmla="*/ 52 w 328"/>
              <a:gd name="T23" fmla="*/ 83 h 237"/>
              <a:gd name="T24" fmla="*/ 41 w 328"/>
              <a:gd name="T25" fmla="*/ 68 h 237"/>
              <a:gd name="T26" fmla="*/ 26 w 328"/>
              <a:gd name="T27" fmla="*/ 59 h 237"/>
              <a:gd name="T28" fmla="*/ 18 w 328"/>
              <a:gd name="T29" fmla="*/ 50 h 237"/>
              <a:gd name="T30" fmla="*/ 1 w 328"/>
              <a:gd name="T31" fmla="*/ 48 h 237"/>
              <a:gd name="T32" fmla="*/ 4 w 328"/>
              <a:gd name="T33" fmla="*/ 33 h 237"/>
              <a:gd name="T34" fmla="*/ 24 w 328"/>
              <a:gd name="T35" fmla="*/ 18 h 237"/>
              <a:gd name="T36" fmla="*/ 52 w 328"/>
              <a:gd name="T37" fmla="*/ 14 h 237"/>
              <a:gd name="T38" fmla="*/ 51 w 328"/>
              <a:gd name="T39" fmla="*/ 5 h 237"/>
              <a:gd name="T40" fmla="*/ 87 w 328"/>
              <a:gd name="T41" fmla="*/ 3 h 237"/>
              <a:gd name="T42" fmla="*/ 106 w 328"/>
              <a:gd name="T43" fmla="*/ 4 h 237"/>
              <a:gd name="T44" fmla="*/ 125 w 328"/>
              <a:gd name="T45" fmla="*/ 9 h 237"/>
              <a:gd name="T46" fmla="*/ 144 w 328"/>
              <a:gd name="T47" fmla="*/ 27 h 237"/>
              <a:gd name="T48" fmla="*/ 168 w 328"/>
              <a:gd name="T49" fmla="*/ 47 h 237"/>
              <a:gd name="T50" fmla="*/ 193 w 328"/>
              <a:gd name="T51" fmla="*/ 66 h 237"/>
              <a:gd name="T52" fmla="*/ 206 w 328"/>
              <a:gd name="T53" fmla="*/ 74 h 237"/>
              <a:gd name="T54" fmla="*/ 216 w 328"/>
              <a:gd name="T55" fmla="*/ 81 h 237"/>
              <a:gd name="T56" fmla="*/ 237 w 328"/>
              <a:gd name="T57" fmla="*/ 76 h 237"/>
              <a:gd name="T58" fmla="*/ 254 w 328"/>
              <a:gd name="T59" fmla="*/ 70 h 237"/>
              <a:gd name="T60" fmla="*/ 286 w 328"/>
              <a:gd name="T61" fmla="*/ 63 h 237"/>
              <a:gd name="T62" fmla="*/ 320 w 328"/>
              <a:gd name="T63" fmla="*/ 80 h 237"/>
              <a:gd name="T64" fmla="*/ 323 w 328"/>
              <a:gd name="T65" fmla="*/ 100 h 237"/>
              <a:gd name="T66" fmla="*/ 307 w 328"/>
              <a:gd name="T67" fmla="*/ 124 h 237"/>
              <a:gd name="T68" fmla="*/ 293 w 328"/>
              <a:gd name="T69" fmla="*/ 138 h 237"/>
              <a:gd name="T70" fmla="*/ 287 w 328"/>
              <a:gd name="T71" fmla="*/ 154 h 237"/>
              <a:gd name="T72" fmla="*/ 266 w 328"/>
              <a:gd name="T73" fmla="*/ 155 h 237"/>
              <a:gd name="T74" fmla="*/ 265 w 328"/>
              <a:gd name="T75" fmla="*/ 181 h 237"/>
              <a:gd name="T76" fmla="*/ 286 w 328"/>
              <a:gd name="T77" fmla="*/ 211 h 237"/>
              <a:gd name="T78" fmla="*/ 282 w 328"/>
              <a:gd name="T79" fmla="*/ 226 h 237"/>
              <a:gd name="T80" fmla="*/ 269 w 328"/>
              <a:gd name="T81" fmla="*/ 233 h 237"/>
              <a:gd name="T82" fmla="*/ 257 w 328"/>
              <a:gd name="T83" fmla="*/ 228 h 237"/>
              <a:gd name="T84" fmla="*/ 243 w 328"/>
              <a:gd name="T85" fmla="*/ 225 h 237"/>
              <a:gd name="T86" fmla="*/ 242 w 328"/>
              <a:gd name="T87" fmla="*/ 230 h 237"/>
              <a:gd name="T88" fmla="*/ 234 w 328"/>
              <a:gd name="T89" fmla="*/ 217 h 237"/>
              <a:gd name="T90" fmla="*/ 221 w 328"/>
              <a:gd name="T91" fmla="*/ 214 h 237"/>
              <a:gd name="T92" fmla="*/ 198 w 328"/>
              <a:gd name="T93" fmla="*/ 206 h 237"/>
              <a:gd name="T94" fmla="*/ 176 w 328"/>
              <a:gd name="T95" fmla="*/ 195 h 237"/>
              <a:gd name="T96" fmla="*/ 146 w 328"/>
              <a:gd name="T97" fmla="*/ 197 h 237"/>
              <a:gd name="T98" fmla="*/ 133 w 328"/>
              <a:gd name="T99" fmla="*/ 202 h 237"/>
              <a:gd name="T100" fmla="*/ 131 w 328"/>
              <a:gd name="T101" fmla="*/ 211 h 237"/>
              <a:gd name="T102" fmla="*/ 122 w 328"/>
              <a:gd name="T103" fmla="*/ 223 h 237"/>
              <a:gd name="T104" fmla="*/ 105 w 328"/>
              <a:gd name="T105"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8" h="237">
                <a:moveTo>
                  <a:pt x="105" y="227"/>
                </a:moveTo>
                <a:cubicBezTo>
                  <a:pt x="105" y="225"/>
                  <a:pt x="102" y="223"/>
                  <a:pt x="101" y="223"/>
                </a:cubicBezTo>
                <a:cubicBezTo>
                  <a:pt x="100" y="222"/>
                  <a:pt x="98" y="223"/>
                  <a:pt x="97" y="223"/>
                </a:cubicBezTo>
                <a:cubicBezTo>
                  <a:pt x="97" y="221"/>
                  <a:pt x="95" y="220"/>
                  <a:pt x="95" y="219"/>
                </a:cubicBezTo>
                <a:cubicBezTo>
                  <a:pt x="94" y="219"/>
                  <a:pt x="93" y="219"/>
                  <a:pt x="93" y="219"/>
                </a:cubicBezTo>
                <a:cubicBezTo>
                  <a:pt x="92" y="219"/>
                  <a:pt x="92" y="219"/>
                  <a:pt x="92" y="219"/>
                </a:cubicBezTo>
                <a:cubicBezTo>
                  <a:pt x="91" y="219"/>
                  <a:pt x="91" y="220"/>
                  <a:pt x="91" y="221"/>
                </a:cubicBezTo>
                <a:cubicBezTo>
                  <a:pt x="90" y="221"/>
                  <a:pt x="89" y="221"/>
                  <a:pt x="89" y="221"/>
                </a:cubicBezTo>
                <a:cubicBezTo>
                  <a:pt x="88" y="220"/>
                  <a:pt x="88" y="220"/>
                  <a:pt x="88" y="220"/>
                </a:cubicBezTo>
                <a:cubicBezTo>
                  <a:pt x="87" y="220"/>
                  <a:pt x="87" y="220"/>
                  <a:pt x="87" y="220"/>
                </a:cubicBezTo>
                <a:cubicBezTo>
                  <a:pt x="87" y="219"/>
                  <a:pt x="86" y="218"/>
                  <a:pt x="86" y="217"/>
                </a:cubicBezTo>
                <a:cubicBezTo>
                  <a:pt x="84" y="217"/>
                  <a:pt x="79" y="216"/>
                  <a:pt x="77" y="218"/>
                </a:cubicBezTo>
                <a:cubicBezTo>
                  <a:pt x="77" y="218"/>
                  <a:pt x="77" y="216"/>
                  <a:pt x="77" y="215"/>
                </a:cubicBezTo>
                <a:cubicBezTo>
                  <a:pt x="74" y="215"/>
                  <a:pt x="77" y="213"/>
                  <a:pt x="77" y="212"/>
                </a:cubicBezTo>
                <a:cubicBezTo>
                  <a:pt x="78" y="211"/>
                  <a:pt x="78" y="210"/>
                  <a:pt x="78" y="208"/>
                </a:cubicBezTo>
                <a:cubicBezTo>
                  <a:pt x="77" y="208"/>
                  <a:pt x="77" y="208"/>
                  <a:pt x="77" y="208"/>
                </a:cubicBezTo>
                <a:cubicBezTo>
                  <a:pt x="77" y="206"/>
                  <a:pt x="79" y="204"/>
                  <a:pt x="79" y="201"/>
                </a:cubicBezTo>
                <a:cubicBezTo>
                  <a:pt x="77" y="201"/>
                  <a:pt x="76" y="202"/>
                  <a:pt x="75" y="202"/>
                </a:cubicBezTo>
                <a:cubicBezTo>
                  <a:pt x="75" y="203"/>
                  <a:pt x="75" y="204"/>
                  <a:pt x="75" y="205"/>
                </a:cubicBezTo>
                <a:cubicBezTo>
                  <a:pt x="72" y="205"/>
                  <a:pt x="70" y="203"/>
                  <a:pt x="66" y="203"/>
                </a:cubicBezTo>
                <a:cubicBezTo>
                  <a:pt x="66" y="204"/>
                  <a:pt x="66" y="204"/>
                  <a:pt x="66" y="204"/>
                </a:cubicBezTo>
                <a:cubicBezTo>
                  <a:pt x="61" y="205"/>
                  <a:pt x="63" y="200"/>
                  <a:pt x="60" y="198"/>
                </a:cubicBezTo>
                <a:cubicBezTo>
                  <a:pt x="59" y="198"/>
                  <a:pt x="58" y="199"/>
                  <a:pt x="56" y="198"/>
                </a:cubicBezTo>
                <a:cubicBezTo>
                  <a:pt x="55" y="197"/>
                  <a:pt x="55" y="195"/>
                  <a:pt x="53" y="195"/>
                </a:cubicBezTo>
                <a:cubicBezTo>
                  <a:pt x="52" y="191"/>
                  <a:pt x="43" y="191"/>
                  <a:pt x="40" y="191"/>
                </a:cubicBezTo>
                <a:cubicBezTo>
                  <a:pt x="41" y="187"/>
                  <a:pt x="38" y="186"/>
                  <a:pt x="35" y="186"/>
                </a:cubicBezTo>
                <a:cubicBezTo>
                  <a:pt x="35" y="184"/>
                  <a:pt x="35" y="183"/>
                  <a:pt x="35" y="181"/>
                </a:cubicBezTo>
                <a:cubicBezTo>
                  <a:pt x="35" y="181"/>
                  <a:pt x="35" y="181"/>
                  <a:pt x="35" y="181"/>
                </a:cubicBezTo>
                <a:cubicBezTo>
                  <a:pt x="35" y="180"/>
                  <a:pt x="35" y="179"/>
                  <a:pt x="35" y="178"/>
                </a:cubicBezTo>
                <a:cubicBezTo>
                  <a:pt x="34" y="177"/>
                  <a:pt x="34" y="177"/>
                  <a:pt x="34" y="175"/>
                </a:cubicBezTo>
                <a:cubicBezTo>
                  <a:pt x="34" y="175"/>
                  <a:pt x="35" y="174"/>
                  <a:pt x="36" y="173"/>
                </a:cubicBezTo>
                <a:cubicBezTo>
                  <a:pt x="36" y="172"/>
                  <a:pt x="36" y="170"/>
                  <a:pt x="36" y="170"/>
                </a:cubicBezTo>
                <a:cubicBezTo>
                  <a:pt x="36" y="168"/>
                  <a:pt x="36" y="167"/>
                  <a:pt x="35" y="165"/>
                </a:cubicBezTo>
                <a:cubicBezTo>
                  <a:pt x="35" y="165"/>
                  <a:pt x="34" y="163"/>
                  <a:pt x="34" y="163"/>
                </a:cubicBezTo>
                <a:cubicBezTo>
                  <a:pt x="34" y="160"/>
                  <a:pt x="36" y="159"/>
                  <a:pt x="36" y="156"/>
                </a:cubicBezTo>
                <a:cubicBezTo>
                  <a:pt x="36" y="156"/>
                  <a:pt x="36" y="155"/>
                  <a:pt x="36" y="155"/>
                </a:cubicBezTo>
                <a:cubicBezTo>
                  <a:pt x="36" y="154"/>
                  <a:pt x="35" y="154"/>
                  <a:pt x="35" y="153"/>
                </a:cubicBezTo>
                <a:cubicBezTo>
                  <a:pt x="35" y="152"/>
                  <a:pt x="35" y="152"/>
                  <a:pt x="36" y="151"/>
                </a:cubicBezTo>
                <a:cubicBezTo>
                  <a:pt x="36" y="149"/>
                  <a:pt x="35" y="147"/>
                  <a:pt x="34" y="145"/>
                </a:cubicBezTo>
                <a:cubicBezTo>
                  <a:pt x="33" y="141"/>
                  <a:pt x="33" y="137"/>
                  <a:pt x="33" y="132"/>
                </a:cubicBezTo>
                <a:cubicBezTo>
                  <a:pt x="32" y="132"/>
                  <a:pt x="32" y="132"/>
                  <a:pt x="32" y="132"/>
                </a:cubicBezTo>
                <a:cubicBezTo>
                  <a:pt x="32" y="130"/>
                  <a:pt x="32" y="127"/>
                  <a:pt x="32" y="125"/>
                </a:cubicBezTo>
                <a:cubicBezTo>
                  <a:pt x="30" y="124"/>
                  <a:pt x="32" y="120"/>
                  <a:pt x="32" y="119"/>
                </a:cubicBezTo>
                <a:cubicBezTo>
                  <a:pt x="32" y="118"/>
                  <a:pt x="32" y="116"/>
                  <a:pt x="33" y="115"/>
                </a:cubicBezTo>
                <a:cubicBezTo>
                  <a:pt x="34" y="114"/>
                  <a:pt x="39" y="115"/>
                  <a:pt x="41" y="115"/>
                </a:cubicBezTo>
                <a:cubicBezTo>
                  <a:pt x="43" y="115"/>
                  <a:pt x="42" y="116"/>
                  <a:pt x="43" y="113"/>
                </a:cubicBezTo>
                <a:cubicBezTo>
                  <a:pt x="44" y="112"/>
                  <a:pt x="44" y="111"/>
                  <a:pt x="45" y="110"/>
                </a:cubicBezTo>
                <a:cubicBezTo>
                  <a:pt x="45" y="109"/>
                  <a:pt x="44" y="106"/>
                  <a:pt x="45" y="106"/>
                </a:cubicBezTo>
                <a:cubicBezTo>
                  <a:pt x="45" y="105"/>
                  <a:pt x="48" y="105"/>
                  <a:pt x="49" y="105"/>
                </a:cubicBezTo>
                <a:cubicBezTo>
                  <a:pt x="49" y="105"/>
                  <a:pt x="50" y="104"/>
                  <a:pt x="50" y="104"/>
                </a:cubicBezTo>
                <a:cubicBezTo>
                  <a:pt x="51" y="103"/>
                  <a:pt x="52" y="103"/>
                  <a:pt x="53" y="103"/>
                </a:cubicBezTo>
                <a:cubicBezTo>
                  <a:pt x="54" y="103"/>
                  <a:pt x="55" y="104"/>
                  <a:pt x="56" y="103"/>
                </a:cubicBezTo>
                <a:cubicBezTo>
                  <a:pt x="57" y="103"/>
                  <a:pt x="57" y="102"/>
                  <a:pt x="58" y="101"/>
                </a:cubicBezTo>
                <a:cubicBezTo>
                  <a:pt x="58" y="101"/>
                  <a:pt x="60" y="101"/>
                  <a:pt x="60" y="100"/>
                </a:cubicBezTo>
                <a:cubicBezTo>
                  <a:pt x="61" y="99"/>
                  <a:pt x="60" y="98"/>
                  <a:pt x="61" y="97"/>
                </a:cubicBezTo>
                <a:cubicBezTo>
                  <a:pt x="61" y="96"/>
                  <a:pt x="61" y="96"/>
                  <a:pt x="62" y="95"/>
                </a:cubicBezTo>
                <a:cubicBezTo>
                  <a:pt x="63" y="94"/>
                  <a:pt x="64" y="91"/>
                  <a:pt x="63" y="90"/>
                </a:cubicBezTo>
                <a:cubicBezTo>
                  <a:pt x="62" y="88"/>
                  <a:pt x="60" y="89"/>
                  <a:pt x="58" y="88"/>
                </a:cubicBezTo>
                <a:cubicBezTo>
                  <a:pt x="57" y="86"/>
                  <a:pt x="55" y="86"/>
                  <a:pt x="54" y="85"/>
                </a:cubicBezTo>
                <a:cubicBezTo>
                  <a:pt x="53" y="84"/>
                  <a:pt x="53" y="83"/>
                  <a:pt x="52" y="83"/>
                </a:cubicBezTo>
                <a:cubicBezTo>
                  <a:pt x="51" y="82"/>
                  <a:pt x="50" y="83"/>
                  <a:pt x="49" y="83"/>
                </a:cubicBezTo>
                <a:cubicBezTo>
                  <a:pt x="46" y="81"/>
                  <a:pt x="47" y="74"/>
                  <a:pt x="50" y="74"/>
                </a:cubicBezTo>
                <a:cubicBezTo>
                  <a:pt x="50" y="73"/>
                  <a:pt x="51" y="72"/>
                  <a:pt x="52" y="72"/>
                </a:cubicBezTo>
                <a:cubicBezTo>
                  <a:pt x="52" y="72"/>
                  <a:pt x="52" y="71"/>
                  <a:pt x="52" y="70"/>
                </a:cubicBezTo>
                <a:cubicBezTo>
                  <a:pt x="49" y="68"/>
                  <a:pt x="45" y="69"/>
                  <a:pt x="41" y="68"/>
                </a:cubicBezTo>
                <a:cubicBezTo>
                  <a:pt x="40" y="68"/>
                  <a:pt x="39" y="68"/>
                  <a:pt x="39" y="67"/>
                </a:cubicBezTo>
                <a:cubicBezTo>
                  <a:pt x="38" y="67"/>
                  <a:pt x="37" y="66"/>
                  <a:pt x="36" y="65"/>
                </a:cubicBezTo>
                <a:cubicBezTo>
                  <a:pt x="35" y="64"/>
                  <a:pt x="33" y="65"/>
                  <a:pt x="32" y="64"/>
                </a:cubicBezTo>
                <a:cubicBezTo>
                  <a:pt x="30" y="64"/>
                  <a:pt x="30" y="62"/>
                  <a:pt x="29" y="61"/>
                </a:cubicBezTo>
                <a:cubicBezTo>
                  <a:pt x="28" y="60"/>
                  <a:pt x="27" y="61"/>
                  <a:pt x="26" y="59"/>
                </a:cubicBezTo>
                <a:cubicBezTo>
                  <a:pt x="26" y="58"/>
                  <a:pt x="26" y="57"/>
                  <a:pt x="26" y="55"/>
                </a:cubicBezTo>
                <a:cubicBezTo>
                  <a:pt x="25" y="54"/>
                  <a:pt x="24" y="53"/>
                  <a:pt x="24" y="52"/>
                </a:cubicBezTo>
                <a:cubicBezTo>
                  <a:pt x="23" y="52"/>
                  <a:pt x="21" y="52"/>
                  <a:pt x="21" y="52"/>
                </a:cubicBezTo>
                <a:cubicBezTo>
                  <a:pt x="20" y="51"/>
                  <a:pt x="19" y="52"/>
                  <a:pt x="19" y="52"/>
                </a:cubicBezTo>
                <a:cubicBezTo>
                  <a:pt x="18" y="51"/>
                  <a:pt x="19" y="50"/>
                  <a:pt x="18" y="50"/>
                </a:cubicBezTo>
                <a:cubicBezTo>
                  <a:pt x="16" y="50"/>
                  <a:pt x="15" y="52"/>
                  <a:pt x="12" y="51"/>
                </a:cubicBezTo>
                <a:cubicBezTo>
                  <a:pt x="12" y="51"/>
                  <a:pt x="12" y="51"/>
                  <a:pt x="12" y="51"/>
                </a:cubicBezTo>
                <a:cubicBezTo>
                  <a:pt x="10" y="50"/>
                  <a:pt x="10" y="53"/>
                  <a:pt x="8" y="52"/>
                </a:cubicBezTo>
                <a:cubicBezTo>
                  <a:pt x="8" y="50"/>
                  <a:pt x="4" y="51"/>
                  <a:pt x="4" y="48"/>
                </a:cubicBezTo>
                <a:cubicBezTo>
                  <a:pt x="4" y="48"/>
                  <a:pt x="2" y="48"/>
                  <a:pt x="1" y="48"/>
                </a:cubicBezTo>
                <a:cubicBezTo>
                  <a:pt x="0" y="47"/>
                  <a:pt x="2" y="47"/>
                  <a:pt x="2" y="46"/>
                </a:cubicBezTo>
                <a:cubicBezTo>
                  <a:pt x="2" y="44"/>
                  <a:pt x="3" y="43"/>
                  <a:pt x="2" y="41"/>
                </a:cubicBezTo>
                <a:cubicBezTo>
                  <a:pt x="2" y="40"/>
                  <a:pt x="1" y="40"/>
                  <a:pt x="1" y="39"/>
                </a:cubicBezTo>
                <a:cubicBezTo>
                  <a:pt x="1" y="39"/>
                  <a:pt x="3" y="37"/>
                  <a:pt x="3" y="36"/>
                </a:cubicBezTo>
                <a:cubicBezTo>
                  <a:pt x="3" y="35"/>
                  <a:pt x="3" y="34"/>
                  <a:pt x="4" y="33"/>
                </a:cubicBezTo>
                <a:cubicBezTo>
                  <a:pt x="5" y="31"/>
                  <a:pt x="7" y="33"/>
                  <a:pt x="9" y="33"/>
                </a:cubicBezTo>
                <a:cubicBezTo>
                  <a:pt x="10" y="32"/>
                  <a:pt x="10" y="32"/>
                  <a:pt x="10" y="32"/>
                </a:cubicBezTo>
                <a:cubicBezTo>
                  <a:pt x="10" y="27"/>
                  <a:pt x="18" y="28"/>
                  <a:pt x="17" y="23"/>
                </a:cubicBezTo>
                <a:cubicBezTo>
                  <a:pt x="19" y="23"/>
                  <a:pt x="21" y="23"/>
                  <a:pt x="22" y="23"/>
                </a:cubicBezTo>
                <a:cubicBezTo>
                  <a:pt x="23" y="22"/>
                  <a:pt x="23" y="20"/>
                  <a:pt x="24" y="18"/>
                </a:cubicBezTo>
                <a:cubicBezTo>
                  <a:pt x="26" y="18"/>
                  <a:pt x="27" y="17"/>
                  <a:pt x="27" y="15"/>
                </a:cubicBezTo>
                <a:cubicBezTo>
                  <a:pt x="28" y="14"/>
                  <a:pt x="29" y="13"/>
                  <a:pt x="30" y="12"/>
                </a:cubicBezTo>
                <a:cubicBezTo>
                  <a:pt x="31" y="12"/>
                  <a:pt x="33" y="12"/>
                  <a:pt x="34" y="12"/>
                </a:cubicBezTo>
                <a:cubicBezTo>
                  <a:pt x="37" y="12"/>
                  <a:pt x="40" y="11"/>
                  <a:pt x="43" y="12"/>
                </a:cubicBezTo>
                <a:cubicBezTo>
                  <a:pt x="46" y="13"/>
                  <a:pt x="48" y="15"/>
                  <a:pt x="52" y="14"/>
                </a:cubicBezTo>
                <a:cubicBezTo>
                  <a:pt x="53" y="14"/>
                  <a:pt x="54" y="13"/>
                  <a:pt x="56" y="13"/>
                </a:cubicBezTo>
                <a:cubicBezTo>
                  <a:pt x="58" y="13"/>
                  <a:pt x="59" y="13"/>
                  <a:pt x="60" y="13"/>
                </a:cubicBezTo>
                <a:cubicBezTo>
                  <a:pt x="60" y="12"/>
                  <a:pt x="60" y="11"/>
                  <a:pt x="60" y="10"/>
                </a:cubicBezTo>
                <a:cubicBezTo>
                  <a:pt x="59" y="10"/>
                  <a:pt x="59" y="10"/>
                  <a:pt x="58" y="9"/>
                </a:cubicBezTo>
                <a:cubicBezTo>
                  <a:pt x="57" y="5"/>
                  <a:pt x="54" y="7"/>
                  <a:pt x="51" y="5"/>
                </a:cubicBezTo>
                <a:cubicBezTo>
                  <a:pt x="53" y="4"/>
                  <a:pt x="59" y="6"/>
                  <a:pt x="62" y="6"/>
                </a:cubicBezTo>
                <a:cubicBezTo>
                  <a:pt x="66" y="7"/>
                  <a:pt x="68" y="9"/>
                  <a:pt x="72" y="8"/>
                </a:cubicBezTo>
                <a:cubicBezTo>
                  <a:pt x="72" y="8"/>
                  <a:pt x="72" y="7"/>
                  <a:pt x="72" y="6"/>
                </a:cubicBezTo>
                <a:cubicBezTo>
                  <a:pt x="75" y="6"/>
                  <a:pt x="77" y="5"/>
                  <a:pt x="80" y="4"/>
                </a:cubicBezTo>
                <a:cubicBezTo>
                  <a:pt x="82" y="4"/>
                  <a:pt x="84" y="2"/>
                  <a:pt x="87" y="3"/>
                </a:cubicBezTo>
                <a:cubicBezTo>
                  <a:pt x="88" y="3"/>
                  <a:pt x="89" y="4"/>
                  <a:pt x="90" y="4"/>
                </a:cubicBezTo>
                <a:cubicBezTo>
                  <a:pt x="92" y="3"/>
                  <a:pt x="92" y="1"/>
                  <a:pt x="93" y="1"/>
                </a:cubicBezTo>
                <a:cubicBezTo>
                  <a:pt x="94" y="1"/>
                  <a:pt x="96" y="0"/>
                  <a:pt x="97" y="1"/>
                </a:cubicBezTo>
                <a:cubicBezTo>
                  <a:pt x="98" y="1"/>
                  <a:pt x="98" y="2"/>
                  <a:pt x="100" y="3"/>
                </a:cubicBezTo>
                <a:cubicBezTo>
                  <a:pt x="101" y="6"/>
                  <a:pt x="103" y="5"/>
                  <a:pt x="106" y="4"/>
                </a:cubicBezTo>
                <a:cubicBezTo>
                  <a:pt x="107" y="3"/>
                  <a:pt x="109" y="4"/>
                  <a:pt x="110" y="4"/>
                </a:cubicBezTo>
                <a:cubicBezTo>
                  <a:pt x="111" y="4"/>
                  <a:pt x="112" y="3"/>
                  <a:pt x="112" y="4"/>
                </a:cubicBezTo>
                <a:cubicBezTo>
                  <a:pt x="113" y="4"/>
                  <a:pt x="113" y="4"/>
                  <a:pt x="113" y="5"/>
                </a:cubicBezTo>
                <a:cubicBezTo>
                  <a:pt x="115" y="6"/>
                  <a:pt x="118" y="6"/>
                  <a:pt x="120" y="6"/>
                </a:cubicBezTo>
                <a:cubicBezTo>
                  <a:pt x="124" y="6"/>
                  <a:pt x="125" y="6"/>
                  <a:pt x="125" y="9"/>
                </a:cubicBezTo>
                <a:cubicBezTo>
                  <a:pt x="125" y="11"/>
                  <a:pt x="124" y="14"/>
                  <a:pt x="125" y="16"/>
                </a:cubicBezTo>
                <a:cubicBezTo>
                  <a:pt x="125" y="17"/>
                  <a:pt x="126" y="18"/>
                  <a:pt x="128" y="18"/>
                </a:cubicBezTo>
                <a:cubicBezTo>
                  <a:pt x="129" y="17"/>
                  <a:pt x="129" y="16"/>
                  <a:pt x="130" y="16"/>
                </a:cubicBezTo>
                <a:cubicBezTo>
                  <a:pt x="135" y="14"/>
                  <a:pt x="139" y="18"/>
                  <a:pt x="142" y="21"/>
                </a:cubicBezTo>
                <a:cubicBezTo>
                  <a:pt x="143" y="23"/>
                  <a:pt x="143" y="25"/>
                  <a:pt x="144" y="27"/>
                </a:cubicBezTo>
                <a:cubicBezTo>
                  <a:pt x="145" y="29"/>
                  <a:pt x="146" y="31"/>
                  <a:pt x="147" y="33"/>
                </a:cubicBezTo>
                <a:cubicBezTo>
                  <a:pt x="148" y="34"/>
                  <a:pt x="150" y="34"/>
                  <a:pt x="151" y="35"/>
                </a:cubicBezTo>
                <a:cubicBezTo>
                  <a:pt x="152" y="36"/>
                  <a:pt x="152" y="38"/>
                  <a:pt x="154" y="39"/>
                </a:cubicBezTo>
                <a:cubicBezTo>
                  <a:pt x="157" y="40"/>
                  <a:pt x="161" y="37"/>
                  <a:pt x="163" y="41"/>
                </a:cubicBezTo>
                <a:cubicBezTo>
                  <a:pt x="164" y="43"/>
                  <a:pt x="164" y="46"/>
                  <a:pt x="168" y="47"/>
                </a:cubicBezTo>
                <a:cubicBezTo>
                  <a:pt x="171" y="48"/>
                  <a:pt x="172" y="47"/>
                  <a:pt x="174" y="49"/>
                </a:cubicBezTo>
                <a:cubicBezTo>
                  <a:pt x="175" y="50"/>
                  <a:pt x="176" y="52"/>
                  <a:pt x="177" y="54"/>
                </a:cubicBezTo>
                <a:cubicBezTo>
                  <a:pt x="177" y="57"/>
                  <a:pt x="176" y="60"/>
                  <a:pt x="179" y="63"/>
                </a:cubicBezTo>
                <a:cubicBezTo>
                  <a:pt x="181" y="65"/>
                  <a:pt x="182" y="65"/>
                  <a:pt x="186" y="65"/>
                </a:cubicBezTo>
                <a:cubicBezTo>
                  <a:pt x="188" y="65"/>
                  <a:pt x="191" y="65"/>
                  <a:pt x="193" y="66"/>
                </a:cubicBezTo>
                <a:cubicBezTo>
                  <a:pt x="194" y="67"/>
                  <a:pt x="194" y="68"/>
                  <a:pt x="195" y="69"/>
                </a:cubicBezTo>
                <a:cubicBezTo>
                  <a:pt x="195" y="69"/>
                  <a:pt x="197" y="70"/>
                  <a:pt x="198" y="70"/>
                </a:cubicBezTo>
                <a:cubicBezTo>
                  <a:pt x="200" y="70"/>
                  <a:pt x="202" y="70"/>
                  <a:pt x="204" y="72"/>
                </a:cubicBezTo>
                <a:cubicBezTo>
                  <a:pt x="204" y="72"/>
                  <a:pt x="204" y="73"/>
                  <a:pt x="205" y="73"/>
                </a:cubicBezTo>
                <a:cubicBezTo>
                  <a:pt x="205" y="73"/>
                  <a:pt x="206" y="73"/>
                  <a:pt x="206" y="74"/>
                </a:cubicBezTo>
                <a:cubicBezTo>
                  <a:pt x="207" y="75"/>
                  <a:pt x="207" y="75"/>
                  <a:pt x="207" y="77"/>
                </a:cubicBezTo>
                <a:cubicBezTo>
                  <a:pt x="205" y="77"/>
                  <a:pt x="197" y="80"/>
                  <a:pt x="201" y="82"/>
                </a:cubicBezTo>
                <a:cubicBezTo>
                  <a:pt x="202" y="82"/>
                  <a:pt x="205" y="81"/>
                  <a:pt x="206" y="81"/>
                </a:cubicBezTo>
                <a:cubicBezTo>
                  <a:pt x="208" y="81"/>
                  <a:pt x="209" y="81"/>
                  <a:pt x="211" y="81"/>
                </a:cubicBezTo>
                <a:cubicBezTo>
                  <a:pt x="213" y="81"/>
                  <a:pt x="214" y="82"/>
                  <a:pt x="216" y="81"/>
                </a:cubicBezTo>
                <a:cubicBezTo>
                  <a:pt x="218" y="81"/>
                  <a:pt x="218" y="80"/>
                  <a:pt x="220" y="81"/>
                </a:cubicBezTo>
                <a:cubicBezTo>
                  <a:pt x="222" y="82"/>
                  <a:pt x="223" y="83"/>
                  <a:pt x="225" y="81"/>
                </a:cubicBezTo>
                <a:cubicBezTo>
                  <a:pt x="226" y="79"/>
                  <a:pt x="225" y="78"/>
                  <a:pt x="228" y="77"/>
                </a:cubicBezTo>
                <a:cubicBezTo>
                  <a:pt x="230" y="77"/>
                  <a:pt x="233" y="78"/>
                  <a:pt x="236" y="78"/>
                </a:cubicBezTo>
                <a:cubicBezTo>
                  <a:pt x="236" y="77"/>
                  <a:pt x="237" y="77"/>
                  <a:pt x="237" y="76"/>
                </a:cubicBezTo>
                <a:cubicBezTo>
                  <a:pt x="238" y="76"/>
                  <a:pt x="239" y="76"/>
                  <a:pt x="239" y="75"/>
                </a:cubicBezTo>
                <a:cubicBezTo>
                  <a:pt x="240" y="75"/>
                  <a:pt x="241" y="74"/>
                  <a:pt x="242" y="73"/>
                </a:cubicBezTo>
                <a:cubicBezTo>
                  <a:pt x="243" y="73"/>
                  <a:pt x="244" y="74"/>
                  <a:pt x="245" y="74"/>
                </a:cubicBezTo>
                <a:cubicBezTo>
                  <a:pt x="246" y="73"/>
                  <a:pt x="247" y="73"/>
                  <a:pt x="248" y="72"/>
                </a:cubicBezTo>
                <a:cubicBezTo>
                  <a:pt x="250" y="71"/>
                  <a:pt x="252" y="71"/>
                  <a:pt x="254" y="70"/>
                </a:cubicBezTo>
                <a:cubicBezTo>
                  <a:pt x="256" y="69"/>
                  <a:pt x="258" y="68"/>
                  <a:pt x="260" y="67"/>
                </a:cubicBezTo>
                <a:cubicBezTo>
                  <a:pt x="263" y="66"/>
                  <a:pt x="269" y="68"/>
                  <a:pt x="272" y="68"/>
                </a:cubicBezTo>
                <a:cubicBezTo>
                  <a:pt x="274" y="68"/>
                  <a:pt x="277" y="69"/>
                  <a:pt x="278" y="68"/>
                </a:cubicBezTo>
                <a:cubicBezTo>
                  <a:pt x="280" y="68"/>
                  <a:pt x="280" y="66"/>
                  <a:pt x="281" y="64"/>
                </a:cubicBezTo>
                <a:cubicBezTo>
                  <a:pt x="282" y="64"/>
                  <a:pt x="283" y="62"/>
                  <a:pt x="286" y="63"/>
                </a:cubicBezTo>
                <a:cubicBezTo>
                  <a:pt x="287" y="64"/>
                  <a:pt x="288" y="65"/>
                  <a:pt x="288" y="67"/>
                </a:cubicBezTo>
                <a:cubicBezTo>
                  <a:pt x="291" y="67"/>
                  <a:pt x="295" y="69"/>
                  <a:pt x="298" y="70"/>
                </a:cubicBezTo>
                <a:cubicBezTo>
                  <a:pt x="302" y="72"/>
                  <a:pt x="304" y="73"/>
                  <a:pt x="308" y="72"/>
                </a:cubicBezTo>
                <a:cubicBezTo>
                  <a:pt x="313" y="71"/>
                  <a:pt x="314" y="72"/>
                  <a:pt x="316" y="76"/>
                </a:cubicBezTo>
                <a:cubicBezTo>
                  <a:pt x="317" y="77"/>
                  <a:pt x="318" y="79"/>
                  <a:pt x="320" y="80"/>
                </a:cubicBezTo>
                <a:cubicBezTo>
                  <a:pt x="321" y="80"/>
                  <a:pt x="322" y="80"/>
                  <a:pt x="323" y="80"/>
                </a:cubicBezTo>
                <a:cubicBezTo>
                  <a:pt x="323" y="81"/>
                  <a:pt x="324" y="81"/>
                  <a:pt x="324" y="81"/>
                </a:cubicBezTo>
                <a:cubicBezTo>
                  <a:pt x="325" y="83"/>
                  <a:pt x="326" y="84"/>
                  <a:pt x="326" y="85"/>
                </a:cubicBezTo>
                <a:cubicBezTo>
                  <a:pt x="328" y="88"/>
                  <a:pt x="326" y="88"/>
                  <a:pt x="325" y="90"/>
                </a:cubicBezTo>
                <a:cubicBezTo>
                  <a:pt x="323" y="93"/>
                  <a:pt x="325" y="97"/>
                  <a:pt x="323" y="100"/>
                </a:cubicBezTo>
                <a:cubicBezTo>
                  <a:pt x="319" y="101"/>
                  <a:pt x="321" y="107"/>
                  <a:pt x="320" y="110"/>
                </a:cubicBezTo>
                <a:cubicBezTo>
                  <a:pt x="319" y="110"/>
                  <a:pt x="319" y="112"/>
                  <a:pt x="319" y="113"/>
                </a:cubicBezTo>
                <a:cubicBezTo>
                  <a:pt x="318" y="115"/>
                  <a:pt x="318" y="115"/>
                  <a:pt x="317" y="116"/>
                </a:cubicBezTo>
                <a:cubicBezTo>
                  <a:pt x="315" y="119"/>
                  <a:pt x="315" y="121"/>
                  <a:pt x="315" y="124"/>
                </a:cubicBezTo>
                <a:cubicBezTo>
                  <a:pt x="312" y="124"/>
                  <a:pt x="310" y="123"/>
                  <a:pt x="307" y="124"/>
                </a:cubicBezTo>
                <a:cubicBezTo>
                  <a:pt x="305" y="126"/>
                  <a:pt x="303" y="127"/>
                  <a:pt x="302" y="129"/>
                </a:cubicBezTo>
                <a:cubicBezTo>
                  <a:pt x="302" y="130"/>
                  <a:pt x="303" y="132"/>
                  <a:pt x="302" y="133"/>
                </a:cubicBezTo>
                <a:cubicBezTo>
                  <a:pt x="301" y="134"/>
                  <a:pt x="298" y="133"/>
                  <a:pt x="297" y="133"/>
                </a:cubicBezTo>
                <a:cubicBezTo>
                  <a:pt x="295" y="133"/>
                  <a:pt x="293" y="134"/>
                  <a:pt x="291" y="134"/>
                </a:cubicBezTo>
                <a:cubicBezTo>
                  <a:pt x="292" y="135"/>
                  <a:pt x="293" y="137"/>
                  <a:pt x="293" y="138"/>
                </a:cubicBezTo>
                <a:cubicBezTo>
                  <a:pt x="293" y="140"/>
                  <a:pt x="292" y="141"/>
                  <a:pt x="292" y="142"/>
                </a:cubicBezTo>
                <a:cubicBezTo>
                  <a:pt x="292" y="143"/>
                  <a:pt x="293" y="144"/>
                  <a:pt x="293" y="145"/>
                </a:cubicBezTo>
                <a:cubicBezTo>
                  <a:pt x="293" y="147"/>
                  <a:pt x="291" y="149"/>
                  <a:pt x="289" y="150"/>
                </a:cubicBezTo>
                <a:cubicBezTo>
                  <a:pt x="288" y="151"/>
                  <a:pt x="287" y="150"/>
                  <a:pt x="287" y="152"/>
                </a:cubicBezTo>
                <a:cubicBezTo>
                  <a:pt x="287" y="152"/>
                  <a:pt x="287" y="154"/>
                  <a:pt x="287" y="154"/>
                </a:cubicBezTo>
                <a:cubicBezTo>
                  <a:pt x="285" y="154"/>
                  <a:pt x="284" y="154"/>
                  <a:pt x="282" y="154"/>
                </a:cubicBezTo>
                <a:cubicBezTo>
                  <a:pt x="279" y="155"/>
                  <a:pt x="278" y="154"/>
                  <a:pt x="276" y="153"/>
                </a:cubicBezTo>
                <a:cubicBezTo>
                  <a:pt x="275" y="153"/>
                  <a:pt x="274" y="153"/>
                  <a:pt x="273" y="153"/>
                </a:cubicBezTo>
                <a:cubicBezTo>
                  <a:pt x="272" y="153"/>
                  <a:pt x="271" y="152"/>
                  <a:pt x="270" y="152"/>
                </a:cubicBezTo>
                <a:cubicBezTo>
                  <a:pt x="269" y="152"/>
                  <a:pt x="267" y="154"/>
                  <a:pt x="266" y="155"/>
                </a:cubicBezTo>
                <a:cubicBezTo>
                  <a:pt x="266" y="155"/>
                  <a:pt x="266" y="155"/>
                  <a:pt x="266" y="155"/>
                </a:cubicBezTo>
                <a:cubicBezTo>
                  <a:pt x="268" y="160"/>
                  <a:pt x="269" y="165"/>
                  <a:pt x="271" y="169"/>
                </a:cubicBezTo>
                <a:cubicBezTo>
                  <a:pt x="272" y="171"/>
                  <a:pt x="272" y="171"/>
                  <a:pt x="271" y="172"/>
                </a:cubicBezTo>
                <a:cubicBezTo>
                  <a:pt x="265" y="173"/>
                  <a:pt x="265" y="173"/>
                  <a:pt x="265" y="173"/>
                </a:cubicBezTo>
                <a:cubicBezTo>
                  <a:pt x="266" y="175"/>
                  <a:pt x="265" y="178"/>
                  <a:pt x="265" y="181"/>
                </a:cubicBezTo>
                <a:cubicBezTo>
                  <a:pt x="266" y="185"/>
                  <a:pt x="270" y="189"/>
                  <a:pt x="274" y="190"/>
                </a:cubicBezTo>
                <a:cubicBezTo>
                  <a:pt x="278" y="190"/>
                  <a:pt x="287" y="190"/>
                  <a:pt x="283" y="196"/>
                </a:cubicBezTo>
                <a:cubicBezTo>
                  <a:pt x="282" y="198"/>
                  <a:pt x="280" y="199"/>
                  <a:pt x="281" y="202"/>
                </a:cubicBezTo>
                <a:cubicBezTo>
                  <a:pt x="281" y="205"/>
                  <a:pt x="284" y="206"/>
                  <a:pt x="285" y="208"/>
                </a:cubicBezTo>
                <a:cubicBezTo>
                  <a:pt x="286" y="209"/>
                  <a:pt x="286" y="210"/>
                  <a:pt x="286" y="211"/>
                </a:cubicBezTo>
                <a:cubicBezTo>
                  <a:pt x="287" y="212"/>
                  <a:pt x="288" y="213"/>
                  <a:pt x="289" y="213"/>
                </a:cubicBezTo>
                <a:cubicBezTo>
                  <a:pt x="290" y="215"/>
                  <a:pt x="289" y="217"/>
                  <a:pt x="291" y="219"/>
                </a:cubicBezTo>
                <a:cubicBezTo>
                  <a:pt x="289" y="219"/>
                  <a:pt x="288" y="220"/>
                  <a:pt x="287" y="221"/>
                </a:cubicBezTo>
                <a:cubicBezTo>
                  <a:pt x="285" y="221"/>
                  <a:pt x="285" y="222"/>
                  <a:pt x="284" y="223"/>
                </a:cubicBezTo>
                <a:cubicBezTo>
                  <a:pt x="283" y="225"/>
                  <a:pt x="283" y="226"/>
                  <a:pt x="282" y="226"/>
                </a:cubicBezTo>
                <a:cubicBezTo>
                  <a:pt x="280" y="226"/>
                  <a:pt x="279" y="225"/>
                  <a:pt x="279" y="224"/>
                </a:cubicBezTo>
                <a:cubicBezTo>
                  <a:pt x="277" y="225"/>
                  <a:pt x="274" y="227"/>
                  <a:pt x="275" y="229"/>
                </a:cubicBezTo>
                <a:cubicBezTo>
                  <a:pt x="275" y="229"/>
                  <a:pt x="271" y="230"/>
                  <a:pt x="271" y="230"/>
                </a:cubicBezTo>
                <a:cubicBezTo>
                  <a:pt x="270" y="230"/>
                  <a:pt x="270" y="231"/>
                  <a:pt x="269" y="232"/>
                </a:cubicBezTo>
                <a:cubicBezTo>
                  <a:pt x="269" y="232"/>
                  <a:pt x="269" y="232"/>
                  <a:pt x="269" y="233"/>
                </a:cubicBezTo>
                <a:cubicBezTo>
                  <a:pt x="268" y="233"/>
                  <a:pt x="268" y="233"/>
                  <a:pt x="268" y="233"/>
                </a:cubicBezTo>
                <a:cubicBezTo>
                  <a:pt x="266" y="234"/>
                  <a:pt x="265" y="234"/>
                  <a:pt x="265" y="236"/>
                </a:cubicBezTo>
                <a:cubicBezTo>
                  <a:pt x="265" y="237"/>
                  <a:pt x="262" y="234"/>
                  <a:pt x="262" y="234"/>
                </a:cubicBezTo>
                <a:cubicBezTo>
                  <a:pt x="260" y="233"/>
                  <a:pt x="259" y="231"/>
                  <a:pt x="257" y="231"/>
                </a:cubicBezTo>
                <a:cubicBezTo>
                  <a:pt x="257" y="230"/>
                  <a:pt x="257" y="229"/>
                  <a:pt x="257" y="228"/>
                </a:cubicBezTo>
                <a:cubicBezTo>
                  <a:pt x="256" y="228"/>
                  <a:pt x="256" y="227"/>
                  <a:pt x="255" y="227"/>
                </a:cubicBezTo>
                <a:cubicBezTo>
                  <a:pt x="254" y="224"/>
                  <a:pt x="256" y="221"/>
                  <a:pt x="256" y="218"/>
                </a:cubicBezTo>
                <a:cubicBezTo>
                  <a:pt x="255" y="218"/>
                  <a:pt x="255" y="218"/>
                  <a:pt x="255" y="218"/>
                </a:cubicBezTo>
                <a:cubicBezTo>
                  <a:pt x="254" y="219"/>
                  <a:pt x="253" y="219"/>
                  <a:pt x="253" y="221"/>
                </a:cubicBezTo>
                <a:cubicBezTo>
                  <a:pt x="250" y="221"/>
                  <a:pt x="244" y="221"/>
                  <a:pt x="243" y="225"/>
                </a:cubicBezTo>
                <a:cubicBezTo>
                  <a:pt x="242" y="225"/>
                  <a:pt x="240" y="225"/>
                  <a:pt x="241" y="227"/>
                </a:cubicBezTo>
                <a:cubicBezTo>
                  <a:pt x="241" y="227"/>
                  <a:pt x="243" y="228"/>
                  <a:pt x="243" y="228"/>
                </a:cubicBezTo>
                <a:cubicBezTo>
                  <a:pt x="244" y="229"/>
                  <a:pt x="245" y="230"/>
                  <a:pt x="245" y="231"/>
                </a:cubicBezTo>
                <a:cubicBezTo>
                  <a:pt x="244" y="231"/>
                  <a:pt x="244" y="231"/>
                  <a:pt x="244" y="231"/>
                </a:cubicBezTo>
                <a:cubicBezTo>
                  <a:pt x="243" y="231"/>
                  <a:pt x="243" y="231"/>
                  <a:pt x="242" y="230"/>
                </a:cubicBezTo>
                <a:cubicBezTo>
                  <a:pt x="241" y="229"/>
                  <a:pt x="241" y="228"/>
                  <a:pt x="239" y="228"/>
                </a:cubicBezTo>
                <a:cubicBezTo>
                  <a:pt x="238" y="228"/>
                  <a:pt x="236" y="228"/>
                  <a:pt x="235" y="229"/>
                </a:cubicBezTo>
                <a:cubicBezTo>
                  <a:pt x="236" y="228"/>
                  <a:pt x="236" y="226"/>
                  <a:pt x="238" y="227"/>
                </a:cubicBezTo>
                <a:cubicBezTo>
                  <a:pt x="239" y="224"/>
                  <a:pt x="242" y="212"/>
                  <a:pt x="235" y="216"/>
                </a:cubicBezTo>
                <a:cubicBezTo>
                  <a:pt x="234" y="216"/>
                  <a:pt x="234" y="217"/>
                  <a:pt x="234" y="217"/>
                </a:cubicBezTo>
                <a:cubicBezTo>
                  <a:pt x="233" y="217"/>
                  <a:pt x="232" y="217"/>
                  <a:pt x="232" y="217"/>
                </a:cubicBezTo>
                <a:cubicBezTo>
                  <a:pt x="231" y="218"/>
                  <a:pt x="231" y="219"/>
                  <a:pt x="229" y="219"/>
                </a:cubicBezTo>
                <a:cubicBezTo>
                  <a:pt x="228" y="220"/>
                  <a:pt x="227" y="219"/>
                  <a:pt x="225" y="219"/>
                </a:cubicBezTo>
                <a:cubicBezTo>
                  <a:pt x="224" y="218"/>
                  <a:pt x="223" y="219"/>
                  <a:pt x="221" y="218"/>
                </a:cubicBezTo>
                <a:cubicBezTo>
                  <a:pt x="221" y="217"/>
                  <a:pt x="222" y="215"/>
                  <a:pt x="221" y="214"/>
                </a:cubicBezTo>
                <a:cubicBezTo>
                  <a:pt x="221" y="212"/>
                  <a:pt x="219" y="211"/>
                  <a:pt x="218" y="210"/>
                </a:cubicBezTo>
                <a:cubicBezTo>
                  <a:pt x="217" y="208"/>
                  <a:pt x="215" y="208"/>
                  <a:pt x="214" y="206"/>
                </a:cubicBezTo>
                <a:cubicBezTo>
                  <a:pt x="213" y="205"/>
                  <a:pt x="214" y="203"/>
                  <a:pt x="214" y="202"/>
                </a:cubicBezTo>
                <a:cubicBezTo>
                  <a:pt x="211" y="201"/>
                  <a:pt x="209" y="204"/>
                  <a:pt x="207" y="204"/>
                </a:cubicBezTo>
                <a:cubicBezTo>
                  <a:pt x="204" y="205"/>
                  <a:pt x="201" y="206"/>
                  <a:pt x="198" y="206"/>
                </a:cubicBezTo>
                <a:cubicBezTo>
                  <a:pt x="195" y="206"/>
                  <a:pt x="192" y="206"/>
                  <a:pt x="190" y="204"/>
                </a:cubicBezTo>
                <a:cubicBezTo>
                  <a:pt x="189" y="202"/>
                  <a:pt x="189" y="201"/>
                  <a:pt x="187" y="201"/>
                </a:cubicBezTo>
                <a:cubicBezTo>
                  <a:pt x="186" y="201"/>
                  <a:pt x="184" y="201"/>
                  <a:pt x="182" y="201"/>
                </a:cubicBezTo>
                <a:cubicBezTo>
                  <a:pt x="182" y="200"/>
                  <a:pt x="180" y="199"/>
                  <a:pt x="179" y="197"/>
                </a:cubicBezTo>
                <a:cubicBezTo>
                  <a:pt x="178" y="195"/>
                  <a:pt x="179" y="195"/>
                  <a:pt x="176" y="195"/>
                </a:cubicBezTo>
                <a:cubicBezTo>
                  <a:pt x="175" y="195"/>
                  <a:pt x="173" y="195"/>
                  <a:pt x="172" y="194"/>
                </a:cubicBezTo>
                <a:cubicBezTo>
                  <a:pt x="170" y="193"/>
                  <a:pt x="171" y="191"/>
                  <a:pt x="171" y="190"/>
                </a:cubicBezTo>
                <a:cubicBezTo>
                  <a:pt x="167" y="189"/>
                  <a:pt x="163" y="189"/>
                  <a:pt x="159" y="189"/>
                </a:cubicBezTo>
                <a:cubicBezTo>
                  <a:pt x="155" y="189"/>
                  <a:pt x="151" y="188"/>
                  <a:pt x="150" y="192"/>
                </a:cubicBezTo>
                <a:cubicBezTo>
                  <a:pt x="148" y="193"/>
                  <a:pt x="149" y="196"/>
                  <a:pt x="146" y="197"/>
                </a:cubicBezTo>
                <a:cubicBezTo>
                  <a:pt x="145" y="198"/>
                  <a:pt x="142" y="197"/>
                  <a:pt x="140" y="197"/>
                </a:cubicBezTo>
                <a:cubicBezTo>
                  <a:pt x="139" y="198"/>
                  <a:pt x="139" y="199"/>
                  <a:pt x="139" y="200"/>
                </a:cubicBezTo>
                <a:cubicBezTo>
                  <a:pt x="138" y="200"/>
                  <a:pt x="138" y="200"/>
                  <a:pt x="137" y="200"/>
                </a:cubicBezTo>
                <a:cubicBezTo>
                  <a:pt x="137" y="201"/>
                  <a:pt x="137" y="201"/>
                  <a:pt x="136" y="202"/>
                </a:cubicBezTo>
                <a:cubicBezTo>
                  <a:pt x="135" y="203"/>
                  <a:pt x="135" y="203"/>
                  <a:pt x="133" y="202"/>
                </a:cubicBezTo>
                <a:cubicBezTo>
                  <a:pt x="132" y="202"/>
                  <a:pt x="132" y="201"/>
                  <a:pt x="131" y="200"/>
                </a:cubicBezTo>
                <a:cubicBezTo>
                  <a:pt x="130" y="200"/>
                  <a:pt x="130" y="200"/>
                  <a:pt x="129" y="200"/>
                </a:cubicBezTo>
                <a:cubicBezTo>
                  <a:pt x="128" y="202"/>
                  <a:pt x="128" y="203"/>
                  <a:pt x="128" y="204"/>
                </a:cubicBezTo>
                <a:cubicBezTo>
                  <a:pt x="130" y="204"/>
                  <a:pt x="131" y="204"/>
                  <a:pt x="131" y="206"/>
                </a:cubicBezTo>
                <a:cubicBezTo>
                  <a:pt x="132" y="208"/>
                  <a:pt x="131" y="209"/>
                  <a:pt x="131" y="211"/>
                </a:cubicBezTo>
                <a:cubicBezTo>
                  <a:pt x="130" y="214"/>
                  <a:pt x="131" y="217"/>
                  <a:pt x="128" y="219"/>
                </a:cubicBezTo>
                <a:cubicBezTo>
                  <a:pt x="128" y="219"/>
                  <a:pt x="127" y="219"/>
                  <a:pt x="127" y="220"/>
                </a:cubicBezTo>
                <a:cubicBezTo>
                  <a:pt x="126" y="220"/>
                  <a:pt x="126" y="220"/>
                  <a:pt x="126" y="220"/>
                </a:cubicBezTo>
                <a:cubicBezTo>
                  <a:pt x="125" y="220"/>
                  <a:pt x="126" y="221"/>
                  <a:pt x="125" y="221"/>
                </a:cubicBezTo>
                <a:cubicBezTo>
                  <a:pt x="123" y="222"/>
                  <a:pt x="123" y="220"/>
                  <a:pt x="122" y="223"/>
                </a:cubicBezTo>
                <a:cubicBezTo>
                  <a:pt x="122" y="224"/>
                  <a:pt x="122" y="225"/>
                  <a:pt x="120" y="225"/>
                </a:cubicBezTo>
                <a:cubicBezTo>
                  <a:pt x="118" y="225"/>
                  <a:pt x="117" y="225"/>
                  <a:pt x="115" y="225"/>
                </a:cubicBezTo>
                <a:cubicBezTo>
                  <a:pt x="115" y="227"/>
                  <a:pt x="113" y="226"/>
                  <a:pt x="113" y="228"/>
                </a:cubicBezTo>
                <a:cubicBezTo>
                  <a:pt x="111" y="229"/>
                  <a:pt x="110" y="228"/>
                  <a:pt x="108" y="227"/>
                </a:cubicBezTo>
                <a:cubicBezTo>
                  <a:pt x="107" y="227"/>
                  <a:pt x="106" y="227"/>
                  <a:pt x="105" y="227"/>
                </a:cubicBezTo>
                <a:close/>
              </a:path>
            </a:pathLst>
          </a:custGeom>
          <a:solidFill>
            <a:schemeClr val="accent5"/>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2" name="Freeform 440">
            <a:extLst>
              <a:ext uri="{FF2B5EF4-FFF2-40B4-BE49-F238E27FC236}">
                <a16:creationId xmlns:a16="http://schemas.microsoft.com/office/drawing/2014/main" id="{9B43DF0D-F7BD-4B38-8256-D9B7593C0C3D}"/>
              </a:ext>
            </a:extLst>
          </p:cNvPr>
          <p:cNvSpPr>
            <a:spLocks/>
          </p:cNvSpPr>
          <p:nvPr/>
        </p:nvSpPr>
        <p:spPr bwMode="auto">
          <a:xfrm>
            <a:off x="3169169" y="3641895"/>
            <a:ext cx="130984" cy="180818"/>
          </a:xfrm>
          <a:custGeom>
            <a:avLst/>
            <a:gdLst>
              <a:gd name="T0" fmla="*/ 51 w 53"/>
              <a:gd name="T1" fmla="*/ 19 h 73"/>
              <a:gd name="T2" fmla="*/ 52 w 53"/>
              <a:gd name="T3" fmla="*/ 15 h 73"/>
              <a:gd name="T4" fmla="*/ 50 w 53"/>
              <a:gd name="T5" fmla="*/ 12 h 73"/>
              <a:gd name="T6" fmla="*/ 50 w 53"/>
              <a:gd name="T7" fmla="*/ 7 h 73"/>
              <a:gd name="T8" fmla="*/ 45 w 53"/>
              <a:gd name="T9" fmla="*/ 7 h 73"/>
              <a:gd name="T10" fmla="*/ 45 w 53"/>
              <a:gd name="T11" fmla="*/ 1 h 73"/>
              <a:gd name="T12" fmla="*/ 44 w 53"/>
              <a:gd name="T13" fmla="*/ 0 h 73"/>
              <a:gd name="T14" fmla="*/ 41 w 53"/>
              <a:gd name="T15" fmla="*/ 3 h 73"/>
              <a:gd name="T16" fmla="*/ 41 w 53"/>
              <a:gd name="T17" fmla="*/ 3 h 73"/>
              <a:gd name="T18" fmla="*/ 40 w 53"/>
              <a:gd name="T19" fmla="*/ 6 h 73"/>
              <a:gd name="T20" fmla="*/ 36 w 53"/>
              <a:gd name="T21" fmla="*/ 4 h 73"/>
              <a:gd name="T22" fmla="*/ 35 w 53"/>
              <a:gd name="T23" fmla="*/ 7 h 73"/>
              <a:gd name="T24" fmla="*/ 35 w 53"/>
              <a:gd name="T25" fmla="*/ 9 h 73"/>
              <a:gd name="T26" fmla="*/ 33 w 53"/>
              <a:gd name="T27" fmla="*/ 10 h 73"/>
              <a:gd name="T28" fmla="*/ 32 w 53"/>
              <a:gd name="T29" fmla="*/ 16 h 73"/>
              <a:gd name="T30" fmla="*/ 28 w 53"/>
              <a:gd name="T31" fmla="*/ 13 h 73"/>
              <a:gd name="T32" fmla="*/ 25 w 53"/>
              <a:gd name="T33" fmla="*/ 16 h 73"/>
              <a:gd name="T34" fmla="*/ 22 w 53"/>
              <a:gd name="T35" fmla="*/ 14 h 73"/>
              <a:gd name="T36" fmla="*/ 21 w 53"/>
              <a:gd name="T37" fmla="*/ 17 h 73"/>
              <a:gd name="T38" fmla="*/ 18 w 53"/>
              <a:gd name="T39" fmla="*/ 20 h 73"/>
              <a:gd name="T40" fmla="*/ 14 w 53"/>
              <a:gd name="T41" fmla="*/ 20 h 73"/>
              <a:gd name="T42" fmla="*/ 10 w 53"/>
              <a:gd name="T43" fmla="*/ 19 h 73"/>
              <a:gd name="T44" fmla="*/ 10 w 53"/>
              <a:gd name="T45" fmla="*/ 22 h 73"/>
              <a:gd name="T46" fmla="*/ 5 w 53"/>
              <a:gd name="T47" fmla="*/ 24 h 73"/>
              <a:gd name="T48" fmla="*/ 4 w 53"/>
              <a:gd name="T49" fmla="*/ 30 h 73"/>
              <a:gd name="T50" fmla="*/ 1 w 53"/>
              <a:gd name="T51" fmla="*/ 35 h 73"/>
              <a:gd name="T52" fmla="*/ 4 w 53"/>
              <a:gd name="T53" fmla="*/ 41 h 73"/>
              <a:gd name="T54" fmla="*/ 4 w 53"/>
              <a:gd name="T55" fmla="*/ 43 h 73"/>
              <a:gd name="T56" fmla="*/ 5 w 53"/>
              <a:gd name="T57" fmla="*/ 47 h 73"/>
              <a:gd name="T58" fmla="*/ 7 w 53"/>
              <a:gd name="T59" fmla="*/ 50 h 73"/>
              <a:gd name="T60" fmla="*/ 7 w 53"/>
              <a:gd name="T61" fmla="*/ 54 h 73"/>
              <a:gd name="T62" fmla="*/ 9 w 53"/>
              <a:gd name="T63" fmla="*/ 58 h 73"/>
              <a:gd name="T64" fmla="*/ 8 w 53"/>
              <a:gd name="T65" fmla="*/ 62 h 73"/>
              <a:gd name="T66" fmla="*/ 9 w 53"/>
              <a:gd name="T67" fmla="*/ 66 h 73"/>
              <a:gd name="T68" fmla="*/ 12 w 53"/>
              <a:gd name="T69" fmla="*/ 67 h 73"/>
              <a:gd name="T70" fmla="*/ 15 w 53"/>
              <a:gd name="T71" fmla="*/ 57 h 73"/>
              <a:gd name="T72" fmla="*/ 19 w 53"/>
              <a:gd name="T73" fmla="*/ 70 h 73"/>
              <a:gd name="T74" fmla="*/ 30 w 53"/>
              <a:gd name="T75" fmla="*/ 65 h 73"/>
              <a:gd name="T76" fmla="*/ 29 w 53"/>
              <a:gd name="T77" fmla="*/ 61 h 73"/>
              <a:gd name="T78" fmla="*/ 28 w 53"/>
              <a:gd name="T79" fmla="*/ 56 h 73"/>
              <a:gd name="T80" fmla="*/ 31 w 53"/>
              <a:gd name="T81" fmla="*/ 51 h 73"/>
              <a:gd name="T82" fmla="*/ 36 w 53"/>
              <a:gd name="T83" fmla="*/ 48 h 73"/>
              <a:gd name="T84" fmla="*/ 34 w 53"/>
              <a:gd name="T85" fmla="*/ 42 h 73"/>
              <a:gd name="T86" fmla="*/ 34 w 53"/>
              <a:gd name="T87" fmla="*/ 35 h 73"/>
              <a:gd name="T88" fmla="*/ 37 w 53"/>
              <a:gd name="T89" fmla="*/ 39 h 73"/>
              <a:gd name="T90" fmla="*/ 44 w 53"/>
              <a:gd name="T91" fmla="*/ 35 h 73"/>
              <a:gd name="T92" fmla="*/ 46 w 53"/>
              <a:gd name="T93" fmla="*/ 38 h 73"/>
              <a:gd name="T94" fmla="*/ 48 w 53"/>
              <a:gd name="T95" fmla="*/ 36 h 73"/>
              <a:gd name="T96" fmla="*/ 50 w 53"/>
              <a:gd name="T97" fmla="*/ 33 h 73"/>
              <a:gd name="T98" fmla="*/ 51 w 53"/>
              <a:gd name="T99" fmla="*/ 33 h 73"/>
              <a:gd name="T100" fmla="*/ 53 w 53"/>
              <a:gd name="T101" fmla="*/ 23 h 73"/>
              <a:gd name="T102" fmla="*/ 51 w 53"/>
              <a:gd name="T103" fmla="*/ 1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 h="73">
                <a:moveTo>
                  <a:pt x="51" y="19"/>
                </a:moveTo>
                <a:cubicBezTo>
                  <a:pt x="51" y="17"/>
                  <a:pt x="52" y="16"/>
                  <a:pt x="52" y="15"/>
                </a:cubicBezTo>
                <a:cubicBezTo>
                  <a:pt x="52" y="13"/>
                  <a:pt x="50" y="13"/>
                  <a:pt x="50" y="12"/>
                </a:cubicBezTo>
                <a:cubicBezTo>
                  <a:pt x="49" y="10"/>
                  <a:pt x="49" y="9"/>
                  <a:pt x="50" y="7"/>
                </a:cubicBezTo>
                <a:cubicBezTo>
                  <a:pt x="48" y="7"/>
                  <a:pt x="45" y="7"/>
                  <a:pt x="45" y="7"/>
                </a:cubicBezTo>
                <a:cubicBezTo>
                  <a:pt x="46" y="5"/>
                  <a:pt x="46" y="3"/>
                  <a:pt x="45" y="1"/>
                </a:cubicBezTo>
                <a:cubicBezTo>
                  <a:pt x="44" y="0"/>
                  <a:pt x="44" y="0"/>
                  <a:pt x="44" y="0"/>
                </a:cubicBezTo>
                <a:cubicBezTo>
                  <a:pt x="42" y="1"/>
                  <a:pt x="42" y="2"/>
                  <a:pt x="41" y="3"/>
                </a:cubicBezTo>
                <a:cubicBezTo>
                  <a:pt x="41" y="3"/>
                  <a:pt x="41" y="3"/>
                  <a:pt x="41" y="3"/>
                </a:cubicBezTo>
                <a:cubicBezTo>
                  <a:pt x="41" y="4"/>
                  <a:pt x="41" y="6"/>
                  <a:pt x="40" y="6"/>
                </a:cubicBezTo>
                <a:cubicBezTo>
                  <a:pt x="38" y="7"/>
                  <a:pt x="37" y="5"/>
                  <a:pt x="36" y="4"/>
                </a:cubicBezTo>
                <a:cubicBezTo>
                  <a:pt x="36" y="5"/>
                  <a:pt x="35" y="5"/>
                  <a:pt x="35" y="7"/>
                </a:cubicBezTo>
                <a:cubicBezTo>
                  <a:pt x="35" y="7"/>
                  <a:pt x="35" y="8"/>
                  <a:pt x="35" y="9"/>
                </a:cubicBezTo>
                <a:cubicBezTo>
                  <a:pt x="34" y="9"/>
                  <a:pt x="34" y="9"/>
                  <a:pt x="33" y="10"/>
                </a:cubicBezTo>
                <a:cubicBezTo>
                  <a:pt x="32" y="12"/>
                  <a:pt x="34" y="14"/>
                  <a:pt x="32" y="16"/>
                </a:cubicBezTo>
                <a:cubicBezTo>
                  <a:pt x="31" y="15"/>
                  <a:pt x="30" y="13"/>
                  <a:pt x="28" y="13"/>
                </a:cubicBezTo>
                <a:cubicBezTo>
                  <a:pt x="26" y="13"/>
                  <a:pt x="25" y="14"/>
                  <a:pt x="25" y="16"/>
                </a:cubicBezTo>
                <a:cubicBezTo>
                  <a:pt x="24" y="16"/>
                  <a:pt x="23" y="15"/>
                  <a:pt x="22" y="14"/>
                </a:cubicBezTo>
                <a:cubicBezTo>
                  <a:pt x="21" y="15"/>
                  <a:pt x="22" y="16"/>
                  <a:pt x="21" y="17"/>
                </a:cubicBezTo>
                <a:cubicBezTo>
                  <a:pt x="20" y="18"/>
                  <a:pt x="19" y="19"/>
                  <a:pt x="18" y="20"/>
                </a:cubicBezTo>
                <a:cubicBezTo>
                  <a:pt x="17" y="21"/>
                  <a:pt x="16" y="20"/>
                  <a:pt x="14" y="20"/>
                </a:cubicBezTo>
                <a:cubicBezTo>
                  <a:pt x="13" y="19"/>
                  <a:pt x="12" y="19"/>
                  <a:pt x="10" y="19"/>
                </a:cubicBezTo>
                <a:cubicBezTo>
                  <a:pt x="10" y="20"/>
                  <a:pt x="10" y="21"/>
                  <a:pt x="10" y="22"/>
                </a:cubicBezTo>
                <a:cubicBezTo>
                  <a:pt x="8" y="22"/>
                  <a:pt x="7" y="24"/>
                  <a:pt x="5" y="24"/>
                </a:cubicBezTo>
                <a:cubicBezTo>
                  <a:pt x="4" y="26"/>
                  <a:pt x="5" y="28"/>
                  <a:pt x="4" y="30"/>
                </a:cubicBezTo>
                <a:cubicBezTo>
                  <a:pt x="4" y="32"/>
                  <a:pt x="2" y="33"/>
                  <a:pt x="1" y="35"/>
                </a:cubicBezTo>
                <a:cubicBezTo>
                  <a:pt x="0" y="38"/>
                  <a:pt x="3" y="38"/>
                  <a:pt x="4" y="41"/>
                </a:cubicBezTo>
                <a:cubicBezTo>
                  <a:pt x="4" y="42"/>
                  <a:pt x="3" y="42"/>
                  <a:pt x="4" y="43"/>
                </a:cubicBezTo>
                <a:cubicBezTo>
                  <a:pt x="4" y="44"/>
                  <a:pt x="5" y="46"/>
                  <a:pt x="5" y="47"/>
                </a:cubicBezTo>
                <a:cubicBezTo>
                  <a:pt x="6" y="48"/>
                  <a:pt x="6" y="49"/>
                  <a:pt x="7" y="50"/>
                </a:cubicBezTo>
                <a:cubicBezTo>
                  <a:pt x="7" y="51"/>
                  <a:pt x="7" y="52"/>
                  <a:pt x="7" y="54"/>
                </a:cubicBezTo>
                <a:cubicBezTo>
                  <a:pt x="7" y="55"/>
                  <a:pt x="9" y="56"/>
                  <a:pt x="9" y="58"/>
                </a:cubicBezTo>
                <a:cubicBezTo>
                  <a:pt x="9" y="59"/>
                  <a:pt x="8" y="61"/>
                  <a:pt x="8" y="62"/>
                </a:cubicBezTo>
                <a:cubicBezTo>
                  <a:pt x="8" y="63"/>
                  <a:pt x="8" y="65"/>
                  <a:pt x="9" y="66"/>
                </a:cubicBezTo>
                <a:cubicBezTo>
                  <a:pt x="9" y="66"/>
                  <a:pt x="12" y="68"/>
                  <a:pt x="12" y="67"/>
                </a:cubicBezTo>
                <a:cubicBezTo>
                  <a:pt x="12" y="65"/>
                  <a:pt x="11" y="54"/>
                  <a:pt x="15" y="57"/>
                </a:cubicBezTo>
                <a:cubicBezTo>
                  <a:pt x="19" y="60"/>
                  <a:pt x="16" y="67"/>
                  <a:pt x="19" y="70"/>
                </a:cubicBezTo>
                <a:cubicBezTo>
                  <a:pt x="22" y="73"/>
                  <a:pt x="30" y="69"/>
                  <a:pt x="30" y="65"/>
                </a:cubicBezTo>
                <a:cubicBezTo>
                  <a:pt x="30" y="64"/>
                  <a:pt x="29" y="62"/>
                  <a:pt x="29" y="61"/>
                </a:cubicBezTo>
                <a:cubicBezTo>
                  <a:pt x="28" y="60"/>
                  <a:pt x="27" y="57"/>
                  <a:pt x="28" y="56"/>
                </a:cubicBezTo>
                <a:cubicBezTo>
                  <a:pt x="29" y="54"/>
                  <a:pt x="31" y="53"/>
                  <a:pt x="31" y="51"/>
                </a:cubicBezTo>
                <a:cubicBezTo>
                  <a:pt x="32" y="49"/>
                  <a:pt x="33" y="48"/>
                  <a:pt x="36" y="48"/>
                </a:cubicBezTo>
                <a:cubicBezTo>
                  <a:pt x="36" y="45"/>
                  <a:pt x="34" y="44"/>
                  <a:pt x="34" y="42"/>
                </a:cubicBezTo>
                <a:cubicBezTo>
                  <a:pt x="34" y="40"/>
                  <a:pt x="33" y="37"/>
                  <a:pt x="34" y="35"/>
                </a:cubicBezTo>
                <a:cubicBezTo>
                  <a:pt x="37" y="34"/>
                  <a:pt x="35" y="38"/>
                  <a:pt x="37" y="39"/>
                </a:cubicBezTo>
                <a:cubicBezTo>
                  <a:pt x="40" y="41"/>
                  <a:pt x="42" y="36"/>
                  <a:pt x="44" y="35"/>
                </a:cubicBezTo>
                <a:cubicBezTo>
                  <a:pt x="46" y="35"/>
                  <a:pt x="46" y="37"/>
                  <a:pt x="46" y="38"/>
                </a:cubicBezTo>
                <a:cubicBezTo>
                  <a:pt x="46" y="37"/>
                  <a:pt x="48" y="36"/>
                  <a:pt x="48" y="36"/>
                </a:cubicBezTo>
                <a:cubicBezTo>
                  <a:pt x="49" y="35"/>
                  <a:pt x="49" y="33"/>
                  <a:pt x="50" y="33"/>
                </a:cubicBezTo>
                <a:cubicBezTo>
                  <a:pt x="51" y="32"/>
                  <a:pt x="51" y="32"/>
                  <a:pt x="51" y="33"/>
                </a:cubicBezTo>
                <a:cubicBezTo>
                  <a:pt x="52" y="29"/>
                  <a:pt x="53" y="26"/>
                  <a:pt x="53" y="23"/>
                </a:cubicBezTo>
                <a:cubicBezTo>
                  <a:pt x="53" y="21"/>
                  <a:pt x="52" y="20"/>
                  <a:pt x="51" y="19"/>
                </a:cubicBezTo>
                <a:close/>
              </a:path>
            </a:pathLst>
          </a:custGeom>
          <a:solidFill>
            <a:schemeClr val="accent5"/>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Freeform 441">
            <a:extLst>
              <a:ext uri="{FF2B5EF4-FFF2-40B4-BE49-F238E27FC236}">
                <a16:creationId xmlns:a16="http://schemas.microsoft.com/office/drawing/2014/main" id="{6C5A4FB5-DE1B-4010-A882-AC416D4257CC}"/>
              </a:ext>
            </a:extLst>
          </p:cNvPr>
          <p:cNvSpPr>
            <a:spLocks/>
          </p:cNvSpPr>
          <p:nvPr/>
        </p:nvSpPr>
        <p:spPr bwMode="auto">
          <a:xfrm>
            <a:off x="1900405" y="3678728"/>
            <a:ext cx="489524" cy="791356"/>
          </a:xfrm>
          <a:custGeom>
            <a:avLst/>
            <a:gdLst>
              <a:gd name="T0" fmla="*/ 196 w 198"/>
              <a:gd name="T1" fmla="*/ 72 h 318"/>
              <a:gd name="T2" fmla="*/ 185 w 198"/>
              <a:gd name="T3" fmla="*/ 58 h 318"/>
              <a:gd name="T4" fmla="*/ 175 w 198"/>
              <a:gd name="T5" fmla="*/ 34 h 318"/>
              <a:gd name="T6" fmla="*/ 167 w 198"/>
              <a:gd name="T7" fmla="*/ 21 h 318"/>
              <a:gd name="T8" fmla="*/ 128 w 198"/>
              <a:gd name="T9" fmla="*/ 0 h 318"/>
              <a:gd name="T10" fmla="*/ 123 w 198"/>
              <a:gd name="T11" fmla="*/ 8 h 318"/>
              <a:gd name="T12" fmla="*/ 128 w 198"/>
              <a:gd name="T13" fmla="*/ 15 h 318"/>
              <a:gd name="T14" fmla="*/ 121 w 198"/>
              <a:gd name="T15" fmla="*/ 21 h 318"/>
              <a:gd name="T16" fmla="*/ 114 w 198"/>
              <a:gd name="T17" fmla="*/ 29 h 318"/>
              <a:gd name="T18" fmla="*/ 100 w 198"/>
              <a:gd name="T19" fmla="*/ 25 h 318"/>
              <a:gd name="T20" fmla="*/ 75 w 198"/>
              <a:gd name="T21" fmla="*/ 29 h 318"/>
              <a:gd name="T22" fmla="*/ 85 w 198"/>
              <a:gd name="T23" fmla="*/ 38 h 318"/>
              <a:gd name="T24" fmla="*/ 87 w 198"/>
              <a:gd name="T25" fmla="*/ 60 h 318"/>
              <a:gd name="T26" fmla="*/ 80 w 198"/>
              <a:gd name="T27" fmla="*/ 71 h 318"/>
              <a:gd name="T28" fmla="*/ 71 w 198"/>
              <a:gd name="T29" fmla="*/ 82 h 318"/>
              <a:gd name="T30" fmla="*/ 57 w 198"/>
              <a:gd name="T31" fmla="*/ 87 h 318"/>
              <a:gd name="T32" fmla="*/ 45 w 198"/>
              <a:gd name="T33" fmla="*/ 96 h 318"/>
              <a:gd name="T34" fmla="*/ 37 w 198"/>
              <a:gd name="T35" fmla="*/ 104 h 318"/>
              <a:gd name="T36" fmla="*/ 34 w 198"/>
              <a:gd name="T37" fmla="*/ 118 h 318"/>
              <a:gd name="T38" fmla="*/ 17 w 198"/>
              <a:gd name="T39" fmla="*/ 142 h 318"/>
              <a:gd name="T40" fmla="*/ 25 w 198"/>
              <a:gd name="T41" fmla="*/ 147 h 318"/>
              <a:gd name="T42" fmla="*/ 13 w 198"/>
              <a:gd name="T43" fmla="*/ 150 h 318"/>
              <a:gd name="T44" fmla="*/ 19 w 198"/>
              <a:gd name="T45" fmla="*/ 163 h 318"/>
              <a:gd name="T46" fmla="*/ 21 w 198"/>
              <a:gd name="T47" fmla="*/ 183 h 318"/>
              <a:gd name="T48" fmla="*/ 11 w 198"/>
              <a:gd name="T49" fmla="*/ 196 h 318"/>
              <a:gd name="T50" fmla="*/ 18 w 198"/>
              <a:gd name="T51" fmla="*/ 204 h 318"/>
              <a:gd name="T52" fmla="*/ 12 w 198"/>
              <a:gd name="T53" fmla="*/ 217 h 318"/>
              <a:gd name="T54" fmla="*/ 26 w 198"/>
              <a:gd name="T55" fmla="*/ 225 h 318"/>
              <a:gd name="T56" fmla="*/ 32 w 198"/>
              <a:gd name="T57" fmla="*/ 235 h 318"/>
              <a:gd name="T58" fmla="*/ 31 w 198"/>
              <a:gd name="T59" fmla="*/ 239 h 318"/>
              <a:gd name="T60" fmla="*/ 18 w 198"/>
              <a:gd name="T61" fmla="*/ 236 h 318"/>
              <a:gd name="T62" fmla="*/ 5 w 198"/>
              <a:gd name="T63" fmla="*/ 249 h 318"/>
              <a:gd name="T64" fmla="*/ 1 w 198"/>
              <a:gd name="T65" fmla="*/ 266 h 318"/>
              <a:gd name="T66" fmla="*/ 0 w 198"/>
              <a:gd name="T67" fmla="*/ 269 h 318"/>
              <a:gd name="T68" fmla="*/ 11 w 198"/>
              <a:gd name="T69" fmla="*/ 273 h 318"/>
              <a:gd name="T70" fmla="*/ 24 w 198"/>
              <a:gd name="T71" fmla="*/ 296 h 318"/>
              <a:gd name="T72" fmla="*/ 35 w 198"/>
              <a:gd name="T73" fmla="*/ 296 h 318"/>
              <a:gd name="T74" fmla="*/ 37 w 198"/>
              <a:gd name="T75" fmla="*/ 310 h 318"/>
              <a:gd name="T76" fmla="*/ 51 w 198"/>
              <a:gd name="T77" fmla="*/ 313 h 318"/>
              <a:gd name="T78" fmla="*/ 56 w 198"/>
              <a:gd name="T79" fmla="*/ 303 h 318"/>
              <a:gd name="T80" fmla="*/ 66 w 198"/>
              <a:gd name="T81" fmla="*/ 288 h 318"/>
              <a:gd name="T82" fmla="*/ 81 w 198"/>
              <a:gd name="T83" fmla="*/ 278 h 318"/>
              <a:gd name="T84" fmla="*/ 89 w 198"/>
              <a:gd name="T85" fmla="*/ 267 h 318"/>
              <a:gd name="T86" fmla="*/ 92 w 198"/>
              <a:gd name="T87" fmla="*/ 243 h 318"/>
              <a:gd name="T88" fmla="*/ 85 w 198"/>
              <a:gd name="T89" fmla="*/ 231 h 318"/>
              <a:gd name="T90" fmla="*/ 79 w 198"/>
              <a:gd name="T91" fmla="*/ 213 h 318"/>
              <a:gd name="T92" fmla="*/ 101 w 198"/>
              <a:gd name="T93" fmla="*/ 207 h 318"/>
              <a:gd name="T94" fmla="*/ 113 w 198"/>
              <a:gd name="T95" fmla="*/ 217 h 318"/>
              <a:gd name="T96" fmla="*/ 111 w 198"/>
              <a:gd name="T97" fmla="*/ 207 h 318"/>
              <a:gd name="T98" fmla="*/ 105 w 198"/>
              <a:gd name="T99" fmla="*/ 184 h 318"/>
              <a:gd name="T100" fmla="*/ 103 w 198"/>
              <a:gd name="T101" fmla="*/ 161 h 318"/>
              <a:gd name="T102" fmla="*/ 112 w 198"/>
              <a:gd name="T103" fmla="*/ 161 h 318"/>
              <a:gd name="T104" fmla="*/ 138 w 198"/>
              <a:gd name="T105" fmla="*/ 151 h 318"/>
              <a:gd name="T106" fmla="*/ 145 w 198"/>
              <a:gd name="T107" fmla="*/ 142 h 318"/>
              <a:gd name="T108" fmla="*/ 153 w 198"/>
              <a:gd name="T109" fmla="*/ 128 h 318"/>
              <a:gd name="T110" fmla="*/ 164 w 198"/>
              <a:gd name="T111" fmla="*/ 115 h 318"/>
              <a:gd name="T112" fmla="*/ 168 w 198"/>
              <a:gd name="T113" fmla="*/ 99 h 318"/>
              <a:gd name="T114" fmla="*/ 183 w 198"/>
              <a:gd name="T115" fmla="*/ 8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318">
                <a:moveTo>
                  <a:pt x="186" y="84"/>
                </a:moveTo>
                <a:cubicBezTo>
                  <a:pt x="187" y="82"/>
                  <a:pt x="188" y="79"/>
                  <a:pt x="191" y="77"/>
                </a:cubicBezTo>
                <a:cubicBezTo>
                  <a:pt x="193" y="75"/>
                  <a:pt x="196" y="76"/>
                  <a:pt x="196" y="72"/>
                </a:cubicBezTo>
                <a:cubicBezTo>
                  <a:pt x="197" y="70"/>
                  <a:pt x="197" y="67"/>
                  <a:pt x="198" y="65"/>
                </a:cubicBezTo>
                <a:cubicBezTo>
                  <a:pt x="195" y="64"/>
                  <a:pt x="191" y="65"/>
                  <a:pt x="189" y="62"/>
                </a:cubicBezTo>
                <a:cubicBezTo>
                  <a:pt x="188" y="61"/>
                  <a:pt x="188" y="58"/>
                  <a:pt x="185" y="58"/>
                </a:cubicBezTo>
                <a:cubicBezTo>
                  <a:pt x="185" y="56"/>
                  <a:pt x="186" y="49"/>
                  <a:pt x="182" y="49"/>
                </a:cubicBezTo>
                <a:cubicBezTo>
                  <a:pt x="181" y="44"/>
                  <a:pt x="186" y="38"/>
                  <a:pt x="181" y="34"/>
                </a:cubicBezTo>
                <a:cubicBezTo>
                  <a:pt x="180" y="33"/>
                  <a:pt x="177" y="35"/>
                  <a:pt x="175" y="34"/>
                </a:cubicBezTo>
                <a:cubicBezTo>
                  <a:pt x="174" y="33"/>
                  <a:pt x="174" y="31"/>
                  <a:pt x="174" y="29"/>
                </a:cubicBezTo>
                <a:cubicBezTo>
                  <a:pt x="171" y="30"/>
                  <a:pt x="171" y="27"/>
                  <a:pt x="170" y="26"/>
                </a:cubicBezTo>
                <a:cubicBezTo>
                  <a:pt x="170" y="24"/>
                  <a:pt x="169" y="22"/>
                  <a:pt x="167" y="21"/>
                </a:cubicBezTo>
                <a:cubicBezTo>
                  <a:pt x="163" y="19"/>
                  <a:pt x="161" y="18"/>
                  <a:pt x="161" y="13"/>
                </a:cubicBezTo>
                <a:cubicBezTo>
                  <a:pt x="161" y="10"/>
                  <a:pt x="157" y="9"/>
                  <a:pt x="154" y="9"/>
                </a:cubicBezTo>
                <a:cubicBezTo>
                  <a:pt x="128" y="0"/>
                  <a:pt x="128" y="0"/>
                  <a:pt x="128" y="0"/>
                </a:cubicBezTo>
                <a:cubicBezTo>
                  <a:pt x="128" y="1"/>
                  <a:pt x="128" y="1"/>
                  <a:pt x="128" y="1"/>
                </a:cubicBezTo>
                <a:cubicBezTo>
                  <a:pt x="127" y="4"/>
                  <a:pt x="125" y="5"/>
                  <a:pt x="125" y="8"/>
                </a:cubicBezTo>
                <a:cubicBezTo>
                  <a:pt x="124" y="8"/>
                  <a:pt x="124" y="8"/>
                  <a:pt x="123" y="8"/>
                </a:cubicBezTo>
                <a:cubicBezTo>
                  <a:pt x="123" y="8"/>
                  <a:pt x="123" y="9"/>
                  <a:pt x="123" y="10"/>
                </a:cubicBezTo>
                <a:cubicBezTo>
                  <a:pt x="124" y="10"/>
                  <a:pt x="126" y="11"/>
                  <a:pt x="126" y="12"/>
                </a:cubicBezTo>
                <a:cubicBezTo>
                  <a:pt x="127" y="14"/>
                  <a:pt x="126" y="16"/>
                  <a:pt x="128" y="15"/>
                </a:cubicBezTo>
                <a:cubicBezTo>
                  <a:pt x="128" y="16"/>
                  <a:pt x="128" y="16"/>
                  <a:pt x="128" y="16"/>
                </a:cubicBezTo>
                <a:cubicBezTo>
                  <a:pt x="127" y="17"/>
                  <a:pt x="127" y="19"/>
                  <a:pt x="125" y="19"/>
                </a:cubicBezTo>
                <a:cubicBezTo>
                  <a:pt x="123" y="20"/>
                  <a:pt x="121" y="19"/>
                  <a:pt x="121" y="21"/>
                </a:cubicBezTo>
                <a:cubicBezTo>
                  <a:pt x="121" y="22"/>
                  <a:pt x="121" y="24"/>
                  <a:pt x="120" y="25"/>
                </a:cubicBezTo>
                <a:cubicBezTo>
                  <a:pt x="118" y="25"/>
                  <a:pt x="117" y="24"/>
                  <a:pt x="116" y="24"/>
                </a:cubicBezTo>
                <a:cubicBezTo>
                  <a:pt x="115" y="25"/>
                  <a:pt x="116" y="28"/>
                  <a:pt x="114" y="29"/>
                </a:cubicBezTo>
                <a:cubicBezTo>
                  <a:pt x="113" y="29"/>
                  <a:pt x="113" y="27"/>
                  <a:pt x="112" y="26"/>
                </a:cubicBezTo>
                <a:cubicBezTo>
                  <a:pt x="110" y="25"/>
                  <a:pt x="108" y="26"/>
                  <a:pt x="107" y="26"/>
                </a:cubicBezTo>
                <a:cubicBezTo>
                  <a:pt x="107" y="23"/>
                  <a:pt x="102" y="25"/>
                  <a:pt x="100" y="25"/>
                </a:cubicBezTo>
                <a:cubicBezTo>
                  <a:pt x="101" y="21"/>
                  <a:pt x="82" y="23"/>
                  <a:pt x="79" y="23"/>
                </a:cubicBezTo>
                <a:cubicBezTo>
                  <a:pt x="80" y="16"/>
                  <a:pt x="69" y="20"/>
                  <a:pt x="73" y="23"/>
                </a:cubicBezTo>
                <a:cubicBezTo>
                  <a:pt x="75" y="25"/>
                  <a:pt x="79" y="26"/>
                  <a:pt x="75" y="29"/>
                </a:cubicBezTo>
                <a:cubicBezTo>
                  <a:pt x="72" y="32"/>
                  <a:pt x="69" y="34"/>
                  <a:pt x="73" y="38"/>
                </a:cubicBezTo>
                <a:cubicBezTo>
                  <a:pt x="75" y="40"/>
                  <a:pt x="78" y="36"/>
                  <a:pt x="80" y="37"/>
                </a:cubicBezTo>
                <a:cubicBezTo>
                  <a:pt x="82" y="38"/>
                  <a:pt x="84" y="41"/>
                  <a:pt x="85" y="38"/>
                </a:cubicBezTo>
                <a:cubicBezTo>
                  <a:pt x="87" y="39"/>
                  <a:pt x="88" y="41"/>
                  <a:pt x="88" y="42"/>
                </a:cubicBezTo>
                <a:cubicBezTo>
                  <a:pt x="92" y="42"/>
                  <a:pt x="96" y="49"/>
                  <a:pt x="97" y="52"/>
                </a:cubicBezTo>
                <a:cubicBezTo>
                  <a:pt x="98" y="60"/>
                  <a:pt x="93" y="60"/>
                  <a:pt x="87" y="60"/>
                </a:cubicBezTo>
                <a:cubicBezTo>
                  <a:pt x="87" y="62"/>
                  <a:pt x="86" y="62"/>
                  <a:pt x="84" y="63"/>
                </a:cubicBezTo>
                <a:cubicBezTo>
                  <a:pt x="83" y="64"/>
                  <a:pt x="83" y="66"/>
                  <a:pt x="83" y="68"/>
                </a:cubicBezTo>
                <a:cubicBezTo>
                  <a:pt x="83" y="70"/>
                  <a:pt x="81" y="70"/>
                  <a:pt x="80" y="71"/>
                </a:cubicBezTo>
                <a:cubicBezTo>
                  <a:pt x="78" y="73"/>
                  <a:pt x="79" y="74"/>
                  <a:pt x="78" y="76"/>
                </a:cubicBezTo>
                <a:cubicBezTo>
                  <a:pt x="78" y="78"/>
                  <a:pt x="76" y="78"/>
                  <a:pt x="74" y="79"/>
                </a:cubicBezTo>
                <a:cubicBezTo>
                  <a:pt x="72" y="80"/>
                  <a:pt x="72" y="81"/>
                  <a:pt x="71" y="82"/>
                </a:cubicBezTo>
                <a:cubicBezTo>
                  <a:pt x="70" y="84"/>
                  <a:pt x="64" y="83"/>
                  <a:pt x="64" y="87"/>
                </a:cubicBezTo>
                <a:cubicBezTo>
                  <a:pt x="62" y="87"/>
                  <a:pt x="61" y="86"/>
                  <a:pt x="60" y="86"/>
                </a:cubicBezTo>
                <a:cubicBezTo>
                  <a:pt x="58" y="86"/>
                  <a:pt x="58" y="86"/>
                  <a:pt x="57" y="87"/>
                </a:cubicBezTo>
                <a:cubicBezTo>
                  <a:pt x="54" y="88"/>
                  <a:pt x="51" y="87"/>
                  <a:pt x="48" y="87"/>
                </a:cubicBezTo>
                <a:cubicBezTo>
                  <a:pt x="48" y="90"/>
                  <a:pt x="48" y="93"/>
                  <a:pt x="48" y="96"/>
                </a:cubicBezTo>
                <a:cubicBezTo>
                  <a:pt x="47" y="96"/>
                  <a:pt x="46" y="96"/>
                  <a:pt x="45" y="96"/>
                </a:cubicBezTo>
                <a:cubicBezTo>
                  <a:pt x="44" y="97"/>
                  <a:pt x="41" y="101"/>
                  <a:pt x="43" y="102"/>
                </a:cubicBezTo>
                <a:cubicBezTo>
                  <a:pt x="43" y="103"/>
                  <a:pt x="43" y="104"/>
                  <a:pt x="43" y="105"/>
                </a:cubicBezTo>
                <a:cubicBezTo>
                  <a:pt x="41" y="106"/>
                  <a:pt x="40" y="104"/>
                  <a:pt x="37" y="104"/>
                </a:cubicBezTo>
                <a:cubicBezTo>
                  <a:pt x="37" y="106"/>
                  <a:pt x="37" y="108"/>
                  <a:pt x="37" y="110"/>
                </a:cubicBezTo>
                <a:cubicBezTo>
                  <a:pt x="35" y="111"/>
                  <a:pt x="33" y="110"/>
                  <a:pt x="33" y="112"/>
                </a:cubicBezTo>
                <a:cubicBezTo>
                  <a:pt x="33" y="114"/>
                  <a:pt x="34" y="116"/>
                  <a:pt x="34" y="118"/>
                </a:cubicBezTo>
                <a:cubicBezTo>
                  <a:pt x="35" y="121"/>
                  <a:pt x="33" y="124"/>
                  <a:pt x="29" y="124"/>
                </a:cubicBezTo>
                <a:cubicBezTo>
                  <a:pt x="29" y="129"/>
                  <a:pt x="32" y="140"/>
                  <a:pt x="24" y="141"/>
                </a:cubicBezTo>
                <a:cubicBezTo>
                  <a:pt x="17" y="142"/>
                  <a:pt x="17" y="142"/>
                  <a:pt x="17" y="142"/>
                </a:cubicBezTo>
                <a:cubicBezTo>
                  <a:pt x="15" y="141"/>
                  <a:pt x="14" y="140"/>
                  <a:pt x="13" y="139"/>
                </a:cubicBezTo>
                <a:cubicBezTo>
                  <a:pt x="14" y="141"/>
                  <a:pt x="16" y="142"/>
                  <a:pt x="19" y="142"/>
                </a:cubicBezTo>
                <a:cubicBezTo>
                  <a:pt x="22" y="143"/>
                  <a:pt x="26" y="143"/>
                  <a:pt x="25" y="147"/>
                </a:cubicBezTo>
                <a:cubicBezTo>
                  <a:pt x="24" y="149"/>
                  <a:pt x="22" y="150"/>
                  <a:pt x="21" y="150"/>
                </a:cubicBezTo>
                <a:cubicBezTo>
                  <a:pt x="19" y="150"/>
                  <a:pt x="18" y="153"/>
                  <a:pt x="16" y="152"/>
                </a:cubicBezTo>
                <a:cubicBezTo>
                  <a:pt x="16" y="150"/>
                  <a:pt x="15" y="150"/>
                  <a:pt x="13" y="150"/>
                </a:cubicBezTo>
                <a:cubicBezTo>
                  <a:pt x="13" y="152"/>
                  <a:pt x="14" y="153"/>
                  <a:pt x="14" y="154"/>
                </a:cubicBezTo>
                <a:cubicBezTo>
                  <a:pt x="14" y="156"/>
                  <a:pt x="14" y="158"/>
                  <a:pt x="14" y="160"/>
                </a:cubicBezTo>
                <a:cubicBezTo>
                  <a:pt x="15" y="162"/>
                  <a:pt x="18" y="161"/>
                  <a:pt x="19" y="163"/>
                </a:cubicBezTo>
                <a:cubicBezTo>
                  <a:pt x="23" y="168"/>
                  <a:pt x="16" y="173"/>
                  <a:pt x="17" y="178"/>
                </a:cubicBezTo>
                <a:cubicBezTo>
                  <a:pt x="18" y="179"/>
                  <a:pt x="20" y="177"/>
                  <a:pt x="22" y="177"/>
                </a:cubicBezTo>
                <a:cubicBezTo>
                  <a:pt x="22" y="179"/>
                  <a:pt x="21" y="181"/>
                  <a:pt x="21" y="183"/>
                </a:cubicBezTo>
                <a:cubicBezTo>
                  <a:pt x="21" y="185"/>
                  <a:pt x="21" y="188"/>
                  <a:pt x="20" y="190"/>
                </a:cubicBezTo>
                <a:cubicBezTo>
                  <a:pt x="20" y="191"/>
                  <a:pt x="13" y="194"/>
                  <a:pt x="13" y="192"/>
                </a:cubicBezTo>
                <a:cubicBezTo>
                  <a:pt x="13" y="194"/>
                  <a:pt x="12" y="194"/>
                  <a:pt x="11" y="196"/>
                </a:cubicBezTo>
                <a:cubicBezTo>
                  <a:pt x="11" y="197"/>
                  <a:pt x="11" y="198"/>
                  <a:pt x="11" y="200"/>
                </a:cubicBezTo>
                <a:cubicBezTo>
                  <a:pt x="12" y="200"/>
                  <a:pt x="13" y="199"/>
                  <a:pt x="14" y="198"/>
                </a:cubicBezTo>
                <a:cubicBezTo>
                  <a:pt x="16" y="200"/>
                  <a:pt x="18" y="201"/>
                  <a:pt x="18" y="204"/>
                </a:cubicBezTo>
                <a:cubicBezTo>
                  <a:pt x="17" y="208"/>
                  <a:pt x="17" y="209"/>
                  <a:pt x="13" y="209"/>
                </a:cubicBezTo>
                <a:cubicBezTo>
                  <a:pt x="12" y="210"/>
                  <a:pt x="14" y="211"/>
                  <a:pt x="14" y="213"/>
                </a:cubicBezTo>
                <a:cubicBezTo>
                  <a:pt x="13" y="215"/>
                  <a:pt x="11" y="215"/>
                  <a:pt x="12" y="217"/>
                </a:cubicBezTo>
                <a:cubicBezTo>
                  <a:pt x="14" y="216"/>
                  <a:pt x="16" y="213"/>
                  <a:pt x="19" y="215"/>
                </a:cubicBezTo>
                <a:cubicBezTo>
                  <a:pt x="21" y="216"/>
                  <a:pt x="20" y="219"/>
                  <a:pt x="22" y="220"/>
                </a:cubicBezTo>
                <a:cubicBezTo>
                  <a:pt x="23" y="223"/>
                  <a:pt x="22" y="225"/>
                  <a:pt x="26" y="225"/>
                </a:cubicBezTo>
                <a:cubicBezTo>
                  <a:pt x="26" y="226"/>
                  <a:pt x="26" y="227"/>
                  <a:pt x="26" y="227"/>
                </a:cubicBezTo>
                <a:cubicBezTo>
                  <a:pt x="29" y="228"/>
                  <a:pt x="33" y="227"/>
                  <a:pt x="34" y="230"/>
                </a:cubicBezTo>
                <a:cubicBezTo>
                  <a:pt x="35" y="232"/>
                  <a:pt x="31" y="233"/>
                  <a:pt x="32" y="235"/>
                </a:cubicBezTo>
                <a:cubicBezTo>
                  <a:pt x="33" y="235"/>
                  <a:pt x="33" y="235"/>
                  <a:pt x="33" y="235"/>
                </a:cubicBezTo>
                <a:cubicBezTo>
                  <a:pt x="33" y="236"/>
                  <a:pt x="31" y="237"/>
                  <a:pt x="32" y="238"/>
                </a:cubicBezTo>
                <a:cubicBezTo>
                  <a:pt x="31" y="239"/>
                  <a:pt x="31" y="238"/>
                  <a:pt x="31" y="239"/>
                </a:cubicBezTo>
                <a:cubicBezTo>
                  <a:pt x="29" y="240"/>
                  <a:pt x="29" y="240"/>
                  <a:pt x="28" y="241"/>
                </a:cubicBezTo>
                <a:cubicBezTo>
                  <a:pt x="26" y="241"/>
                  <a:pt x="24" y="241"/>
                  <a:pt x="22" y="240"/>
                </a:cubicBezTo>
                <a:cubicBezTo>
                  <a:pt x="20" y="240"/>
                  <a:pt x="19" y="237"/>
                  <a:pt x="18" y="236"/>
                </a:cubicBezTo>
                <a:cubicBezTo>
                  <a:pt x="16" y="235"/>
                  <a:pt x="11" y="243"/>
                  <a:pt x="8" y="242"/>
                </a:cubicBezTo>
                <a:cubicBezTo>
                  <a:pt x="8" y="243"/>
                  <a:pt x="8" y="243"/>
                  <a:pt x="8" y="243"/>
                </a:cubicBezTo>
                <a:cubicBezTo>
                  <a:pt x="5" y="244"/>
                  <a:pt x="8" y="248"/>
                  <a:pt x="5" y="249"/>
                </a:cubicBezTo>
                <a:cubicBezTo>
                  <a:pt x="2" y="249"/>
                  <a:pt x="3" y="255"/>
                  <a:pt x="4" y="256"/>
                </a:cubicBezTo>
                <a:cubicBezTo>
                  <a:pt x="5" y="258"/>
                  <a:pt x="10" y="260"/>
                  <a:pt x="6" y="262"/>
                </a:cubicBezTo>
                <a:cubicBezTo>
                  <a:pt x="4" y="263"/>
                  <a:pt x="0" y="262"/>
                  <a:pt x="1" y="266"/>
                </a:cubicBezTo>
                <a:cubicBezTo>
                  <a:pt x="2" y="266"/>
                  <a:pt x="3" y="267"/>
                  <a:pt x="3" y="267"/>
                </a:cubicBezTo>
                <a:cubicBezTo>
                  <a:pt x="2" y="268"/>
                  <a:pt x="1" y="268"/>
                  <a:pt x="1" y="268"/>
                </a:cubicBezTo>
                <a:cubicBezTo>
                  <a:pt x="0" y="269"/>
                  <a:pt x="0" y="269"/>
                  <a:pt x="0" y="269"/>
                </a:cubicBezTo>
                <a:cubicBezTo>
                  <a:pt x="1" y="269"/>
                  <a:pt x="2" y="268"/>
                  <a:pt x="3" y="269"/>
                </a:cubicBezTo>
                <a:cubicBezTo>
                  <a:pt x="4" y="270"/>
                  <a:pt x="4" y="271"/>
                  <a:pt x="5" y="272"/>
                </a:cubicBezTo>
                <a:cubicBezTo>
                  <a:pt x="6" y="273"/>
                  <a:pt x="10" y="274"/>
                  <a:pt x="11" y="273"/>
                </a:cubicBezTo>
                <a:cubicBezTo>
                  <a:pt x="14" y="269"/>
                  <a:pt x="21" y="280"/>
                  <a:pt x="22" y="282"/>
                </a:cubicBezTo>
                <a:cubicBezTo>
                  <a:pt x="23" y="285"/>
                  <a:pt x="24" y="287"/>
                  <a:pt x="25" y="290"/>
                </a:cubicBezTo>
                <a:cubicBezTo>
                  <a:pt x="26" y="292"/>
                  <a:pt x="23" y="293"/>
                  <a:pt x="24" y="296"/>
                </a:cubicBezTo>
                <a:cubicBezTo>
                  <a:pt x="26" y="297"/>
                  <a:pt x="28" y="294"/>
                  <a:pt x="31" y="294"/>
                </a:cubicBezTo>
                <a:cubicBezTo>
                  <a:pt x="31" y="295"/>
                  <a:pt x="31" y="296"/>
                  <a:pt x="31" y="297"/>
                </a:cubicBezTo>
                <a:cubicBezTo>
                  <a:pt x="33" y="298"/>
                  <a:pt x="33" y="296"/>
                  <a:pt x="35" y="296"/>
                </a:cubicBezTo>
                <a:cubicBezTo>
                  <a:pt x="35" y="297"/>
                  <a:pt x="35" y="297"/>
                  <a:pt x="35" y="297"/>
                </a:cubicBezTo>
                <a:cubicBezTo>
                  <a:pt x="36" y="298"/>
                  <a:pt x="33" y="300"/>
                  <a:pt x="35" y="302"/>
                </a:cubicBezTo>
                <a:cubicBezTo>
                  <a:pt x="37" y="304"/>
                  <a:pt x="37" y="307"/>
                  <a:pt x="37" y="310"/>
                </a:cubicBezTo>
                <a:cubicBezTo>
                  <a:pt x="36" y="318"/>
                  <a:pt x="40" y="312"/>
                  <a:pt x="45" y="312"/>
                </a:cubicBezTo>
                <a:cubicBezTo>
                  <a:pt x="47" y="312"/>
                  <a:pt x="49" y="314"/>
                  <a:pt x="51" y="313"/>
                </a:cubicBezTo>
                <a:cubicBezTo>
                  <a:pt x="51" y="313"/>
                  <a:pt x="51" y="313"/>
                  <a:pt x="51" y="313"/>
                </a:cubicBezTo>
                <a:cubicBezTo>
                  <a:pt x="51" y="313"/>
                  <a:pt x="51" y="313"/>
                  <a:pt x="51" y="313"/>
                </a:cubicBezTo>
                <a:cubicBezTo>
                  <a:pt x="51" y="313"/>
                  <a:pt x="51" y="312"/>
                  <a:pt x="51" y="311"/>
                </a:cubicBezTo>
                <a:cubicBezTo>
                  <a:pt x="52" y="308"/>
                  <a:pt x="54" y="306"/>
                  <a:pt x="56" y="303"/>
                </a:cubicBezTo>
                <a:cubicBezTo>
                  <a:pt x="58" y="300"/>
                  <a:pt x="58" y="296"/>
                  <a:pt x="59" y="293"/>
                </a:cubicBezTo>
                <a:cubicBezTo>
                  <a:pt x="61" y="292"/>
                  <a:pt x="62" y="291"/>
                  <a:pt x="64" y="289"/>
                </a:cubicBezTo>
                <a:cubicBezTo>
                  <a:pt x="65" y="289"/>
                  <a:pt x="65" y="288"/>
                  <a:pt x="66" y="288"/>
                </a:cubicBezTo>
                <a:cubicBezTo>
                  <a:pt x="67" y="288"/>
                  <a:pt x="69" y="289"/>
                  <a:pt x="70" y="288"/>
                </a:cubicBezTo>
                <a:cubicBezTo>
                  <a:pt x="73" y="286"/>
                  <a:pt x="74" y="281"/>
                  <a:pt x="76" y="278"/>
                </a:cubicBezTo>
                <a:cubicBezTo>
                  <a:pt x="78" y="278"/>
                  <a:pt x="79" y="278"/>
                  <a:pt x="81" y="278"/>
                </a:cubicBezTo>
                <a:cubicBezTo>
                  <a:pt x="81" y="274"/>
                  <a:pt x="81" y="273"/>
                  <a:pt x="78" y="271"/>
                </a:cubicBezTo>
                <a:cubicBezTo>
                  <a:pt x="79" y="271"/>
                  <a:pt x="82" y="271"/>
                  <a:pt x="84" y="271"/>
                </a:cubicBezTo>
                <a:cubicBezTo>
                  <a:pt x="84" y="268"/>
                  <a:pt x="87" y="269"/>
                  <a:pt x="89" y="267"/>
                </a:cubicBezTo>
                <a:cubicBezTo>
                  <a:pt x="91" y="266"/>
                  <a:pt x="91" y="262"/>
                  <a:pt x="91" y="260"/>
                </a:cubicBezTo>
                <a:cubicBezTo>
                  <a:pt x="92" y="260"/>
                  <a:pt x="93" y="260"/>
                  <a:pt x="94" y="260"/>
                </a:cubicBezTo>
                <a:cubicBezTo>
                  <a:pt x="95" y="254"/>
                  <a:pt x="92" y="248"/>
                  <a:pt x="92" y="243"/>
                </a:cubicBezTo>
                <a:cubicBezTo>
                  <a:pt x="92" y="240"/>
                  <a:pt x="93" y="237"/>
                  <a:pt x="92" y="235"/>
                </a:cubicBezTo>
                <a:cubicBezTo>
                  <a:pt x="91" y="233"/>
                  <a:pt x="89" y="233"/>
                  <a:pt x="88" y="231"/>
                </a:cubicBezTo>
                <a:cubicBezTo>
                  <a:pt x="88" y="231"/>
                  <a:pt x="86" y="230"/>
                  <a:pt x="85" y="231"/>
                </a:cubicBezTo>
                <a:cubicBezTo>
                  <a:pt x="85" y="226"/>
                  <a:pt x="90" y="222"/>
                  <a:pt x="88" y="218"/>
                </a:cubicBezTo>
                <a:cubicBezTo>
                  <a:pt x="87" y="215"/>
                  <a:pt x="83" y="217"/>
                  <a:pt x="83" y="213"/>
                </a:cubicBezTo>
                <a:cubicBezTo>
                  <a:pt x="82" y="213"/>
                  <a:pt x="80" y="214"/>
                  <a:pt x="79" y="213"/>
                </a:cubicBezTo>
                <a:cubicBezTo>
                  <a:pt x="77" y="209"/>
                  <a:pt x="80" y="206"/>
                  <a:pt x="80" y="202"/>
                </a:cubicBezTo>
                <a:cubicBezTo>
                  <a:pt x="82" y="202"/>
                  <a:pt x="86" y="201"/>
                  <a:pt x="86" y="204"/>
                </a:cubicBezTo>
                <a:cubicBezTo>
                  <a:pt x="91" y="205"/>
                  <a:pt x="97" y="204"/>
                  <a:pt x="101" y="207"/>
                </a:cubicBezTo>
                <a:cubicBezTo>
                  <a:pt x="101" y="209"/>
                  <a:pt x="99" y="215"/>
                  <a:pt x="103" y="214"/>
                </a:cubicBezTo>
                <a:cubicBezTo>
                  <a:pt x="103" y="210"/>
                  <a:pt x="111" y="211"/>
                  <a:pt x="113" y="212"/>
                </a:cubicBezTo>
                <a:cubicBezTo>
                  <a:pt x="114" y="214"/>
                  <a:pt x="113" y="216"/>
                  <a:pt x="113" y="217"/>
                </a:cubicBezTo>
                <a:cubicBezTo>
                  <a:pt x="116" y="218"/>
                  <a:pt x="117" y="216"/>
                  <a:pt x="118" y="215"/>
                </a:cubicBezTo>
                <a:cubicBezTo>
                  <a:pt x="119" y="212"/>
                  <a:pt x="120" y="209"/>
                  <a:pt x="118" y="207"/>
                </a:cubicBezTo>
                <a:cubicBezTo>
                  <a:pt x="118" y="207"/>
                  <a:pt x="112" y="207"/>
                  <a:pt x="111" y="207"/>
                </a:cubicBezTo>
                <a:cubicBezTo>
                  <a:pt x="109" y="207"/>
                  <a:pt x="105" y="207"/>
                  <a:pt x="104" y="204"/>
                </a:cubicBezTo>
                <a:cubicBezTo>
                  <a:pt x="104" y="202"/>
                  <a:pt x="105" y="199"/>
                  <a:pt x="105" y="197"/>
                </a:cubicBezTo>
                <a:cubicBezTo>
                  <a:pt x="106" y="193"/>
                  <a:pt x="108" y="188"/>
                  <a:pt x="105" y="184"/>
                </a:cubicBezTo>
                <a:cubicBezTo>
                  <a:pt x="105" y="183"/>
                  <a:pt x="103" y="184"/>
                  <a:pt x="103" y="182"/>
                </a:cubicBezTo>
                <a:cubicBezTo>
                  <a:pt x="103" y="180"/>
                  <a:pt x="103" y="178"/>
                  <a:pt x="103" y="177"/>
                </a:cubicBezTo>
                <a:cubicBezTo>
                  <a:pt x="103" y="172"/>
                  <a:pt x="103" y="167"/>
                  <a:pt x="103" y="161"/>
                </a:cubicBezTo>
                <a:cubicBezTo>
                  <a:pt x="104" y="161"/>
                  <a:pt x="105" y="162"/>
                  <a:pt x="106" y="162"/>
                </a:cubicBezTo>
                <a:cubicBezTo>
                  <a:pt x="106" y="164"/>
                  <a:pt x="107" y="166"/>
                  <a:pt x="109" y="166"/>
                </a:cubicBezTo>
                <a:cubicBezTo>
                  <a:pt x="111" y="165"/>
                  <a:pt x="112" y="163"/>
                  <a:pt x="112" y="161"/>
                </a:cubicBezTo>
                <a:cubicBezTo>
                  <a:pt x="114" y="158"/>
                  <a:pt x="116" y="154"/>
                  <a:pt x="116" y="149"/>
                </a:cubicBezTo>
                <a:cubicBezTo>
                  <a:pt x="121" y="149"/>
                  <a:pt x="126" y="150"/>
                  <a:pt x="132" y="150"/>
                </a:cubicBezTo>
                <a:cubicBezTo>
                  <a:pt x="133" y="150"/>
                  <a:pt x="136" y="149"/>
                  <a:pt x="138" y="151"/>
                </a:cubicBezTo>
                <a:cubicBezTo>
                  <a:pt x="139" y="152"/>
                  <a:pt x="141" y="152"/>
                  <a:pt x="143" y="152"/>
                </a:cubicBezTo>
                <a:cubicBezTo>
                  <a:pt x="143" y="150"/>
                  <a:pt x="144" y="149"/>
                  <a:pt x="145" y="147"/>
                </a:cubicBezTo>
                <a:cubicBezTo>
                  <a:pt x="145" y="146"/>
                  <a:pt x="145" y="144"/>
                  <a:pt x="145" y="142"/>
                </a:cubicBezTo>
                <a:cubicBezTo>
                  <a:pt x="147" y="140"/>
                  <a:pt x="152" y="141"/>
                  <a:pt x="154" y="141"/>
                </a:cubicBezTo>
                <a:cubicBezTo>
                  <a:pt x="155" y="139"/>
                  <a:pt x="152" y="138"/>
                  <a:pt x="152" y="136"/>
                </a:cubicBezTo>
                <a:cubicBezTo>
                  <a:pt x="152" y="134"/>
                  <a:pt x="152" y="130"/>
                  <a:pt x="153" y="128"/>
                </a:cubicBezTo>
                <a:cubicBezTo>
                  <a:pt x="154" y="127"/>
                  <a:pt x="157" y="127"/>
                  <a:pt x="157" y="125"/>
                </a:cubicBezTo>
                <a:cubicBezTo>
                  <a:pt x="157" y="124"/>
                  <a:pt x="156" y="122"/>
                  <a:pt x="158" y="122"/>
                </a:cubicBezTo>
                <a:cubicBezTo>
                  <a:pt x="159" y="118"/>
                  <a:pt x="161" y="117"/>
                  <a:pt x="164" y="115"/>
                </a:cubicBezTo>
                <a:cubicBezTo>
                  <a:pt x="163" y="112"/>
                  <a:pt x="159" y="111"/>
                  <a:pt x="161" y="107"/>
                </a:cubicBezTo>
                <a:cubicBezTo>
                  <a:pt x="162" y="105"/>
                  <a:pt x="164" y="107"/>
                  <a:pt x="164" y="104"/>
                </a:cubicBezTo>
                <a:cubicBezTo>
                  <a:pt x="164" y="102"/>
                  <a:pt x="167" y="100"/>
                  <a:pt x="168" y="99"/>
                </a:cubicBezTo>
                <a:cubicBezTo>
                  <a:pt x="171" y="97"/>
                  <a:pt x="176" y="94"/>
                  <a:pt x="179" y="93"/>
                </a:cubicBezTo>
                <a:cubicBezTo>
                  <a:pt x="185" y="92"/>
                  <a:pt x="184" y="90"/>
                  <a:pt x="184" y="85"/>
                </a:cubicBezTo>
                <a:cubicBezTo>
                  <a:pt x="183" y="84"/>
                  <a:pt x="183" y="84"/>
                  <a:pt x="183" y="84"/>
                </a:cubicBezTo>
                <a:cubicBezTo>
                  <a:pt x="184" y="84"/>
                  <a:pt x="185" y="84"/>
                  <a:pt x="186" y="84"/>
                </a:cubicBezTo>
                <a:close/>
              </a:path>
            </a:pathLst>
          </a:custGeom>
          <a:solidFill>
            <a:schemeClr val="accent5"/>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4" name="Freeform 442">
            <a:extLst>
              <a:ext uri="{FF2B5EF4-FFF2-40B4-BE49-F238E27FC236}">
                <a16:creationId xmlns:a16="http://schemas.microsoft.com/office/drawing/2014/main" id="{75E61FCE-01AD-4335-9B8B-5038F0335043}"/>
              </a:ext>
            </a:extLst>
          </p:cNvPr>
          <p:cNvSpPr>
            <a:spLocks/>
          </p:cNvSpPr>
          <p:nvPr/>
        </p:nvSpPr>
        <p:spPr bwMode="auto">
          <a:xfrm>
            <a:off x="2979353" y="3188735"/>
            <a:ext cx="707088" cy="482180"/>
          </a:xfrm>
          <a:custGeom>
            <a:avLst/>
            <a:gdLst>
              <a:gd name="T0" fmla="*/ 13 w 286"/>
              <a:gd name="T1" fmla="*/ 76 h 194"/>
              <a:gd name="T2" fmla="*/ 12 w 286"/>
              <a:gd name="T3" fmla="*/ 92 h 194"/>
              <a:gd name="T4" fmla="*/ 2 w 286"/>
              <a:gd name="T5" fmla="*/ 104 h 194"/>
              <a:gd name="T6" fmla="*/ 3 w 286"/>
              <a:gd name="T7" fmla="*/ 129 h 194"/>
              <a:gd name="T8" fmla="*/ 15 w 286"/>
              <a:gd name="T9" fmla="*/ 124 h 194"/>
              <a:gd name="T10" fmla="*/ 32 w 286"/>
              <a:gd name="T11" fmla="*/ 113 h 194"/>
              <a:gd name="T12" fmla="*/ 53 w 286"/>
              <a:gd name="T13" fmla="*/ 114 h 194"/>
              <a:gd name="T14" fmla="*/ 70 w 286"/>
              <a:gd name="T15" fmla="*/ 120 h 194"/>
              <a:gd name="T16" fmla="*/ 80 w 286"/>
              <a:gd name="T17" fmla="*/ 123 h 194"/>
              <a:gd name="T18" fmla="*/ 90 w 286"/>
              <a:gd name="T19" fmla="*/ 113 h 194"/>
              <a:gd name="T20" fmla="*/ 101 w 286"/>
              <a:gd name="T21" fmla="*/ 110 h 194"/>
              <a:gd name="T22" fmla="*/ 124 w 286"/>
              <a:gd name="T23" fmla="*/ 106 h 194"/>
              <a:gd name="T24" fmla="*/ 121 w 286"/>
              <a:gd name="T25" fmla="*/ 122 h 194"/>
              <a:gd name="T26" fmla="*/ 143 w 286"/>
              <a:gd name="T27" fmla="*/ 125 h 194"/>
              <a:gd name="T28" fmla="*/ 145 w 286"/>
              <a:gd name="T29" fmla="*/ 144 h 194"/>
              <a:gd name="T30" fmla="*/ 118 w 286"/>
              <a:gd name="T31" fmla="*/ 158 h 194"/>
              <a:gd name="T32" fmla="*/ 122 w 286"/>
              <a:gd name="T33" fmla="*/ 181 h 194"/>
              <a:gd name="T34" fmla="*/ 132 w 286"/>
              <a:gd name="T35" fmla="*/ 194 h 194"/>
              <a:gd name="T36" fmla="*/ 141 w 286"/>
              <a:gd name="T37" fmla="*/ 185 h 194"/>
              <a:gd name="T38" fmla="*/ 154 w 286"/>
              <a:gd name="T39" fmla="*/ 180 h 194"/>
              <a:gd name="T40" fmla="*/ 162 w 286"/>
              <a:gd name="T41" fmla="*/ 159 h 194"/>
              <a:gd name="T42" fmla="*/ 170 w 286"/>
              <a:gd name="T43" fmla="*/ 148 h 194"/>
              <a:gd name="T44" fmla="*/ 178 w 286"/>
              <a:gd name="T45" fmla="*/ 137 h 194"/>
              <a:gd name="T46" fmla="*/ 171 w 286"/>
              <a:gd name="T47" fmla="*/ 123 h 194"/>
              <a:gd name="T48" fmla="*/ 186 w 286"/>
              <a:gd name="T49" fmla="*/ 109 h 194"/>
              <a:gd name="T50" fmla="*/ 194 w 286"/>
              <a:gd name="T51" fmla="*/ 109 h 194"/>
              <a:gd name="T52" fmla="*/ 203 w 286"/>
              <a:gd name="T53" fmla="*/ 86 h 194"/>
              <a:gd name="T54" fmla="*/ 212 w 286"/>
              <a:gd name="T55" fmla="*/ 79 h 194"/>
              <a:gd name="T56" fmla="*/ 219 w 286"/>
              <a:gd name="T57" fmla="*/ 72 h 194"/>
              <a:gd name="T58" fmla="*/ 238 w 286"/>
              <a:gd name="T59" fmla="*/ 55 h 194"/>
              <a:gd name="T60" fmla="*/ 249 w 286"/>
              <a:gd name="T61" fmla="*/ 49 h 194"/>
              <a:gd name="T62" fmla="*/ 256 w 286"/>
              <a:gd name="T63" fmla="*/ 46 h 194"/>
              <a:gd name="T64" fmla="*/ 265 w 286"/>
              <a:gd name="T65" fmla="*/ 36 h 194"/>
              <a:gd name="T66" fmla="*/ 285 w 286"/>
              <a:gd name="T67" fmla="*/ 30 h 194"/>
              <a:gd name="T68" fmla="*/ 278 w 286"/>
              <a:gd name="T69" fmla="*/ 24 h 194"/>
              <a:gd name="T70" fmla="*/ 277 w 286"/>
              <a:gd name="T71" fmla="*/ 7 h 194"/>
              <a:gd name="T72" fmla="*/ 269 w 286"/>
              <a:gd name="T73" fmla="*/ 2 h 194"/>
              <a:gd name="T74" fmla="*/ 256 w 286"/>
              <a:gd name="T75" fmla="*/ 7 h 194"/>
              <a:gd name="T76" fmla="*/ 248 w 286"/>
              <a:gd name="T77" fmla="*/ 10 h 194"/>
              <a:gd name="T78" fmla="*/ 239 w 286"/>
              <a:gd name="T79" fmla="*/ 13 h 194"/>
              <a:gd name="T80" fmla="*/ 233 w 286"/>
              <a:gd name="T81" fmla="*/ 17 h 194"/>
              <a:gd name="T82" fmla="*/ 229 w 286"/>
              <a:gd name="T83" fmla="*/ 19 h 194"/>
              <a:gd name="T84" fmla="*/ 215 w 286"/>
              <a:gd name="T85" fmla="*/ 25 h 194"/>
              <a:gd name="T86" fmla="*/ 203 w 286"/>
              <a:gd name="T87" fmla="*/ 25 h 194"/>
              <a:gd name="T88" fmla="*/ 203 w 286"/>
              <a:gd name="T89" fmla="*/ 34 h 194"/>
              <a:gd name="T90" fmla="*/ 195 w 286"/>
              <a:gd name="T91" fmla="*/ 40 h 194"/>
              <a:gd name="T92" fmla="*/ 187 w 286"/>
              <a:gd name="T93" fmla="*/ 52 h 194"/>
              <a:gd name="T94" fmla="*/ 177 w 286"/>
              <a:gd name="T95" fmla="*/ 57 h 194"/>
              <a:gd name="T96" fmla="*/ 159 w 286"/>
              <a:gd name="T97" fmla="*/ 61 h 194"/>
              <a:gd name="T98" fmla="*/ 138 w 286"/>
              <a:gd name="T99" fmla="*/ 59 h 194"/>
              <a:gd name="T100" fmla="*/ 125 w 286"/>
              <a:gd name="T101" fmla="*/ 63 h 194"/>
              <a:gd name="T102" fmla="*/ 110 w 286"/>
              <a:gd name="T103" fmla="*/ 65 h 194"/>
              <a:gd name="T104" fmla="*/ 66 w 286"/>
              <a:gd name="T105" fmla="*/ 56 h 194"/>
              <a:gd name="T106" fmla="*/ 14 w 286"/>
              <a:gd name="T107" fmla="*/ 7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194">
                <a:moveTo>
                  <a:pt x="14" y="74"/>
                </a:moveTo>
                <a:cubicBezTo>
                  <a:pt x="8" y="78"/>
                  <a:pt x="8" y="78"/>
                  <a:pt x="8" y="78"/>
                </a:cubicBezTo>
                <a:cubicBezTo>
                  <a:pt x="8" y="77"/>
                  <a:pt x="9" y="77"/>
                  <a:pt x="10" y="77"/>
                </a:cubicBezTo>
                <a:cubicBezTo>
                  <a:pt x="11" y="77"/>
                  <a:pt x="12" y="77"/>
                  <a:pt x="13" y="76"/>
                </a:cubicBezTo>
                <a:cubicBezTo>
                  <a:pt x="13" y="77"/>
                  <a:pt x="13" y="78"/>
                  <a:pt x="12" y="79"/>
                </a:cubicBezTo>
                <a:cubicBezTo>
                  <a:pt x="11" y="81"/>
                  <a:pt x="10" y="85"/>
                  <a:pt x="11" y="87"/>
                </a:cubicBezTo>
                <a:cubicBezTo>
                  <a:pt x="12" y="88"/>
                  <a:pt x="12" y="89"/>
                  <a:pt x="14" y="89"/>
                </a:cubicBezTo>
                <a:cubicBezTo>
                  <a:pt x="13" y="90"/>
                  <a:pt x="13" y="91"/>
                  <a:pt x="12" y="92"/>
                </a:cubicBezTo>
                <a:cubicBezTo>
                  <a:pt x="11" y="93"/>
                  <a:pt x="10" y="94"/>
                  <a:pt x="9" y="96"/>
                </a:cubicBezTo>
                <a:cubicBezTo>
                  <a:pt x="8" y="96"/>
                  <a:pt x="7" y="97"/>
                  <a:pt x="6" y="98"/>
                </a:cubicBezTo>
                <a:cubicBezTo>
                  <a:pt x="4" y="99"/>
                  <a:pt x="3" y="101"/>
                  <a:pt x="3" y="103"/>
                </a:cubicBezTo>
                <a:cubicBezTo>
                  <a:pt x="2" y="104"/>
                  <a:pt x="2" y="104"/>
                  <a:pt x="2" y="104"/>
                </a:cubicBezTo>
                <a:cubicBezTo>
                  <a:pt x="1" y="105"/>
                  <a:pt x="0" y="105"/>
                  <a:pt x="0" y="105"/>
                </a:cubicBezTo>
                <a:cubicBezTo>
                  <a:pt x="2" y="108"/>
                  <a:pt x="2" y="108"/>
                  <a:pt x="2" y="108"/>
                </a:cubicBezTo>
                <a:cubicBezTo>
                  <a:pt x="2" y="114"/>
                  <a:pt x="2" y="120"/>
                  <a:pt x="2" y="125"/>
                </a:cubicBezTo>
                <a:cubicBezTo>
                  <a:pt x="2" y="127"/>
                  <a:pt x="2" y="128"/>
                  <a:pt x="3" y="129"/>
                </a:cubicBezTo>
                <a:cubicBezTo>
                  <a:pt x="4" y="131"/>
                  <a:pt x="6" y="131"/>
                  <a:pt x="8" y="131"/>
                </a:cubicBezTo>
                <a:cubicBezTo>
                  <a:pt x="10" y="131"/>
                  <a:pt x="16" y="132"/>
                  <a:pt x="17" y="131"/>
                </a:cubicBezTo>
                <a:cubicBezTo>
                  <a:pt x="19" y="130"/>
                  <a:pt x="17" y="125"/>
                  <a:pt x="16" y="124"/>
                </a:cubicBezTo>
                <a:cubicBezTo>
                  <a:pt x="16" y="124"/>
                  <a:pt x="15" y="124"/>
                  <a:pt x="15" y="124"/>
                </a:cubicBezTo>
                <a:cubicBezTo>
                  <a:pt x="15" y="123"/>
                  <a:pt x="15" y="122"/>
                  <a:pt x="15" y="120"/>
                </a:cubicBezTo>
                <a:cubicBezTo>
                  <a:pt x="17" y="120"/>
                  <a:pt x="18" y="118"/>
                  <a:pt x="19" y="117"/>
                </a:cubicBezTo>
                <a:cubicBezTo>
                  <a:pt x="20" y="116"/>
                  <a:pt x="20" y="116"/>
                  <a:pt x="22" y="116"/>
                </a:cubicBezTo>
                <a:cubicBezTo>
                  <a:pt x="24" y="115"/>
                  <a:pt x="32" y="117"/>
                  <a:pt x="32" y="113"/>
                </a:cubicBezTo>
                <a:cubicBezTo>
                  <a:pt x="34" y="113"/>
                  <a:pt x="36" y="113"/>
                  <a:pt x="38" y="112"/>
                </a:cubicBezTo>
                <a:cubicBezTo>
                  <a:pt x="40" y="112"/>
                  <a:pt x="41" y="112"/>
                  <a:pt x="43" y="112"/>
                </a:cubicBezTo>
                <a:cubicBezTo>
                  <a:pt x="44" y="113"/>
                  <a:pt x="45" y="114"/>
                  <a:pt x="46" y="114"/>
                </a:cubicBezTo>
                <a:cubicBezTo>
                  <a:pt x="48" y="114"/>
                  <a:pt x="51" y="114"/>
                  <a:pt x="53" y="114"/>
                </a:cubicBezTo>
                <a:cubicBezTo>
                  <a:pt x="55" y="114"/>
                  <a:pt x="56" y="113"/>
                  <a:pt x="58" y="113"/>
                </a:cubicBezTo>
                <a:cubicBezTo>
                  <a:pt x="60" y="113"/>
                  <a:pt x="61" y="114"/>
                  <a:pt x="63" y="115"/>
                </a:cubicBezTo>
                <a:cubicBezTo>
                  <a:pt x="65" y="116"/>
                  <a:pt x="66" y="114"/>
                  <a:pt x="68" y="116"/>
                </a:cubicBezTo>
                <a:cubicBezTo>
                  <a:pt x="69" y="117"/>
                  <a:pt x="69" y="119"/>
                  <a:pt x="70" y="120"/>
                </a:cubicBezTo>
                <a:cubicBezTo>
                  <a:pt x="72" y="120"/>
                  <a:pt x="72" y="118"/>
                  <a:pt x="73" y="117"/>
                </a:cubicBezTo>
                <a:cubicBezTo>
                  <a:pt x="74" y="117"/>
                  <a:pt x="75" y="117"/>
                  <a:pt x="76" y="117"/>
                </a:cubicBezTo>
                <a:cubicBezTo>
                  <a:pt x="76" y="118"/>
                  <a:pt x="75" y="120"/>
                  <a:pt x="76" y="122"/>
                </a:cubicBezTo>
                <a:cubicBezTo>
                  <a:pt x="77" y="124"/>
                  <a:pt x="78" y="123"/>
                  <a:pt x="80" y="123"/>
                </a:cubicBezTo>
                <a:cubicBezTo>
                  <a:pt x="80" y="122"/>
                  <a:pt x="80" y="121"/>
                  <a:pt x="81" y="120"/>
                </a:cubicBezTo>
                <a:cubicBezTo>
                  <a:pt x="82" y="120"/>
                  <a:pt x="83" y="120"/>
                  <a:pt x="83" y="120"/>
                </a:cubicBezTo>
                <a:cubicBezTo>
                  <a:pt x="84" y="116"/>
                  <a:pt x="87" y="117"/>
                  <a:pt x="89" y="117"/>
                </a:cubicBezTo>
                <a:cubicBezTo>
                  <a:pt x="93" y="116"/>
                  <a:pt x="89" y="115"/>
                  <a:pt x="90" y="113"/>
                </a:cubicBezTo>
                <a:cubicBezTo>
                  <a:pt x="90" y="111"/>
                  <a:pt x="93" y="111"/>
                  <a:pt x="93" y="109"/>
                </a:cubicBezTo>
                <a:cubicBezTo>
                  <a:pt x="94" y="109"/>
                  <a:pt x="96" y="109"/>
                  <a:pt x="97" y="110"/>
                </a:cubicBezTo>
                <a:cubicBezTo>
                  <a:pt x="98" y="111"/>
                  <a:pt x="98" y="114"/>
                  <a:pt x="100" y="114"/>
                </a:cubicBezTo>
                <a:cubicBezTo>
                  <a:pt x="100" y="112"/>
                  <a:pt x="101" y="112"/>
                  <a:pt x="101" y="110"/>
                </a:cubicBezTo>
                <a:cubicBezTo>
                  <a:pt x="102" y="108"/>
                  <a:pt x="101" y="107"/>
                  <a:pt x="103" y="106"/>
                </a:cubicBezTo>
                <a:cubicBezTo>
                  <a:pt x="106" y="104"/>
                  <a:pt x="110" y="110"/>
                  <a:pt x="113" y="106"/>
                </a:cubicBezTo>
                <a:cubicBezTo>
                  <a:pt x="114" y="106"/>
                  <a:pt x="116" y="106"/>
                  <a:pt x="118" y="106"/>
                </a:cubicBezTo>
                <a:cubicBezTo>
                  <a:pt x="120" y="106"/>
                  <a:pt x="122" y="106"/>
                  <a:pt x="124" y="106"/>
                </a:cubicBezTo>
                <a:cubicBezTo>
                  <a:pt x="124" y="108"/>
                  <a:pt x="122" y="107"/>
                  <a:pt x="121" y="108"/>
                </a:cubicBezTo>
                <a:cubicBezTo>
                  <a:pt x="120" y="108"/>
                  <a:pt x="119" y="110"/>
                  <a:pt x="119" y="111"/>
                </a:cubicBezTo>
                <a:cubicBezTo>
                  <a:pt x="122" y="112"/>
                  <a:pt x="122" y="114"/>
                  <a:pt x="121" y="116"/>
                </a:cubicBezTo>
                <a:cubicBezTo>
                  <a:pt x="121" y="118"/>
                  <a:pt x="120" y="120"/>
                  <a:pt x="121" y="122"/>
                </a:cubicBezTo>
                <a:cubicBezTo>
                  <a:pt x="123" y="123"/>
                  <a:pt x="124" y="121"/>
                  <a:pt x="126" y="120"/>
                </a:cubicBezTo>
                <a:cubicBezTo>
                  <a:pt x="128" y="120"/>
                  <a:pt x="131" y="119"/>
                  <a:pt x="133" y="120"/>
                </a:cubicBezTo>
                <a:cubicBezTo>
                  <a:pt x="135" y="120"/>
                  <a:pt x="135" y="123"/>
                  <a:pt x="137" y="124"/>
                </a:cubicBezTo>
                <a:cubicBezTo>
                  <a:pt x="138" y="125"/>
                  <a:pt x="141" y="125"/>
                  <a:pt x="143" y="125"/>
                </a:cubicBezTo>
                <a:cubicBezTo>
                  <a:pt x="141" y="125"/>
                  <a:pt x="141" y="130"/>
                  <a:pt x="141" y="132"/>
                </a:cubicBezTo>
                <a:cubicBezTo>
                  <a:pt x="142" y="135"/>
                  <a:pt x="146" y="135"/>
                  <a:pt x="148" y="137"/>
                </a:cubicBezTo>
                <a:cubicBezTo>
                  <a:pt x="149" y="139"/>
                  <a:pt x="149" y="141"/>
                  <a:pt x="148" y="143"/>
                </a:cubicBezTo>
                <a:cubicBezTo>
                  <a:pt x="148" y="143"/>
                  <a:pt x="146" y="143"/>
                  <a:pt x="145" y="144"/>
                </a:cubicBezTo>
                <a:cubicBezTo>
                  <a:pt x="143" y="145"/>
                  <a:pt x="142" y="148"/>
                  <a:pt x="139" y="149"/>
                </a:cubicBezTo>
                <a:cubicBezTo>
                  <a:pt x="137" y="150"/>
                  <a:pt x="135" y="150"/>
                  <a:pt x="133" y="151"/>
                </a:cubicBezTo>
                <a:cubicBezTo>
                  <a:pt x="131" y="153"/>
                  <a:pt x="131" y="155"/>
                  <a:pt x="129" y="156"/>
                </a:cubicBezTo>
                <a:cubicBezTo>
                  <a:pt x="125" y="157"/>
                  <a:pt x="121" y="155"/>
                  <a:pt x="118" y="158"/>
                </a:cubicBezTo>
                <a:cubicBezTo>
                  <a:pt x="116" y="160"/>
                  <a:pt x="115" y="165"/>
                  <a:pt x="115" y="168"/>
                </a:cubicBezTo>
                <a:cubicBezTo>
                  <a:pt x="114" y="170"/>
                  <a:pt x="115" y="172"/>
                  <a:pt x="117" y="174"/>
                </a:cubicBezTo>
                <a:cubicBezTo>
                  <a:pt x="117" y="174"/>
                  <a:pt x="123" y="178"/>
                  <a:pt x="123" y="177"/>
                </a:cubicBezTo>
                <a:cubicBezTo>
                  <a:pt x="123" y="178"/>
                  <a:pt x="123" y="180"/>
                  <a:pt x="122" y="181"/>
                </a:cubicBezTo>
                <a:cubicBezTo>
                  <a:pt x="122" y="181"/>
                  <a:pt x="121" y="181"/>
                  <a:pt x="121" y="181"/>
                </a:cubicBezTo>
                <a:cubicBezTo>
                  <a:pt x="122" y="183"/>
                  <a:pt x="123" y="187"/>
                  <a:pt x="122" y="189"/>
                </a:cubicBezTo>
                <a:cubicBezTo>
                  <a:pt x="122" y="189"/>
                  <a:pt x="131" y="188"/>
                  <a:pt x="132" y="188"/>
                </a:cubicBezTo>
                <a:cubicBezTo>
                  <a:pt x="132" y="190"/>
                  <a:pt x="132" y="192"/>
                  <a:pt x="132" y="194"/>
                </a:cubicBezTo>
                <a:cubicBezTo>
                  <a:pt x="134" y="194"/>
                  <a:pt x="136" y="193"/>
                  <a:pt x="137" y="192"/>
                </a:cubicBezTo>
                <a:cubicBezTo>
                  <a:pt x="138" y="191"/>
                  <a:pt x="138" y="190"/>
                  <a:pt x="138" y="188"/>
                </a:cubicBezTo>
                <a:cubicBezTo>
                  <a:pt x="139" y="188"/>
                  <a:pt x="140" y="188"/>
                  <a:pt x="141" y="188"/>
                </a:cubicBezTo>
                <a:cubicBezTo>
                  <a:pt x="141" y="187"/>
                  <a:pt x="141" y="185"/>
                  <a:pt x="141" y="185"/>
                </a:cubicBezTo>
                <a:cubicBezTo>
                  <a:pt x="142" y="183"/>
                  <a:pt x="143" y="184"/>
                  <a:pt x="144" y="183"/>
                </a:cubicBezTo>
                <a:cubicBezTo>
                  <a:pt x="145" y="181"/>
                  <a:pt x="145" y="178"/>
                  <a:pt x="145" y="176"/>
                </a:cubicBezTo>
                <a:cubicBezTo>
                  <a:pt x="146" y="178"/>
                  <a:pt x="149" y="179"/>
                  <a:pt x="150" y="182"/>
                </a:cubicBezTo>
                <a:cubicBezTo>
                  <a:pt x="152" y="182"/>
                  <a:pt x="153" y="180"/>
                  <a:pt x="154" y="180"/>
                </a:cubicBezTo>
                <a:cubicBezTo>
                  <a:pt x="156" y="179"/>
                  <a:pt x="158" y="180"/>
                  <a:pt x="159" y="180"/>
                </a:cubicBezTo>
                <a:cubicBezTo>
                  <a:pt x="159" y="178"/>
                  <a:pt x="160" y="177"/>
                  <a:pt x="160" y="175"/>
                </a:cubicBezTo>
                <a:cubicBezTo>
                  <a:pt x="161" y="173"/>
                  <a:pt x="162" y="172"/>
                  <a:pt x="162" y="170"/>
                </a:cubicBezTo>
                <a:cubicBezTo>
                  <a:pt x="162" y="166"/>
                  <a:pt x="162" y="163"/>
                  <a:pt x="162" y="159"/>
                </a:cubicBezTo>
                <a:cubicBezTo>
                  <a:pt x="164" y="159"/>
                  <a:pt x="166" y="160"/>
                  <a:pt x="167" y="160"/>
                </a:cubicBezTo>
                <a:cubicBezTo>
                  <a:pt x="168" y="158"/>
                  <a:pt x="168" y="156"/>
                  <a:pt x="168" y="154"/>
                </a:cubicBezTo>
                <a:cubicBezTo>
                  <a:pt x="169" y="152"/>
                  <a:pt x="169" y="151"/>
                  <a:pt x="168" y="149"/>
                </a:cubicBezTo>
                <a:cubicBezTo>
                  <a:pt x="169" y="148"/>
                  <a:pt x="170" y="148"/>
                  <a:pt x="170" y="148"/>
                </a:cubicBezTo>
                <a:cubicBezTo>
                  <a:pt x="171" y="147"/>
                  <a:pt x="172" y="146"/>
                  <a:pt x="172" y="145"/>
                </a:cubicBezTo>
                <a:cubicBezTo>
                  <a:pt x="172" y="144"/>
                  <a:pt x="172" y="142"/>
                  <a:pt x="172" y="141"/>
                </a:cubicBezTo>
                <a:cubicBezTo>
                  <a:pt x="173" y="140"/>
                  <a:pt x="174" y="139"/>
                  <a:pt x="175" y="138"/>
                </a:cubicBezTo>
                <a:cubicBezTo>
                  <a:pt x="176" y="137"/>
                  <a:pt x="176" y="137"/>
                  <a:pt x="178" y="137"/>
                </a:cubicBezTo>
                <a:cubicBezTo>
                  <a:pt x="177" y="135"/>
                  <a:pt x="177" y="133"/>
                  <a:pt x="177" y="131"/>
                </a:cubicBezTo>
                <a:cubicBezTo>
                  <a:pt x="177" y="127"/>
                  <a:pt x="176" y="129"/>
                  <a:pt x="173" y="127"/>
                </a:cubicBezTo>
                <a:cubicBezTo>
                  <a:pt x="172" y="125"/>
                  <a:pt x="172" y="125"/>
                  <a:pt x="172" y="125"/>
                </a:cubicBezTo>
                <a:cubicBezTo>
                  <a:pt x="171" y="124"/>
                  <a:pt x="171" y="125"/>
                  <a:pt x="171" y="123"/>
                </a:cubicBezTo>
                <a:cubicBezTo>
                  <a:pt x="172" y="122"/>
                  <a:pt x="175" y="121"/>
                  <a:pt x="177" y="121"/>
                </a:cubicBezTo>
                <a:cubicBezTo>
                  <a:pt x="177" y="119"/>
                  <a:pt x="178" y="119"/>
                  <a:pt x="179" y="118"/>
                </a:cubicBezTo>
                <a:cubicBezTo>
                  <a:pt x="179" y="116"/>
                  <a:pt x="178" y="115"/>
                  <a:pt x="179" y="114"/>
                </a:cubicBezTo>
                <a:cubicBezTo>
                  <a:pt x="181" y="112"/>
                  <a:pt x="185" y="112"/>
                  <a:pt x="186" y="109"/>
                </a:cubicBezTo>
                <a:cubicBezTo>
                  <a:pt x="185" y="108"/>
                  <a:pt x="185" y="107"/>
                  <a:pt x="185" y="106"/>
                </a:cubicBezTo>
                <a:cubicBezTo>
                  <a:pt x="187" y="105"/>
                  <a:pt x="189" y="105"/>
                  <a:pt x="190" y="104"/>
                </a:cubicBezTo>
                <a:cubicBezTo>
                  <a:pt x="189" y="105"/>
                  <a:pt x="190" y="107"/>
                  <a:pt x="190" y="108"/>
                </a:cubicBezTo>
                <a:cubicBezTo>
                  <a:pt x="191" y="110"/>
                  <a:pt x="192" y="110"/>
                  <a:pt x="194" y="109"/>
                </a:cubicBezTo>
                <a:cubicBezTo>
                  <a:pt x="198" y="109"/>
                  <a:pt x="199" y="106"/>
                  <a:pt x="198" y="102"/>
                </a:cubicBezTo>
                <a:cubicBezTo>
                  <a:pt x="198" y="100"/>
                  <a:pt x="198" y="100"/>
                  <a:pt x="200" y="98"/>
                </a:cubicBezTo>
                <a:cubicBezTo>
                  <a:pt x="202" y="96"/>
                  <a:pt x="200" y="96"/>
                  <a:pt x="199" y="94"/>
                </a:cubicBezTo>
                <a:cubicBezTo>
                  <a:pt x="199" y="94"/>
                  <a:pt x="203" y="87"/>
                  <a:pt x="203" y="86"/>
                </a:cubicBezTo>
                <a:cubicBezTo>
                  <a:pt x="205" y="85"/>
                  <a:pt x="206" y="85"/>
                  <a:pt x="207" y="84"/>
                </a:cubicBezTo>
                <a:cubicBezTo>
                  <a:pt x="209" y="81"/>
                  <a:pt x="208" y="78"/>
                  <a:pt x="210" y="76"/>
                </a:cubicBezTo>
                <a:cubicBezTo>
                  <a:pt x="210" y="75"/>
                  <a:pt x="212" y="75"/>
                  <a:pt x="212" y="75"/>
                </a:cubicBezTo>
                <a:cubicBezTo>
                  <a:pt x="213" y="76"/>
                  <a:pt x="212" y="78"/>
                  <a:pt x="212" y="79"/>
                </a:cubicBezTo>
                <a:cubicBezTo>
                  <a:pt x="213" y="79"/>
                  <a:pt x="213" y="80"/>
                  <a:pt x="214" y="79"/>
                </a:cubicBezTo>
                <a:cubicBezTo>
                  <a:pt x="215" y="79"/>
                  <a:pt x="215" y="79"/>
                  <a:pt x="215" y="78"/>
                </a:cubicBezTo>
                <a:cubicBezTo>
                  <a:pt x="216" y="77"/>
                  <a:pt x="218" y="77"/>
                  <a:pt x="218" y="75"/>
                </a:cubicBezTo>
                <a:cubicBezTo>
                  <a:pt x="218" y="74"/>
                  <a:pt x="218" y="73"/>
                  <a:pt x="219" y="72"/>
                </a:cubicBezTo>
                <a:cubicBezTo>
                  <a:pt x="221" y="67"/>
                  <a:pt x="227" y="66"/>
                  <a:pt x="231" y="63"/>
                </a:cubicBezTo>
                <a:cubicBezTo>
                  <a:pt x="232" y="63"/>
                  <a:pt x="234" y="62"/>
                  <a:pt x="235" y="61"/>
                </a:cubicBezTo>
                <a:cubicBezTo>
                  <a:pt x="235" y="60"/>
                  <a:pt x="236" y="58"/>
                  <a:pt x="237" y="58"/>
                </a:cubicBezTo>
                <a:cubicBezTo>
                  <a:pt x="238" y="57"/>
                  <a:pt x="237" y="55"/>
                  <a:pt x="238" y="55"/>
                </a:cubicBezTo>
                <a:cubicBezTo>
                  <a:pt x="239" y="54"/>
                  <a:pt x="241" y="54"/>
                  <a:pt x="242" y="54"/>
                </a:cubicBezTo>
                <a:cubicBezTo>
                  <a:pt x="243" y="53"/>
                  <a:pt x="244" y="54"/>
                  <a:pt x="245" y="53"/>
                </a:cubicBezTo>
                <a:cubicBezTo>
                  <a:pt x="245" y="53"/>
                  <a:pt x="246" y="52"/>
                  <a:pt x="247" y="52"/>
                </a:cubicBezTo>
                <a:cubicBezTo>
                  <a:pt x="247" y="51"/>
                  <a:pt x="249" y="50"/>
                  <a:pt x="249" y="49"/>
                </a:cubicBezTo>
                <a:cubicBezTo>
                  <a:pt x="250" y="49"/>
                  <a:pt x="250" y="48"/>
                  <a:pt x="251" y="48"/>
                </a:cubicBezTo>
                <a:cubicBezTo>
                  <a:pt x="252" y="47"/>
                  <a:pt x="253" y="48"/>
                  <a:pt x="254" y="48"/>
                </a:cubicBezTo>
                <a:cubicBezTo>
                  <a:pt x="255" y="47"/>
                  <a:pt x="256" y="47"/>
                  <a:pt x="256" y="46"/>
                </a:cubicBezTo>
                <a:cubicBezTo>
                  <a:pt x="256" y="46"/>
                  <a:pt x="256" y="46"/>
                  <a:pt x="256" y="46"/>
                </a:cubicBezTo>
                <a:cubicBezTo>
                  <a:pt x="256" y="46"/>
                  <a:pt x="258" y="44"/>
                  <a:pt x="259" y="43"/>
                </a:cubicBezTo>
                <a:cubicBezTo>
                  <a:pt x="259" y="43"/>
                  <a:pt x="262" y="42"/>
                  <a:pt x="262" y="42"/>
                </a:cubicBezTo>
                <a:cubicBezTo>
                  <a:pt x="262" y="41"/>
                  <a:pt x="262" y="39"/>
                  <a:pt x="262" y="38"/>
                </a:cubicBezTo>
                <a:cubicBezTo>
                  <a:pt x="263" y="36"/>
                  <a:pt x="263" y="36"/>
                  <a:pt x="265" y="36"/>
                </a:cubicBezTo>
                <a:cubicBezTo>
                  <a:pt x="266" y="37"/>
                  <a:pt x="271" y="37"/>
                  <a:pt x="272" y="37"/>
                </a:cubicBezTo>
                <a:cubicBezTo>
                  <a:pt x="273" y="36"/>
                  <a:pt x="274" y="36"/>
                  <a:pt x="275" y="36"/>
                </a:cubicBezTo>
                <a:cubicBezTo>
                  <a:pt x="276" y="35"/>
                  <a:pt x="278" y="35"/>
                  <a:pt x="278" y="34"/>
                </a:cubicBezTo>
                <a:cubicBezTo>
                  <a:pt x="281" y="35"/>
                  <a:pt x="284" y="33"/>
                  <a:pt x="285" y="30"/>
                </a:cubicBezTo>
                <a:cubicBezTo>
                  <a:pt x="285" y="28"/>
                  <a:pt x="286" y="25"/>
                  <a:pt x="284" y="26"/>
                </a:cubicBezTo>
                <a:cubicBezTo>
                  <a:pt x="283" y="26"/>
                  <a:pt x="283" y="27"/>
                  <a:pt x="282" y="27"/>
                </a:cubicBezTo>
                <a:cubicBezTo>
                  <a:pt x="281" y="28"/>
                  <a:pt x="280" y="28"/>
                  <a:pt x="280" y="28"/>
                </a:cubicBezTo>
                <a:cubicBezTo>
                  <a:pt x="279" y="26"/>
                  <a:pt x="279" y="25"/>
                  <a:pt x="278" y="24"/>
                </a:cubicBezTo>
                <a:cubicBezTo>
                  <a:pt x="278" y="23"/>
                  <a:pt x="278" y="22"/>
                  <a:pt x="278" y="20"/>
                </a:cubicBezTo>
                <a:cubicBezTo>
                  <a:pt x="274" y="19"/>
                  <a:pt x="274" y="16"/>
                  <a:pt x="274" y="13"/>
                </a:cubicBezTo>
                <a:cubicBezTo>
                  <a:pt x="274" y="11"/>
                  <a:pt x="274" y="9"/>
                  <a:pt x="275" y="8"/>
                </a:cubicBezTo>
                <a:cubicBezTo>
                  <a:pt x="275" y="7"/>
                  <a:pt x="276" y="7"/>
                  <a:pt x="277" y="7"/>
                </a:cubicBezTo>
                <a:cubicBezTo>
                  <a:pt x="278" y="6"/>
                  <a:pt x="278" y="6"/>
                  <a:pt x="279" y="5"/>
                </a:cubicBezTo>
                <a:cubicBezTo>
                  <a:pt x="279" y="4"/>
                  <a:pt x="281" y="3"/>
                  <a:pt x="280" y="2"/>
                </a:cubicBezTo>
                <a:cubicBezTo>
                  <a:pt x="279" y="0"/>
                  <a:pt x="275" y="1"/>
                  <a:pt x="273" y="1"/>
                </a:cubicBezTo>
                <a:cubicBezTo>
                  <a:pt x="272" y="1"/>
                  <a:pt x="271" y="2"/>
                  <a:pt x="269" y="2"/>
                </a:cubicBezTo>
                <a:cubicBezTo>
                  <a:pt x="268" y="2"/>
                  <a:pt x="267" y="2"/>
                  <a:pt x="266" y="3"/>
                </a:cubicBezTo>
                <a:cubicBezTo>
                  <a:pt x="264" y="4"/>
                  <a:pt x="264" y="4"/>
                  <a:pt x="263" y="5"/>
                </a:cubicBezTo>
                <a:cubicBezTo>
                  <a:pt x="261" y="5"/>
                  <a:pt x="261" y="5"/>
                  <a:pt x="259" y="6"/>
                </a:cubicBezTo>
                <a:cubicBezTo>
                  <a:pt x="258" y="7"/>
                  <a:pt x="257" y="7"/>
                  <a:pt x="256" y="7"/>
                </a:cubicBezTo>
                <a:cubicBezTo>
                  <a:pt x="255" y="7"/>
                  <a:pt x="253" y="7"/>
                  <a:pt x="252" y="8"/>
                </a:cubicBezTo>
                <a:cubicBezTo>
                  <a:pt x="251" y="8"/>
                  <a:pt x="252" y="8"/>
                  <a:pt x="251" y="9"/>
                </a:cubicBezTo>
                <a:cubicBezTo>
                  <a:pt x="251" y="9"/>
                  <a:pt x="250" y="9"/>
                  <a:pt x="249" y="9"/>
                </a:cubicBezTo>
                <a:cubicBezTo>
                  <a:pt x="249" y="9"/>
                  <a:pt x="248" y="10"/>
                  <a:pt x="248" y="10"/>
                </a:cubicBezTo>
                <a:cubicBezTo>
                  <a:pt x="247" y="11"/>
                  <a:pt x="247" y="11"/>
                  <a:pt x="246" y="11"/>
                </a:cubicBezTo>
                <a:cubicBezTo>
                  <a:pt x="246" y="11"/>
                  <a:pt x="245" y="11"/>
                  <a:pt x="244" y="11"/>
                </a:cubicBezTo>
                <a:cubicBezTo>
                  <a:pt x="244" y="12"/>
                  <a:pt x="243" y="12"/>
                  <a:pt x="243" y="12"/>
                </a:cubicBezTo>
                <a:cubicBezTo>
                  <a:pt x="241" y="13"/>
                  <a:pt x="240" y="13"/>
                  <a:pt x="239" y="13"/>
                </a:cubicBezTo>
                <a:cubicBezTo>
                  <a:pt x="239" y="14"/>
                  <a:pt x="239" y="14"/>
                  <a:pt x="238" y="14"/>
                </a:cubicBezTo>
                <a:cubicBezTo>
                  <a:pt x="237" y="15"/>
                  <a:pt x="237" y="15"/>
                  <a:pt x="236" y="15"/>
                </a:cubicBezTo>
                <a:cubicBezTo>
                  <a:pt x="236" y="16"/>
                  <a:pt x="235" y="16"/>
                  <a:pt x="234" y="16"/>
                </a:cubicBezTo>
                <a:cubicBezTo>
                  <a:pt x="234" y="16"/>
                  <a:pt x="234" y="16"/>
                  <a:pt x="233" y="17"/>
                </a:cubicBezTo>
                <a:cubicBezTo>
                  <a:pt x="233" y="17"/>
                  <a:pt x="233" y="17"/>
                  <a:pt x="233" y="17"/>
                </a:cubicBezTo>
                <a:cubicBezTo>
                  <a:pt x="232" y="17"/>
                  <a:pt x="232" y="17"/>
                  <a:pt x="232" y="17"/>
                </a:cubicBezTo>
                <a:cubicBezTo>
                  <a:pt x="231" y="17"/>
                  <a:pt x="231" y="17"/>
                  <a:pt x="231" y="17"/>
                </a:cubicBezTo>
                <a:cubicBezTo>
                  <a:pt x="230" y="18"/>
                  <a:pt x="229" y="18"/>
                  <a:pt x="229" y="19"/>
                </a:cubicBezTo>
                <a:cubicBezTo>
                  <a:pt x="228" y="20"/>
                  <a:pt x="227" y="20"/>
                  <a:pt x="226" y="21"/>
                </a:cubicBezTo>
                <a:cubicBezTo>
                  <a:pt x="224" y="21"/>
                  <a:pt x="223" y="22"/>
                  <a:pt x="222" y="23"/>
                </a:cubicBezTo>
                <a:cubicBezTo>
                  <a:pt x="220" y="24"/>
                  <a:pt x="219" y="23"/>
                  <a:pt x="218" y="24"/>
                </a:cubicBezTo>
                <a:cubicBezTo>
                  <a:pt x="218" y="25"/>
                  <a:pt x="216" y="25"/>
                  <a:pt x="215" y="25"/>
                </a:cubicBezTo>
                <a:cubicBezTo>
                  <a:pt x="213" y="25"/>
                  <a:pt x="213" y="26"/>
                  <a:pt x="211" y="26"/>
                </a:cubicBezTo>
                <a:cubicBezTo>
                  <a:pt x="210" y="26"/>
                  <a:pt x="209" y="25"/>
                  <a:pt x="208" y="24"/>
                </a:cubicBezTo>
                <a:cubicBezTo>
                  <a:pt x="207" y="24"/>
                  <a:pt x="205" y="23"/>
                  <a:pt x="204" y="24"/>
                </a:cubicBezTo>
                <a:cubicBezTo>
                  <a:pt x="204" y="24"/>
                  <a:pt x="203" y="24"/>
                  <a:pt x="203" y="25"/>
                </a:cubicBezTo>
                <a:cubicBezTo>
                  <a:pt x="204" y="26"/>
                  <a:pt x="204" y="25"/>
                  <a:pt x="205" y="26"/>
                </a:cubicBezTo>
                <a:cubicBezTo>
                  <a:pt x="206" y="27"/>
                  <a:pt x="206" y="30"/>
                  <a:pt x="206" y="31"/>
                </a:cubicBezTo>
                <a:cubicBezTo>
                  <a:pt x="205" y="31"/>
                  <a:pt x="205" y="31"/>
                  <a:pt x="205" y="32"/>
                </a:cubicBezTo>
                <a:cubicBezTo>
                  <a:pt x="204" y="32"/>
                  <a:pt x="203" y="33"/>
                  <a:pt x="203" y="34"/>
                </a:cubicBezTo>
                <a:cubicBezTo>
                  <a:pt x="202" y="35"/>
                  <a:pt x="201" y="35"/>
                  <a:pt x="200" y="36"/>
                </a:cubicBezTo>
                <a:cubicBezTo>
                  <a:pt x="200" y="37"/>
                  <a:pt x="199" y="37"/>
                  <a:pt x="198" y="38"/>
                </a:cubicBezTo>
                <a:cubicBezTo>
                  <a:pt x="197" y="39"/>
                  <a:pt x="197" y="39"/>
                  <a:pt x="197" y="39"/>
                </a:cubicBezTo>
                <a:cubicBezTo>
                  <a:pt x="196" y="40"/>
                  <a:pt x="196" y="40"/>
                  <a:pt x="195" y="40"/>
                </a:cubicBezTo>
                <a:cubicBezTo>
                  <a:pt x="194" y="42"/>
                  <a:pt x="193" y="43"/>
                  <a:pt x="191" y="45"/>
                </a:cubicBezTo>
                <a:cubicBezTo>
                  <a:pt x="191" y="46"/>
                  <a:pt x="190" y="47"/>
                  <a:pt x="190" y="48"/>
                </a:cubicBezTo>
                <a:cubicBezTo>
                  <a:pt x="190" y="49"/>
                  <a:pt x="191" y="50"/>
                  <a:pt x="190" y="51"/>
                </a:cubicBezTo>
                <a:cubicBezTo>
                  <a:pt x="189" y="51"/>
                  <a:pt x="188" y="51"/>
                  <a:pt x="187" y="52"/>
                </a:cubicBezTo>
                <a:cubicBezTo>
                  <a:pt x="187" y="53"/>
                  <a:pt x="186" y="54"/>
                  <a:pt x="186" y="55"/>
                </a:cubicBezTo>
                <a:cubicBezTo>
                  <a:pt x="185" y="56"/>
                  <a:pt x="184" y="57"/>
                  <a:pt x="182" y="57"/>
                </a:cubicBezTo>
                <a:cubicBezTo>
                  <a:pt x="181" y="57"/>
                  <a:pt x="180" y="57"/>
                  <a:pt x="178" y="57"/>
                </a:cubicBezTo>
                <a:cubicBezTo>
                  <a:pt x="178" y="57"/>
                  <a:pt x="177" y="57"/>
                  <a:pt x="177" y="57"/>
                </a:cubicBezTo>
                <a:cubicBezTo>
                  <a:pt x="176" y="57"/>
                  <a:pt x="175" y="58"/>
                  <a:pt x="175" y="58"/>
                </a:cubicBezTo>
                <a:cubicBezTo>
                  <a:pt x="174" y="58"/>
                  <a:pt x="172" y="58"/>
                  <a:pt x="171" y="58"/>
                </a:cubicBezTo>
                <a:cubicBezTo>
                  <a:pt x="168" y="58"/>
                  <a:pt x="166" y="58"/>
                  <a:pt x="163" y="60"/>
                </a:cubicBezTo>
                <a:cubicBezTo>
                  <a:pt x="162" y="61"/>
                  <a:pt x="160" y="61"/>
                  <a:pt x="159" y="61"/>
                </a:cubicBezTo>
                <a:cubicBezTo>
                  <a:pt x="157" y="61"/>
                  <a:pt x="155" y="61"/>
                  <a:pt x="153" y="60"/>
                </a:cubicBezTo>
                <a:cubicBezTo>
                  <a:pt x="152" y="59"/>
                  <a:pt x="150" y="59"/>
                  <a:pt x="149" y="59"/>
                </a:cubicBezTo>
                <a:cubicBezTo>
                  <a:pt x="146" y="58"/>
                  <a:pt x="144" y="57"/>
                  <a:pt x="141" y="57"/>
                </a:cubicBezTo>
                <a:cubicBezTo>
                  <a:pt x="139" y="57"/>
                  <a:pt x="139" y="58"/>
                  <a:pt x="138" y="59"/>
                </a:cubicBezTo>
                <a:cubicBezTo>
                  <a:pt x="137" y="59"/>
                  <a:pt x="137" y="59"/>
                  <a:pt x="136" y="59"/>
                </a:cubicBezTo>
                <a:cubicBezTo>
                  <a:pt x="135" y="59"/>
                  <a:pt x="135" y="60"/>
                  <a:pt x="134" y="60"/>
                </a:cubicBezTo>
                <a:cubicBezTo>
                  <a:pt x="132" y="61"/>
                  <a:pt x="131" y="62"/>
                  <a:pt x="129" y="62"/>
                </a:cubicBezTo>
                <a:cubicBezTo>
                  <a:pt x="128" y="62"/>
                  <a:pt x="126" y="62"/>
                  <a:pt x="125" y="63"/>
                </a:cubicBezTo>
                <a:cubicBezTo>
                  <a:pt x="124" y="63"/>
                  <a:pt x="123" y="64"/>
                  <a:pt x="122" y="64"/>
                </a:cubicBezTo>
                <a:cubicBezTo>
                  <a:pt x="121" y="64"/>
                  <a:pt x="120" y="64"/>
                  <a:pt x="120" y="64"/>
                </a:cubicBezTo>
                <a:cubicBezTo>
                  <a:pt x="118" y="65"/>
                  <a:pt x="117" y="65"/>
                  <a:pt x="116" y="65"/>
                </a:cubicBezTo>
                <a:cubicBezTo>
                  <a:pt x="114" y="66"/>
                  <a:pt x="112" y="66"/>
                  <a:pt x="110" y="65"/>
                </a:cubicBezTo>
                <a:cubicBezTo>
                  <a:pt x="108" y="65"/>
                  <a:pt x="107" y="63"/>
                  <a:pt x="105" y="62"/>
                </a:cubicBezTo>
                <a:cubicBezTo>
                  <a:pt x="102" y="61"/>
                  <a:pt x="100" y="61"/>
                  <a:pt x="98" y="60"/>
                </a:cubicBezTo>
                <a:cubicBezTo>
                  <a:pt x="92" y="58"/>
                  <a:pt x="87" y="59"/>
                  <a:pt x="80" y="59"/>
                </a:cubicBezTo>
                <a:cubicBezTo>
                  <a:pt x="75" y="58"/>
                  <a:pt x="71" y="56"/>
                  <a:pt x="66" y="56"/>
                </a:cubicBezTo>
                <a:cubicBezTo>
                  <a:pt x="57" y="55"/>
                  <a:pt x="49" y="52"/>
                  <a:pt x="41" y="53"/>
                </a:cubicBezTo>
                <a:cubicBezTo>
                  <a:pt x="33" y="54"/>
                  <a:pt x="29" y="60"/>
                  <a:pt x="21" y="63"/>
                </a:cubicBezTo>
                <a:cubicBezTo>
                  <a:pt x="20" y="64"/>
                  <a:pt x="16" y="64"/>
                  <a:pt x="14" y="65"/>
                </a:cubicBezTo>
                <a:cubicBezTo>
                  <a:pt x="13" y="67"/>
                  <a:pt x="14" y="72"/>
                  <a:pt x="14" y="74"/>
                </a:cubicBezTo>
                <a:close/>
              </a:path>
            </a:pathLst>
          </a:custGeom>
          <a:solidFill>
            <a:schemeClr val="accent1"/>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5" name="Freeform 443">
            <a:extLst>
              <a:ext uri="{FF2B5EF4-FFF2-40B4-BE49-F238E27FC236}">
                <a16:creationId xmlns:a16="http://schemas.microsoft.com/office/drawing/2014/main" id="{9DB56246-EFD7-44BC-982F-2CA390F44CB8}"/>
              </a:ext>
            </a:extLst>
          </p:cNvPr>
          <p:cNvSpPr>
            <a:spLocks/>
          </p:cNvSpPr>
          <p:nvPr/>
        </p:nvSpPr>
        <p:spPr bwMode="auto">
          <a:xfrm>
            <a:off x="1312089" y="2846073"/>
            <a:ext cx="346329" cy="417443"/>
          </a:xfrm>
          <a:custGeom>
            <a:avLst/>
            <a:gdLst>
              <a:gd name="T0" fmla="*/ 129 w 140"/>
              <a:gd name="T1" fmla="*/ 29 h 168"/>
              <a:gd name="T2" fmla="*/ 117 w 140"/>
              <a:gd name="T3" fmla="*/ 13 h 168"/>
              <a:gd name="T4" fmla="*/ 105 w 140"/>
              <a:gd name="T5" fmla="*/ 0 h 168"/>
              <a:gd name="T6" fmla="*/ 107 w 140"/>
              <a:gd name="T7" fmla="*/ 7 h 168"/>
              <a:gd name="T8" fmla="*/ 103 w 140"/>
              <a:gd name="T9" fmla="*/ 9 h 168"/>
              <a:gd name="T10" fmla="*/ 105 w 140"/>
              <a:gd name="T11" fmla="*/ 13 h 168"/>
              <a:gd name="T12" fmla="*/ 110 w 140"/>
              <a:gd name="T13" fmla="*/ 23 h 168"/>
              <a:gd name="T14" fmla="*/ 104 w 140"/>
              <a:gd name="T15" fmla="*/ 26 h 168"/>
              <a:gd name="T16" fmla="*/ 102 w 140"/>
              <a:gd name="T17" fmla="*/ 32 h 168"/>
              <a:gd name="T18" fmla="*/ 95 w 140"/>
              <a:gd name="T19" fmla="*/ 36 h 168"/>
              <a:gd name="T20" fmla="*/ 92 w 140"/>
              <a:gd name="T21" fmla="*/ 43 h 168"/>
              <a:gd name="T22" fmla="*/ 81 w 140"/>
              <a:gd name="T23" fmla="*/ 39 h 168"/>
              <a:gd name="T24" fmla="*/ 80 w 140"/>
              <a:gd name="T25" fmla="*/ 54 h 168"/>
              <a:gd name="T26" fmla="*/ 75 w 140"/>
              <a:gd name="T27" fmla="*/ 58 h 168"/>
              <a:gd name="T28" fmla="*/ 70 w 140"/>
              <a:gd name="T29" fmla="*/ 60 h 168"/>
              <a:gd name="T30" fmla="*/ 48 w 140"/>
              <a:gd name="T31" fmla="*/ 57 h 168"/>
              <a:gd name="T32" fmla="*/ 35 w 140"/>
              <a:gd name="T33" fmla="*/ 69 h 168"/>
              <a:gd name="T34" fmla="*/ 34 w 140"/>
              <a:gd name="T35" fmla="*/ 57 h 168"/>
              <a:gd name="T36" fmla="*/ 30 w 140"/>
              <a:gd name="T37" fmla="*/ 50 h 168"/>
              <a:gd name="T38" fmla="*/ 10 w 140"/>
              <a:gd name="T39" fmla="*/ 47 h 168"/>
              <a:gd name="T40" fmla="*/ 1 w 140"/>
              <a:gd name="T41" fmla="*/ 46 h 168"/>
              <a:gd name="T42" fmla="*/ 5 w 140"/>
              <a:gd name="T43" fmla="*/ 53 h 168"/>
              <a:gd name="T44" fmla="*/ 5 w 140"/>
              <a:gd name="T45" fmla="*/ 66 h 168"/>
              <a:gd name="T46" fmla="*/ 4 w 140"/>
              <a:gd name="T47" fmla="*/ 76 h 168"/>
              <a:gd name="T48" fmla="*/ 22 w 140"/>
              <a:gd name="T49" fmla="*/ 79 h 168"/>
              <a:gd name="T50" fmla="*/ 37 w 140"/>
              <a:gd name="T51" fmla="*/ 83 h 168"/>
              <a:gd name="T52" fmla="*/ 41 w 140"/>
              <a:gd name="T53" fmla="*/ 95 h 168"/>
              <a:gd name="T54" fmla="*/ 47 w 140"/>
              <a:gd name="T55" fmla="*/ 121 h 168"/>
              <a:gd name="T56" fmla="*/ 65 w 140"/>
              <a:gd name="T57" fmla="*/ 138 h 168"/>
              <a:gd name="T58" fmla="*/ 72 w 140"/>
              <a:gd name="T59" fmla="*/ 156 h 168"/>
              <a:gd name="T60" fmla="*/ 78 w 140"/>
              <a:gd name="T61" fmla="*/ 142 h 168"/>
              <a:gd name="T62" fmla="*/ 93 w 140"/>
              <a:gd name="T63" fmla="*/ 148 h 168"/>
              <a:gd name="T64" fmla="*/ 100 w 140"/>
              <a:gd name="T65" fmla="*/ 140 h 168"/>
              <a:gd name="T66" fmla="*/ 104 w 140"/>
              <a:gd name="T67" fmla="*/ 157 h 168"/>
              <a:gd name="T68" fmla="*/ 110 w 140"/>
              <a:gd name="T69" fmla="*/ 160 h 168"/>
              <a:gd name="T70" fmla="*/ 125 w 140"/>
              <a:gd name="T71" fmla="*/ 155 h 168"/>
              <a:gd name="T72" fmla="*/ 131 w 140"/>
              <a:gd name="T73" fmla="*/ 154 h 168"/>
              <a:gd name="T74" fmla="*/ 132 w 140"/>
              <a:gd name="T75" fmla="*/ 152 h 168"/>
              <a:gd name="T76" fmla="*/ 131 w 140"/>
              <a:gd name="T77" fmla="*/ 148 h 168"/>
              <a:gd name="T78" fmla="*/ 129 w 140"/>
              <a:gd name="T79" fmla="*/ 139 h 168"/>
              <a:gd name="T80" fmla="*/ 121 w 140"/>
              <a:gd name="T81" fmla="*/ 123 h 168"/>
              <a:gd name="T82" fmla="*/ 118 w 140"/>
              <a:gd name="T83" fmla="*/ 125 h 168"/>
              <a:gd name="T84" fmla="*/ 115 w 140"/>
              <a:gd name="T85" fmla="*/ 125 h 168"/>
              <a:gd name="T86" fmla="*/ 114 w 140"/>
              <a:gd name="T87" fmla="*/ 123 h 168"/>
              <a:gd name="T88" fmla="*/ 112 w 140"/>
              <a:gd name="T89" fmla="*/ 122 h 168"/>
              <a:gd name="T90" fmla="*/ 110 w 140"/>
              <a:gd name="T91" fmla="*/ 122 h 168"/>
              <a:gd name="T92" fmla="*/ 106 w 140"/>
              <a:gd name="T93" fmla="*/ 122 h 168"/>
              <a:gd name="T94" fmla="*/ 104 w 140"/>
              <a:gd name="T95" fmla="*/ 119 h 168"/>
              <a:gd name="T96" fmla="*/ 107 w 140"/>
              <a:gd name="T97" fmla="*/ 117 h 168"/>
              <a:gd name="T98" fmla="*/ 108 w 140"/>
              <a:gd name="T99" fmla="*/ 115 h 168"/>
              <a:gd name="T100" fmla="*/ 108 w 140"/>
              <a:gd name="T101" fmla="*/ 110 h 168"/>
              <a:gd name="T102" fmla="*/ 112 w 140"/>
              <a:gd name="T103" fmla="*/ 108 h 168"/>
              <a:gd name="T104" fmla="*/ 115 w 140"/>
              <a:gd name="T105" fmla="*/ 109 h 168"/>
              <a:gd name="T106" fmla="*/ 115 w 140"/>
              <a:gd name="T107" fmla="*/ 70 h 168"/>
              <a:gd name="T108" fmla="*/ 120 w 140"/>
              <a:gd name="T109" fmla="*/ 61 h 168"/>
              <a:gd name="T110" fmla="*/ 130 w 140"/>
              <a:gd name="T111" fmla="*/ 50 h 168"/>
              <a:gd name="T112" fmla="*/ 140 w 140"/>
              <a:gd name="T113" fmla="*/ 3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68">
                <a:moveTo>
                  <a:pt x="139" y="33"/>
                </a:moveTo>
                <a:cubicBezTo>
                  <a:pt x="137" y="34"/>
                  <a:pt x="136" y="34"/>
                  <a:pt x="136" y="31"/>
                </a:cubicBezTo>
                <a:cubicBezTo>
                  <a:pt x="134" y="30"/>
                  <a:pt x="131" y="31"/>
                  <a:pt x="129" y="29"/>
                </a:cubicBezTo>
                <a:cubicBezTo>
                  <a:pt x="127" y="26"/>
                  <a:pt x="125" y="26"/>
                  <a:pt x="122" y="25"/>
                </a:cubicBezTo>
                <a:cubicBezTo>
                  <a:pt x="122" y="23"/>
                  <a:pt x="122" y="20"/>
                  <a:pt x="122" y="18"/>
                </a:cubicBezTo>
                <a:cubicBezTo>
                  <a:pt x="122" y="16"/>
                  <a:pt x="119" y="15"/>
                  <a:pt x="117" y="13"/>
                </a:cubicBezTo>
                <a:cubicBezTo>
                  <a:pt x="116" y="12"/>
                  <a:pt x="114" y="10"/>
                  <a:pt x="112" y="8"/>
                </a:cubicBezTo>
                <a:cubicBezTo>
                  <a:pt x="110" y="6"/>
                  <a:pt x="109" y="3"/>
                  <a:pt x="107" y="1"/>
                </a:cubicBezTo>
                <a:cubicBezTo>
                  <a:pt x="107" y="1"/>
                  <a:pt x="106" y="0"/>
                  <a:pt x="105" y="0"/>
                </a:cubicBezTo>
                <a:cubicBezTo>
                  <a:pt x="105" y="1"/>
                  <a:pt x="105" y="2"/>
                  <a:pt x="105" y="3"/>
                </a:cubicBezTo>
                <a:cubicBezTo>
                  <a:pt x="106" y="4"/>
                  <a:pt x="107" y="5"/>
                  <a:pt x="107" y="6"/>
                </a:cubicBezTo>
                <a:cubicBezTo>
                  <a:pt x="107" y="7"/>
                  <a:pt x="107" y="7"/>
                  <a:pt x="107" y="7"/>
                </a:cubicBezTo>
                <a:cubicBezTo>
                  <a:pt x="106" y="7"/>
                  <a:pt x="106" y="7"/>
                  <a:pt x="106" y="7"/>
                </a:cubicBezTo>
                <a:cubicBezTo>
                  <a:pt x="104" y="7"/>
                  <a:pt x="102" y="6"/>
                  <a:pt x="102" y="7"/>
                </a:cubicBezTo>
                <a:cubicBezTo>
                  <a:pt x="101" y="8"/>
                  <a:pt x="102" y="9"/>
                  <a:pt x="103" y="9"/>
                </a:cubicBezTo>
                <a:cubicBezTo>
                  <a:pt x="103" y="10"/>
                  <a:pt x="102" y="11"/>
                  <a:pt x="103" y="11"/>
                </a:cubicBezTo>
                <a:cubicBezTo>
                  <a:pt x="104" y="13"/>
                  <a:pt x="104" y="13"/>
                  <a:pt x="104" y="13"/>
                </a:cubicBezTo>
                <a:cubicBezTo>
                  <a:pt x="104" y="13"/>
                  <a:pt x="105" y="13"/>
                  <a:pt x="105" y="13"/>
                </a:cubicBezTo>
                <a:cubicBezTo>
                  <a:pt x="105" y="14"/>
                  <a:pt x="105" y="14"/>
                  <a:pt x="105" y="14"/>
                </a:cubicBezTo>
                <a:cubicBezTo>
                  <a:pt x="106" y="17"/>
                  <a:pt x="108" y="16"/>
                  <a:pt x="110" y="18"/>
                </a:cubicBezTo>
                <a:cubicBezTo>
                  <a:pt x="111" y="19"/>
                  <a:pt x="110" y="21"/>
                  <a:pt x="110" y="23"/>
                </a:cubicBezTo>
                <a:cubicBezTo>
                  <a:pt x="110" y="24"/>
                  <a:pt x="111" y="31"/>
                  <a:pt x="109" y="31"/>
                </a:cubicBezTo>
                <a:cubicBezTo>
                  <a:pt x="108" y="30"/>
                  <a:pt x="109" y="28"/>
                  <a:pt x="107" y="27"/>
                </a:cubicBezTo>
                <a:cubicBezTo>
                  <a:pt x="106" y="27"/>
                  <a:pt x="104" y="27"/>
                  <a:pt x="104" y="26"/>
                </a:cubicBezTo>
                <a:cubicBezTo>
                  <a:pt x="103" y="25"/>
                  <a:pt x="102" y="25"/>
                  <a:pt x="101" y="26"/>
                </a:cubicBezTo>
                <a:cubicBezTo>
                  <a:pt x="101" y="27"/>
                  <a:pt x="101" y="28"/>
                  <a:pt x="102" y="29"/>
                </a:cubicBezTo>
                <a:cubicBezTo>
                  <a:pt x="102" y="30"/>
                  <a:pt x="102" y="31"/>
                  <a:pt x="102" y="32"/>
                </a:cubicBezTo>
                <a:cubicBezTo>
                  <a:pt x="101" y="32"/>
                  <a:pt x="99" y="33"/>
                  <a:pt x="98" y="33"/>
                </a:cubicBezTo>
                <a:cubicBezTo>
                  <a:pt x="97" y="34"/>
                  <a:pt x="97" y="36"/>
                  <a:pt x="95" y="35"/>
                </a:cubicBezTo>
                <a:cubicBezTo>
                  <a:pt x="95" y="36"/>
                  <a:pt x="95" y="36"/>
                  <a:pt x="95" y="36"/>
                </a:cubicBezTo>
                <a:cubicBezTo>
                  <a:pt x="97" y="36"/>
                  <a:pt x="98" y="37"/>
                  <a:pt x="98" y="39"/>
                </a:cubicBezTo>
                <a:cubicBezTo>
                  <a:pt x="98" y="41"/>
                  <a:pt x="97" y="41"/>
                  <a:pt x="95" y="42"/>
                </a:cubicBezTo>
                <a:cubicBezTo>
                  <a:pt x="94" y="43"/>
                  <a:pt x="94" y="45"/>
                  <a:pt x="92" y="43"/>
                </a:cubicBezTo>
                <a:cubicBezTo>
                  <a:pt x="91" y="42"/>
                  <a:pt x="91" y="41"/>
                  <a:pt x="91" y="40"/>
                </a:cubicBezTo>
                <a:cubicBezTo>
                  <a:pt x="90" y="37"/>
                  <a:pt x="88" y="38"/>
                  <a:pt x="88" y="40"/>
                </a:cubicBezTo>
                <a:cubicBezTo>
                  <a:pt x="87" y="43"/>
                  <a:pt x="82" y="40"/>
                  <a:pt x="81" y="39"/>
                </a:cubicBezTo>
                <a:cubicBezTo>
                  <a:pt x="80" y="41"/>
                  <a:pt x="80" y="44"/>
                  <a:pt x="80" y="46"/>
                </a:cubicBezTo>
                <a:cubicBezTo>
                  <a:pt x="79" y="47"/>
                  <a:pt x="79" y="48"/>
                  <a:pt x="79" y="49"/>
                </a:cubicBezTo>
                <a:cubicBezTo>
                  <a:pt x="78" y="50"/>
                  <a:pt x="78" y="54"/>
                  <a:pt x="80" y="54"/>
                </a:cubicBezTo>
                <a:cubicBezTo>
                  <a:pt x="80" y="54"/>
                  <a:pt x="79" y="55"/>
                  <a:pt x="79" y="56"/>
                </a:cubicBezTo>
                <a:cubicBezTo>
                  <a:pt x="78" y="56"/>
                  <a:pt x="77" y="56"/>
                  <a:pt x="76" y="56"/>
                </a:cubicBezTo>
                <a:cubicBezTo>
                  <a:pt x="75" y="57"/>
                  <a:pt x="76" y="58"/>
                  <a:pt x="75" y="58"/>
                </a:cubicBezTo>
                <a:cubicBezTo>
                  <a:pt x="75" y="58"/>
                  <a:pt x="74" y="58"/>
                  <a:pt x="74" y="57"/>
                </a:cubicBezTo>
                <a:cubicBezTo>
                  <a:pt x="74" y="58"/>
                  <a:pt x="73" y="58"/>
                  <a:pt x="73" y="59"/>
                </a:cubicBezTo>
                <a:cubicBezTo>
                  <a:pt x="72" y="60"/>
                  <a:pt x="73" y="61"/>
                  <a:pt x="70" y="60"/>
                </a:cubicBezTo>
                <a:cubicBezTo>
                  <a:pt x="69" y="60"/>
                  <a:pt x="67" y="60"/>
                  <a:pt x="65" y="60"/>
                </a:cubicBezTo>
                <a:cubicBezTo>
                  <a:pt x="65" y="55"/>
                  <a:pt x="56" y="54"/>
                  <a:pt x="56" y="58"/>
                </a:cubicBezTo>
                <a:cubicBezTo>
                  <a:pt x="53" y="59"/>
                  <a:pt x="51" y="58"/>
                  <a:pt x="48" y="57"/>
                </a:cubicBezTo>
                <a:cubicBezTo>
                  <a:pt x="45" y="55"/>
                  <a:pt x="44" y="58"/>
                  <a:pt x="42" y="60"/>
                </a:cubicBezTo>
                <a:cubicBezTo>
                  <a:pt x="41" y="62"/>
                  <a:pt x="38" y="63"/>
                  <a:pt x="38" y="66"/>
                </a:cubicBezTo>
                <a:cubicBezTo>
                  <a:pt x="38" y="68"/>
                  <a:pt x="38" y="69"/>
                  <a:pt x="35" y="69"/>
                </a:cubicBezTo>
                <a:cubicBezTo>
                  <a:pt x="35" y="67"/>
                  <a:pt x="34" y="66"/>
                  <a:pt x="33" y="65"/>
                </a:cubicBezTo>
                <a:cubicBezTo>
                  <a:pt x="33" y="64"/>
                  <a:pt x="31" y="63"/>
                  <a:pt x="31" y="63"/>
                </a:cubicBezTo>
                <a:cubicBezTo>
                  <a:pt x="31" y="60"/>
                  <a:pt x="34" y="59"/>
                  <a:pt x="34" y="57"/>
                </a:cubicBezTo>
                <a:cubicBezTo>
                  <a:pt x="35" y="56"/>
                  <a:pt x="35" y="54"/>
                  <a:pt x="34" y="54"/>
                </a:cubicBezTo>
                <a:cubicBezTo>
                  <a:pt x="32" y="54"/>
                  <a:pt x="33" y="55"/>
                  <a:pt x="33" y="55"/>
                </a:cubicBezTo>
                <a:cubicBezTo>
                  <a:pt x="29" y="59"/>
                  <a:pt x="30" y="50"/>
                  <a:pt x="30" y="50"/>
                </a:cubicBezTo>
                <a:cubicBezTo>
                  <a:pt x="28" y="47"/>
                  <a:pt x="28" y="54"/>
                  <a:pt x="24" y="48"/>
                </a:cubicBezTo>
                <a:cubicBezTo>
                  <a:pt x="22" y="45"/>
                  <a:pt x="16" y="45"/>
                  <a:pt x="12" y="45"/>
                </a:cubicBezTo>
                <a:cubicBezTo>
                  <a:pt x="12" y="46"/>
                  <a:pt x="11" y="46"/>
                  <a:pt x="10" y="47"/>
                </a:cubicBezTo>
                <a:cubicBezTo>
                  <a:pt x="7" y="48"/>
                  <a:pt x="5" y="45"/>
                  <a:pt x="1" y="45"/>
                </a:cubicBezTo>
                <a:cubicBezTo>
                  <a:pt x="0" y="44"/>
                  <a:pt x="0" y="44"/>
                  <a:pt x="0" y="44"/>
                </a:cubicBezTo>
                <a:cubicBezTo>
                  <a:pt x="0" y="45"/>
                  <a:pt x="0" y="45"/>
                  <a:pt x="1" y="46"/>
                </a:cubicBezTo>
                <a:cubicBezTo>
                  <a:pt x="1" y="47"/>
                  <a:pt x="1" y="49"/>
                  <a:pt x="2" y="50"/>
                </a:cubicBezTo>
                <a:cubicBezTo>
                  <a:pt x="3" y="50"/>
                  <a:pt x="5" y="50"/>
                  <a:pt x="5" y="50"/>
                </a:cubicBezTo>
                <a:cubicBezTo>
                  <a:pt x="6" y="51"/>
                  <a:pt x="6" y="53"/>
                  <a:pt x="5" y="53"/>
                </a:cubicBezTo>
                <a:cubicBezTo>
                  <a:pt x="2" y="53"/>
                  <a:pt x="2" y="57"/>
                  <a:pt x="3" y="59"/>
                </a:cubicBezTo>
                <a:cubicBezTo>
                  <a:pt x="4" y="60"/>
                  <a:pt x="5" y="60"/>
                  <a:pt x="6" y="60"/>
                </a:cubicBezTo>
                <a:cubicBezTo>
                  <a:pt x="7" y="62"/>
                  <a:pt x="7" y="64"/>
                  <a:pt x="5" y="66"/>
                </a:cubicBezTo>
                <a:cubicBezTo>
                  <a:pt x="4" y="68"/>
                  <a:pt x="5" y="71"/>
                  <a:pt x="5" y="73"/>
                </a:cubicBezTo>
                <a:cubicBezTo>
                  <a:pt x="4" y="73"/>
                  <a:pt x="2" y="73"/>
                  <a:pt x="1" y="73"/>
                </a:cubicBezTo>
                <a:cubicBezTo>
                  <a:pt x="1" y="75"/>
                  <a:pt x="3" y="76"/>
                  <a:pt x="4" y="76"/>
                </a:cubicBezTo>
                <a:cubicBezTo>
                  <a:pt x="4" y="77"/>
                  <a:pt x="5" y="77"/>
                  <a:pt x="5" y="78"/>
                </a:cubicBezTo>
                <a:cubicBezTo>
                  <a:pt x="8" y="77"/>
                  <a:pt x="10" y="78"/>
                  <a:pt x="13" y="79"/>
                </a:cubicBezTo>
                <a:cubicBezTo>
                  <a:pt x="14" y="74"/>
                  <a:pt x="19" y="78"/>
                  <a:pt x="22" y="79"/>
                </a:cubicBezTo>
                <a:cubicBezTo>
                  <a:pt x="22" y="80"/>
                  <a:pt x="22" y="81"/>
                  <a:pt x="22" y="82"/>
                </a:cubicBezTo>
                <a:cubicBezTo>
                  <a:pt x="23" y="82"/>
                  <a:pt x="23" y="83"/>
                  <a:pt x="24" y="82"/>
                </a:cubicBezTo>
                <a:cubicBezTo>
                  <a:pt x="25" y="88"/>
                  <a:pt x="34" y="83"/>
                  <a:pt x="37" y="83"/>
                </a:cubicBezTo>
                <a:cubicBezTo>
                  <a:pt x="37" y="84"/>
                  <a:pt x="37" y="84"/>
                  <a:pt x="37" y="85"/>
                </a:cubicBezTo>
                <a:cubicBezTo>
                  <a:pt x="41" y="85"/>
                  <a:pt x="41" y="88"/>
                  <a:pt x="41" y="91"/>
                </a:cubicBezTo>
                <a:cubicBezTo>
                  <a:pt x="41" y="92"/>
                  <a:pt x="40" y="94"/>
                  <a:pt x="41" y="95"/>
                </a:cubicBezTo>
                <a:cubicBezTo>
                  <a:pt x="41" y="95"/>
                  <a:pt x="44" y="97"/>
                  <a:pt x="44" y="96"/>
                </a:cubicBezTo>
                <a:cubicBezTo>
                  <a:pt x="43" y="102"/>
                  <a:pt x="42" y="109"/>
                  <a:pt x="45" y="115"/>
                </a:cubicBezTo>
                <a:cubicBezTo>
                  <a:pt x="46" y="117"/>
                  <a:pt x="47" y="119"/>
                  <a:pt x="47" y="121"/>
                </a:cubicBezTo>
                <a:cubicBezTo>
                  <a:pt x="48" y="124"/>
                  <a:pt x="52" y="123"/>
                  <a:pt x="54" y="123"/>
                </a:cubicBezTo>
                <a:cubicBezTo>
                  <a:pt x="54" y="126"/>
                  <a:pt x="55" y="128"/>
                  <a:pt x="58" y="129"/>
                </a:cubicBezTo>
                <a:cubicBezTo>
                  <a:pt x="61" y="131"/>
                  <a:pt x="64" y="134"/>
                  <a:pt x="65" y="138"/>
                </a:cubicBezTo>
                <a:cubicBezTo>
                  <a:pt x="67" y="142"/>
                  <a:pt x="56" y="154"/>
                  <a:pt x="66" y="156"/>
                </a:cubicBezTo>
                <a:cubicBezTo>
                  <a:pt x="67" y="156"/>
                  <a:pt x="68" y="155"/>
                  <a:pt x="68" y="155"/>
                </a:cubicBezTo>
                <a:cubicBezTo>
                  <a:pt x="70" y="155"/>
                  <a:pt x="71" y="156"/>
                  <a:pt x="72" y="156"/>
                </a:cubicBezTo>
                <a:cubicBezTo>
                  <a:pt x="72" y="154"/>
                  <a:pt x="71" y="151"/>
                  <a:pt x="71" y="149"/>
                </a:cubicBezTo>
                <a:cubicBezTo>
                  <a:pt x="72" y="146"/>
                  <a:pt x="77" y="148"/>
                  <a:pt x="79" y="148"/>
                </a:cubicBezTo>
                <a:cubicBezTo>
                  <a:pt x="78" y="146"/>
                  <a:pt x="77" y="144"/>
                  <a:pt x="78" y="142"/>
                </a:cubicBezTo>
                <a:cubicBezTo>
                  <a:pt x="78" y="142"/>
                  <a:pt x="79" y="142"/>
                  <a:pt x="79" y="142"/>
                </a:cubicBezTo>
                <a:cubicBezTo>
                  <a:pt x="77" y="142"/>
                  <a:pt x="76" y="141"/>
                  <a:pt x="76" y="140"/>
                </a:cubicBezTo>
                <a:cubicBezTo>
                  <a:pt x="85" y="138"/>
                  <a:pt x="86" y="149"/>
                  <a:pt x="93" y="148"/>
                </a:cubicBezTo>
                <a:cubicBezTo>
                  <a:pt x="94" y="147"/>
                  <a:pt x="93" y="145"/>
                  <a:pt x="94" y="144"/>
                </a:cubicBezTo>
                <a:cubicBezTo>
                  <a:pt x="95" y="143"/>
                  <a:pt x="98" y="144"/>
                  <a:pt x="99" y="144"/>
                </a:cubicBezTo>
                <a:cubicBezTo>
                  <a:pt x="99" y="142"/>
                  <a:pt x="100" y="141"/>
                  <a:pt x="100" y="140"/>
                </a:cubicBezTo>
                <a:cubicBezTo>
                  <a:pt x="102" y="138"/>
                  <a:pt x="104" y="143"/>
                  <a:pt x="107" y="144"/>
                </a:cubicBezTo>
                <a:cubicBezTo>
                  <a:pt x="107" y="145"/>
                  <a:pt x="107" y="145"/>
                  <a:pt x="107" y="145"/>
                </a:cubicBezTo>
                <a:cubicBezTo>
                  <a:pt x="103" y="146"/>
                  <a:pt x="104" y="154"/>
                  <a:pt x="104" y="157"/>
                </a:cubicBezTo>
                <a:cubicBezTo>
                  <a:pt x="103" y="159"/>
                  <a:pt x="101" y="168"/>
                  <a:pt x="106" y="166"/>
                </a:cubicBezTo>
                <a:cubicBezTo>
                  <a:pt x="106" y="163"/>
                  <a:pt x="108" y="163"/>
                  <a:pt x="111" y="163"/>
                </a:cubicBezTo>
                <a:cubicBezTo>
                  <a:pt x="111" y="162"/>
                  <a:pt x="111" y="161"/>
                  <a:pt x="110" y="160"/>
                </a:cubicBezTo>
                <a:cubicBezTo>
                  <a:pt x="113" y="161"/>
                  <a:pt x="118" y="161"/>
                  <a:pt x="120" y="159"/>
                </a:cubicBezTo>
                <a:cubicBezTo>
                  <a:pt x="122" y="158"/>
                  <a:pt x="123" y="156"/>
                  <a:pt x="125" y="155"/>
                </a:cubicBezTo>
                <a:cubicBezTo>
                  <a:pt x="125" y="155"/>
                  <a:pt x="125" y="155"/>
                  <a:pt x="125" y="155"/>
                </a:cubicBezTo>
                <a:cubicBezTo>
                  <a:pt x="126" y="155"/>
                  <a:pt x="126" y="155"/>
                  <a:pt x="126" y="155"/>
                </a:cubicBezTo>
                <a:cubicBezTo>
                  <a:pt x="126" y="155"/>
                  <a:pt x="126" y="155"/>
                  <a:pt x="126" y="155"/>
                </a:cubicBezTo>
                <a:cubicBezTo>
                  <a:pt x="127" y="154"/>
                  <a:pt x="129" y="155"/>
                  <a:pt x="131" y="154"/>
                </a:cubicBezTo>
                <a:cubicBezTo>
                  <a:pt x="132" y="154"/>
                  <a:pt x="132" y="154"/>
                  <a:pt x="132" y="154"/>
                </a:cubicBezTo>
                <a:cubicBezTo>
                  <a:pt x="132" y="154"/>
                  <a:pt x="132" y="154"/>
                  <a:pt x="132" y="154"/>
                </a:cubicBezTo>
                <a:cubicBezTo>
                  <a:pt x="132" y="153"/>
                  <a:pt x="132" y="153"/>
                  <a:pt x="132" y="152"/>
                </a:cubicBezTo>
                <a:cubicBezTo>
                  <a:pt x="132" y="151"/>
                  <a:pt x="132" y="151"/>
                  <a:pt x="132" y="151"/>
                </a:cubicBezTo>
                <a:cubicBezTo>
                  <a:pt x="131" y="151"/>
                  <a:pt x="131" y="150"/>
                  <a:pt x="131" y="149"/>
                </a:cubicBezTo>
                <a:cubicBezTo>
                  <a:pt x="131" y="148"/>
                  <a:pt x="131" y="148"/>
                  <a:pt x="131" y="148"/>
                </a:cubicBezTo>
                <a:cubicBezTo>
                  <a:pt x="131" y="145"/>
                  <a:pt x="131" y="143"/>
                  <a:pt x="129" y="140"/>
                </a:cubicBezTo>
                <a:cubicBezTo>
                  <a:pt x="129" y="139"/>
                  <a:pt x="129" y="139"/>
                  <a:pt x="129" y="139"/>
                </a:cubicBezTo>
                <a:cubicBezTo>
                  <a:pt x="129" y="139"/>
                  <a:pt x="129" y="139"/>
                  <a:pt x="129" y="139"/>
                </a:cubicBezTo>
                <a:cubicBezTo>
                  <a:pt x="128" y="136"/>
                  <a:pt x="126" y="134"/>
                  <a:pt x="124" y="131"/>
                </a:cubicBezTo>
                <a:cubicBezTo>
                  <a:pt x="122" y="129"/>
                  <a:pt x="123" y="127"/>
                  <a:pt x="122" y="125"/>
                </a:cubicBezTo>
                <a:cubicBezTo>
                  <a:pt x="122" y="124"/>
                  <a:pt x="121" y="124"/>
                  <a:pt x="121" y="123"/>
                </a:cubicBezTo>
                <a:cubicBezTo>
                  <a:pt x="120" y="123"/>
                  <a:pt x="120" y="123"/>
                  <a:pt x="120" y="123"/>
                </a:cubicBezTo>
                <a:cubicBezTo>
                  <a:pt x="120" y="123"/>
                  <a:pt x="119" y="123"/>
                  <a:pt x="118" y="123"/>
                </a:cubicBezTo>
                <a:cubicBezTo>
                  <a:pt x="117" y="124"/>
                  <a:pt x="119" y="124"/>
                  <a:pt x="118" y="125"/>
                </a:cubicBezTo>
                <a:cubicBezTo>
                  <a:pt x="118" y="126"/>
                  <a:pt x="116" y="127"/>
                  <a:pt x="115" y="126"/>
                </a:cubicBezTo>
                <a:cubicBezTo>
                  <a:pt x="115" y="126"/>
                  <a:pt x="115" y="126"/>
                  <a:pt x="115" y="126"/>
                </a:cubicBezTo>
                <a:cubicBezTo>
                  <a:pt x="115" y="125"/>
                  <a:pt x="115" y="125"/>
                  <a:pt x="115" y="125"/>
                </a:cubicBezTo>
                <a:cubicBezTo>
                  <a:pt x="115" y="125"/>
                  <a:pt x="114" y="125"/>
                  <a:pt x="114" y="124"/>
                </a:cubicBezTo>
                <a:cubicBezTo>
                  <a:pt x="114" y="124"/>
                  <a:pt x="114" y="124"/>
                  <a:pt x="114" y="123"/>
                </a:cubicBezTo>
                <a:cubicBezTo>
                  <a:pt x="114" y="123"/>
                  <a:pt x="114" y="123"/>
                  <a:pt x="114" y="123"/>
                </a:cubicBezTo>
                <a:cubicBezTo>
                  <a:pt x="113" y="122"/>
                  <a:pt x="113" y="122"/>
                  <a:pt x="113" y="122"/>
                </a:cubicBezTo>
                <a:cubicBezTo>
                  <a:pt x="113" y="122"/>
                  <a:pt x="113" y="122"/>
                  <a:pt x="113" y="122"/>
                </a:cubicBezTo>
                <a:cubicBezTo>
                  <a:pt x="112" y="122"/>
                  <a:pt x="112" y="122"/>
                  <a:pt x="112" y="122"/>
                </a:cubicBezTo>
                <a:cubicBezTo>
                  <a:pt x="111" y="122"/>
                  <a:pt x="111" y="121"/>
                  <a:pt x="111" y="121"/>
                </a:cubicBezTo>
                <a:cubicBezTo>
                  <a:pt x="110" y="121"/>
                  <a:pt x="109" y="121"/>
                  <a:pt x="110" y="121"/>
                </a:cubicBezTo>
                <a:cubicBezTo>
                  <a:pt x="111" y="121"/>
                  <a:pt x="110" y="122"/>
                  <a:pt x="110" y="122"/>
                </a:cubicBezTo>
                <a:cubicBezTo>
                  <a:pt x="109" y="122"/>
                  <a:pt x="109" y="122"/>
                  <a:pt x="109" y="122"/>
                </a:cubicBezTo>
                <a:cubicBezTo>
                  <a:pt x="108" y="122"/>
                  <a:pt x="108" y="122"/>
                  <a:pt x="107" y="122"/>
                </a:cubicBezTo>
                <a:cubicBezTo>
                  <a:pt x="107" y="122"/>
                  <a:pt x="106" y="122"/>
                  <a:pt x="106" y="122"/>
                </a:cubicBezTo>
                <a:cubicBezTo>
                  <a:pt x="105" y="123"/>
                  <a:pt x="106" y="122"/>
                  <a:pt x="106" y="121"/>
                </a:cubicBezTo>
                <a:cubicBezTo>
                  <a:pt x="105" y="120"/>
                  <a:pt x="105" y="120"/>
                  <a:pt x="105" y="120"/>
                </a:cubicBezTo>
                <a:cubicBezTo>
                  <a:pt x="104" y="120"/>
                  <a:pt x="104" y="120"/>
                  <a:pt x="104" y="119"/>
                </a:cubicBezTo>
                <a:cubicBezTo>
                  <a:pt x="104" y="118"/>
                  <a:pt x="105" y="119"/>
                  <a:pt x="105" y="118"/>
                </a:cubicBezTo>
                <a:cubicBezTo>
                  <a:pt x="105" y="118"/>
                  <a:pt x="105" y="117"/>
                  <a:pt x="106" y="117"/>
                </a:cubicBezTo>
                <a:cubicBezTo>
                  <a:pt x="107" y="117"/>
                  <a:pt x="107" y="117"/>
                  <a:pt x="107" y="117"/>
                </a:cubicBezTo>
                <a:cubicBezTo>
                  <a:pt x="107" y="117"/>
                  <a:pt x="107" y="116"/>
                  <a:pt x="107" y="116"/>
                </a:cubicBezTo>
                <a:cubicBezTo>
                  <a:pt x="107" y="115"/>
                  <a:pt x="108" y="116"/>
                  <a:pt x="108" y="115"/>
                </a:cubicBezTo>
                <a:cubicBezTo>
                  <a:pt x="108" y="115"/>
                  <a:pt x="108" y="115"/>
                  <a:pt x="108" y="115"/>
                </a:cubicBezTo>
                <a:cubicBezTo>
                  <a:pt x="109" y="114"/>
                  <a:pt x="108" y="114"/>
                  <a:pt x="108" y="114"/>
                </a:cubicBezTo>
                <a:cubicBezTo>
                  <a:pt x="108" y="114"/>
                  <a:pt x="109" y="113"/>
                  <a:pt x="108" y="112"/>
                </a:cubicBezTo>
                <a:cubicBezTo>
                  <a:pt x="108" y="110"/>
                  <a:pt x="108" y="110"/>
                  <a:pt x="108" y="110"/>
                </a:cubicBezTo>
                <a:cubicBezTo>
                  <a:pt x="108" y="109"/>
                  <a:pt x="109" y="109"/>
                  <a:pt x="109" y="109"/>
                </a:cubicBezTo>
                <a:cubicBezTo>
                  <a:pt x="110" y="109"/>
                  <a:pt x="111" y="109"/>
                  <a:pt x="111" y="109"/>
                </a:cubicBezTo>
                <a:cubicBezTo>
                  <a:pt x="111" y="109"/>
                  <a:pt x="112" y="108"/>
                  <a:pt x="112" y="108"/>
                </a:cubicBezTo>
                <a:cubicBezTo>
                  <a:pt x="113" y="107"/>
                  <a:pt x="114" y="108"/>
                  <a:pt x="114" y="108"/>
                </a:cubicBezTo>
                <a:cubicBezTo>
                  <a:pt x="114" y="108"/>
                  <a:pt x="114" y="108"/>
                  <a:pt x="114" y="108"/>
                </a:cubicBezTo>
                <a:cubicBezTo>
                  <a:pt x="115" y="109"/>
                  <a:pt x="115" y="109"/>
                  <a:pt x="115" y="109"/>
                </a:cubicBezTo>
                <a:cubicBezTo>
                  <a:pt x="115" y="102"/>
                  <a:pt x="115" y="102"/>
                  <a:pt x="115" y="102"/>
                </a:cubicBezTo>
                <a:cubicBezTo>
                  <a:pt x="115" y="97"/>
                  <a:pt x="115" y="92"/>
                  <a:pt x="113" y="87"/>
                </a:cubicBezTo>
                <a:cubicBezTo>
                  <a:pt x="112" y="82"/>
                  <a:pt x="114" y="75"/>
                  <a:pt x="115" y="70"/>
                </a:cubicBezTo>
                <a:cubicBezTo>
                  <a:pt x="116" y="70"/>
                  <a:pt x="116" y="70"/>
                  <a:pt x="116" y="70"/>
                </a:cubicBezTo>
                <a:cubicBezTo>
                  <a:pt x="117" y="68"/>
                  <a:pt x="117" y="67"/>
                  <a:pt x="118" y="65"/>
                </a:cubicBezTo>
                <a:cubicBezTo>
                  <a:pt x="119" y="64"/>
                  <a:pt x="120" y="63"/>
                  <a:pt x="120" y="61"/>
                </a:cubicBezTo>
                <a:cubicBezTo>
                  <a:pt x="121" y="59"/>
                  <a:pt x="120" y="55"/>
                  <a:pt x="124" y="55"/>
                </a:cubicBezTo>
                <a:cubicBezTo>
                  <a:pt x="124" y="54"/>
                  <a:pt x="125" y="54"/>
                  <a:pt x="126" y="52"/>
                </a:cubicBezTo>
                <a:cubicBezTo>
                  <a:pt x="126" y="50"/>
                  <a:pt x="128" y="51"/>
                  <a:pt x="130" y="50"/>
                </a:cubicBezTo>
                <a:cubicBezTo>
                  <a:pt x="130" y="45"/>
                  <a:pt x="136" y="42"/>
                  <a:pt x="138" y="38"/>
                </a:cubicBezTo>
                <a:cubicBezTo>
                  <a:pt x="139" y="37"/>
                  <a:pt x="139" y="36"/>
                  <a:pt x="139" y="35"/>
                </a:cubicBezTo>
                <a:cubicBezTo>
                  <a:pt x="140" y="35"/>
                  <a:pt x="140" y="35"/>
                  <a:pt x="140" y="35"/>
                </a:cubicBezTo>
                <a:cubicBezTo>
                  <a:pt x="139" y="34"/>
                  <a:pt x="139" y="33"/>
                  <a:pt x="139" y="33"/>
                </a:cubicBezTo>
                <a:close/>
              </a:path>
            </a:pathLst>
          </a:custGeom>
          <a:solidFill>
            <a:schemeClr val="accent1"/>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6" name="Rectangle 444">
            <a:extLst>
              <a:ext uri="{FF2B5EF4-FFF2-40B4-BE49-F238E27FC236}">
                <a16:creationId xmlns:a16="http://schemas.microsoft.com/office/drawing/2014/main" id="{A37E434F-B609-484D-804F-8B2808992DE9}"/>
              </a:ext>
            </a:extLst>
          </p:cNvPr>
          <p:cNvSpPr>
            <a:spLocks noChangeArrowheads="1"/>
          </p:cNvSpPr>
          <p:nvPr/>
        </p:nvSpPr>
        <p:spPr bwMode="auto">
          <a:xfrm>
            <a:off x="1571837" y="2846074"/>
            <a:ext cx="1110" cy="1116"/>
          </a:xfrm>
          <a:prstGeom prst="rect">
            <a:avLst/>
          </a:prstGeom>
          <a:solidFill>
            <a:schemeClr val="bg1">
              <a:lumMod val="85000"/>
            </a:schemeClr>
          </a:solidFill>
          <a:ln w="3175">
            <a:noFill/>
            <a:miter lim="800000"/>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7" name="Freeform 445">
            <a:extLst>
              <a:ext uri="{FF2B5EF4-FFF2-40B4-BE49-F238E27FC236}">
                <a16:creationId xmlns:a16="http://schemas.microsoft.com/office/drawing/2014/main" id="{9283F757-AB0B-438C-865C-DD76E9412CD9}"/>
              </a:ext>
            </a:extLst>
          </p:cNvPr>
          <p:cNvSpPr>
            <a:spLocks/>
          </p:cNvSpPr>
          <p:nvPr/>
        </p:nvSpPr>
        <p:spPr bwMode="auto">
          <a:xfrm>
            <a:off x="1589597" y="2933134"/>
            <a:ext cx="835853" cy="767917"/>
          </a:xfrm>
          <a:custGeom>
            <a:avLst/>
            <a:gdLst>
              <a:gd name="T0" fmla="*/ 317 w 338"/>
              <a:gd name="T1" fmla="*/ 205 h 309"/>
              <a:gd name="T2" fmla="*/ 325 w 338"/>
              <a:gd name="T3" fmla="*/ 189 h 309"/>
              <a:gd name="T4" fmla="*/ 311 w 338"/>
              <a:gd name="T5" fmla="*/ 168 h 309"/>
              <a:gd name="T6" fmla="*/ 280 w 338"/>
              <a:gd name="T7" fmla="*/ 151 h 309"/>
              <a:gd name="T8" fmla="*/ 252 w 338"/>
              <a:gd name="T9" fmla="*/ 139 h 309"/>
              <a:gd name="T10" fmla="*/ 217 w 338"/>
              <a:gd name="T11" fmla="*/ 125 h 309"/>
              <a:gd name="T12" fmla="*/ 189 w 338"/>
              <a:gd name="T13" fmla="*/ 112 h 309"/>
              <a:gd name="T14" fmla="*/ 173 w 338"/>
              <a:gd name="T15" fmla="*/ 97 h 309"/>
              <a:gd name="T16" fmla="*/ 148 w 338"/>
              <a:gd name="T17" fmla="*/ 87 h 309"/>
              <a:gd name="T18" fmla="*/ 129 w 338"/>
              <a:gd name="T19" fmla="*/ 82 h 309"/>
              <a:gd name="T20" fmla="*/ 95 w 338"/>
              <a:gd name="T21" fmla="*/ 69 h 309"/>
              <a:gd name="T22" fmla="*/ 78 w 338"/>
              <a:gd name="T23" fmla="*/ 46 h 309"/>
              <a:gd name="T24" fmla="*/ 42 w 338"/>
              <a:gd name="T25" fmla="*/ 37 h 309"/>
              <a:gd name="T26" fmla="*/ 43 w 338"/>
              <a:gd name="T27" fmla="*/ 8 h 309"/>
              <a:gd name="T28" fmla="*/ 14 w 338"/>
              <a:gd name="T29" fmla="*/ 17 h 309"/>
              <a:gd name="T30" fmla="*/ 1 w 338"/>
              <a:gd name="T31" fmla="*/ 52 h 309"/>
              <a:gd name="T32" fmla="*/ 5 w 338"/>
              <a:gd name="T33" fmla="*/ 76 h 309"/>
              <a:gd name="T34" fmla="*/ 8 w 338"/>
              <a:gd name="T35" fmla="*/ 79 h 309"/>
              <a:gd name="T36" fmla="*/ 9 w 338"/>
              <a:gd name="T37" fmla="*/ 88 h 309"/>
              <a:gd name="T38" fmla="*/ 17 w 338"/>
              <a:gd name="T39" fmla="*/ 105 h 309"/>
              <a:gd name="T40" fmla="*/ 20 w 338"/>
              <a:gd name="T41" fmla="*/ 119 h 309"/>
              <a:gd name="T42" fmla="*/ 19 w 338"/>
              <a:gd name="T43" fmla="*/ 119 h 309"/>
              <a:gd name="T44" fmla="*/ 19 w 338"/>
              <a:gd name="T45" fmla="*/ 119 h 309"/>
              <a:gd name="T46" fmla="*/ 19 w 338"/>
              <a:gd name="T47" fmla="*/ 119 h 309"/>
              <a:gd name="T48" fmla="*/ 14 w 338"/>
              <a:gd name="T49" fmla="*/ 120 h 309"/>
              <a:gd name="T50" fmla="*/ 13 w 338"/>
              <a:gd name="T51" fmla="*/ 120 h 309"/>
              <a:gd name="T52" fmla="*/ 13 w 338"/>
              <a:gd name="T53" fmla="*/ 120 h 309"/>
              <a:gd name="T54" fmla="*/ 14 w 338"/>
              <a:gd name="T55" fmla="*/ 142 h 309"/>
              <a:gd name="T56" fmla="*/ 20 w 338"/>
              <a:gd name="T57" fmla="*/ 161 h 309"/>
              <a:gd name="T58" fmla="*/ 26 w 338"/>
              <a:gd name="T59" fmla="*/ 171 h 309"/>
              <a:gd name="T60" fmla="*/ 45 w 338"/>
              <a:gd name="T61" fmla="*/ 167 h 309"/>
              <a:gd name="T62" fmla="*/ 71 w 338"/>
              <a:gd name="T63" fmla="*/ 174 h 309"/>
              <a:gd name="T64" fmla="*/ 87 w 338"/>
              <a:gd name="T65" fmla="*/ 199 h 309"/>
              <a:gd name="T66" fmla="*/ 72 w 338"/>
              <a:gd name="T67" fmla="*/ 224 h 309"/>
              <a:gd name="T68" fmla="*/ 51 w 338"/>
              <a:gd name="T69" fmla="*/ 238 h 309"/>
              <a:gd name="T70" fmla="*/ 42 w 338"/>
              <a:gd name="T71" fmla="*/ 265 h 309"/>
              <a:gd name="T72" fmla="*/ 62 w 338"/>
              <a:gd name="T73" fmla="*/ 292 h 309"/>
              <a:gd name="T74" fmla="*/ 76 w 338"/>
              <a:gd name="T75" fmla="*/ 286 h 309"/>
              <a:gd name="T76" fmla="*/ 66 w 338"/>
              <a:gd name="T77" fmla="*/ 265 h 309"/>
              <a:gd name="T78" fmla="*/ 71 w 338"/>
              <a:gd name="T79" fmla="*/ 240 h 309"/>
              <a:gd name="T80" fmla="*/ 74 w 338"/>
              <a:gd name="T81" fmla="*/ 247 h 309"/>
              <a:gd name="T82" fmla="*/ 79 w 338"/>
              <a:gd name="T83" fmla="*/ 250 h 309"/>
              <a:gd name="T84" fmla="*/ 95 w 338"/>
              <a:gd name="T85" fmla="*/ 252 h 309"/>
              <a:gd name="T86" fmla="*/ 106 w 338"/>
              <a:gd name="T87" fmla="*/ 256 h 309"/>
              <a:gd name="T88" fmla="*/ 140 w 338"/>
              <a:gd name="T89" fmla="*/ 243 h 309"/>
              <a:gd name="T90" fmla="*/ 142 w 338"/>
              <a:gd name="T91" fmla="*/ 261 h 309"/>
              <a:gd name="T92" fmla="*/ 153 w 338"/>
              <a:gd name="T93" fmla="*/ 259 h 309"/>
              <a:gd name="T94" fmla="*/ 164 w 338"/>
              <a:gd name="T95" fmla="*/ 257 h 309"/>
              <a:gd name="T96" fmla="*/ 164 w 338"/>
              <a:gd name="T97" fmla="*/ 268 h 309"/>
              <a:gd name="T98" fmla="*/ 191 w 338"/>
              <a:gd name="T99" fmla="*/ 257 h 309"/>
              <a:gd name="T100" fmla="*/ 206 w 338"/>
              <a:gd name="T101" fmla="*/ 263 h 309"/>
              <a:gd name="T102" fmla="*/ 229 w 338"/>
              <a:gd name="T103" fmla="*/ 281 h 309"/>
              <a:gd name="T104" fmla="*/ 252 w 338"/>
              <a:gd name="T105" fmla="*/ 282 h 309"/>
              <a:gd name="T106" fmla="*/ 252 w 338"/>
              <a:gd name="T107" fmla="*/ 296 h 309"/>
              <a:gd name="T108" fmla="*/ 283 w 338"/>
              <a:gd name="T109" fmla="*/ 297 h 309"/>
              <a:gd name="T110" fmla="*/ 280 w 338"/>
              <a:gd name="T111" fmla="*/ 259 h 309"/>
              <a:gd name="T112" fmla="*/ 313 w 338"/>
              <a:gd name="T113" fmla="*/ 23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8" h="309">
                <a:moveTo>
                  <a:pt x="333" y="226"/>
                </a:moveTo>
                <a:cubicBezTo>
                  <a:pt x="328" y="225"/>
                  <a:pt x="325" y="222"/>
                  <a:pt x="321" y="220"/>
                </a:cubicBezTo>
                <a:cubicBezTo>
                  <a:pt x="319" y="219"/>
                  <a:pt x="318" y="219"/>
                  <a:pt x="317" y="218"/>
                </a:cubicBezTo>
                <a:cubicBezTo>
                  <a:pt x="316" y="217"/>
                  <a:pt x="316" y="216"/>
                  <a:pt x="316" y="214"/>
                </a:cubicBezTo>
                <a:cubicBezTo>
                  <a:pt x="314" y="211"/>
                  <a:pt x="311" y="210"/>
                  <a:pt x="309" y="207"/>
                </a:cubicBezTo>
                <a:cubicBezTo>
                  <a:pt x="312" y="207"/>
                  <a:pt x="315" y="206"/>
                  <a:pt x="317" y="205"/>
                </a:cubicBezTo>
                <a:cubicBezTo>
                  <a:pt x="318" y="204"/>
                  <a:pt x="317" y="202"/>
                  <a:pt x="317" y="200"/>
                </a:cubicBezTo>
                <a:cubicBezTo>
                  <a:pt x="316" y="199"/>
                  <a:pt x="315" y="199"/>
                  <a:pt x="313" y="199"/>
                </a:cubicBezTo>
                <a:cubicBezTo>
                  <a:pt x="311" y="198"/>
                  <a:pt x="309" y="197"/>
                  <a:pt x="307" y="197"/>
                </a:cubicBezTo>
                <a:cubicBezTo>
                  <a:pt x="305" y="194"/>
                  <a:pt x="306" y="192"/>
                  <a:pt x="309" y="192"/>
                </a:cubicBezTo>
                <a:cubicBezTo>
                  <a:pt x="313" y="191"/>
                  <a:pt x="311" y="190"/>
                  <a:pt x="314" y="189"/>
                </a:cubicBezTo>
                <a:cubicBezTo>
                  <a:pt x="318" y="188"/>
                  <a:pt x="322" y="189"/>
                  <a:pt x="325" y="189"/>
                </a:cubicBezTo>
                <a:cubicBezTo>
                  <a:pt x="327" y="189"/>
                  <a:pt x="328" y="188"/>
                  <a:pt x="327" y="186"/>
                </a:cubicBezTo>
                <a:cubicBezTo>
                  <a:pt x="326" y="185"/>
                  <a:pt x="324" y="185"/>
                  <a:pt x="323" y="185"/>
                </a:cubicBezTo>
                <a:cubicBezTo>
                  <a:pt x="323" y="184"/>
                  <a:pt x="322" y="183"/>
                  <a:pt x="321" y="183"/>
                </a:cubicBezTo>
                <a:cubicBezTo>
                  <a:pt x="320" y="181"/>
                  <a:pt x="320" y="179"/>
                  <a:pt x="320" y="177"/>
                </a:cubicBezTo>
                <a:cubicBezTo>
                  <a:pt x="318" y="177"/>
                  <a:pt x="315" y="178"/>
                  <a:pt x="312" y="176"/>
                </a:cubicBezTo>
                <a:cubicBezTo>
                  <a:pt x="310" y="174"/>
                  <a:pt x="312" y="171"/>
                  <a:pt x="311" y="168"/>
                </a:cubicBezTo>
                <a:cubicBezTo>
                  <a:pt x="310" y="165"/>
                  <a:pt x="306" y="166"/>
                  <a:pt x="307" y="163"/>
                </a:cubicBezTo>
                <a:cubicBezTo>
                  <a:pt x="308" y="160"/>
                  <a:pt x="304" y="158"/>
                  <a:pt x="305" y="155"/>
                </a:cubicBezTo>
                <a:cubicBezTo>
                  <a:pt x="302" y="155"/>
                  <a:pt x="301" y="153"/>
                  <a:pt x="301" y="152"/>
                </a:cubicBezTo>
                <a:cubicBezTo>
                  <a:pt x="298" y="152"/>
                  <a:pt x="296" y="150"/>
                  <a:pt x="294" y="149"/>
                </a:cubicBezTo>
                <a:cubicBezTo>
                  <a:pt x="290" y="147"/>
                  <a:pt x="286" y="147"/>
                  <a:pt x="282" y="148"/>
                </a:cubicBezTo>
                <a:cubicBezTo>
                  <a:pt x="282" y="149"/>
                  <a:pt x="281" y="150"/>
                  <a:pt x="280" y="151"/>
                </a:cubicBezTo>
                <a:cubicBezTo>
                  <a:pt x="280" y="152"/>
                  <a:pt x="277" y="152"/>
                  <a:pt x="277" y="153"/>
                </a:cubicBezTo>
                <a:cubicBezTo>
                  <a:pt x="274" y="154"/>
                  <a:pt x="274" y="151"/>
                  <a:pt x="273" y="150"/>
                </a:cubicBezTo>
                <a:cubicBezTo>
                  <a:pt x="273" y="149"/>
                  <a:pt x="272" y="147"/>
                  <a:pt x="270" y="147"/>
                </a:cubicBezTo>
                <a:cubicBezTo>
                  <a:pt x="267" y="146"/>
                  <a:pt x="264" y="147"/>
                  <a:pt x="261" y="147"/>
                </a:cubicBezTo>
                <a:cubicBezTo>
                  <a:pt x="260" y="144"/>
                  <a:pt x="254" y="145"/>
                  <a:pt x="252" y="145"/>
                </a:cubicBezTo>
                <a:cubicBezTo>
                  <a:pt x="252" y="143"/>
                  <a:pt x="252" y="141"/>
                  <a:pt x="252" y="139"/>
                </a:cubicBezTo>
                <a:cubicBezTo>
                  <a:pt x="252" y="138"/>
                  <a:pt x="250" y="136"/>
                  <a:pt x="250" y="134"/>
                </a:cubicBezTo>
                <a:cubicBezTo>
                  <a:pt x="246" y="134"/>
                  <a:pt x="242" y="136"/>
                  <a:pt x="238" y="136"/>
                </a:cubicBezTo>
                <a:cubicBezTo>
                  <a:pt x="236" y="135"/>
                  <a:pt x="236" y="134"/>
                  <a:pt x="235" y="132"/>
                </a:cubicBezTo>
                <a:cubicBezTo>
                  <a:pt x="233" y="131"/>
                  <a:pt x="232" y="131"/>
                  <a:pt x="230" y="130"/>
                </a:cubicBezTo>
                <a:cubicBezTo>
                  <a:pt x="227" y="129"/>
                  <a:pt x="224" y="127"/>
                  <a:pt x="221" y="125"/>
                </a:cubicBezTo>
                <a:cubicBezTo>
                  <a:pt x="219" y="124"/>
                  <a:pt x="219" y="124"/>
                  <a:pt x="217" y="125"/>
                </a:cubicBezTo>
                <a:cubicBezTo>
                  <a:pt x="216" y="126"/>
                  <a:pt x="215" y="128"/>
                  <a:pt x="213" y="127"/>
                </a:cubicBezTo>
                <a:cubicBezTo>
                  <a:pt x="212" y="125"/>
                  <a:pt x="209" y="124"/>
                  <a:pt x="207" y="123"/>
                </a:cubicBezTo>
                <a:cubicBezTo>
                  <a:pt x="205" y="122"/>
                  <a:pt x="203" y="122"/>
                  <a:pt x="201" y="121"/>
                </a:cubicBezTo>
                <a:cubicBezTo>
                  <a:pt x="201" y="120"/>
                  <a:pt x="201" y="119"/>
                  <a:pt x="201" y="119"/>
                </a:cubicBezTo>
                <a:cubicBezTo>
                  <a:pt x="199" y="118"/>
                  <a:pt x="197" y="117"/>
                  <a:pt x="195" y="115"/>
                </a:cubicBezTo>
                <a:cubicBezTo>
                  <a:pt x="193" y="113"/>
                  <a:pt x="192" y="111"/>
                  <a:pt x="189" y="112"/>
                </a:cubicBezTo>
                <a:cubicBezTo>
                  <a:pt x="189" y="113"/>
                  <a:pt x="189" y="113"/>
                  <a:pt x="189" y="113"/>
                </a:cubicBezTo>
                <a:cubicBezTo>
                  <a:pt x="186" y="113"/>
                  <a:pt x="187" y="108"/>
                  <a:pt x="187" y="107"/>
                </a:cubicBezTo>
                <a:cubicBezTo>
                  <a:pt x="186" y="105"/>
                  <a:pt x="185" y="103"/>
                  <a:pt x="183" y="102"/>
                </a:cubicBezTo>
                <a:cubicBezTo>
                  <a:pt x="182" y="101"/>
                  <a:pt x="181" y="102"/>
                  <a:pt x="179" y="101"/>
                </a:cubicBezTo>
                <a:cubicBezTo>
                  <a:pt x="178" y="100"/>
                  <a:pt x="178" y="100"/>
                  <a:pt x="176" y="99"/>
                </a:cubicBezTo>
                <a:cubicBezTo>
                  <a:pt x="175" y="99"/>
                  <a:pt x="174" y="97"/>
                  <a:pt x="173" y="97"/>
                </a:cubicBezTo>
                <a:cubicBezTo>
                  <a:pt x="172" y="97"/>
                  <a:pt x="170" y="97"/>
                  <a:pt x="169" y="97"/>
                </a:cubicBezTo>
                <a:cubicBezTo>
                  <a:pt x="169" y="96"/>
                  <a:pt x="169" y="95"/>
                  <a:pt x="169" y="95"/>
                </a:cubicBezTo>
                <a:cubicBezTo>
                  <a:pt x="164" y="95"/>
                  <a:pt x="162" y="92"/>
                  <a:pt x="159" y="89"/>
                </a:cubicBezTo>
                <a:cubicBezTo>
                  <a:pt x="158" y="88"/>
                  <a:pt x="157" y="86"/>
                  <a:pt x="155" y="86"/>
                </a:cubicBezTo>
                <a:cubicBezTo>
                  <a:pt x="152" y="86"/>
                  <a:pt x="153" y="89"/>
                  <a:pt x="153" y="91"/>
                </a:cubicBezTo>
                <a:cubicBezTo>
                  <a:pt x="151" y="91"/>
                  <a:pt x="150" y="88"/>
                  <a:pt x="148" y="87"/>
                </a:cubicBezTo>
                <a:cubicBezTo>
                  <a:pt x="146" y="86"/>
                  <a:pt x="145" y="88"/>
                  <a:pt x="143" y="86"/>
                </a:cubicBezTo>
                <a:cubicBezTo>
                  <a:pt x="142" y="85"/>
                  <a:pt x="142" y="84"/>
                  <a:pt x="142" y="83"/>
                </a:cubicBezTo>
                <a:cubicBezTo>
                  <a:pt x="141" y="82"/>
                  <a:pt x="140" y="81"/>
                  <a:pt x="139" y="81"/>
                </a:cubicBezTo>
                <a:cubicBezTo>
                  <a:pt x="137" y="82"/>
                  <a:pt x="137" y="84"/>
                  <a:pt x="136" y="85"/>
                </a:cubicBezTo>
                <a:cubicBezTo>
                  <a:pt x="135" y="86"/>
                  <a:pt x="133" y="85"/>
                  <a:pt x="132" y="85"/>
                </a:cubicBezTo>
                <a:cubicBezTo>
                  <a:pt x="133" y="82"/>
                  <a:pt x="129" y="84"/>
                  <a:pt x="129" y="82"/>
                </a:cubicBezTo>
                <a:cubicBezTo>
                  <a:pt x="128" y="81"/>
                  <a:pt x="127" y="81"/>
                  <a:pt x="126" y="82"/>
                </a:cubicBezTo>
                <a:cubicBezTo>
                  <a:pt x="126" y="80"/>
                  <a:pt x="126" y="79"/>
                  <a:pt x="126" y="77"/>
                </a:cubicBezTo>
                <a:cubicBezTo>
                  <a:pt x="123" y="77"/>
                  <a:pt x="120" y="79"/>
                  <a:pt x="116" y="78"/>
                </a:cubicBezTo>
                <a:cubicBezTo>
                  <a:pt x="113" y="77"/>
                  <a:pt x="111" y="77"/>
                  <a:pt x="108" y="77"/>
                </a:cubicBezTo>
                <a:cubicBezTo>
                  <a:pt x="108" y="74"/>
                  <a:pt x="107" y="74"/>
                  <a:pt x="104" y="73"/>
                </a:cubicBezTo>
                <a:cubicBezTo>
                  <a:pt x="101" y="72"/>
                  <a:pt x="98" y="69"/>
                  <a:pt x="95" y="69"/>
                </a:cubicBezTo>
                <a:cubicBezTo>
                  <a:pt x="95" y="66"/>
                  <a:pt x="95" y="64"/>
                  <a:pt x="90" y="63"/>
                </a:cubicBezTo>
                <a:cubicBezTo>
                  <a:pt x="87" y="63"/>
                  <a:pt x="83" y="65"/>
                  <a:pt x="83" y="61"/>
                </a:cubicBezTo>
                <a:cubicBezTo>
                  <a:pt x="80" y="60"/>
                  <a:pt x="80" y="57"/>
                  <a:pt x="77" y="56"/>
                </a:cubicBezTo>
                <a:cubicBezTo>
                  <a:pt x="77" y="55"/>
                  <a:pt x="78" y="54"/>
                  <a:pt x="78" y="53"/>
                </a:cubicBezTo>
                <a:cubicBezTo>
                  <a:pt x="80" y="53"/>
                  <a:pt x="85" y="53"/>
                  <a:pt x="85" y="51"/>
                </a:cubicBezTo>
                <a:cubicBezTo>
                  <a:pt x="84" y="49"/>
                  <a:pt x="79" y="47"/>
                  <a:pt x="78" y="46"/>
                </a:cubicBezTo>
                <a:cubicBezTo>
                  <a:pt x="75" y="44"/>
                  <a:pt x="71" y="41"/>
                  <a:pt x="68" y="38"/>
                </a:cubicBezTo>
                <a:cubicBezTo>
                  <a:pt x="66" y="36"/>
                  <a:pt x="66" y="33"/>
                  <a:pt x="63" y="31"/>
                </a:cubicBezTo>
                <a:cubicBezTo>
                  <a:pt x="60" y="29"/>
                  <a:pt x="58" y="32"/>
                  <a:pt x="55" y="31"/>
                </a:cubicBezTo>
                <a:cubicBezTo>
                  <a:pt x="53" y="31"/>
                  <a:pt x="53" y="34"/>
                  <a:pt x="51" y="35"/>
                </a:cubicBezTo>
                <a:cubicBezTo>
                  <a:pt x="48" y="36"/>
                  <a:pt x="49" y="38"/>
                  <a:pt x="47" y="40"/>
                </a:cubicBezTo>
                <a:cubicBezTo>
                  <a:pt x="45" y="41"/>
                  <a:pt x="43" y="37"/>
                  <a:pt x="42" y="37"/>
                </a:cubicBezTo>
                <a:cubicBezTo>
                  <a:pt x="43" y="35"/>
                  <a:pt x="42" y="33"/>
                  <a:pt x="42" y="32"/>
                </a:cubicBezTo>
                <a:cubicBezTo>
                  <a:pt x="40" y="33"/>
                  <a:pt x="36" y="34"/>
                  <a:pt x="33" y="33"/>
                </a:cubicBezTo>
                <a:cubicBezTo>
                  <a:pt x="32" y="32"/>
                  <a:pt x="32" y="28"/>
                  <a:pt x="31" y="26"/>
                </a:cubicBezTo>
                <a:cubicBezTo>
                  <a:pt x="29" y="23"/>
                  <a:pt x="33" y="20"/>
                  <a:pt x="35" y="18"/>
                </a:cubicBezTo>
                <a:cubicBezTo>
                  <a:pt x="37" y="16"/>
                  <a:pt x="38" y="12"/>
                  <a:pt x="39" y="9"/>
                </a:cubicBezTo>
                <a:cubicBezTo>
                  <a:pt x="40" y="9"/>
                  <a:pt x="41" y="8"/>
                  <a:pt x="43" y="8"/>
                </a:cubicBezTo>
                <a:cubicBezTo>
                  <a:pt x="39" y="6"/>
                  <a:pt x="35" y="6"/>
                  <a:pt x="32" y="3"/>
                </a:cubicBezTo>
                <a:cubicBezTo>
                  <a:pt x="31" y="2"/>
                  <a:pt x="29" y="1"/>
                  <a:pt x="28" y="0"/>
                </a:cubicBezTo>
                <a:cubicBezTo>
                  <a:pt x="27" y="0"/>
                  <a:pt x="27" y="0"/>
                  <a:pt x="27" y="0"/>
                </a:cubicBezTo>
                <a:cubicBezTo>
                  <a:pt x="27" y="1"/>
                  <a:pt x="27" y="2"/>
                  <a:pt x="26" y="3"/>
                </a:cubicBezTo>
                <a:cubicBezTo>
                  <a:pt x="24" y="7"/>
                  <a:pt x="18" y="10"/>
                  <a:pt x="18" y="15"/>
                </a:cubicBezTo>
                <a:cubicBezTo>
                  <a:pt x="16" y="16"/>
                  <a:pt x="14" y="15"/>
                  <a:pt x="14" y="17"/>
                </a:cubicBezTo>
                <a:cubicBezTo>
                  <a:pt x="13" y="19"/>
                  <a:pt x="12" y="19"/>
                  <a:pt x="12" y="20"/>
                </a:cubicBezTo>
                <a:cubicBezTo>
                  <a:pt x="8" y="20"/>
                  <a:pt x="9" y="24"/>
                  <a:pt x="8" y="26"/>
                </a:cubicBezTo>
                <a:cubicBezTo>
                  <a:pt x="8" y="28"/>
                  <a:pt x="7" y="29"/>
                  <a:pt x="6" y="30"/>
                </a:cubicBezTo>
                <a:cubicBezTo>
                  <a:pt x="5" y="32"/>
                  <a:pt x="5" y="33"/>
                  <a:pt x="4" y="35"/>
                </a:cubicBezTo>
                <a:cubicBezTo>
                  <a:pt x="3" y="35"/>
                  <a:pt x="3" y="35"/>
                  <a:pt x="3" y="35"/>
                </a:cubicBezTo>
                <a:cubicBezTo>
                  <a:pt x="2" y="40"/>
                  <a:pt x="0" y="47"/>
                  <a:pt x="1" y="52"/>
                </a:cubicBezTo>
                <a:cubicBezTo>
                  <a:pt x="3" y="57"/>
                  <a:pt x="3" y="62"/>
                  <a:pt x="3" y="67"/>
                </a:cubicBezTo>
                <a:cubicBezTo>
                  <a:pt x="3" y="74"/>
                  <a:pt x="3" y="74"/>
                  <a:pt x="3" y="74"/>
                </a:cubicBezTo>
                <a:cubicBezTo>
                  <a:pt x="4" y="74"/>
                  <a:pt x="4" y="73"/>
                  <a:pt x="5" y="73"/>
                </a:cubicBezTo>
                <a:cubicBezTo>
                  <a:pt x="6" y="74"/>
                  <a:pt x="6" y="74"/>
                  <a:pt x="6" y="74"/>
                </a:cubicBezTo>
                <a:cubicBezTo>
                  <a:pt x="6" y="76"/>
                  <a:pt x="5" y="75"/>
                  <a:pt x="5" y="75"/>
                </a:cubicBezTo>
                <a:cubicBezTo>
                  <a:pt x="5" y="76"/>
                  <a:pt x="5" y="76"/>
                  <a:pt x="5" y="76"/>
                </a:cubicBezTo>
                <a:cubicBezTo>
                  <a:pt x="6" y="76"/>
                  <a:pt x="6" y="76"/>
                  <a:pt x="6" y="76"/>
                </a:cubicBezTo>
                <a:cubicBezTo>
                  <a:pt x="6" y="77"/>
                  <a:pt x="6" y="77"/>
                  <a:pt x="6" y="77"/>
                </a:cubicBezTo>
                <a:cubicBezTo>
                  <a:pt x="6" y="77"/>
                  <a:pt x="6" y="77"/>
                  <a:pt x="6" y="77"/>
                </a:cubicBezTo>
                <a:cubicBezTo>
                  <a:pt x="7" y="78"/>
                  <a:pt x="7" y="78"/>
                  <a:pt x="7" y="78"/>
                </a:cubicBezTo>
                <a:cubicBezTo>
                  <a:pt x="7" y="78"/>
                  <a:pt x="7" y="78"/>
                  <a:pt x="7" y="78"/>
                </a:cubicBezTo>
                <a:cubicBezTo>
                  <a:pt x="7" y="79"/>
                  <a:pt x="8" y="79"/>
                  <a:pt x="8" y="79"/>
                </a:cubicBezTo>
                <a:cubicBezTo>
                  <a:pt x="8" y="80"/>
                  <a:pt x="9" y="79"/>
                  <a:pt x="9" y="79"/>
                </a:cubicBezTo>
                <a:cubicBezTo>
                  <a:pt x="9" y="81"/>
                  <a:pt x="9" y="81"/>
                  <a:pt x="9" y="81"/>
                </a:cubicBezTo>
                <a:cubicBezTo>
                  <a:pt x="9" y="81"/>
                  <a:pt x="9" y="82"/>
                  <a:pt x="9" y="82"/>
                </a:cubicBezTo>
                <a:cubicBezTo>
                  <a:pt x="9" y="83"/>
                  <a:pt x="11" y="83"/>
                  <a:pt x="9" y="84"/>
                </a:cubicBezTo>
                <a:cubicBezTo>
                  <a:pt x="8" y="84"/>
                  <a:pt x="8" y="85"/>
                  <a:pt x="9" y="86"/>
                </a:cubicBezTo>
                <a:cubicBezTo>
                  <a:pt x="10" y="87"/>
                  <a:pt x="10" y="88"/>
                  <a:pt x="9" y="88"/>
                </a:cubicBezTo>
                <a:cubicBezTo>
                  <a:pt x="9" y="88"/>
                  <a:pt x="9" y="88"/>
                  <a:pt x="9" y="88"/>
                </a:cubicBezTo>
                <a:cubicBezTo>
                  <a:pt x="9" y="89"/>
                  <a:pt x="10" y="89"/>
                  <a:pt x="10" y="90"/>
                </a:cubicBezTo>
                <a:cubicBezTo>
                  <a:pt x="11" y="92"/>
                  <a:pt x="10" y="94"/>
                  <a:pt x="12" y="96"/>
                </a:cubicBezTo>
                <a:cubicBezTo>
                  <a:pt x="14" y="99"/>
                  <a:pt x="16" y="101"/>
                  <a:pt x="17" y="104"/>
                </a:cubicBezTo>
                <a:cubicBezTo>
                  <a:pt x="17" y="104"/>
                  <a:pt x="17" y="104"/>
                  <a:pt x="17" y="104"/>
                </a:cubicBezTo>
                <a:cubicBezTo>
                  <a:pt x="17" y="105"/>
                  <a:pt x="17" y="105"/>
                  <a:pt x="17" y="105"/>
                </a:cubicBezTo>
                <a:cubicBezTo>
                  <a:pt x="19" y="108"/>
                  <a:pt x="19" y="110"/>
                  <a:pt x="19" y="113"/>
                </a:cubicBezTo>
                <a:cubicBezTo>
                  <a:pt x="19" y="114"/>
                  <a:pt x="19" y="114"/>
                  <a:pt x="19" y="114"/>
                </a:cubicBezTo>
                <a:cubicBezTo>
                  <a:pt x="19" y="115"/>
                  <a:pt x="19" y="116"/>
                  <a:pt x="20" y="116"/>
                </a:cubicBezTo>
                <a:cubicBezTo>
                  <a:pt x="20" y="117"/>
                  <a:pt x="20" y="117"/>
                  <a:pt x="20" y="117"/>
                </a:cubicBezTo>
                <a:cubicBezTo>
                  <a:pt x="20" y="118"/>
                  <a:pt x="20" y="118"/>
                  <a:pt x="20" y="119"/>
                </a:cubicBezTo>
                <a:cubicBezTo>
                  <a:pt x="20" y="119"/>
                  <a:pt x="20" y="119"/>
                  <a:pt x="20" y="119"/>
                </a:cubicBezTo>
                <a:cubicBezTo>
                  <a:pt x="20" y="119"/>
                  <a:pt x="20" y="119"/>
                  <a:pt x="20"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7" y="120"/>
                  <a:pt x="15" y="119"/>
                  <a:pt x="14" y="120"/>
                </a:cubicBezTo>
                <a:cubicBezTo>
                  <a:pt x="14" y="120"/>
                  <a:pt x="14" y="120"/>
                  <a:pt x="14" y="120"/>
                </a:cubicBezTo>
                <a:cubicBezTo>
                  <a:pt x="14" y="120"/>
                  <a:pt x="14" y="120"/>
                  <a:pt x="14" y="120"/>
                </a:cubicBezTo>
                <a:cubicBezTo>
                  <a:pt x="14" y="120"/>
                  <a:pt x="14" y="120"/>
                  <a:pt x="14"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5" y="122"/>
                  <a:pt x="14" y="122"/>
                  <a:pt x="12" y="124"/>
                </a:cubicBezTo>
                <a:cubicBezTo>
                  <a:pt x="7" y="129"/>
                  <a:pt x="14" y="137"/>
                  <a:pt x="14" y="142"/>
                </a:cubicBezTo>
                <a:cubicBezTo>
                  <a:pt x="14" y="145"/>
                  <a:pt x="18" y="145"/>
                  <a:pt x="20" y="146"/>
                </a:cubicBezTo>
                <a:cubicBezTo>
                  <a:pt x="21" y="146"/>
                  <a:pt x="22" y="146"/>
                  <a:pt x="23" y="147"/>
                </a:cubicBezTo>
                <a:cubicBezTo>
                  <a:pt x="25" y="149"/>
                  <a:pt x="21" y="149"/>
                  <a:pt x="21" y="149"/>
                </a:cubicBezTo>
                <a:cubicBezTo>
                  <a:pt x="21" y="152"/>
                  <a:pt x="26" y="149"/>
                  <a:pt x="25" y="154"/>
                </a:cubicBezTo>
                <a:cubicBezTo>
                  <a:pt x="23" y="154"/>
                  <a:pt x="23" y="155"/>
                  <a:pt x="23" y="156"/>
                </a:cubicBezTo>
                <a:cubicBezTo>
                  <a:pt x="20" y="156"/>
                  <a:pt x="20" y="158"/>
                  <a:pt x="20" y="161"/>
                </a:cubicBezTo>
                <a:cubicBezTo>
                  <a:pt x="23" y="161"/>
                  <a:pt x="28" y="160"/>
                  <a:pt x="29" y="164"/>
                </a:cubicBezTo>
                <a:cubicBezTo>
                  <a:pt x="27" y="164"/>
                  <a:pt x="23" y="164"/>
                  <a:pt x="23" y="166"/>
                </a:cubicBezTo>
                <a:cubicBezTo>
                  <a:pt x="21" y="166"/>
                  <a:pt x="19" y="166"/>
                  <a:pt x="17" y="166"/>
                </a:cubicBezTo>
                <a:cubicBezTo>
                  <a:pt x="17" y="167"/>
                  <a:pt x="17" y="167"/>
                  <a:pt x="17" y="167"/>
                </a:cubicBezTo>
                <a:cubicBezTo>
                  <a:pt x="13" y="167"/>
                  <a:pt x="11" y="175"/>
                  <a:pt x="15" y="175"/>
                </a:cubicBezTo>
                <a:cubicBezTo>
                  <a:pt x="14" y="168"/>
                  <a:pt x="21" y="171"/>
                  <a:pt x="26" y="171"/>
                </a:cubicBezTo>
                <a:cubicBezTo>
                  <a:pt x="26" y="169"/>
                  <a:pt x="26" y="168"/>
                  <a:pt x="26" y="167"/>
                </a:cubicBezTo>
                <a:cubicBezTo>
                  <a:pt x="29" y="167"/>
                  <a:pt x="31" y="167"/>
                  <a:pt x="33" y="169"/>
                </a:cubicBezTo>
                <a:cubicBezTo>
                  <a:pt x="34" y="171"/>
                  <a:pt x="37" y="167"/>
                  <a:pt x="39" y="167"/>
                </a:cubicBezTo>
                <a:cubicBezTo>
                  <a:pt x="40" y="169"/>
                  <a:pt x="40" y="171"/>
                  <a:pt x="42" y="171"/>
                </a:cubicBezTo>
                <a:cubicBezTo>
                  <a:pt x="42" y="170"/>
                  <a:pt x="43" y="168"/>
                  <a:pt x="43" y="167"/>
                </a:cubicBezTo>
                <a:cubicBezTo>
                  <a:pt x="44" y="167"/>
                  <a:pt x="44" y="167"/>
                  <a:pt x="45" y="167"/>
                </a:cubicBezTo>
                <a:cubicBezTo>
                  <a:pt x="45" y="166"/>
                  <a:pt x="46" y="165"/>
                  <a:pt x="47" y="165"/>
                </a:cubicBezTo>
                <a:cubicBezTo>
                  <a:pt x="47" y="167"/>
                  <a:pt x="49" y="169"/>
                  <a:pt x="50" y="169"/>
                </a:cubicBezTo>
                <a:cubicBezTo>
                  <a:pt x="49" y="170"/>
                  <a:pt x="49" y="172"/>
                  <a:pt x="51" y="172"/>
                </a:cubicBezTo>
                <a:cubicBezTo>
                  <a:pt x="53" y="173"/>
                  <a:pt x="55" y="172"/>
                  <a:pt x="57" y="172"/>
                </a:cubicBezTo>
                <a:cubicBezTo>
                  <a:pt x="59" y="172"/>
                  <a:pt x="61" y="174"/>
                  <a:pt x="64" y="174"/>
                </a:cubicBezTo>
                <a:cubicBezTo>
                  <a:pt x="66" y="174"/>
                  <a:pt x="68" y="174"/>
                  <a:pt x="71" y="174"/>
                </a:cubicBezTo>
                <a:cubicBezTo>
                  <a:pt x="71" y="173"/>
                  <a:pt x="71" y="173"/>
                  <a:pt x="71" y="173"/>
                </a:cubicBezTo>
                <a:cubicBezTo>
                  <a:pt x="75" y="173"/>
                  <a:pt x="76" y="174"/>
                  <a:pt x="78" y="176"/>
                </a:cubicBezTo>
                <a:cubicBezTo>
                  <a:pt x="78" y="178"/>
                  <a:pt x="80" y="178"/>
                  <a:pt x="82" y="179"/>
                </a:cubicBezTo>
                <a:cubicBezTo>
                  <a:pt x="84" y="179"/>
                  <a:pt x="84" y="181"/>
                  <a:pt x="84" y="183"/>
                </a:cubicBezTo>
                <a:cubicBezTo>
                  <a:pt x="84" y="186"/>
                  <a:pt x="86" y="188"/>
                  <a:pt x="87" y="190"/>
                </a:cubicBezTo>
                <a:cubicBezTo>
                  <a:pt x="89" y="193"/>
                  <a:pt x="87" y="196"/>
                  <a:pt x="87" y="199"/>
                </a:cubicBezTo>
                <a:cubicBezTo>
                  <a:pt x="83" y="200"/>
                  <a:pt x="85" y="203"/>
                  <a:pt x="83" y="203"/>
                </a:cubicBezTo>
                <a:cubicBezTo>
                  <a:pt x="82" y="205"/>
                  <a:pt x="83" y="206"/>
                  <a:pt x="82" y="208"/>
                </a:cubicBezTo>
                <a:cubicBezTo>
                  <a:pt x="80" y="209"/>
                  <a:pt x="80" y="213"/>
                  <a:pt x="78" y="215"/>
                </a:cubicBezTo>
                <a:cubicBezTo>
                  <a:pt x="77" y="217"/>
                  <a:pt x="75" y="219"/>
                  <a:pt x="75" y="221"/>
                </a:cubicBezTo>
                <a:cubicBezTo>
                  <a:pt x="73" y="219"/>
                  <a:pt x="73" y="223"/>
                  <a:pt x="73" y="224"/>
                </a:cubicBezTo>
                <a:cubicBezTo>
                  <a:pt x="72" y="224"/>
                  <a:pt x="72" y="224"/>
                  <a:pt x="72" y="224"/>
                </a:cubicBezTo>
                <a:cubicBezTo>
                  <a:pt x="72" y="226"/>
                  <a:pt x="75" y="228"/>
                  <a:pt x="74" y="229"/>
                </a:cubicBezTo>
                <a:cubicBezTo>
                  <a:pt x="73" y="231"/>
                  <a:pt x="72" y="230"/>
                  <a:pt x="70" y="230"/>
                </a:cubicBezTo>
                <a:cubicBezTo>
                  <a:pt x="69" y="230"/>
                  <a:pt x="68" y="231"/>
                  <a:pt x="67" y="232"/>
                </a:cubicBezTo>
                <a:cubicBezTo>
                  <a:pt x="64" y="233"/>
                  <a:pt x="61" y="232"/>
                  <a:pt x="58" y="232"/>
                </a:cubicBezTo>
                <a:cubicBezTo>
                  <a:pt x="55" y="232"/>
                  <a:pt x="56" y="236"/>
                  <a:pt x="55" y="238"/>
                </a:cubicBezTo>
                <a:cubicBezTo>
                  <a:pt x="54" y="238"/>
                  <a:pt x="52" y="237"/>
                  <a:pt x="51" y="238"/>
                </a:cubicBezTo>
                <a:cubicBezTo>
                  <a:pt x="51" y="239"/>
                  <a:pt x="51" y="241"/>
                  <a:pt x="51" y="242"/>
                </a:cubicBezTo>
                <a:cubicBezTo>
                  <a:pt x="51" y="244"/>
                  <a:pt x="50" y="249"/>
                  <a:pt x="54" y="249"/>
                </a:cubicBezTo>
                <a:cubicBezTo>
                  <a:pt x="54" y="250"/>
                  <a:pt x="55" y="251"/>
                  <a:pt x="55" y="253"/>
                </a:cubicBezTo>
                <a:cubicBezTo>
                  <a:pt x="52" y="252"/>
                  <a:pt x="53" y="256"/>
                  <a:pt x="50" y="255"/>
                </a:cubicBezTo>
                <a:cubicBezTo>
                  <a:pt x="50" y="258"/>
                  <a:pt x="50" y="260"/>
                  <a:pt x="48" y="262"/>
                </a:cubicBezTo>
                <a:cubicBezTo>
                  <a:pt x="47" y="263"/>
                  <a:pt x="44" y="265"/>
                  <a:pt x="42" y="265"/>
                </a:cubicBezTo>
                <a:cubicBezTo>
                  <a:pt x="42" y="268"/>
                  <a:pt x="51" y="280"/>
                  <a:pt x="45" y="282"/>
                </a:cubicBezTo>
                <a:cubicBezTo>
                  <a:pt x="44" y="284"/>
                  <a:pt x="46" y="284"/>
                  <a:pt x="48" y="285"/>
                </a:cubicBezTo>
                <a:cubicBezTo>
                  <a:pt x="53" y="286"/>
                  <a:pt x="50" y="291"/>
                  <a:pt x="50" y="294"/>
                </a:cubicBezTo>
                <a:cubicBezTo>
                  <a:pt x="51" y="294"/>
                  <a:pt x="52" y="295"/>
                  <a:pt x="54" y="295"/>
                </a:cubicBezTo>
                <a:cubicBezTo>
                  <a:pt x="54" y="292"/>
                  <a:pt x="54" y="290"/>
                  <a:pt x="57" y="289"/>
                </a:cubicBezTo>
                <a:cubicBezTo>
                  <a:pt x="57" y="292"/>
                  <a:pt x="60" y="290"/>
                  <a:pt x="62" y="292"/>
                </a:cubicBezTo>
                <a:cubicBezTo>
                  <a:pt x="64" y="293"/>
                  <a:pt x="62" y="298"/>
                  <a:pt x="66" y="298"/>
                </a:cubicBezTo>
                <a:cubicBezTo>
                  <a:pt x="66" y="298"/>
                  <a:pt x="67" y="297"/>
                  <a:pt x="66" y="297"/>
                </a:cubicBezTo>
                <a:cubicBezTo>
                  <a:pt x="68" y="296"/>
                  <a:pt x="71" y="296"/>
                  <a:pt x="71" y="299"/>
                </a:cubicBezTo>
                <a:cubicBezTo>
                  <a:pt x="74" y="298"/>
                  <a:pt x="75" y="296"/>
                  <a:pt x="78" y="295"/>
                </a:cubicBezTo>
                <a:cubicBezTo>
                  <a:pt x="78" y="293"/>
                  <a:pt x="79" y="291"/>
                  <a:pt x="80" y="290"/>
                </a:cubicBezTo>
                <a:cubicBezTo>
                  <a:pt x="79" y="289"/>
                  <a:pt x="78" y="287"/>
                  <a:pt x="76" y="286"/>
                </a:cubicBezTo>
                <a:cubicBezTo>
                  <a:pt x="76" y="285"/>
                  <a:pt x="77" y="284"/>
                  <a:pt x="78" y="284"/>
                </a:cubicBezTo>
                <a:cubicBezTo>
                  <a:pt x="78" y="283"/>
                  <a:pt x="78" y="282"/>
                  <a:pt x="78" y="281"/>
                </a:cubicBezTo>
                <a:cubicBezTo>
                  <a:pt x="78" y="280"/>
                  <a:pt x="76" y="280"/>
                  <a:pt x="76" y="278"/>
                </a:cubicBezTo>
                <a:cubicBezTo>
                  <a:pt x="74" y="278"/>
                  <a:pt x="72" y="280"/>
                  <a:pt x="69" y="279"/>
                </a:cubicBezTo>
                <a:cubicBezTo>
                  <a:pt x="69" y="275"/>
                  <a:pt x="71" y="271"/>
                  <a:pt x="71" y="268"/>
                </a:cubicBezTo>
                <a:cubicBezTo>
                  <a:pt x="70" y="265"/>
                  <a:pt x="67" y="267"/>
                  <a:pt x="66" y="265"/>
                </a:cubicBezTo>
                <a:cubicBezTo>
                  <a:pt x="65" y="263"/>
                  <a:pt x="68" y="254"/>
                  <a:pt x="63" y="254"/>
                </a:cubicBezTo>
                <a:cubicBezTo>
                  <a:pt x="62" y="252"/>
                  <a:pt x="64" y="248"/>
                  <a:pt x="61" y="246"/>
                </a:cubicBezTo>
                <a:cubicBezTo>
                  <a:pt x="60" y="246"/>
                  <a:pt x="56" y="246"/>
                  <a:pt x="57" y="244"/>
                </a:cubicBezTo>
                <a:cubicBezTo>
                  <a:pt x="59" y="244"/>
                  <a:pt x="60" y="242"/>
                  <a:pt x="62" y="240"/>
                </a:cubicBezTo>
                <a:cubicBezTo>
                  <a:pt x="65" y="239"/>
                  <a:pt x="67" y="239"/>
                  <a:pt x="67" y="243"/>
                </a:cubicBezTo>
                <a:cubicBezTo>
                  <a:pt x="70" y="243"/>
                  <a:pt x="71" y="243"/>
                  <a:pt x="71" y="240"/>
                </a:cubicBezTo>
                <a:cubicBezTo>
                  <a:pt x="72" y="240"/>
                  <a:pt x="73" y="240"/>
                  <a:pt x="73" y="240"/>
                </a:cubicBezTo>
                <a:cubicBezTo>
                  <a:pt x="73" y="239"/>
                  <a:pt x="73" y="238"/>
                  <a:pt x="73" y="237"/>
                </a:cubicBezTo>
                <a:cubicBezTo>
                  <a:pt x="76" y="237"/>
                  <a:pt x="77" y="234"/>
                  <a:pt x="79" y="234"/>
                </a:cubicBezTo>
                <a:cubicBezTo>
                  <a:pt x="80" y="235"/>
                  <a:pt x="79" y="236"/>
                  <a:pt x="78" y="237"/>
                </a:cubicBezTo>
                <a:cubicBezTo>
                  <a:pt x="77" y="239"/>
                  <a:pt x="80" y="241"/>
                  <a:pt x="80" y="243"/>
                </a:cubicBezTo>
                <a:cubicBezTo>
                  <a:pt x="77" y="243"/>
                  <a:pt x="74" y="243"/>
                  <a:pt x="74" y="247"/>
                </a:cubicBezTo>
                <a:cubicBezTo>
                  <a:pt x="75" y="247"/>
                  <a:pt x="76" y="248"/>
                  <a:pt x="76" y="248"/>
                </a:cubicBezTo>
                <a:cubicBezTo>
                  <a:pt x="76" y="247"/>
                  <a:pt x="77" y="246"/>
                  <a:pt x="77" y="245"/>
                </a:cubicBezTo>
                <a:cubicBezTo>
                  <a:pt x="77" y="245"/>
                  <a:pt x="78" y="245"/>
                  <a:pt x="79" y="245"/>
                </a:cubicBezTo>
                <a:cubicBezTo>
                  <a:pt x="79" y="247"/>
                  <a:pt x="79" y="249"/>
                  <a:pt x="77" y="250"/>
                </a:cubicBezTo>
                <a:cubicBezTo>
                  <a:pt x="77" y="250"/>
                  <a:pt x="77" y="251"/>
                  <a:pt x="77" y="252"/>
                </a:cubicBezTo>
                <a:cubicBezTo>
                  <a:pt x="78" y="252"/>
                  <a:pt x="79" y="251"/>
                  <a:pt x="79" y="250"/>
                </a:cubicBezTo>
                <a:cubicBezTo>
                  <a:pt x="80" y="250"/>
                  <a:pt x="82" y="249"/>
                  <a:pt x="83" y="249"/>
                </a:cubicBezTo>
                <a:cubicBezTo>
                  <a:pt x="84" y="250"/>
                  <a:pt x="82" y="252"/>
                  <a:pt x="85" y="253"/>
                </a:cubicBezTo>
                <a:cubicBezTo>
                  <a:pt x="84" y="253"/>
                  <a:pt x="85" y="254"/>
                  <a:pt x="85" y="254"/>
                </a:cubicBezTo>
                <a:cubicBezTo>
                  <a:pt x="86" y="254"/>
                  <a:pt x="87" y="253"/>
                  <a:pt x="89" y="253"/>
                </a:cubicBezTo>
                <a:cubicBezTo>
                  <a:pt x="91" y="254"/>
                  <a:pt x="92" y="255"/>
                  <a:pt x="95" y="254"/>
                </a:cubicBezTo>
                <a:cubicBezTo>
                  <a:pt x="95" y="254"/>
                  <a:pt x="95" y="253"/>
                  <a:pt x="95" y="252"/>
                </a:cubicBezTo>
                <a:cubicBezTo>
                  <a:pt x="97" y="252"/>
                  <a:pt x="94" y="246"/>
                  <a:pt x="94" y="245"/>
                </a:cubicBezTo>
                <a:cubicBezTo>
                  <a:pt x="96" y="245"/>
                  <a:pt x="97" y="247"/>
                  <a:pt x="99" y="246"/>
                </a:cubicBezTo>
                <a:cubicBezTo>
                  <a:pt x="98" y="250"/>
                  <a:pt x="101" y="249"/>
                  <a:pt x="103" y="249"/>
                </a:cubicBezTo>
                <a:cubicBezTo>
                  <a:pt x="104" y="251"/>
                  <a:pt x="93" y="259"/>
                  <a:pt x="100" y="260"/>
                </a:cubicBezTo>
                <a:cubicBezTo>
                  <a:pt x="101" y="258"/>
                  <a:pt x="99" y="257"/>
                  <a:pt x="101" y="256"/>
                </a:cubicBezTo>
                <a:cubicBezTo>
                  <a:pt x="102" y="255"/>
                  <a:pt x="104" y="256"/>
                  <a:pt x="106" y="256"/>
                </a:cubicBezTo>
                <a:cubicBezTo>
                  <a:pt x="106" y="252"/>
                  <a:pt x="109" y="253"/>
                  <a:pt x="109" y="256"/>
                </a:cubicBezTo>
                <a:cubicBezTo>
                  <a:pt x="113" y="256"/>
                  <a:pt x="117" y="256"/>
                  <a:pt x="121" y="256"/>
                </a:cubicBezTo>
                <a:cubicBezTo>
                  <a:pt x="121" y="255"/>
                  <a:pt x="120" y="248"/>
                  <a:pt x="123" y="250"/>
                </a:cubicBezTo>
                <a:cubicBezTo>
                  <a:pt x="125" y="251"/>
                  <a:pt x="131" y="248"/>
                  <a:pt x="129" y="245"/>
                </a:cubicBezTo>
                <a:cubicBezTo>
                  <a:pt x="131" y="245"/>
                  <a:pt x="133" y="245"/>
                  <a:pt x="134" y="246"/>
                </a:cubicBezTo>
                <a:cubicBezTo>
                  <a:pt x="134" y="244"/>
                  <a:pt x="139" y="243"/>
                  <a:pt x="140" y="243"/>
                </a:cubicBezTo>
                <a:cubicBezTo>
                  <a:pt x="140" y="245"/>
                  <a:pt x="140" y="247"/>
                  <a:pt x="142" y="248"/>
                </a:cubicBezTo>
                <a:cubicBezTo>
                  <a:pt x="143" y="249"/>
                  <a:pt x="145" y="251"/>
                  <a:pt x="147" y="252"/>
                </a:cubicBezTo>
                <a:cubicBezTo>
                  <a:pt x="147" y="256"/>
                  <a:pt x="142" y="255"/>
                  <a:pt x="143" y="258"/>
                </a:cubicBezTo>
                <a:cubicBezTo>
                  <a:pt x="144" y="259"/>
                  <a:pt x="144" y="259"/>
                  <a:pt x="144" y="259"/>
                </a:cubicBezTo>
                <a:cubicBezTo>
                  <a:pt x="143" y="260"/>
                  <a:pt x="143" y="260"/>
                  <a:pt x="143" y="260"/>
                </a:cubicBezTo>
                <a:cubicBezTo>
                  <a:pt x="142" y="260"/>
                  <a:pt x="142" y="260"/>
                  <a:pt x="142" y="261"/>
                </a:cubicBezTo>
                <a:cubicBezTo>
                  <a:pt x="141" y="261"/>
                  <a:pt x="140" y="262"/>
                  <a:pt x="140" y="263"/>
                </a:cubicBezTo>
                <a:cubicBezTo>
                  <a:pt x="141" y="263"/>
                  <a:pt x="142" y="263"/>
                  <a:pt x="143" y="262"/>
                </a:cubicBezTo>
                <a:cubicBezTo>
                  <a:pt x="143" y="261"/>
                  <a:pt x="145" y="259"/>
                  <a:pt x="147" y="260"/>
                </a:cubicBezTo>
                <a:cubicBezTo>
                  <a:pt x="148" y="261"/>
                  <a:pt x="148" y="263"/>
                  <a:pt x="148" y="264"/>
                </a:cubicBezTo>
                <a:cubicBezTo>
                  <a:pt x="151" y="265"/>
                  <a:pt x="150" y="260"/>
                  <a:pt x="150" y="259"/>
                </a:cubicBezTo>
                <a:cubicBezTo>
                  <a:pt x="151" y="258"/>
                  <a:pt x="152" y="258"/>
                  <a:pt x="153" y="259"/>
                </a:cubicBezTo>
                <a:cubicBezTo>
                  <a:pt x="153" y="258"/>
                  <a:pt x="154" y="258"/>
                  <a:pt x="154" y="257"/>
                </a:cubicBezTo>
                <a:cubicBezTo>
                  <a:pt x="156" y="257"/>
                  <a:pt x="155" y="258"/>
                  <a:pt x="156" y="259"/>
                </a:cubicBezTo>
                <a:cubicBezTo>
                  <a:pt x="157" y="261"/>
                  <a:pt x="160" y="260"/>
                  <a:pt x="161" y="260"/>
                </a:cubicBezTo>
                <a:cubicBezTo>
                  <a:pt x="161" y="259"/>
                  <a:pt x="161" y="259"/>
                  <a:pt x="161" y="259"/>
                </a:cubicBezTo>
                <a:cubicBezTo>
                  <a:pt x="160" y="259"/>
                  <a:pt x="160" y="258"/>
                  <a:pt x="160" y="257"/>
                </a:cubicBezTo>
                <a:cubicBezTo>
                  <a:pt x="161" y="257"/>
                  <a:pt x="163" y="257"/>
                  <a:pt x="164" y="257"/>
                </a:cubicBezTo>
                <a:cubicBezTo>
                  <a:pt x="164" y="258"/>
                  <a:pt x="164" y="259"/>
                  <a:pt x="164" y="259"/>
                </a:cubicBezTo>
                <a:cubicBezTo>
                  <a:pt x="165" y="258"/>
                  <a:pt x="165" y="257"/>
                  <a:pt x="165" y="257"/>
                </a:cubicBezTo>
                <a:cubicBezTo>
                  <a:pt x="166" y="257"/>
                  <a:pt x="167" y="257"/>
                  <a:pt x="168" y="257"/>
                </a:cubicBezTo>
                <a:cubicBezTo>
                  <a:pt x="168" y="257"/>
                  <a:pt x="168" y="258"/>
                  <a:pt x="167" y="258"/>
                </a:cubicBezTo>
                <a:cubicBezTo>
                  <a:pt x="166" y="259"/>
                  <a:pt x="166" y="260"/>
                  <a:pt x="166" y="262"/>
                </a:cubicBezTo>
                <a:cubicBezTo>
                  <a:pt x="166" y="264"/>
                  <a:pt x="165" y="266"/>
                  <a:pt x="164" y="268"/>
                </a:cubicBezTo>
                <a:cubicBezTo>
                  <a:pt x="167" y="269"/>
                  <a:pt x="168" y="266"/>
                  <a:pt x="170" y="266"/>
                </a:cubicBezTo>
                <a:cubicBezTo>
                  <a:pt x="170" y="268"/>
                  <a:pt x="180" y="267"/>
                  <a:pt x="182" y="267"/>
                </a:cubicBezTo>
                <a:cubicBezTo>
                  <a:pt x="180" y="263"/>
                  <a:pt x="186" y="261"/>
                  <a:pt x="184" y="258"/>
                </a:cubicBezTo>
                <a:cubicBezTo>
                  <a:pt x="184" y="257"/>
                  <a:pt x="185" y="257"/>
                  <a:pt x="186" y="257"/>
                </a:cubicBezTo>
                <a:cubicBezTo>
                  <a:pt x="186" y="258"/>
                  <a:pt x="186" y="259"/>
                  <a:pt x="187" y="259"/>
                </a:cubicBezTo>
                <a:cubicBezTo>
                  <a:pt x="187" y="258"/>
                  <a:pt x="189" y="256"/>
                  <a:pt x="191" y="257"/>
                </a:cubicBezTo>
                <a:cubicBezTo>
                  <a:pt x="191" y="257"/>
                  <a:pt x="191" y="258"/>
                  <a:pt x="191" y="258"/>
                </a:cubicBezTo>
                <a:cubicBezTo>
                  <a:pt x="192" y="259"/>
                  <a:pt x="193" y="260"/>
                  <a:pt x="195" y="260"/>
                </a:cubicBezTo>
                <a:cubicBezTo>
                  <a:pt x="194" y="258"/>
                  <a:pt x="196" y="257"/>
                  <a:pt x="196" y="255"/>
                </a:cubicBezTo>
                <a:cubicBezTo>
                  <a:pt x="197" y="255"/>
                  <a:pt x="199" y="254"/>
                  <a:pt x="201" y="255"/>
                </a:cubicBezTo>
                <a:cubicBezTo>
                  <a:pt x="203" y="257"/>
                  <a:pt x="200" y="260"/>
                  <a:pt x="201" y="262"/>
                </a:cubicBezTo>
                <a:cubicBezTo>
                  <a:pt x="202" y="262"/>
                  <a:pt x="206" y="261"/>
                  <a:pt x="206" y="263"/>
                </a:cubicBezTo>
                <a:cubicBezTo>
                  <a:pt x="207" y="267"/>
                  <a:pt x="212" y="265"/>
                  <a:pt x="215" y="266"/>
                </a:cubicBezTo>
                <a:cubicBezTo>
                  <a:pt x="215" y="268"/>
                  <a:pt x="214" y="271"/>
                  <a:pt x="215" y="273"/>
                </a:cubicBezTo>
                <a:cubicBezTo>
                  <a:pt x="217" y="275"/>
                  <a:pt x="221" y="273"/>
                  <a:pt x="224" y="274"/>
                </a:cubicBezTo>
                <a:cubicBezTo>
                  <a:pt x="224" y="274"/>
                  <a:pt x="224" y="275"/>
                  <a:pt x="224" y="276"/>
                </a:cubicBezTo>
                <a:cubicBezTo>
                  <a:pt x="225" y="276"/>
                  <a:pt x="227" y="276"/>
                  <a:pt x="229" y="276"/>
                </a:cubicBezTo>
                <a:cubicBezTo>
                  <a:pt x="229" y="278"/>
                  <a:pt x="229" y="280"/>
                  <a:pt x="229" y="281"/>
                </a:cubicBezTo>
                <a:cubicBezTo>
                  <a:pt x="230" y="281"/>
                  <a:pt x="231" y="281"/>
                  <a:pt x="232" y="281"/>
                </a:cubicBezTo>
                <a:cubicBezTo>
                  <a:pt x="232" y="282"/>
                  <a:pt x="232" y="283"/>
                  <a:pt x="232" y="284"/>
                </a:cubicBezTo>
                <a:cubicBezTo>
                  <a:pt x="234" y="284"/>
                  <a:pt x="234" y="286"/>
                  <a:pt x="236" y="286"/>
                </a:cubicBezTo>
                <a:cubicBezTo>
                  <a:pt x="236" y="284"/>
                  <a:pt x="235" y="283"/>
                  <a:pt x="236" y="282"/>
                </a:cubicBezTo>
                <a:cubicBezTo>
                  <a:pt x="239" y="282"/>
                  <a:pt x="246" y="283"/>
                  <a:pt x="248" y="281"/>
                </a:cubicBezTo>
                <a:cubicBezTo>
                  <a:pt x="249" y="280"/>
                  <a:pt x="251" y="281"/>
                  <a:pt x="252" y="282"/>
                </a:cubicBezTo>
                <a:cubicBezTo>
                  <a:pt x="252" y="282"/>
                  <a:pt x="252" y="283"/>
                  <a:pt x="252" y="284"/>
                </a:cubicBezTo>
                <a:cubicBezTo>
                  <a:pt x="253" y="285"/>
                  <a:pt x="254" y="284"/>
                  <a:pt x="255" y="285"/>
                </a:cubicBezTo>
                <a:cubicBezTo>
                  <a:pt x="258" y="288"/>
                  <a:pt x="253" y="290"/>
                  <a:pt x="251" y="288"/>
                </a:cubicBezTo>
                <a:cubicBezTo>
                  <a:pt x="250" y="290"/>
                  <a:pt x="250" y="291"/>
                  <a:pt x="250" y="292"/>
                </a:cubicBezTo>
                <a:cubicBezTo>
                  <a:pt x="251" y="292"/>
                  <a:pt x="251" y="292"/>
                  <a:pt x="252" y="292"/>
                </a:cubicBezTo>
                <a:cubicBezTo>
                  <a:pt x="252" y="294"/>
                  <a:pt x="252" y="295"/>
                  <a:pt x="252" y="296"/>
                </a:cubicBezTo>
                <a:cubicBezTo>
                  <a:pt x="255" y="296"/>
                  <a:pt x="255" y="298"/>
                  <a:pt x="254" y="300"/>
                </a:cubicBezTo>
                <a:cubicBezTo>
                  <a:pt x="280" y="309"/>
                  <a:pt x="280" y="309"/>
                  <a:pt x="280" y="309"/>
                </a:cubicBezTo>
                <a:cubicBezTo>
                  <a:pt x="280" y="309"/>
                  <a:pt x="280" y="309"/>
                  <a:pt x="280" y="309"/>
                </a:cubicBezTo>
                <a:cubicBezTo>
                  <a:pt x="279" y="308"/>
                  <a:pt x="278" y="307"/>
                  <a:pt x="280" y="306"/>
                </a:cubicBezTo>
                <a:cubicBezTo>
                  <a:pt x="281" y="305"/>
                  <a:pt x="284" y="304"/>
                  <a:pt x="282" y="302"/>
                </a:cubicBezTo>
                <a:cubicBezTo>
                  <a:pt x="280" y="300"/>
                  <a:pt x="281" y="298"/>
                  <a:pt x="283" y="297"/>
                </a:cubicBezTo>
                <a:cubicBezTo>
                  <a:pt x="284" y="295"/>
                  <a:pt x="282" y="295"/>
                  <a:pt x="282" y="294"/>
                </a:cubicBezTo>
                <a:cubicBezTo>
                  <a:pt x="282" y="293"/>
                  <a:pt x="282" y="291"/>
                  <a:pt x="282" y="290"/>
                </a:cubicBezTo>
                <a:cubicBezTo>
                  <a:pt x="285" y="290"/>
                  <a:pt x="288" y="289"/>
                  <a:pt x="288" y="285"/>
                </a:cubicBezTo>
                <a:cubicBezTo>
                  <a:pt x="288" y="282"/>
                  <a:pt x="286" y="280"/>
                  <a:pt x="283" y="278"/>
                </a:cubicBezTo>
                <a:cubicBezTo>
                  <a:pt x="280" y="276"/>
                  <a:pt x="281" y="272"/>
                  <a:pt x="280" y="269"/>
                </a:cubicBezTo>
                <a:cubicBezTo>
                  <a:pt x="278" y="266"/>
                  <a:pt x="278" y="263"/>
                  <a:pt x="280" y="259"/>
                </a:cubicBezTo>
                <a:cubicBezTo>
                  <a:pt x="281" y="257"/>
                  <a:pt x="282" y="254"/>
                  <a:pt x="285" y="253"/>
                </a:cubicBezTo>
                <a:cubicBezTo>
                  <a:pt x="289" y="253"/>
                  <a:pt x="290" y="251"/>
                  <a:pt x="294" y="249"/>
                </a:cubicBezTo>
                <a:cubicBezTo>
                  <a:pt x="296" y="248"/>
                  <a:pt x="300" y="248"/>
                  <a:pt x="301" y="245"/>
                </a:cubicBezTo>
                <a:cubicBezTo>
                  <a:pt x="303" y="243"/>
                  <a:pt x="304" y="239"/>
                  <a:pt x="307" y="239"/>
                </a:cubicBezTo>
                <a:cubicBezTo>
                  <a:pt x="308" y="238"/>
                  <a:pt x="310" y="238"/>
                  <a:pt x="311" y="237"/>
                </a:cubicBezTo>
                <a:cubicBezTo>
                  <a:pt x="313" y="236"/>
                  <a:pt x="313" y="235"/>
                  <a:pt x="313" y="233"/>
                </a:cubicBezTo>
                <a:cubicBezTo>
                  <a:pt x="314" y="230"/>
                  <a:pt x="319" y="231"/>
                  <a:pt x="319" y="234"/>
                </a:cubicBezTo>
                <a:cubicBezTo>
                  <a:pt x="321" y="235"/>
                  <a:pt x="322" y="233"/>
                  <a:pt x="323" y="232"/>
                </a:cubicBezTo>
                <a:cubicBezTo>
                  <a:pt x="326" y="230"/>
                  <a:pt x="329" y="233"/>
                  <a:pt x="332" y="233"/>
                </a:cubicBezTo>
                <a:cubicBezTo>
                  <a:pt x="338" y="234"/>
                  <a:pt x="338" y="228"/>
                  <a:pt x="333" y="226"/>
                </a:cubicBezTo>
                <a:close/>
              </a:path>
            </a:pathLst>
          </a:custGeom>
          <a:solidFill>
            <a:schemeClr val="accent3"/>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8" name="Freeform 446">
            <a:extLst>
              <a:ext uri="{FF2B5EF4-FFF2-40B4-BE49-F238E27FC236}">
                <a16:creationId xmlns:a16="http://schemas.microsoft.com/office/drawing/2014/main" id="{1F656FA0-6AEA-418F-9EB3-08CC08AB8DAE}"/>
              </a:ext>
            </a:extLst>
          </p:cNvPr>
          <p:cNvSpPr>
            <a:spLocks/>
          </p:cNvSpPr>
          <p:nvPr/>
        </p:nvSpPr>
        <p:spPr bwMode="auto">
          <a:xfrm>
            <a:off x="1569616" y="3111719"/>
            <a:ext cx="46621" cy="50227"/>
          </a:xfrm>
          <a:custGeom>
            <a:avLst/>
            <a:gdLst>
              <a:gd name="T0" fmla="*/ 10 w 19"/>
              <a:gd name="T1" fmla="*/ 1 h 20"/>
              <a:gd name="T2" fmla="*/ 11 w 19"/>
              <a:gd name="T3" fmla="*/ 2 h 20"/>
              <a:gd name="T4" fmla="*/ 13 w 19"/>
              <a:gd name="T5" fmla="*/ 1 h 20"/>
              <a:gd name="T6" fmla="*/ 14 w 19"/>
              <a:gd name="T7" fmla="*/ 2 h 20"/>
              <a:gd name="T8" fmla="*/ 13 w 19"/>
              <a:gd name="T9" fmla="*/ 3 h 20"/>
              <a:gd name="T10" fmla="*/ 13 w 19"/>
              <a:gd name="T11" fmla="*/ 4 h 20"/>
              <a:gd name="T12" fmla="*/ 14 w 19"/>
              <a:gd name="T13" fmla="*/ 4 h 20"/>
              <a:gd name="T14" fmla="*/ 14 w 19"/>
              <a:gd name="T15" fmla="*/ 5 h 20"/>
              <a:gd name="T16" fmla="*/ 14 w 19"/>
              <a:gd name="T17" fmla="*/ 5 h 20"/>
              <a:gd name="T18" fmla="*/ 15 w 19"/>
              <a:gd name="T19" fmla="*/ 6 h 20"/>
              <a:gd name="T20" fmla="*/ 15 w 19"/>
              <a:gd name="T21" fmla="*/ 6 h 20"/>
              <a:gd name="T22" fmla="*/ 16 w 19"/>
              <a:gd name="T23" fmla="*/ 7 h 20"/>
              <a:gd name="T24" fmla="*/ 17 w 19"/>
              <a:gd name="T25" fmla="*/ 7 h 20"/>
              <a:gd name="T26" fmla="*/ 17 w 19"/>
              <a:gd name="T27" fmla="*/ 9 h 20"/>
              <a:gd name="T28" fmla="*/ 17 w 19"/>
              <a:gd name="T29" fmla="*/ 10 h 20"/>
              <a:gd name="T30" fmla="*/ 17 w 19"/>
              <a:gd name="T31" fmla="*/ 12 h 20"/>
              <a:gd name="T32" fmla="*/ 17 w 19"/>
              <a:gd name="T33" fmla="*/ 14 h 20"/>
              <a:gd name="T34" fmla="*/ 17 w 19"/>
              <a:gd name="T35" fmla="*/ 16 h 20"/>
              <a:gd name="T36" fmla="*/ 16 w 19"/>
              <a:gd name="T37" fmla="*/ 16 h 20"/>
              <a:gd name="T38" fmla="*/ 14 w 19"/>
              <a:gd name="T39" fmla="*/ 16 h 20"/>
              <a:gd name="T40" fmla="*/ 14 w 19"/>
              <a:gd name="T41" fmla="*/ 18 h 20"/>
              <a:gd name="T42" fmla="*/ 11 w 19"/>
              <a:gd name="T43" fmla="*/ 19 h 20"/>
              <a:gd name="T44" fmla="*/ 11 w 19"/>
              <a:gd name="T45" fmla="*/ 19 h 20"/>
              <a:gd name="T46" fmla="*/ 11 w 19"/>
              <a:gd name="T47" fmla="*/ 18 h 20"/>
              <a:gd name="T48" fmla="*/ 10 w 19"/>
              <a:gd name="T49" fmla="*/ 17 h 20"/>
              <a:gd name="T50" fmla="*/ 10 w 19"/>
              <a:gd name="T51" fmla="*/ 16 h 20"/>
              <a:gd name="T52" fmla="*/ 10 w 19"/>
              <a:gd name="T53" fmla="*/ 16 h 20"/>
              <a:gd name="T54" fmla="*/ 9 w 19"/>
              <a:gd name="T55" fmla="*/ 15 h 20"/>
              <a:gd name="T56" fmla="*/ 9 w 19"/>
              <a:gd name="T57" fmla="*/ 15 h 20"/>
              <a:gd name="T58" fmla="*/ 8 w 19"/>
              <a:gd name="T59" fmla="*/ 15 h 20"/>
              <a:gd name="T60" fmla="*/ 7 w 19"/>
              <a:gd name="T61" fmla="*/ 14 h 20"/>
              <a:gd name="T62" fmla="*/ 6 w 19"/>
              <a:gd name="T63" fmla="*/ 14 h 20"/>
              <a:gd name="T64" fmla="*/ 6 w 19"/>
              <a:gd name="T65" fmla="*/ 15 h 20"/>
              <a:gd name="T66" fmla="*/ 5 w 19"/>
              <a:gd name="T67" fmla="*/ 15 h 20"/>
              <a:gd name="T68" fmla="*/ 3 w 19"/>
              <a:gd name="T69" fmla="*/ 15 h 20"/>
              <a:gd name="T70" fmla="*/ 2 w 19"/>
              <a:gd name="T71" fmla="*/ 15 h 20"/>
              <a:gd name="T72" fmla="*/ 2 w 19"/>
              <a:gd name="T73" fmla="*/ 14 h 20"/>
              <a:gd name="T74" fmla="*/ 1 w 19"/>
              <a:gd name="T75" fmla="*/ 13 h 20"/>
              <a:gd name="T76" fmla="*/ 0 w 19"/>
              <a:gd name="T77" fmla="*/ 12 h 20"/>
              <a:gd name="T78" fmla="*/ 1 w 19"/>
              <a:gd name="T79" fmla="*/ 11 h 20"/>
              <a:gd name="T80" fmla="*/ 2 w 19"/>
              <a:gd name="T81" fmla="*/ 10 h 20"/>
              <a:gd name="T82" fmla="*/ 3 w 19"/>
              <a:gd name="T83" fmla="*/ 10 h 20"/>
              <a:gd name="T84" fmla="*/ 3 w 19"/>
              <a:gd name="T85" fmla="*/ 9 h 20"/>
              <a:gd name="T86" fmla="*/ 4 w 19"/>
              <a:gd name="T87" fmla="*/ 8 h 20"/>
              <a:gd name="T88" fmla="*/ 4 w 19"/>
              <a:gd name="T89" fmla="*/ 8 h 20"/>
              <a:gd name="T90" fmla="*/ 4 w 19"/>
              <a:gd name="T91" fmla="*/ 7 h 20"/>
              <a:gd name="T92" fmla="*/ 4 w 19"/>
              <a:gd name="T93" fmla="*/ 5 h 20"/>
              <a:gd name="T94" fmla="*/ 4 w 19"/>
              <a:gd name="T95" fmla="*/ 3 h 20"/>
              <a:gd name="T96" fmla="*/ 5 w 19"/>
              <a:gd name="T97" fmla="*/ 2 h 20"/>
              <a:gd name="T98" fmla="*/ 7 w 19"/>
              <a:gd name="T99" fmla="*/ 2 h 20"/>
              <a:gd name="T100" fmla="*/ 8 w 19"/>
              <a:gd name="T101" fmla="*/ 1 h 20"/>
              <a:gd name="T102" fmla="*/ 10 w 19"/>
              <a:gd name="T10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 h="20">
                <a:moveTo>
                  <a:pt x="10" y="1"/>
                </a:moveTo>
                <a:cubicBezTo>
                  <a:pt x="11" y="2"/>
                  <a:pt x="11" y="2"/>
                  <a:pt x="11" y="2"/>
                </a:cubicBezTo>
                <a:cubicBezTo>
                  <a:pt x="12" y="2"/>
                  <a:pt x="12" y="1"/>
                  <a:pt x="13" y="1"/>
                </a:cubicBezTo>
                <a:cubicBezTo>
                  <a:pt x="14" y="2"/>
                  <a:pt x="14" y="2"/>
                  <a:pt x="14" y="2"/>
                </a:cubicBezTo>
                <a:cubicBezTo>
                  <a:pt x="14" y="4"/>
                  <a:pt x="13" y="3"/>
                  <a:pt x="13" y="3"/>
                </a:cubicBezTo>
                <a:cubicBezTo>
                  <a:pt x="13" y="4"/>
                  <a:pt x="13" y="4"/>
                  <a:pt x="13" y="4"/>
                </a:cubicBezTo>
                <a:cubicBezTo>
                  <a:pt x="14" y="4"/>
                  <a:pt x="14" y="4"/>
                  <a:pt x="14" y="4"/>
                </a:cubicBezTo>
                <a:cubicBezTo>
                  <a:pt x="14" y="5"/>
                  <a:pt x="14" y="5"/>
                  <a:pt x="14" y="5"/>
                </a:cubicBezTo>
                <a:cubicBezTo>
                  <a:pt x="14" y="5"/>
                  <a:pt x="14" y="5"/>
                  <a:pt x="14" y="5"/>
                </a:cubicBezTo>
                <a:cubicBezTo>
                  <a:pt x="15" y="6"/>
                  <a:pt x="15" y="6"/>
                  <a:pt x="15" y="6"/>
                </a:cubicBezTo>
                <a:cubicBezTo>
                  <a:pt x="15" y="6"/>
                  <a:pt x="15" y="6"/>
                  <a:pt x="15" y="6"/>
                </a:cubicBezTo>
                <a:cubicBezTo>
                  <a:pt x="15" y="7"/>
                  <a:pt x="16" y="7"/>
                  <a:pt x="16" y="7"/>
                </a:cubicBezTo>
                <a:cubicBezTo>
                  <a:pt x="16" y="8"/>
                  <a:pt x="17" y="7"/>
                  <a:pt x="17" y="7"/>
                </a:cubicBezTo>
                <a:cubicBezTo>
                  <a:pt x="17" y="9"/>
                  <a:pt x="17" y="9"/>
                  <a:pt x="17" y="9"/>
                </a:cubicBezTo>
                <a:cubicBezTo>
                  <a:pt x="17" y="9"/>
                  <a:pt x="17" y="10"/>
                  <a:pt x="17" y="10"/>
                </a:cubicBezTo>
                <a:cubicBezTo>
                  <a:pt x="17" y="11"/>
                  <a:pt x="19" y="11"/>
                  <a:pt x="17" y="12"/>
                </a:cubicBezTo>
                <a:cubicBezTo>
                  <a:pt x="16" y="12"/>
                  <a:pt x="16" y="13"/>
                  <a:pt x="17" y="14"/>
                </a:cubicBezTo>
                <a:cubicBezTo>
                  <a:pt x="18" y="15"/>
                  <a:pt x="18" y="16"/>
                  <a:pt x="17" y="16"/>
                </a:cubicBezTo>
                <a:cubicBezTo>
                  <a:pt x="16" y="16"/>
                  <a:pt x="16" y="16"/>
                  <a:pt x="16" y="16"/>
                </a:cubicBezTo>
                <a:cubicBezTo>
                  <a:pt x="16" y="16"/>
                  <a:pt x="15" y="16"/>
                  <a:pt x="14" y="16"/>
                </a:cubicBezTo>
                <a:cubicBezTo>
                  <a:pt x="13" y="17"/>
                  <a:pt x="15" y="17"/>
                  <a:pt x="14" y="18"/>
                </a:cubicBezTo>
                <a:cubicBezTo>
                  <a:pt x="14" y="19"/>
                  <a:pt x="12" y="20"/>
                  <a:pt x="11" y="19"/>
                </a:cubicBezTo>
                <a:cubicBezTo>
                  <a:pt x="11" y="19"/>
                  <a:pt x="11" y="19"/>
                  <a:pt x="11" y="19"/>
                </a:cubicBezTo>
                <a:cubicBezTo>
                  <a:pt x="11" y="18"/>
                  <a:pt x="11" y="18"/>
                  <a:pt x="11" y="18"/>
                </a:cubicBezTo>
                <a:cubicBezTo>
                  <a:pt x="11" y="18"/>
                  <a:pt x="10" y="18"/>
                  <a:pt x="10" y="17"/>
                </a:cubicBezTo>
                <a:cubicBezTo>
                  <a:pt x="10" y="17"/>
                  <a:pt x="10" y="17"/>
                  <a:pt x="10" y="16"/>
                </a:cubicBezTo>
                <a:cubicBezTo>
                  <a:pt x="10" y="16"/>
                  <a:pt x="10" y="16"/>
                  <a:pt x="10" y="16"/>
                </a:cubicBezTo>
                <a:cubicBezTo>
                  <a:pt x="9" y="15"/>
                  <a:pt x="9" y="15"/>
                  <a:pt x="9" y="15"/>
                </a:cubicBezTo>
                <a:cubicBezTo>
                  <a:pt x="9" y="15"/>
                  <a:pt x="9" y="15"/>
                  <a:pt x="9" y="15"/>
                </a:cubicBezTo>
                <a:cubicBezTo>
                  <a:pt x="8" y="15"/>
                  <a:pt x="8" y="15"/>
                  <a:pt x="8" y="15"/>
                </a:cubicBezTo>
                <a:cubicBezTo>
                  <a:pt x="7" y="15"/>
                  <a:pt x="7" y="14"/>
                  <a:pt x="7" y="14"/>
                </a:cubicBezTo>
                <a:cubicBezTo>
                  <a:pt x="6" y="14"/>
                  <a:pt x="5" y="14"/>
                  <a:pt x="6" y="14"/>
                </a:cubicBezTo>
                <a:cubicBezTo>
                  <a:pt x="7" y="14"/>
                  <a:pt x="6" y="15"/>
                  <a:pt x="6" y="15"/>
                </a:cubicBezTo>
                <a:cubicBezTo>
                  <a:pt x="5" y="15"/>
                  <a:pt x="5" y="15"/>
                  <a:pt x="5" y="15"/>
                </a:cubicBezTo>
                <a:cubicBezTo>
                  <a:pt x="4" y="15"/>
                  <a:pt x="4" y="15"/>
                  <a:pt x="3" y="15"/>
                </a:cubicBezTo>
                <a:cubicBezTo>
                  <a:pt x="3" y="15"/>
                  <a:pt x="2" y="15"/>
                  <a:pt x="2" y="15"/>
                </a:cubicBezTo>
                <a:cubicBezTo>
                  <a:pt x="1" y="16"/>
                  <a:pt x="2" y="15"/>
                  <a:pt x="2" y="14"/>
                </a:cubicBezTo>
                <a:cubicBezTo>
                  <a:pt x="1" y="13"/>
                  <a:pt x="1" y="13"/>
                  <a:pt x="1" y="13"/>
                </a:cubicBezTo>
                <a:cubicBezTo>
                  <a:pt x="0" y="13"/>
                  <a:pt x="0" y="13"/>
                  <a:pt x="0" y="12"/>
                </a:cubicBezTo>
                <a:cubicBezTo>
                  <a:pt x="0" y="11"/>
                  <a:pt x="1" y="12"/>
                  <a:pt x="1" y="11"/>
                </a:cubicBezTo>
                <a:cubicBezTo>
                  <a:pt x="1" y="11"/>
                  <a:pt x="1" y="10"/>
                  <a:pt x="2" y="10"/>
                </a:cubicBezTo>
                <a:cubicBezTo>
                  <a:pt x="3" y="10"/>
                  <a:pt x="3" y="10"/>
                  <a:pt x="3" y="10"/>
                </a:cubicBezTo>
                <a:cubicBezTo>
                  <a:pt x="3" y="10"/>
                  <a:pt x="3" y="9"/>
                  <a:pt x="3" y="9"/>
                </a:cubicBezTo>
                <a:cubicBezTo>
                  <a:pt x="3" y="8"/>
                  <a:pt x="4" y="9"/>
                  <a:pt x="4" y="8"/>
                </a:cubicBezTo>
                <a:cubicBezTo>
                  <a:pt x="4" y="8"/>
                  <a:pt x="4" y="8"/>
                  <a:pt x="4" y="8"/>
                </a:cubicBezTo>
                <a:cubicBezTo>
                  <a:pt x="5" y="7"/>
                  <a:pt x="4" y="7"/>
                  <a:pt x="4" y="7"/>
                </a:cubicBezTo>
                <a:cubicBezTo>
                  <a:pt x="4" y="7"/>
                  <a:pt x="5" y="6"/>
                  <a:pt x="4" y="5"/>
                </a:cubicBezTo>
                <a:cubicBezTo>
                  <a:pt x="4" y="3"/>
                  <a:pt x="4" y="3"/>
                  <a:pt x="4" y="3"/>
                </a:cubicBezTo>
                <a:cubicBezTo>
                  <a:pt x="4" y="2"/>
                  <a:pt x="5" y="2"/>
                  <a:pt x="5" y="2"/>
                </a:cubicBezTo>
                <a:cubicBezTo>
                  <a:pt x="6" y="2"/>
                  <a:pt x="7" y="2"/>
                  <a:pt x="7" y="2"/>
                </a:cubicBezTo>
                <a:cubicBezTo>
                  <a:pt x="7" y="2"/>
                  <a:pt x="8" y="1"/>
                  <a:pt x="8" y="1"/>
                </a:cubicBezTo>
                <a:cubicBezTo>
                  <a:pt x="9" y="0"/>
                  <a:pt x="10" y="1"/>
                  <a:pt x="10" y="1"/>
                </a:cubicBezTo>
                <a:close/>
              </a:path>
            </a:pathLst>
          </a:custGeom>
          <a:solidFill>
            <a:schemeClr val="bg1">
              <a:lumMod val="85000"/>
            </a:schemeClr>
          </a:solidFill>
          <a:ln w="3175">
            <a:noFill/>
            <a:round/>
            <a:headEnd/>
            <a:tailEnd/>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15"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9" name="Freeform 116">
            <a:extLst>
              <a:ext uri="{FF2B5EF4-FFF2-40B4-BE49-F238E27FC236}">
                <a16:creationId xmlns:a16="http://schemas.microsoft.com/office/drawing/2014/main" id="{A0C58424-77D2-4083-86ED-26AC629F5D18}"/>
              </a:ext>
            </a:extLst>
          </p:cNvPr>
          <p:cNvSpPr>
            <a:spLocks noChangeAspect="1"/>
          </p:cNvSpPr>
          <p:nvPr/>
        </p:nvSpPr>
        <p:spPr bwMode="gray">
          <a:xfrm rot="197301">
            <a:off x="1546810" y="4185840"/>
            <a:ext cx="533839" cy="507193"/>
          </a:xfrm>
          <a:custGeom>
            <a:avLst/>
            <a:gdLst>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70418 w 829568"/>
              <a:gd name="connsiteY7" fmla="*/ 255212 h 797705"/>
              <a:gd name="connsiteX8" fmla="*/ 568829 w 829568"/>
              <a:gd name="connsiteY8" fmla="*/ 260444 h 797705"/>
              <a:gd name="connsiteX9" fmla="*/ 569816 w 829568"/>
              <a:gd name="connsiteY9" fmla="*/ 261219 h 797705"/>
              <a:gd name="connsiteX10" fmla="*/ 561350 w 829568"/>
              <a:gd name="connsiteY10" fmla="*/ 243680 h 797705"/>
              <a:gd name="connsiteX11" fmla="*/ 563631 w 829568"/>
              <a:gd name="connsiteY11" fmla="*/ 245950 h 797705"/>
              <a:gd name="connsiteX12" fmla="*/ 563632 w 829568"/>
              <a:gd name="connsiteY12" fmla="*/ 245962 h 797705"/>
              <a:gd name="connsiteX13" fmla="*/ 190103 w 829568"/>
              <a:gd name="connsiteY13" fmla="*/ 284 h 797705"/>
              <a:gd name="connsiteX14" fmla="*/ 208052 w 829568"/>
              <a:gd name="connsiteY14" fmla="*/ 7319 h 797705"/>
              <a:gd name="connsiteX15" fmla="*/ 244522 w 829568"/>
              <a:gd name="connsiteY15" fmla="*/ 16416 h 797705"/>
              <a:gd name="connsiteX16" fmla="*/ 269594 w 829568"/>
              <a:gd name="connsiteY16" fmla="*/ 36884 h 797705"/>
              <a:gd name="connsiteX17" fmla="*/ 303784 w 829568"/>
              <a:gd name="connsiteY17" fmla="*/ 59627 h 797705"/>
              <a:gd name="connsiteX18" fmla="*/ 317460 w 829568"/>
              <a:gd name="connsiteY18" fmla="*/ 89192 h 797705"/>
              <a:gd name="connsiteX19" fmla="*/ 353930 w 829568"/>
              <a:gd name="connsiteY19" fmla="*/ 73272 h 797705"/>
              <a:gd name="connsiteX20" fmla="*/ 399516 w 829568"/>
              <a:gd name="connsiteY20" fmla="*/ 82369 h 797705"/>
              <a:gd name="connsiteX21" fmla="*/ 417751 w 829568"/>
              <a:gd name="connsiteY21" fmla="*/ 77821 h 797705"/>
              <a:gd name="connsiteX22" fmla="*/ 438265 w 829568"/>
              <a:gd name="connsiteY22" fmla="*/ 64175 h 797705"/>
              <a:gd name="connsiteX23" fmla="*/ 472455 w 829568"/>
              <a:gd name="connsiteY23" fmla="*/ 73272 h 797705"/>
              <a:gd name="connsiteX24" fmla="*/ 486131 w 829568"/>
              <a:gd name="connsiteY24" fmla="*/ 82369 h 797705"/>
              <a:gd name="connsiteX25" fmla="*/ 490690 w 829568"/>
              <a:gd name="connsiteY25" fmla="*/ 132402 h 797705"/>
              <a:gd name="connsiteX26" fmla="*/ 495248 w 829568"/>
              <a:gd name="connsiteY26" fmla="*/ 196081 h 797705"/>
              <a:gd name="connsiteX27" fmla="*/ 495248 w 829568"/>
              <a:gd name="connsiteY27" fmla="*/ 214275 h 797705"/>
              <a:gd name="connsiteX28" fmla="*/ 495067 w 829568"/>
              <a:gd name="connsiteY28" fmla="*/ 214233 h 797705"/>
              <a:gd name="connsiteX29" fmla="*/ 497146 w 829568"/>
              <a:gd name="connsiteY29" fmla="*/ 220449 h 797705"/>
              <a:gd name="connsiteX30" fmla="*/ 508530 w 829568"/>
              <a:gd name="connsiteY30" fmla="*/ 224986 h 797705"/>
              <a:gd name="connsiteX31" fmla="*/ 524467 w 829568"/>
              <a:gd name="connsiteY31" fmla="*/ 238598 h 797705"/>
              <a:gd name="connsiteX32" fmla="*/ 556340 w 829568"/>
              <a:gd name="connsiteY32" fmla="*/ 234060 h 797705"/>
              <a:gd name="connsiteX33" fmla="*/ 560894 w 829568"/>
              <a:gd name="connsiteY33" fmla="*/ 234060 h 797705"/>
              <a:gd name="connsiteX34" fmla="*/ 560894 w 829568"/>
              <a:gd name="connsiteY34" fmla="*/ 243135 h 797705"/>
              <a:gd name="connsiteX35" fmla="*/ 563170 w 829568"/>
              <a:gd name="connsiteY35" fmla="*/ 247672 h 797705"/>
              <a:gd name="connsiteX36" fmla="*/ 564024 w 829568"/>
              <a:gd name="connsiteY36" fmla="*/ 255045 h 797705"/>
              <a:gd name="connsiteX37" fmla="*/ 563903 w 829568"/>
              <a:gd name="connsiteY37" fmla="*/ 256574 h 797705"/>
              <a:gd name="connsiteX38" fmla="*/ 564418 w 829568"/>
              <a:gd name="connsiteY38" fmla="*/ 256978 h 797705"/>
              <a:gd name="connsiteX39" fmla="*/ 564486 w 829568"/>
              <a:gd name="connsiteY39" fmla="*/ 256164 h 797705"/>
              <a:gd name="connsiteX40" fmla="*/ 563684 w 829568"/>
              <a:gd name="connsiteY40" fmla="*/ 246583 h 797705"/>
              <a:gd name="connsiteX41" fmla="*/ 570440 w 829568"/>
              <a:gd name="connsiteY41" fmla="*/ 254988 h 797705"/>
              <a:gd name="connsiteX42" fmla="*/ 570445 w 829568"/>
              <a:gd name="connsiteY42" fmla="*/ 254942 h 797705"/>
              <a:gd name="connsiteX43" fmla="*/ 572718 w 829568"/>
              <a:gd name="connsiteY43" fmla="*/ 257210 h 797705"/>
              <a:gd name="connsiteX44" fmla="*/ 574113 w 829568"/>
              <a:gd name="connsiteY44" fmla="*/ 256872 h 797705"/>
              <a:gd name="connsiteX45" fmla="*/ 567290 w 829568"/>
              <a:gd name="connsiteY45" fmla="*/ 250109 h 797705"/>
              <a:gd name="connsiteX46" fmla="*/ 563684 w 829568"/>
              <a:gd name="connsiteY46" fmla="*/ 246583 h 797705"/>
              <a:gd name="connsiteX47" fmla="*/ 563632 w 829568"/>
              <a:gd name="connsiteY47" fmla="*/ 245962 h 797705"/>
              <a:gd name="connsiteX48" fmla="*/ 574458 w 829568"/>
              <a:gd name="connsiteY48" fmla="*/ 256788 h 797705"/>
              <a:gd name="connsiteX49" fmla="*/ 583230 w 829568"/>
              <a:gd name="connsiteY49" fmla="*/ 254659 h 797705"/>
              <a:gd name="connsiteX50" fmla="*/ 595448 w 829568"/>
              <a:gd name="connsiteY50" fmla="*/ 250406 h 797705"/>
              <a:gd name="connsiteX51" fmla="*/ 624997 w 829568"/>
              <a:gd name="connsiteY51" fmla="*/ 282159 h 797705"/>
              <a:gd name="connsiteX52" fmla="*/ 637214 w 829568"/>
              <a:gd name="connsiteY52" fmla="*/ 311928 h 797705"/>
              <a:gd name="connsiteX53" fmla="*/ 636731 w 829568"/>
              <a:gd name="connsiteY53" fmla="*/ 319061 h 797705"/>
              <a:gd name="connsiteX54" fmla="*/ 652790 w 829568"/>
              <a:gd name="connsiteY54" fmla="*/ 335120 h 797705"/>
              <a:gd name="connsiteX55" fmla="*/ 638758 w 829568"/>
              <a:gd name="connsiteY55" fmla="*/ 321150 h 797705"/>
              <a:gd name="connsiteX56" fmla="*/ 636727 w 829568"/>
              <a:gd name="connsiteY56" fmla="*/ 319129 h 797705"/>
              <a:gd name="connsiteX57" fmla="*/ 636185 w 829568"/>
              <a:gd name="connsiteY57" fmla="*/ 327131 h 797705"/>
              <a:gd name="connsiteX58" fmla="*/ 640908 w 829568"/>
              <a:gd name="connsiteY58" fmla="*/ 343397 h 797705"/>
              <a:gd name="connsiteX59" fmla="*/ 656819 w 829568"/>
              <a:gd name="connsiteY59" fmla="*/ 329788 h 797705"/>
              <a:gd name="connsiteX60" fmla="*/ 672730 w 829568"/>
              <a:gd name="connsiteY60" fmla="*/ 347933 h 797705"/>
              <a:gd name="connsiteX61" fmla="*/ 679549 w 829568"/>
              <a:gd name="connsiteY61" fmla="*/ 366077 h 797705"/>
              <a:gd name="connsiteX62" fmla="*/ 686368 w 829568"/>
              <a:gd name="connsiteY62" fmla="*/ 418243 h 797705"/>
              <a:gd name="connsiteX63" fmla="*/ 736375 w 829568"/>
              <a:gd name="connsiteY63" fmla="*/ 413707 h 797705"/>
              <a:gd name="connsiteX64" fmla="*/ 756832 w 829568"/>
              <a:gd name="connsiteY64" fmla="*/ 420511 h 797705"/>
              <a:gd name="connsiteX65" fmla="*/ 765924 w 829568"/>
              <a:gd name="connsiteY65" fmla="*/ 406903 h 797705"/>
              <a:gd name="connsiteX66" fmla="*/ 829568 w 829568"/>
              <a:gd name="connsiteY66" fmla="*/ 397830 h 797705"/>
              <a:gd name="connsiteX67" fmla="*/ 829568 w 829568"/>
              <a:gd name="connsiteY67" fmla="*/ 413707 h 797705"/>
              <a:gd name="connsiteX68" fmla="*/ 827295 w 829568"/>
              <a:gd name="connsiteY68" fmla="*/ 422779 h 797705"/>
              <a:gd name="connsiteX69" fmla="*/ 822749 w 829568"/>
              <a:gd name="connsiteY69" fmla="*/ 427315 h 797705"/>
              <a:gd name="connsiteX70" fmla="*/ 815930 w 829568"/>
              <a:gd name="connsiteY70" fmla="*/ 427315 h 797705"/>
              <a:gd name="connsiteX71" fmla="*/ 809111 w 829568"/>
              <a:gd name="connsiteY71" fmla="*/ 443192 h 797705"/>
              <a:gd name="connsiteX72" fmla="*/ 802292 w 829568"/>
              <a:gd name="connsiteY72" fmla="*/ 452264 h 797705"/>
              <a:gd name="connsiteX73" fmla="*/ 800019 w 829568"/>
              <a:gd name="connsiteY73" fmla="*/ 459068 h 797705"/>
              <a:gd name="connsiteX74" fmla="*/ 800019 w 829568"/>
              <a:gd name="connsiteY74" fmla="*/ 470408 h 797705"/>
              <a:gd name="connsiteX75" fmla="*/ 800019 w 829568"/>
              <a:gd name="connsiteY75" fmla="*/ 481749 h 797705"/>
              <a:gd name="connsiteX76" fmla="*/ 784108 w 829568"/>
              <a:gd name="connsiteY76" fmla="*/ 477212 h 797705"/>
              <a:gd name="connsiteX77" fmla="*/ 777289 w 829568"/>
              <a:gd name="connsiteY77" fmla="*/ 477212 h 797705"/>
              <a:gd name="connsiteX78" fmla="*/ 770470 w 829568"/>
              <a:gd name="connsiteY78" fmla="*/ 481749 h 797705"/>
              <a:gd name="connsiteX79" fmla="*/ 768197 w 829568"/>
              <a:gd name="connsiteY79" fmla="*/ 488553 h 797705"/>
              <a:gd name="connsiteX80" fmla="*/ 750013 w 829568"/>
              <a:gd name="connsiteY80" fmla="*/ 497625 h 797705"/>
              <a:gd name="connsiteX81" fmla="*/ 745467 w 829568"/>
              <a:gd name="connsiteY81" fmla="*/ 490821 h 797705"/>
              <a:gd name="connsiteX82" fmla="*/ 740921 w 829568"/>
              <a:gd name="connsiteY82" fmla="*/ 493089 h 797705"/>
              <a:gd name="connsiteX83" fmla="*/ 738648 w 829568"/>
              <a:gd name="connsiteY83" fmla="*/ 499893 h 797705"/>
              <a:gd name="connsiteX84" fmla="*/ 738648 w 829568"/>
              <a:gd name="connsiteY84" fmla="*/ 502161 h 797705"/>
              <a:gd name="connsiteX85" fmla="*/ 725010 w 829568"/>
              <a:gd name="connsiteY85" fmla="*/ 504429 h 797705"/>
              <a:gd name="connsiteX86" fmla="*/ 715918 w 829568"/>
              <a:gd name="connsiteY86" fmla="*/ 508965 h 797705"/>
              <a:gd name="connsiteX87" fmla="*/ 715918 w 829568"/>
              <a:gd name="connsiteY87" fmla="*/ 520306 h 797705"/>
              <a:gd name="connsiteX88" fmla="*/ 713645 w 829568"/>
              <a:gd name="connsiteY88" fmla="*/ 522574 h 797705"/>
              <a:gd name="connsiteX89" fmla="*/ 693188 w 829568"/>
              <a:gd name="connsiteY89" fmla="*/ 527110 h 797705"/>
              <a:gd name="connsiteX90" fmla="*/ 677276 w 829568"/>
              <a:gd name="connsiteY90" fmla="*/ 531646 h 797705"/>
              <a:gd name="connsiteX91" fmla="*/ 668184 w 829568"/>
              <a:gd name="connsiteY91" fmla="*/ 527110 h 797705"/>
              <a:gd name="connsiteX92" fmla="*/ 665911 w 829568"/>
              <a:gd name="connsiteY92" fmla="*/ 529378 h 797705"/>
              <a:gd name="connsiteX93" fmla="*/ 665911 w 829568"/>
              <a:gd name="connsiteY93" fmla="*/ 538450 h 797705"/>
              <a:gd name="connsiteX94" fmla="*/ 659092 w 829568"/>
              <a:gd name="connsiteY94" fmla="*/ 540718 h 797705"/>
              <a:gd name="connsiteX95" fmla="*/ 659092 w 829568"/>
              <a:gd name="connsiteY95" fmla="*/ 545254 h 797705"/>
              <a:gd name="connsiteX96" fmla="*/ 659092 w 829568"/>
              <a:gd name="connsiteY96" fmla="*/ 556595 h 797705"/>
              <a:gd name="connsiteX97" fmla="*/ 656819 w 829568"/>
              <a:gd name="connsiteY97" fmla="*/ 561131 h 797705"/>
              <a:gd name="connsiteX98" fmla="*/ 652273 w 829568"/>
              <a:gd name="connsiteY98" fmla="*/ 561131 h 797705"/>
              <a:gd name="connsiteX99" fmla="*/ 650000 w 829568"/>
              <a:gd name="connsiteY99" fmla="*/ 561131 h 797705"/>
              <a:gd name="connsiteX100" fmla="*/ 618178 w 829568"/>
              <a:gd name="connsiteY100" fmla="*/ 552058 h 797705"/>
              <a:gd name="connsiteX101" fmla="*/ 618178 w 829568"/>
              <a:gd name="connsiteY101" fmla="*/ 549790 h 797705"/>
              <a:gd name="connsiteX102" fmla="*/ 609086 w 829568"/>
              <a:gd name="connsiteY102" fmla="*/ 542986 h 797705"/>
              <a:gd name="connsiteX103" fmla="*/ 599994 w 829568"/>
              <a:gd name="connsiteY103" fmla="*/ 547522 h 797705"/>
              <a:gd name="connsiteX104" fmla="*/ 590902 w 829568"/>
              <a:gd name="connsiteY104" fmla="*/ 554327 h 797705"/>
              <a:gd name="connsiteX105" fmla="*/ 579537 w 829568"/>
              <a:gd name="connsiteY105" fmla="*/ 563399 h 797705"/>
              <a:gd name="connsiteX106" fmla="*/ 574991 w 829568"/>
              <a:gd name="connsiteY106" fmla="*/ 556595 h 797705"/>
              <a:gd name="connsiteX107" fmla="*/ 570445 w 829568"/>
              <a:gd name="connsiteY107" fmla="*/ 558863 h 797705"/>
              <a:gd name="connsiteX108" fmla="*/ 568172 w 829568"/>
              <a:gd name="connsiteY108" fmla="*/ 563399 h 797705"/>
              <a:gd name="connsiteX109" fmla="*/ 568172 w 829568"/>
              <a:gd name="connsiteY109" fmla="*/ 565667 h 797705"/>
              <a:gd name="connsiteX110" fmla="*/ 568172 w 829568"/>
              <a:gd name="connsiteY110" fmla="*/ 570203 h 797705"/>
              <a:gd name="connsiteX111" fmla="*/ 565899 w 829568"/>
              <a:gd name="connsiteY111" fmla="*/ 572471 h 797705"/>
              <a:gd name="connsiteX112" fmla="*/ 565899 w 829568"/>
              <a:gd name="connsiteY112" fmla="*/ 574739 h 797705"/>
              <a:gd name="connsiteX113" fmla="*/ 581810 w 829568"/>
              <a:gd name="connsiteY113" fmla="*/ 581543 h 797705"/>
              <a:gd name="connsiteX114" fmla="*/ 586356 w 829568"/>
              <a:gd name="connsiteY114" fmla="*/ 586079 h 797705"/>
              <a:gd name="connsiteX115" fmla="*/ 590902 w 829568"/>
              <a:gd name="connsiteY115" fmla="*/ 579275 h 797705"/>
              <a:gd name="connsiteX116" fmla="*/ 597721 w 829568"/>
              <a:gd name="connsiteY116" fmla="*/ 583811 h 797705"/>
              <a:gd name="connsiteX117" fmla="*/ 599994 w 829568"/>
              <a:gd name="connsiteY117" fmla="*/ 579275 h 797705"/>
              <a:gd name="connsiteX118" fmla="*/ 606813 w 829568"/>
              <a:gd name="connsiteY118" fmla="*/ 588347 h 797705"/>
              <a:gd name="connsiteX119" fmla="*/ 606813 w 829568"/>
              <a:gd name="connsiteY119" fmla="*/ 590616 h 797705"/>
              <a:gd name="connsiteX120" fmla="*/ 602267 w 829568"/>
              <a:gd name="connsiteY120" fmla="*/ 601956 h 797705"/>
              <a:gd name="connsiteX121" fmla="*/ 604540 w 829568"/>
              <a:gd name="connsiteY121" fmla="*/ 606492 h 797705"/>
              <a:gd name="connsiteX122" fmla="*/ 609086 w 829568"/>
              <a:gd name="connsiteY122" fmla="*/ 611028 h 797705"/>
              <a:gd name="connsiteX123" fmla="*/ 606813 w 829568"/>
              <a:gd name="connsiteY123" fmla="*/ 613296 h 797705"/>
              <a:gd name="connsiteX124" fmla="*/ 588629 w 829568"/>
              <a:gd name="connsiteY124" fmla="*/ 613296 h 797705"/>
              <a:gd name="connsiteX125" fmla="*/ 572718 w 829568"/>
              <a:gd name="connsiteY125" fmla="*/ 597420 h 797705"/>
              <a:gd name="connsiteX126" fmla="*/ 568172 w 829568"/>
              <a:gd name="connsiteY126" fmla="*/ 606492 h 797705"/>
              <a:gd name="connsiteX127" fmla="*/ 561353 w 829568"/>
              <a:gd name="connsiteY127" fmla="*/ 597420 h 797705"/>
              <a:gd name="connsiteX128" fmla="*/ 556807 w 829568"/>
              <a:gd name="connsiteY128" fmla="*/ 592884 h 797705"/>
              <a:gd name="connsiteX129" fmla="*/ 540896 w 829568"/>
              <a:gd name="connsiteY129" fmla="*/ 570203 h 797705"/>
              <a:gd name="connsiteX130" fmla="*/ 529530 w 829568"/>
              <a:gd name="connsiteY130" fmla="*/ 565667 h 797705"/>
              <a:gd name="connsiteX131" fmla="*/ 518165 w 829568"/>
              <a:gd name="connsiteY131" fmla="*/ 572471 h 797705"/>
              <a:gd name="connsiteX132" fmla="*/ 509073 w 829568"/>
              <a:gd name="connsiteY132" fmla="*/ 577007 h 797705"/>
              <a:gd name="connsiteX133" fmla="*/ 506800 w 829568"/>
              <a:gd name="connsiteY133" fmla="*/ 574739 h 797705"/>
              <a:gd name="connsiteX134" fmla="*/ 504527 w 829568"/>
              <a:gd name="connsiteY134" fmla="*/ 574739 h 797705"/>
              <a:gd name="connsiteX135" fmla="*/ 504527 w 829568"/>
              <a:gd name="connsiteY135" fmla="*/ 570324 h 797705"/>
              <a:gd name="connsiteX136" fmla="*/ 503669 w 829568"/>
              <a:gd name="connsiteY136" fmla="*/ 570324 h 797705"/>
              <a:gd name="connsiteX137" fmla="*/ 503669 w 829568"/>
              <a:gd name="connsiteY137" fmla="*/ 574870 h 797705"/>
              <a:gd name="connsiteX138" fmla="*/ 505946 w 829568"/>
              <a:gd name="connsiteY138" fmla="*/ 577143 h 797705"/>
              <a:gd name="connsiteX139" fmla="*/ 505946 w 829568"/>
              <a:gd name="connsiteY139" fmla="*/ 579415 h 797705"/>
              <a:gd name="connsiteX140" fmla="*/ 505946 w 829568"/>
              <a:gd name="connsiteY140" fmla="*/ 581688 h 797705"/>
              <a:gd name="connsiteX141" fmla="*/ 496839 w 829568"/>
              <a:gd name="connsiteY141" fmla="*/ 590779 h 797705"/>
              <a:gd name="connsiteX142" fmla="*/ 496839 w 829568"/>
              <a:gd name="connsiteY142" fmla="*/ 595324 h 797705"/>
              <a:gd name="connsiteX143" fmla="*/ 501392 w 829568"/>
              <a:gd name="connsiteY143" fmla="*/ 599870 h 797705"/>
              <a:gd name="connsiteX144" fmla="*/ 510500 w 829568"/>
              <a:gd name="connsiteY144" fmla="*/ 608960 h 797705"/>
              <a:gd name="connsiteX145" fmla="*/ 508223 w 829568"/>
              <a:gd name="connsiteY145" fmla="*/ 613506 h 797705"/>
              <a:gd name="connsiteX146" fmla="*/ 508223 w 829568"/>
              <a:gd name="connsiteY146" fmla="*/ 618051 h 797705"/>
              <a:gd name="connsiteX147" fmla="*/ 490008 w 829568"/>
              <a:gd name="connsiteY147" fmla="*/ 640778 h 797705"/>
              <a:gd name="connsiteX148" fmla="*/ 464962 w 829568"/>
              <a:gd name="connsiteY148" fmla="*/ 631687 h 797705"/>
              <a:gd name="connsiteX149" fmla="*/ 451300 w 829568"/>
              <a:gd name="connsiteY149" fmla="*/ 624869 h 797705"/>
              <a:gd name="connsiteX150" fmla="*/ 423977 w 829568"/>
              <a:gd name="connsiteY150" fmla="*/ 638506 h 797705"/>
              <a:gd name="connsiteX151" fmla="*/ 414870 w 829568"/>
              <a:gd name="connsiteY151" fmla="*/ 643051 h 797705"/>
              <a:gd name="connsiteX152" fmla="*/ 398931 w 829568"/>
              <a:gd name="connsiteY152" fmla="*/ 645324 h 797705"/>
              <a:gd name="connsiteX153" fmla="*/ 394378 w 829568"/>
              <a:gd name="connsiteY153" fmla="*/ 652142 h 797705"/>
              <a:gd name="connsiteX154" fmla="*/ 373885 w 829568"/>
              <a:gd name="connsiteY154" fmla="*/ 654415 h 797705"/>
              <a:gd name="connsiteX155" fmla="*/ 353393 w 829568"/>
              <a:gd name="connsiteY155" fmla="*/ 661233 h 797705"/>
              <a:gd name="connsiteX156" fmla="*/ 344285 w 829568"/>
              <a:gd name="connsiteY156" fmla="*/ 683960 h 797705"/>
              <a:gd name="connsiteX157" fmla="*/ 346559 w 829568"/>
              <a:gd name="connsiteY157" fmla="*/ 695305 h 797705"/>
              <a:gd name="connsiteX158" fmla="*/ 346890 w 829568"/>
              <a:gd name="connsiteY158" fmla="*/ 695371 h 797705"/>
              <a:gd name="connsiteX159" fmla="*/ 349169 w 829568"/>
              <a:gd name="connsiteY159" fmla="*/ 697639 h 797705"/>
              <a:gd name="connsiteX160" fmla="*/ 349169 w 829568"/>
              <a:gd name="connsiteY160" fmla="*/ 708981 h 797705"/>
              <a:gd name="connsiteX161" fmla="*/ 349169 w 829568"/>
              <a:gd name="connsiteY161" fmla="*/ 713518 h 797705"/>
              <a:gd name="connsiteX162" fmla="*/ 346890 w 829568"/>
              <a:gd name="connsiteY162" fmla="*/ 724861 h 797705"/>
              <a:gd name="connsiteX163" fmla="*/ 340053 w 829568"/>
              <a:gd name="connsiteY163" fmla="*/ 722592 h 797705"/>
              <a:gd name="connsiteX164" fmla="*/ 317264 w 829568"/>
              <a:gd name="connsiteY164" fmla="*/ 720324 h 797705"/>
              <a:gd name="connsiteX165" fmla="*/ 312706 w 829568"/>
              <a:gd name="connsiteY165" fmla="*/ 718055 h 797705"/>
              <a:gd name="connsiteX166" fmla="*/ 303590 w 829568"/>
              <a:gd name="connsiteY166" fmla="*/ 724861 h 797705"/>
              <a:gd name="connsiteX167" fmla="*/ 294474 w 829568"/>
              <a:gd name="connsiteY167" fmla="*/ 731666 h 797705"/>
              <a:gd name="connsiteX168" fmla="*/ 289916 w 829568"/>
              <a:gd name="connsiteY168" fmla="*/ 738471 h 797705"/>
              <a:gd name="connsiteX169" fmla="*/ 289916 w 829568"/>
              <a:gd name="connsiteY169" fmla="*/ 752082 h 797705"/>
              <a:gd name="connsiteX170" fmla="*/ 280800 w 829568"/>
              <a:gd name="connsiteY170" fmla="*/ 740740 h 797705"/>
              <a:gd name="connsiteX171" fmla="*/ 278521 w 829568"/>
              <a:gd name="connsiteY171" fmla="*/ 738471 h 797705"/>
              <a:gd name="connsiteX172" fmla="*/ 278521 w 829568"/>
              <a:gd name="connsiteY172" fmla="*/ 743008 h 797705"/>
              <a:gd name="connsiteX173" fmla="*/ 276242 w 829568"/>
              <a:gd name="connsiteY173" fmla="*/ 749814 h 797705"/>
              <a:gd name="connsiteX174" fmla="*/ 269405 w 829568"/>
              <a:gd name="connsiteY174" fmla="*/ 761156 h 797705"/>
              <a:gd name="connsiteX175" fmla="*/ 232942 w 829568"/>
              <a:gd name="connsiteY175" fmla="*/ 749814 h 797705"/>
              <a:gd name="connsiteX176" fmla="*/ 230663 w 829568"/>
              <a:gd name="connsiteY176" fmla="*/ 754351 h 797705"/>
              <a:gd name="connsiteX177" fmla="*/ 203316 w 829568"/>
              <a:gd name="connsiteY177" fmla="*/ 754351 h 797705"/>
              <a:gd name="connsiteX178" fmla="*/ 180526 w 829568"/>
              <a:gd name="connsiteY178" fmla="*/ 761156 h 797705"/>
              <a:gd name="connsiteX179" fmla="*/ 169131 w 829568"/>
              <a:gd name="connsiteY179" fmla="*/ 767961 h 797705"/>
              <a:gd name="connsiteX180" fmla="*/ 157736 w 829568"/>
              <a:gd name="connsiteY180" fmla="*/ 783841 h 797705"/>
              <a:gd name="connsiteX181" fmla="*/ 137226 w 829568"/>
              <a:gd name="connsiteY181" fmla="*/ 797451 h 797705"/>
              <a:gd name="connsiteX182" fmla="*/ 128110 w 829568"/>
              <a:gd name="connsiteY182" fmla="*/ 786109 h 797705"/>
              <a:gd name="connsiteX183" fmla="*/ 121273 w 829568"/>
              <a:gd name="connsiteY183" fmla="*/ 792914 h 797705"/>
              <a:gd name="connsiteX184" fmla="*/ 93925 w 829568"/>
              <a:gd name="connsiteY184" fmla="*/ 790646 h 797705"/>
              <a:gd name="connsiteX185" fmla="*/ 68857 w 829568"/>
              <a:gd name="connsiteY185" fmla="*/ 790646 h 797705"/>
              <a:gd name="connsiteX186" fmla="*/ 57462 w 829568"/>
              <a:gd name="connsiteY186" fmla="*/ 792914 h 797705"/>
              <a:gd name="connsiteX187" fmla="*/ 46067 w 829568"/>
              <a:gd name="connsiteY187" fmla="*/ 788377 h 797705"/>
              <a:gd name="connsiteX188" fmla="*/ 25556 w 829568"/>
              <a:gd name="connsiteY188" fmla="*/ 786109 h 797705"/>
              <a:gd name="connsiteX189" fmla="*/ 25556 w 829568"/>
              <a:gd name="connsiteY189" fmla="*/ 783841 h 797705"/>
              <a:gd name="connsiteX190" fmla="*/ 27835 w 829568"/>
              <a:gd name="connsiteY190" fmla="*/ 777035 h 797705"/>
              <a:gd name="connsiteX191" fmla="*/ 25556 w 829568"/>
              <a:gd name="connsiteY191" fmla="*/ 774767 h 797705"/>
              <a:gd name="connsiteX192" fmla="*/ 43788 w 829568"/>
              <a:gd name="connsiteY192" fmla="*/ 770230 h 797705"/>
              <a:gd name="connsiteX193" fmla="*/ 48346 w 829568"/>
              <a:gd name="connsiteY193" fmla="*/ 699908 h 797705"/>
              <a:gd name="connsiteX194" fmla="*/ 5046 w 829568"/>
              <a:gd name="connsiteY194" fmla="*/ 670418 h 797705"/>
              <a:gd name="connsiteX195" fmla="*/ 30114 w 829568"/>
              <a:gd name="connsiteY195" fmla="*/ 615975 h 797705"/>
              <a:gd name="connsiteX196" fmla="*/ 41509 w 829568"/>
              <a:gd name="connsiteY196" fmla="*/ 600095 h 797705"/>
              <a:gd name="connsiteX197" fmla="*/ 34672 w 829568"/>
              <a:gd name="connsiteY197" fmla="*/ 581948 h 797705"/>
              <a:gd name="connsiteX198" fmla="*/ 41509 w 829568"/>
              <a:gd name="connsiteY198" fmla="*/ 554726 h 797705"/>
              <a:gd name="connsiteX199" fmla="*/ 16441 w 829568"/>
              <a:gd name="connsiteY199" fmla="*/ 543384 h 797705"/>
              <a:gd name="connsiteX200" fmla="*/ 34672 w 829568"/>
              <a:gd name="connsiteY200" fmla="*/ 541115 h 797705"/>
              <a:gd name="connsiteX201" fmla="*/ 41498 w 829568"/>
              <a:gd name="connsiteY201" fmla="*/ 541115 h 797705"/>
              <a:gd name="connsiteX202" fmla="*/ 39341 w 829568"/>
              <a:gd name="connsiteY202" fmla="*/ 528176 h 797705"/>
              <a:gd name="connsiteX203" fmla="*/ 86966 w 829568"/>
              <a:gd name="connsiteY203" fmla="*/ 494839 h 797705"/>
              <a:gd name="connsiteX204" fmla="*/ 65409 w 829568"/>
              <a:gd name="connsiteY204" fmla="*/ 464300 h 797705"/>
              <a:gd name="connsiteX205" fmla="*/ 62429 w 829568"/>
              <a:gd name="connsiteY205" fmla="*/ 465726 h 797705"/>
              <a:gd name="connsiteX206" fmla="*/ 62429 w 829568"/>
              <a:gd name="connsiteY206" fmla="*/ 467991 h 797705"/>
              <a:gd name="connsiteX207" fmla="*/ 57874 w 829568"/>
              <a:gd name="connsiteY207" fmla="*/ 470256 h 797705"/>
              <a:gd name="connsiteX208" fmla="*/ 48763 w 829568"/>
              <a:gd name="connsiteY208" fmla="*/ 472522 h 797705"/>
              <a:gd name="connsiteX209" fmla="*/ 35096 w 829568"/>
              <a:gd name="connsiteY209" fmla="*/ 467991 h 797705"/>
              <a:gd name="connsiteX210" fmla="*/ 32818 w 829568"/>
              <a:gd name="connsiteY210" fmla="*/ 449871 h 797705"/>
              <a:gd name="connsiteX211" fmla="*/ 55596 w 829568"/>
              <a:gd name="connsiteY211" fmla="*/ 418160 h 797705"/>
              <a:gd name="connsiteX212" fmla="*/ 55596 w 829568"/>
              <a:gd name="connsiteY212" fmla="*/ 404569 h 797705"/>
              <a:gd name="connsiteX213" fmla="*/ 48763 w 829568"/>
              <a:gd name="connsiteY213" fmla="*/ 372858 h 797705"/>
              <a:gd name="connsiteX214" fmla="*/ 41929 w 829568"/>
              <a:gd name="connsiteY214" fmla="*/ 354737 h 797705"/>
              <a:gd name="connsiteX215" fmla="*/ 41929 w 829568"/>
              <a:gd name="connsiteY215" fmla="*/ 320761 h 797705"/>
              <a:gd name="connsiteX216" fmla="*/ 41929 w 829568"/>
              <a:gd name="connsiteY216" fmla="*/ 300375 h 797705"/>
              <a:gd name="connsiteX217" fmla="*/ 44207 w 829568"/>
              <a:gd name="connsiteY217" fmla="*/ 302640 h 797705"/>
              <a:gd name="connsiteX218" fmla="*/ 57934 w 829568"/>
              <a:gd name="connsiteY218" fmla="*/ 312196 h 797705"/>
              <a:gd name="connsiteX219" fmla="*/ 58242 w 829568"/>
              <a:gd name="connsiteY219" fmla="*/ 311394 h 797705"/>
              <a:gd name="connsiteX220" fmla="*/ 56256 w 829568"/>
              <a:gd name="connsiteY220" fmla="*/ 310012 h 797705"/>
              <a:gd name="connsiteX221" fmla="*/ 44300 w 829568"/>
              <a:gd name="connsiteY221" fmla="*/ 302367 h 797705"/>
              <a:gd name="connsiteX222" fmla="*/ 42022 w 829568"/>
              <a:gd name="connsiteY222" fmla="*/ 300102 h 797705"/>
              <a:gd name="connsiteX223" fmla="*/ 44300 w 829568"/>
              <a:gd name="connsiteY223" fmla="*/ 291042 h 797705"/>
              <a:gd name="connsiteX224" fmla="*/ 78462 w 829568"/>
              <a:gd name="connsiteY224" fmla="*/ 259331 h 797705"/>
              <a:gd name="connsiteX225" fmla="*/ 92126 w 829568"/>
              <a:gd name="connsiteY225" fmla="*/ 232149 h 797705"/>
              <a:gd name="connsiteX226" fmla="*/ 114901 w 829568"/>
              <a:gd name="connsiteY226" fmla="*/ 211764 h 797705"/>
              <a:gd name="connsiteX227" fmla="*/ 108638 w 829568"/>
              <a:gd name="connsiteY227" fmla="*/ 204968 h 797705"/>
              <a:gd name="connsiteX228" fmla="*/ 92261 w 829568"/>
              <a:gd name="connsiteY228" fmla="*/ 198228 h 797705"/>
              <a:gd name="connsiteX229" fmla="*/ 91806 w 829568"/>
              <a:gd name="connsiteY229" fmla="*/ 198355 h 797705"/>
              <a:gd name="connsiteX230" fmla="*/ 84968 w 829568"/>
              <a:gd name="connsiteY230" fmla="*/ 193807 h 797705"/>
              <a:gd name="connsiteX231" fmla="*/ 94086 w 829568"/>
              <a:gd name="connsiteY231" fmla="*/ 155145 h 797705"/>
              <a:gd name="connsiteX232" fmla="*/ 135114 w 829568"/>
              <a:gd name="connsiteY232" fmla="*/ 127854 h 797705"/>
              <a:gd name="connsiteX233" fmla="*/ 160186 w 829568"/>
              <a:gd name="connsiteY233" fmla="*/ 134677 h 797705"/>
              <a:gd name="connsiteX234" fmla="*/ 160186 w 829568"/>
              <a:gd name="connsiteY234" fmla="*/ 109660 h 797705"/>
              <a:gd name="connsiteX235" fmla="*/ 187538 w 829568"/>
              <a:gd name="connsiteY235" fmla="*/ 82369 h 797705"/>
              <a:gd name="connsiteX236" fmla="*/ 187538 w 829568"/>
              <a:gd name="connsiteY236" fmla="*/ 48256 h 797705"/>
              <a:gd name="connsiteX237" fmla="*/ 190103 w 829568"/>
              <a:gd name="connsiteY237"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70418 w 829568"/>
              <a:gd name="connsiteY8" fmla="*/ 255212 h 797705"/>
              <a:gd name="connsiteX9" fmla="*/ 568829 w 829568"/>
              <a:gd name="connsiteY9" fmla="*/ 260444 h 797705"/>
              <a:gd name="connsiteX10" fmla="*/ 569816 w 829568"/>
              <a:gd name="connsiteY10" fmla="*/ 261219 h 797705"/>
              <a:gd name="connsiteX11" fmla="*/ 570418 w 829568"/>
              <a:gd name="connsiteY11" fmla="*/ 255212 h 797705"/>
              <a:gd name="connsiteX12" fmla="*/ 561350 w 829568"/>
              <a:gd name="connsiteY12" fmla="*/ 243680 h 797705"/>
              <a:gd name="connsiteX13" fmla="*/ 563631 w 829568"/>
              <a:gd name="connsiteY13" fmla="*/ 245950 h 797705"/>
              <a:gd name="connsiteX14" fmla="*/ 563632 w 829568"/>
              <a:gd name="connsiteY14" fmla="*/ 245962 h 797705"/>
              <a:gd name="connsiteX15" fmla="*/ 561350 w 829568"/>
              <a:gd name="connsiteY15" fmla="*/ 243680 h 797705"/>
              <a:gd name="connsiteX16" fmla="*/ 190103 w 829568"/>
              <a:gd name="connsiteY16" fmla="*/ 284 h 797705"/>
              <a:gd name="connsiteX17" fmla="*/ 208052 w 829568"/>
              <a:gd name="connsiteY17" fmla="*/ 7319 h 797705"/>
              <a:gd name="connsiteX18" fmla="*/ 244522 w 829568"/>
              <a:gd name="connsiteY18" fmla="*/ 16416 h 797705"/>
              <a:gd name="connsiteX19" fmla="*/ 269594 w 829568"/>
              <a:gd name="connsiteY19" fmla="*/ 36884 h 797705"/>
              <a:gd name="connsiteX20" fmla="*/ 303784 w 829568"/>
              <a:gd name="connsiteY20" fmla="*/ 59627 h 797705"/>
              <a:gd name="connsiteX21" fmla="*/ 317460 w 829568"/>
              <a:gd name="connsiteY21" fmla="*/ 89192 h 797705"/>
              <a:gd name="connsiteX22" fmla="*/ 353930 w 829568"/>
              <a:gd name="connsiteY22" fmla="*/ 73272 h 797705"/>
              <a:gd name="connsiteX23" fmla="*/ 399516 w 829568"/>
              <a:gd name="connsiteY23" fmla="*/ 82369 h 797705"/>
              <a:gd name="connsiteX24" fmla="*/ 417751 w 829568"/>
              <a:gd name="connsiteY24" fmla="*/ 77821 h 797705"/>
              <a:gd name="connsiteX25" fmla="*/ 438265 w 829568"/>
              <a:gd name="connsiteY25" fmla="*/ 64175 h 797705"/>
              <a:gd name="connsiteX26" fmla="*/ 472455 w 829568"/>
              <a:gd name="connsiteY26" fmla="*/ 73272 h 797705"/>
              <a:gd name="connsiteX27" fmla="*/ 486131 w 829568"/>
              <a:gd name="connsiteY27" fmla="*/ 82369 h 797705"/>
              <a:gd name="connsiteX28" fmla="*/ 490690 w 829568"/>
              <a:gd name="connsiteY28" fmla="*/ 132402 h 797705"/>
              <a:gd name="connsiteX29" fmla="*/ 495248 w 829568"/>
              <a:gd name="connsiteY29" fmla="*/ 196081 h 797705"/>
              <a:gd name="connsiteX30" fmla="*/ 495248 w 829568"/>
              <a:gd name="connsiteY30" fmla="*/ 214275 h 797705"/>
              <a:gd name="connsiteX31" fmla="*/ 495067 w 829568"/>
              <a:gd name="connsiteY31" fmla="*/ 214233 h 797705"/>
              <a:gd name="connsiteX32" fmla="*/ 497146 w 829568"/>
              <a:gd name="connsiteY32" fmla="*/ 220449 h 797705"/>
              <a:gd name="connsiteX33" fmla="*/ 508530 w 829568"/>
              <a:gd name="connsiteY33" fmla="*/ 224986 h 797705"/>
              <a:gd name="connsiteX34" fmla="*/ 524467 w 829568"/>
              <a:gd name="connsiteY34" fmla="*/ 238598 h 797705"/>
              <a:gd name="connsiteX35" fmla="*/ 556340 w 829568"/>
              <a:gd name="connsiteY35" fmla="*/ 234060 h 797705"/>
              <a:gd name="connsiteX36" fmla="*/ 560894 w 829568"/>
              <a:gd name="connsiteY36" fmla="*/ 243135 h 797705"/>
              <a:gd name="connsiteX37" fmla="*/ 563170 w 829568"/>
              <a:gd name="connsiteY37" fmla="*/ 247672 h 797705"/>
              <a:gd name="connsiteX38" fmla="*/ 564024 w 829568"/>
              <a:gd name="connsiteY38" fmla="*/ 255045 h 797705"/>
              <a:gd name="connsiteX39" fmla="*/ 563903 w 829568"/>
              <a:gd name="connsiteY39" fmla="*/ 256574 h 797705"/>
              <a:gd name="connsiteX40" fmla="*/ 564418 w 829568"/>
              <a:gd name="connsiteY40" fmla="*/ 256978 h 797705"/>
              <a:gd name="connsiteX41" fmla="*/ 564486 w 829568"/>
              <a:gd name="connsiteY41" fmla="*/ 256164 h 797705"/>
              <a:gd name="connsiteX42" fmla="*/ 563684 w 829568"/>
              <a:gd name="connsiteY42" fmla="*/ 246583 h 797705"/>
              <a:gd name="connsiteX43" fmla="*/ 570440 w 829568"/>
              <a:gd name="connsiteY43" fmla="*/ 254988 h 797705"/>
              <a:gd name="connsiteX44" fmla="*/ 570445 w 829568"/>
              <a:gd name="connsiteY44" fmla="*/ 254942 h 797705"/>
              <a:gd name="connsiteX45" fmla="*/ 572718 w 829568"/>
              <a:gd name="connsiteY45" fmla="*/ 257210 h 797705"/>
              <a:gd name="connsiteX46" fmla="*/ 574113 w 829568"/>
              <a:gd name="connsiteY46" fmla="*/ 256872 h 797705"/>
              <a:gd name="connsiteX47" fmla="*/ 567290 w 829568"/>
              <a:gd name="connsiteY47" fmla="*/ 250109 h 797705"/>
              <a:gd name="connsiteX48" fmla="*/ 563684 w 829568"/>
              <a:gd name="connsiteY48" fmla="*/ 246583 h 797705"/>
              <a:gd name="connsiteX49" fmla="*/ 563632 w 829568"/>
              <a:gd name="connsiteY49" fmla="*/ 245962 h 797705"/>
              <a:gd name="connsiteX50" fmla="*/ 574458 w 829568"/>
              <a:gd name="connsiteY50" fmla="*/ 256788 h 797705"/>
              <a:gd name="connsiteX51" fmla="*/ 583230 w 829568"/>
              <a:gd name="connsiteY51" fmla="*/ 254659 h 797705"/>
              <a:gd name="connsiteX52" fmla="*/ 595448 w 829568"/>
              <a:gd name="connsiteY52" fmla="*/ 250406 h 797705"/>
              <a:gd name="connsiteX53" fmla="*/ 624997 w 829568"/>
              <a:gd name="connsiteY53" fmla="*/ 282159 h 797705"/>
              <a:gd name="connsiteX54" fmla="*/ 637214 w 829568"/>
              <a:gd name="connsiteY54" fmla="*/ 311928 h 797705"/>
              <a:gd name="connsiteX55" fmla="*/ 636731 w 829568"/>
              <a:gd name="connsiteY55" fmla="*/ 319061 h 797705"/>
              <a:gd name="connsiteX56" fmla="*/ 652790 w 829568"/>
              <a:gd name="connsiteY56" fmla="*/ 335120 h 797705"/>
              <a:gd name="connsiteX57" fmla="*/ 638758 w 829568"/>
              <a:gd name="connsiteY57" fmla="*/ 321150 h 797705"/>
              <a:gd name="connsiteX58" fmla="*/ 636727 w 829568"/>
              <a:gd name="connsiteY58" fmla="*/ 319129 h 797705"/>
              <a:gd name="connsiteX59" fmla="*/ 636185 w 829568"/>
              <a:gd name="connsiteY59" fmla="*/ 327131 h 797705"/>
              <a:gd name="connsiteX60" fmla="*/ 640908 w 829568"/>
              <a:gd name="connsiteY60" fmla="*/ 343397 h 797705"/>
              <a:gd name="connsiteX61" fmla="*/ 656819 w 829568"/>
              <a:gd name="connsiteY61" fmla="*/ 329788 h 797705"/>
              <a:gd name="connsiteX62" fmla="*/ 672730 w 829568"/>
              <a:gd name="connsiteY62" fmla="*/ 347933 h 797705"/>
              <a:gd name="connsiteX63" fmla="*/ 679549 w 829568"/>
              <a:gd name="connsiteY63" fmla="*/ 366077 h 797705"/>
              <a:gd name="connsiteX64" fmla="*/ 686368 w 829568"/>
              <a:gd name="connsiteY64" fmla="*/ 418243 h 797705"/>
              <a:gd name="connsiteX65" fmla="*/ 736375 w 829568"/>
              <a:gd name="connsiteY65" fmla="*/ 413707 h 797705"/>
              <a:gd name="connsiteX66" fmla="*/ 756832 w 829568"/>
              <a:gd name="connsiteY66" fmla="*/ 420511 h 797705"/>
              <a:gd name="connsiteX67" fmla="*/ 765924 w 829568"/>
              <a:gd name="connsiteY67" fmla="*/ 406903 h 797705"/>
              <a:gd name="connsiteX68" fmla="*/ 829568 w 829568"/>
              <a:gd name="connsiteY68" fmla="*/ 397830 h 797705"/>
              <a:gd name="connsiteX69" fmla="*/ 829568 w 829568"/>
              <a:gd name="connsiteY69" fmla="*/ 413707 h 797705"/>
              <a:gd name="connsiteX70" fmla="*/ 827295 w 829568"/>
              <a:gd name="connsiteY70" fmla="*/ 422779 h 797705"/>
              <a:gd name="connsiteX71" fmla="*/ 822749 w 829568"/>
              <a:gd name="connsiteY71" fmla="*/ 427315 h 797705"/>
              <a:gd name="connsiteX72" fmla="*/ 815930 w 829568"/>
              <a:gd name="connsiteY72" fmla="*/ 427315 h 797705"/>
              <a:gd name="connsiteX73" fmla="*/ 809111 w 829568"/>
              <a:gd name="connsiteY73" fmla="*/ 443192 h 797705"/>
              <a:gd name="connsiteX74" fmla="*/ 802292 w 829568"/>
              <a:gd name="connsiteY74" fmla="*/ 452264 h 797705"/>
              <a:gd name="connsiteX75" fmla="*/ 800019 w 829568"/>
              <a:gd name="connsiteY75" fmla="*/ 459068 h 797705"/>
              <a:gd name="connsiteX76" fmla="*/ 800019 w 829568"/>
              <a:gd name="connsiteY76" fmla="*/ 470408 h 797705"/>
              <a:gd name="connsiteX77" fmla="*/ 800019 w 829568"/>
              <a:gd name="connsiteY77" fmla="*/ 481749 h 797705"/>
              <a:gd name="connsiteX78" fmla="*/ 784108 w 829568"/>
              <a:gd name="connsiteY78" fmla="*/ 477212 h 797705"/>
              <a:gd name="connsiteX79" fmla="*/ 777289 w 829568"/>
              <a:gd name="connsiteY79" fmla="*/ 477212 h 797705"/>
              <a:gd name="connsiteX80" fmla="*/ 770470 w 829568"/>
              <a:gd name="connsiteY80" fmla="*/ 481749 h 797705"/>
              <a:gd name="connsiteX81" fmla="*/ 768197 w 829568"/>
              <a:gd name="connsiteY81" fmla="*/ 488553 h 797705"/>
              <a:gd name="connsiteX82" fmla="*/ 750013 w 829568"/>
              <a:gd name="connsiteY82" fmla="*/ 497625 h 797705"/>
              <a:gd name="connsiteX83" fmla="*/ 745467 w 829568"/>
              <a:gd name="connsiteY83" fmla="*/ 490821 h 797705"/>
              <a:gd name="connsiteX84" fmla="*/ 740921 w 829568"/>
              <a:gd name="connsiteY84" fmla="*/ 493089 h 797705"/>
              <a:gd name="connsiteX85" fmla="*/ 738648 w 829568"/>
              <a:gd name="connsiteY85" fmla="*/ 499893 h 797705"/>
              <a:gd name="connsiteX86" fmla="*/ 738648 w 829568"/>
              <a:gd name="connsiteY86" fmla="*/ 502161 h 797705"/>
              <a:gd name="connsiteX87" fmla="*/ 725010 w 829568"/>
              <a:gd name="connsiteY87" fmla="*/ 504429 h 797705"/>
              <a:gd name="connsiteX88" fmla="*/ 715918 w 829568"/>
              <a:gd name="connsiteY88" fmla="*/ 508965 h 797705"/>
              <a:gd name="connsiteX89" fmla="*/ 715918 w 829568"/>
              <a:gd name="connsiteY89" fmla="*/ 520306 h 797705"/>
              <a:gd name="connsiteX90" fmla="*/ 713645 w 829568"/>
              <a:gd name="connsiteY90" fmla="*/ 522574 h 797705"/>
              <a:gd name="connsiteX91" fmla="*/ 693188 w 829568"/>
              <a:gd name="connsiteY91" fmla="*/ 527110 h 797705"/>
              <a:gd name="connsiteX92" fmla="*/ 677276 w 829568"/>
              <a:gd name="connsiteY92" fmla="*/ 531646 h 797705"/>
              <a:gd name="connsiteX93" fmla="*/ 668184 w 829568"/>
              <a:gd name="connsiteY93" fmla="*/ 527110 h 797705"/>
              <a:gd name="connsiteX94" fmla="*/ 665911 w 829568"/>
              <a:gd name="connsiteY94" fmla="*/ 529378 h 797705"/>
              <a:gd name="connsiteX95" fmla="*/ 665911 w 829568"/>
              <a:gd name="connsiteY95" fmla="*/ 538450 h 797705"/>
              <a:gd name="connsiteX96" fmla="*/ 659092 w 829568"/>
              <a:gd name="connsiteY96" fmla="*/ 540718 h 797705"/>
              <a:gd name="connsiteX97" fmla="*/ 659092 w 829568"/>
              <a:gd name="connsiteY97" fmla="*/ 545254 h 797705"/>
              <a:gd name="connsiteX98" fmla="*/ 659092 w 829568"/>
              <a:gd name="connsiteY98" fmla="*/ 556595 h 797705"/>
              <a:gd name="connsiteX99" fmla="*/ 656819 w 829568"/>
              <a:gd name="connsiteY99" fmla="*/ 561131 h 797705"/>
              <a:gd name="connsiteX100" fmla="*/ 652273 w 829568"/>
              <a:gd name="connsiteY100" fmla="*/ 561131 h 797705"/>
              <a:gd name="connsiteX101" fmla="*/ 650000 w 829568"/>
              <a:gd name="connsiteY101" fmla="*/ 561131 h 797705"/>
              <a:gd name="connsiteX102" fmla="*/ 618178 w 829568"/>
              <a:gd name="connsiteY102" fmla="*/ 552058 h 797705"/>
              <a:gd name="connsiteX103" fmla="*/ 618178 w 829568"/>
              <a:gd name="connsiteY103" fmla="*/ 549790 h 797705"/>
              <a:gd name="connsiteX104" fmla="*/ 609086 w 829568"/>
              <a:gd name="connsiteY104" fmla="*/ 542986 h 797705"/>
              <a:gd name="connsiteX105" fmla="*/ 599994 w 829568"/>
              <a:gd name="connsiteY105" fmla="*/ 547522 h 797705"/>
              <a:gd name="connsiteX106" fmla="*/ 590902 w 829568"/>
              <a:gd name="connsiteY106" fmla="*/ 554327 h 797705"/>
              <a:gd name="connsiteX107" fmla="*/ 579537 w 829568"/>
              <a:gd name="connsiteY107" fmla="*/ 563399 h 797705"/>
              <a:gd name="connsiteX108" fmla="*/ 574991 w 829568"/>
              <a:gd name="connsiteY108" fmla="*/ 556595 h 797705"/>
              <a:gd name="connsiteX109" fmla="*/ 570445 w 829568"/>
              <a:gd name="connsiteY109" fmla="*/ 558863 h 797705"/>
              <a:gd name="connsiteX110" fmla="*/ 568172 w 829568"/>
              <a:gd name="connsiteY110" fmla="*/ 563399 h 797705"/>
              <a:gd name="connsiteX111" fmla="*/ 568172 w 829568"/>
              <a:gd name="connsiteY111" fmla="*/ 565667 h 797705"/>
              <a:gd name="connsiteX112" fmla="*/ 568172 w 829568"/>
              <a:gd name="connsiteY112" fmla="*/ 570203 h 797705"/>
              <a:gd name="connsiteX113" fmla="*/ 565899 w 829568"/>
              <a:gd name="connsiteY113" fmla="*/ 572471 h 797705"/>
              <a:gd name="connsiteX114" fmla="*/ 565899 w 829568"/>
              <a:gd name="connsiteY114" fmla="*/ 574739 h 797705"/>
              <a:gd name="connsiteX115" fmla="*/ 581810 w 829568"/>
              <a:gd name="connsiteY115" fmla="*/ 581543 h 797705"/>
              <a:gd name="connsiteX116" fmla="*/ 586356 w 829568"/>
              <a:gd name="connsiteY116" fmla="*/ 586079 h 797705"/>
              <a:gd name="connsiteX117" fmla="*/ 590902 w 829568"/>
              <a:gd name="connsiteY117" fmla="*/ 579275 h 797705"/>
              <a:gd name="connsiteX118" fmla="*/ 597721 w 829568"/>
              <a:gd name="connsiteY118" fmla="*/ 583811 h 797705"/>
              <a:gd name="connsiteX119" fmla="*/ 599994 w 829568"/>
              <a:gd name="connsiteY119" fmla="*/ 579275 h 797705"/>
              <a:gd name="connsiteX120" fmla="*/ 606813 w 829568"/>
              <a:gd name="connsiteY120" fmla="*/ 588347 h 797705"/>
              <a:gd name="connsiteX121" fmla="*/ 606813 w 829568"/>
              <a:gd name="connsiteY121" fmla="*/ 590616 h 797705"/>
              <a:gd name="connsiteX122" fmla="*/ 602267 w 829568"/>
              <a:gd name="connsiteY122" fmla="*/ 601956 h 797705"/>
              <a:gd name="connsiteX123" fmla="*/ 604540 w 829568"/>
              <a:gd name="connsiteY123" fmla="*/ 606492 h 797705"/>
              <a:gd name="connsiteX124" fmla="*/ 609086 w 829568"/>
              <a:gd name="connsiteY124" fmla="*/ 611028 h 797705"/>
              <a:gd name="connsiteX125" fmla="*/ 606813 w 829568"/>
              <a:gd name="connsiteY125" fmla="*/ 613296 h 797705"/>
              <a:gd name="connsiteX126" fmla="*/ 588629 w 829568"/>
              <a:gd name="connsiteY126" fmla="*/ 613296 h 797705"/>
              <a:gd name="connsiteX127" fmla="*/ 572718 w 829568"/>
              <a:gd name="connsiteY127" fmla="*/ 597420 h 797705"/>
              <a:gd name="connsiteX128" fmla="*/ 568172 w 829568"/>
              <a:gd name="connsiteY128" fmla="*/ 606492 h 797705"/>
              <a:gd name="connsiteX129" fmla="*/ 561353 w 829568"/>
              <a:gd name="connsiteY129" fmla="*/ 597420 h 797705"/>
              <a:gd name="connsiteX130" fmla="*/ 556807 w 829568"/>
              <a:gd name="connsiteY130" fmla="*/ 592884 h 797705"/>
              <a:gd name="connsiteX131" fmla="*/ 540896 w 829568"/>
              <a:gd name="connsiteY131" fmla="*/ 570203 h 797705"/>
              <a:gd name="connsiteX132" fmla="*/ 529530 w 829568"/>
              <a:gd name="connsiteY132" fmla="*/ 565667 h 797705"/>
              <a:gd name="connsiteX133" fmla="*/ 518165 w 829568"/>
              <a:gd name="connsiteY133" fmla="*/ 572471 h 797705"/>
              <a:gd name="connsiteX134" fmla="*/ 509073 w 829568"/>
              <a:gd name="connsiteY134" fmla="*/ 577007 h 797705"/>
              <a:gd name="connsiteX135" fmla="*/ 506800 w 829568"/>
              <a:gd name="connsiteY135" fmla="*/ 574739 h 797705"/>
              <a:gd name="connsiteX136" fmla="*/ 504527 w 829568"/>
              <a:gd name="connsiteY136" fmla="*/ 574739 h 797705"/>
              <a:gd name="connsiteX137" fmla="*/ 504527 w 829568"/>
              <a:gd name="connsiteY137" fmla="*/ 570324 h 797705"/>
              <a:gd name="connsiteX138" fmla="*/ 503669 w 829568"/>
              <a:gd name="connsiteY138" fmla="*/ 570324 h 797705"/>
              <a:gd name="connsiteX139" fmla="*/ 503669 w 829568"/>
              <a:gd name="connsiteY139" fmla="*/ 574870 h 797705"/>
              <a:gd name="connsiteX140" fmla="*/ 505946 w 829568"/>
              <a:gd name="connsiteY140" fmla="*/ 577143 h 797705"/>
              <a:gd name="connsiteX141" fmla="*/ 505946 w 829568"/>
              <a:gd name="connsiteY141" fmla="*/ 579415 h 797705"/>
              <a:gd name="connsiteX142" fmla="*/ 505946 w 829568"/>
              <a:gd name="connsiteY142" fmla="*/ 581688 h 797705"/>
              <a:gd name="connsiteX143" fmla="*/ 496839 w 829568"/>
              <a:gd name="connsiteY143" fmla="*/ 590779 h 797705"/>
              <a:gd name="connsiteX144" fmla="*/ 496839 w 829568"/>
              <a:gd name="connsiteY144" fmla="*/ 595324 h 797705"/>
              <a:gd name="connsiteX145" fmla="*/ 501392 w 829568"/>
              <a:gd name="connsiteY145" fmla="*/ 599870 h 797705"/>
              <a:gd name="connsiteX146" fmla="*/ 510500 w 829568"/>
              <a:gd name="connsiteY146" fmla="*/ 608960 h 797705"/>
              <a:gd name="connsiteX147" fmla="*/ 508223 w 829568"/>
              <a:gd name="connsiteY147" fmla="*/ 613506 h 797705"/>
              <a:gd name="connsiteX148" fmla="*/ 508223 w 829568"/>
              <a:gd name="connsiteY148" fmla="*/ 618051 h 797705"/>
              <a:gd name="connsiteX149" fmla="*/ 490008 w 829568"/>
              <a:gd name="connsiteY149" fmla="*/ 640778 h 797705"/>
              <a:gd name="connsiteX150" fmla="*/ 464962 w 829568"/>
              <a:gd name="connsiteY150" fmla="*/ 631687 h 797705"/>
              <a:gd name="connsiteX151" fmla="*/ 451300 w 829568"/>
              <a:gd name="connsiteY151" fmla="*/ 624869 h 797705"/>
              <a:gd name="connsiteX152" fmla="*/ 423977 w 829568"/>
              <a:gd name="connsiteY152" fmla="*/ 638506 h 797705"/>
              <a:gd name="connsiteX153" fmla="*/ 414870 w 829568"/>
              <a:gd name="connsiteY153" fmla="*/ 643051 h 797705"/>
              <a:gd name="connsiteX154" fmla="*/ 398931 w 829568"/>
              <a:gd name="connsiteY154" fmla="*/ 645324 h 797705"/>
              <a:gd name="connsiteX155" fmla="*/ 394378 w 829568"/>
              <a:gd name="connsiteY155" fmla="*/ 652142 h 797705"/>
              <a:gd name="connsiteX156" fmla="*/ 373885 w 829568"/>
              <a:gd name="connsiteY156" fmla="*/ 654415 h 797705"/>
              <a:gd name="connsiteX157" fmla="*/ 353393 w 829568"/>
              <a:gd name="connsiteY157" fmla="*/ 661233 h 797705"/>
              <a:gd name="connsiteX158" fmla="*/ 344285 w 829568"/>
              <a:gd name="connsiteY158" fmla="*/ 683960 h 797705"/>
              <a:gd name="connsiteX159" fmla="*/ 346559 w 829568"/>
              <a:gd name="connsiteY159" fmla="*/ 695305 h 797705"/>
              <a:gd name="connsiteX160" fmla="*/ 346890 w 829568"/>
              <a:gd name="connsiteY160" fmla="*/ 695371 h 797705"/>
              <a:gd name="connsiteX161" fmla="*/ 349169 w 829568"/>
              <a:gd name="connsiteY161" fmla="*/ 697639 h 797705"/>
              <a:gd name="connsiteX162" fmla="*/ 349169 w 829568"/>
              <a:gd name="connsiteY162" fmla="*/ 708981 h 797705"/>
              <a:gd name="connsiteX163" fmla="*/ 349169 w 829568"/>
              <a:gd name="connsiteY163" fmla="*/ 713518 h 797705"/>
              <a:gd name="connsiteX164" fmla="*/ 346890 w 829568"/>
              <a:gd name="connsiteY164" fmla="*/ 724861 h 797705"/>
              <a:gd name="connsiteX165" fmla="*/ 340053 w 829568"/>
              <a:gd name="connsiteY165" fmla="*/ 722592 h 797705"/>
              <a:gd name="connsiteX166" fmla="*/ 317264 w 829568"/>
              <a:gd name="connsiteY166" fmla="*/ 720324 h 797705"/>
              <a:gd name="connsiteX167" fmla="*/ 312706 w 829568"/>
              <a:gd name="connsiteY167" fmla="*/ 718055 h 797705"/>
              <a:gd name="connsiteX168" fmla="*/ 303590 w 829568"/>
              <a:gd name="connsiteY168" fmla="*/ 724861 h 797705"/>
              <a:gd name="connsiteX169" fmla="*/ 294474 w 829568"/>
              <a:gd name="connsiteY169" fmla="*/ 731666 h 797705"/>
              <a:gd name="connsiteX170" fmla="*/ 289916 w 829568"/>
              <a:gd name="connsiteY170" fmla="*/ 738471 h 797705"/>
              <a:gd name="connsiteX171" fmla="*/ 289916 w 829568"/>
              <a:gd name="connsiteY171" fmla="*/ 752082 h 797705"/>
              <a:gd name="connsiteX172" fmla="*/ 280800 w 829568"/>
              <a:gd name="connsiteY172" fmla="*/ 740740 h 797705"/>
              <a:gd name="connsiteX173" fmla="*/ 278521 w 829568"/>
              <a:gd name="connsiteY173" fmla="*/ 738471 h 797705"/>
              <a:gd name="connsiteX174" fmla="*/ 278521 w 829568"/>
              <a:gd name="connsiteY174" fmla="*/ 743008 h 797705"/>
              <a:gd name="connsiteX175" fmla="*/ 276242 w 829568"/>
              <a:gd name="connsiteY175" fmla="*/ 749814 h 797705"/>
              <a:gd name="connsiteX176" fmla="*/ 269405 w 829568"/>
              <a:gd name="connsiteY176" fmla="*/ 761156 h 797705"/>
              <a:gd name="connsiteX177" fmla="*/ 232942 w 829568"/>
              <a:gd name="connsiteY177" fmla="*/ 749814 h 797705"/>
              <a:gd name="connsiteX178" fmla="*/ 230663 w 829568"/>
              <a:gd name="connsiteY178" fmla="*/ 754351 h 797705"/>
              <a:gd name="connsiteX179" fmla="*/ 203316 w 829568"/>
              <a:gd name="connsiteY179" fmla="*/ 754351 h 797705"/>
              <a:gd name="connsiteX180" fmla="*/ 180526 w 829568"/>
              <a:gd name="connsiteY180" fmla="*/ 761156 h 797705"/>
              <a:gd name="connsiteX181" fmla="*/ 169131 w 829568"/>
              <a:gd name="connsiteY181" fmla="*/ 767961 h 797705"/>
              <a:gd name="connsiteX182" fmla="*/ 157736 w 829568"/>
              <a:gd name="connsiteY182" fmla="*/ 783841 h 797705"/>
              <a:gd name="connsiteX183" fmla="*/ 137226 w 829568"/>
              <a:gd name="connsiteY183" fmla="*/ 797451 h 797705"/>
              <a:gd name="connsiteX184" fmla="*/ 128110 w 829568"/>
              <a:gd name="connsiteY184" fmla="*/ 786109 h 797705"/>
              <a:gd name="connsiteX185" fmla="*/ 121273 w 829568"/>
              <a:gd name="connsiteY185" fmla="*/ 792914 h 797705"/>
              <a:gd name="connsiteX186" fmla="*/ 93925 w 829568"/>
              <a:gd name="connsiteY186" fmla="*/ 790646 h 797705"/>
              <a:gd name="connsiteX187" fmla="*/ 68857 w 829568"/>
              <a:gd name="connsiteY187" fmla="*/ 790646 h 797705"/>
              <a:gd name="connsiteX188" fmla="*/ 57462 w 829568"/>
              <a:gd name="connsiteY188" fmla="*/ 792914 h 797705"/>
              <a:gd name="connsiteX189" fmla="*/ 46067 w 829568"/>
              <a:gd name="connsiteY189" fmla="*/ 788377 h 797705"/>
              <a:gd name="connsiteX190" fmla="*/ 25556 w 829568"/>
              <a:gd name="connsiteY190" fmla="*/ 786109 h 797705"/>
              <a:gd name="connsiteX191" fmla="*/ 25556 w 829568"/>
              <a:gd name="connsiteY191" fmla="*/ 783841 h 797705"/>
              <a:gd name="connsiteX192" fmla="*/ 27835 w 829568"/>
              <a:gd name="connsiteY192" fmla="*/ 777035 h 797705"/>
              <a:gd name="connsiteX193" fmla="*/ 25556 w 829568"/>
              <a:gd name="connsiteY193" fmla="*/ 774767 h 797705"/>
              <a:gd name="connsiteX194" fmla="*/ 43788 w 829568"/>
              <a:gd name="connsiteY194" fmla="*/ 770230 h 797705"/>
              <a:gd name="connsiteX195" fmla="*/ 48346 w 829568"/>
              <a:gd name="connsiteY195" fmla="*/ 699908 h 797705"/>
              <a:gd name="connsiteX196" fmla="*/ 5046 w 829568"/>
              <a:gd name="connsiteY196" fmla="*/ 670418 h 797705"/>
              <a:gd name="connsiteX197" fmla="*/ 30114 w 829568"/>
              <a:gd name="connsiteY197" fmla="*/ 615975 h 797705"/>
              <a:gd name="connsiteX198" fmla="*/ 41509 w 829568"/>
              <a:gd name="connsiteY198" fmla="*/ 600095 h 797705"/>
              <a:gd name="connsiteX199" fmla="*/ 34672 w 829568"/>
              <a:gd name="connsiteY199" fmla="*/ 581948 h 797705"/>
              <a:gd name="connsiteX200" fmla="*/ 41509 w 829568"/>
              <a:gd name="connsiteY200" fmla="*/ 554726 h 797705"/>
              <a:gd name="connsiteX201" fmla="*/ 16441 w 829568"/>
              <a:gd name="connsiteY201" fmla="*/ 543384 h 797705"/>
              <a:gd name="connsiteX202" fmla="*/ 34672 w 829568"/>
              <a:gd name="connsiteY202" fmla="*/ 541115 h 797705"/>
              <a:gd name="connsiteX203" fmla="*/ 41498 w 829568"/>
              <a:gd name="connsiteY203" fmla="*/ 541115 h 797705"/>
              <a:gd name="connsiteX204" fmla="*/ 39341 w 829568"/>
              <a:gd name="connsiteY204" fmla="*/ 528176 h 797705"/>
              <a:gd name="connsiteX205" fmla="*/ 86966 w 829568"/>
              <a:gd name="connsiteY205" fmla="*/ 494839 h 797705"/>
              <a:gd name="connsiteX206" fmla="*/ 65409 w 829568"/>
              <a:gd name="connsiteY206" fmla="*/ 464300 h 797705"/>
              <a:gd name="connsiteX207" fmla="*/ 62429 w 829568"/>
              <a:gd name="connsiteY207" fmla="*/ 465726 h 797705"/>
              <a:gd name="connsiteX208" fmla="*/ 62429 w 829568"/>
              <a:gd name="connsiteY208" fmla="*/ 467991 h 797705"/>
              <a:gd name="connsiteX209" fmla="*/ 57874 w 829568"/>
              <a:gd name="connsiteY209" fmla="*/ 470256 h 797705"/>
              <a:gd name="connsiteX210" fmla="*/ 48763 w 829568"/>
              <a:gd name="connsiteY210" fmla="*/ 472522 h 797705"/>
              <a:gd name="connsiteX211" fmla="*/ 35096 w 829568"/>
              <a:gd name="connsiteY211" fmla="*/ 467991 h 797705"/>
              <a:gd name="connsiteX212" fmla="*/ 32818 w 829568"/>
              <a:gd name="connsiteY212" fmla="*/ 449871 h 797705"/>
              <a:gd name="connsiteX213" fmla="*/ 55596 w 829568"/>
              <a:gd name="connsiteY213" fmla="*/ 418160 h 797705"/>
              <a:gd name="connsiteX214" fmla="*/ 55596 w 829568"/>
              <a:gd name="connsiteY214" fmla="*/ 404569 h 797705"/>
              <a:gd name="connsiteX215" fmla="*/ 48763 w 829568"/>
              <a:gd name="connsiteY215" fmla="*/ 372858 h 797705"/>
              <a:gd name="connsiteX216" fmla="*/ 41929 w 829568"/>
              <a:gd name="connsiteY216" fmla="*/ 354737 h 797705"/>
              <a:gd name="connsiteX217" fmla="*/ 41929 w 829568"/>
              <a:gd name="connsiteY217" fmla="*/ 320761 h 797705"/>
              <a:gd name="connsiteX218" fmla="*/ 41929 w 829568"/>
              <a:gd name="connsiteY218" fmla="*/ 300375 h 797705"/>
              <a:gd name="connsiteX219" fmla="*/ 44207 w 829568"/>
              <a:gd name="connsiteY219" fmla="*/ 302640 h 797705"/>
              <a:gd name="connsiteX220" fmla="*/ 57934 w 829568"/>
              <a:gd name="connsiteY220" fmla="*/ 312196 h 797705"/>
              <a:gd name="connsiteX221" fmla="*/ 58242 w 829568"/>
              <a:gd name="connsiteY221" fmla="*/ 311394 h 797705"/>
              <a:gd name="connsiteX222" fmla="*/ 56256 w 829568"/>
              <a:gd name="connsiteY222" fmla="*/ 310012 h 797705"/>
              <a:gd name="connsiteX223" fmla="*/ 44300 w 829568"/>
              <a:gd name="connsiteY223" fmla="*/ 302367 h 797705"/>
              <a:gd name="connsiteX224" fmla="*/ 42022 w 829568"/>
              <a:gd name="connsiteY224" fmla="*/ 300102 h 797705"/>
              <a:gd name="connsiteX225" fmla="*/ 44300 w 829568"/>
              <a:gd name="connsiteY225" fmla="*/ 291042 h 797705"/>
              <a:gd name="connsiteX226" fmla="*/ 78462 w 829568"/>
              <a:gd name="connsiteY226" fmla="*/ 259331 h 797705"/>
              <a:gd name="connsiteX227" fmla="*/ 92126 w 829568"/>
              <a:gd name="connsiteY227" fmla="*/ 232149 h 797705"/>
              <a:gd name="connsiteX228" fmla="*/ 114901 w 829568"/>
              <a:gd name="connsiteY228" fmla="*/ 211764 h 797705"/>
              <a:gd name="connsiteX229" fmla="*/ 108638 w 829568"/>
              <a:gd name="connsiteY229" fmla="*/ 204968 h 797705"/>
              <a:gd name="connsiteX230" fmla="*/ 92261 w 829568"/>
              <a:gd name="connsiteY230" fmla="*/ 198228 h 797705"/>
              <a:gd name="connsiteX231" fmla="*/ 91806 w 829568"/>
              <a:gd name="connsiteY231" fmla="*/ 198355 h 797705"/>
              <a:gd name="connsiteX232" fmla="*/ 84968 w 829568"/>
              <a:gd name="connsiteY232" fmla="*/ 193807 h 797705"/>
              <a:gd name="connsiteX233" fmla="*/ 94086 w 829568"/>
              <a:gd name="connsiteY233" fmla="*/ 155145 h 797705"/>
              <a:gd name="connsiteX234" fmla="*/ 135114 w 829568"/>
              <a:gd name="connsiteY234" fmla="*/ 127854 h 797705"/>
              <a:gd name="connsiteX235" fmla="*/ 160186 w 829568"/>
              <a:gd name="connsiteY235" fmla="*/ 134677 h 797705"/>
              <a:gd name="connsiteX236" fmla="*/ 160186 w 829568"/>
              <a:gd name="connsiteY236" fmla="*/ 109660 h 797705"/>
              <a:gd name="connsiteX237" fmla="*/ 187538 w 829568"/>
              <a:gd name="connsiteY237" fmla="*/ 82369 h 797705"/>
              <a:gd name="connsiteX238" fmla="*/ 187538 w 829568"/>
              <a:gd name="connsiteY238" fmla="*/ 48256 h 797705"/>
              <a:gd name="connsiteX239" fmla="*/ 190103 w 829568"/>
              <a:gd name="connsiteY239"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70418 w 829568"/>
              <a:gd name="connsiteY8" fmla="*/ 255212 h 797705"/>
              <a:gd name="connsiteX9" fmla="*/ 568829 w 829568"/>
              <a:gd name="connsiteY9" fmla="*/ 260444 h 797705"/>
              <a:gd name="connsiteX10" fmla="*/ 570418 w 829568"/>
              <a:gd name="connsiteY10" fmla="*/ 255212 h 797705"/>
              <a:gd name="connsiteX11" fmla="*/ 561350 w 829568"/>
              <a:gd name="connsiteY11" fmla="*/ 243680 h 797705"/>
              <a:gd name="connsiteX12" fmla="*/ 563631 w 829568"/>
              <a:gd name="connsiteY12" fmla="*/ 245950 h 797705"/>
              <a:gd name="connsiteX13" fmla="*/ 563632 w 829568"/>
              <a:gd name="connsiteY13" fmla="*/ 245962 h 797705"/>
              <a:gd name="connsiteX14" fmla="*/ 561350 w 829568"/>
              <a:gd name="connsiteY14" fmla="*/ 243680 h 797705"/>
              <a:gd name="connsiteX15" fmla="*/ 190103 w 829568"/>
              <a:gd name="connsiteY15" fmla="*/ 284 h 797705"/>
              <a:gd name="connsiteX16" fmla="*/ 208052 w 829568"/>
              <a:gd name="connsiteY16" fmla="*/ 7319 h 797705"/>
              <a:gd name="connsiteX17" fmla="*/ 244522 w 829568"/>
              <a:gd name="connsiteY17" fmla="*/ 16416 h 797705"/>
              <a:gd name="connsiteX18" fmla="*/ 269594 w 829568"/>
              <a:gd name="connsiteY18" fmla="*/ 36884 h 797705"/>
              <a:gd name="connsiteX19" fmla="*/ 303784 w 829568"/>
              <a:gd name="connsiteY19" fmla="*/ 59627 h 797705"/>
              <a:gd name="connsiteX20" fmla="*/ 317460 w 829568"/>
              <a:gd name="connsiteY20" fmla="*/ 89192 h 797705"/>
              <a:gd name="connsiteX21" fmla="*/ 353930 w 829568"/>
              <a:gd name="connsiteY21" fmla="*/ 73272 h 797705"/>
              <a:gd name="connsiteX22" fmla="*/ 399516 w 829568"/>
              <a:gd name="connsiteY22" fmla="*/ 82369 h 797705"/>
              <a:gd name="connsiteX23" fmla="*/ 417751 w 829568"/>
              <a:gd name="connsiteY23" fmla="*/ 77821 h 797705"/>
              <a:gd name="connsiteX24" fmla="*/ 438265 w 829568"/>
              <a:gd name="connsiteY24" fmla="*/ 64175 h 797705"/>
              <a:gd name="connsiteX25" fmla="*/ 472455 w 829568"/>
              <a:gd name="connsiteY25" fmla="*/ 73272 h 797705"/>
              <a:gd name="connsiteX26" fmla="*/ 486131 w 829568"/>
              <a:gd name="connsiteY26" fmla="*/ 82369 h 797705"/>
              <a:gd name="connsiteX27" fmla="*/ 490690 w 829568"/>
              <a:gd name="connsiteY27" fmla="*/ 132402 h 797705"/>
              <a:gd name="connsiteX28" fmla="*/ 495248 w 829568"/>
              <a:gd name="connsiteY28" fmla="*/ 196081 h 797705"/>
              <a:gd name="connsiteX29" fmla="*/ 495248 w 829568"/>
              <a:gd name="connsiteY29" fmla="*/ 214275 h 797705"/>
              <a:gd name="connsiteX30" fmla="*/ 495067 w 829568"/>
              <a:gd name="connsiteY30" fmla="*/ 214233 h 797705"/>
              <a:gd name="connsiteX31" fmla="*/ 497146 w 829568"/>
              <a:gd name="connsiteY31" fmla="*/ 220449 h 797705"/>
              <a:gd name="connsiteX32" fmla="*/ 508530 w 829568"/>
              <a:gd name="connsiteY32" fmla="*/ 224986 h 797705"/>
              <a:gd name="connsiteX33" fmla="*/ 524467 w 829568"/>
              <a:gd name="connsiteY33" fmla="*/ 238598 h 797705"/>
              <a:gd name="connsiteX34" fmla="*/ 556340 w 829568"/>
              <a:gd name="connsiteY34" fmla="*/ 234060 h 797705"/>
              <a:gd name="connsiteX35" fmla="*/ 560894 w 829568"/>
              <a:gd name="connsiteY35" fmla="*/ 243135 h 797705"/>
              <a:gd name="connsiteX36" fmla="*/ 563170 w 829568"/>
              <a:gd name="connsiteY36" fmla="*/ 247672 h 797705"/>
              <a:gd name="connsiteX37" fmla="*/ 564024 w 829568"/>
              <a:gd name="connsiteY37" fmla="*/ 255045 h 797705"/>
              <a:gd name="connsiteX38" fmla="*/ 563903 w 829568"/>
              <a:gd name="connsiteY38" fmla="*/ 256574 h 797705"/>
              <a:gd name="connsiteX39" fmla="*/ 564418 w 829568"/>
              <a:gd name="connsiteY39" fmla="*/ 256978 h 797705"/>
              <a:gd name="connsiteX40" fmla="*/ 564486 w 829568"/>
              <a:gd name="connsiteY40" fmla="*/ 256164 h 797705"/>
              <a:gd name="connsiteX41" fmla="*/ 563684 w 829568"/>
              <a:gd name="connsiteY41" fmla="*/ 246583 h 797705"/>
              <a:gd name="connsiteX42" fmla="*/ 570440 w 829568"/>
              <a:gd name="connsiteY42" fmla="*/ 254988 h 797705"/>
              <a:gd name="connsiteX43" fmla="*/ 570445 w 829568"/>
              <a:gd name="connsiteY43" fmla="*/ 254942 h 797705"/>
              <a:gd name="connsiteX44" fmla="*/ 572718 w 829568"/>
              <a:gd name="connsiteY44" fmla="*/ 257210 h 797705"/>
              <a:gd name="connsiteX45" fmla="*/ 574113 w 829568"/>
              <a:gd name="connsiteY45" fmla="*/ 256872 h 797705"/>
              <a:gd name="connsiteX46" fmla="*/ 567290 w 829568"/>
              <a:gd name="connsiteY46" fmla="*/ 250109 h 797705"/>
              <a:gd name="connsiteX47" fmla="*/ 563684 w 829568"/>
              <a:gd name="connsiteY47" fmla="*/ 246583 h 797705"/>
              <a:gd name="connsiteX48" fmla="*/ 563632 w 829568"/>
              <a:gd name="connsiteY48" fmla="*/ 245962 h 797705"/>
              <a:gd name="connsiteX49" fmla="*/ 574458 w 829568"/>
              <a:gd name="connsiteY49" fmla="*/ 256788 h 797705"/>
              <a:gd name="connsiteX50" fmla="*/ 583230 w 829568"/>
              <a:gd name="connsiteY50" fmla="*/ 254659 h 797705"/>
              <a:gd name="connsiteX51" fmla="*/ 595448 w 829568"/>
              <a:gd name="connsiteY51" fmla="*/ 250406 h 797705"/>
              <a:gd name="connsiteX52" fmla="*/ 624997 w 829568"/>
              <a:gd name="connsiteY52" fmla="*/ 282159 h 797705"/>
              <a:gd name="connsiteX53" fmla="*/ 637214 w 829568"/>
              <a:gd name="connsiteY53" fmla="*/ 311928 h 797705"/>
              <a:gd name="connsiteX54" fmla="*/ 636731 w 829568"/>
              <a:gd name="connsiteY54" fmla="*/ 319061 h 797705"/>
              <a:gd name="connsiteX55" fmla="*/ 652790 w 829568"/>
              <a:gd name="connsiteY55" fmla="*/ 335120 h 797705"/>
              <a:gd name="connsiteX56" fmla="*/ 638758 w 829568"/>
              <a:gd name="connsiteY56" fmla="*/ 321150 h 797705"/>
              <a:gd name="connsiteX57" fmla="*/ 636727 w 829568"/>
              <a:gd name="connsiteY57" fmla="*/ 319129 h 797705"/>
              <a:gd name="connsiteX58" fmla="*/ 636185 w 829568"/>
              <a:gd name="connsiteY58" fmla="*/ 327131 h 797705"/>
              <a:gd name="connsiteX59" fmla="*/ 640908 w 829568"/>
              <a:gd name="connsiteY59" fmla="*/ 343397 h 797705"/>
              <a:gd name="connsiteX60" fmla="*/ 656819 w 829568"/>
              <a:gd name="connsiteY60" fmla="*/ 329788 h 797705"/>
              <a:gd name="connsiteX61" fmla="*/ 672730 w 829568"/>
              <a:gd name="connsiteY61" fmla="*/ 347933 h 797705"/>
              <a:gd name="connsiteX62" fmla="*/ 679549 w 829568"/>
              <a:gd name="connsiteY62" fmla="*/ 366077 h 797705"/>
              <a:gd name="connsiteX63" fmla="*/ 686368 w 829568"/>
              <a:gd name="connsiteY63" fmla="*/ 418243 h 797705"/>
              <a:gd name="connsiteX64" fmla="*/ 736375 w 829568"/>
              <a:gd name="connsiteY64" fmla="*/ 413707 h 797705"/>
              <a:gd name="connsiteX65" fmla="*/ 756832 w 829568"/>
              <a:gd name="connsiteY65" fmla="*/ 420511 h 797705"/>
              <a:gd name="connsiteX66" fmla="*/ 765924 w 829568"/>
              <a:gd name="connsiteY66" fmla="*/ 406903 h 797705"/>
              <a:gd name="connsiteX67" fmla="*/ 829568 w 829568"/>
              <a:gd name="connsiteY67" fmla="*/ 397830 h 797705"/>
              <a:gd name="connsiteX68" fmla="*/ 829568 w 829568"/>
              <a:gd name="connsiteY68" fmla="*/ 413707 h 797705"/>
              <a:gd name="connsiteX69" fmla="*/ 827295 w 829568"/>
              <a:gd name="connsiteY69" fmla="*/ 422779 h 797705"/>
              <a:gd name="connsiteX70" fmla="*/ 822749 w 829568"/>
              <a:gd name="connsiteY70" fmla="*/ 427315 h 797705"/>
              <a:gd name="connsiteX71" fmla="*/ 815930 w 829568"/>
              <a:gd name="connsiteY71" fmla="*/ 427315 h 797705"/>
              <a:gd name="connsiteX72" fmla="*/ 809111 w 829568"/>
              <a:gd name="connsiteY72" fmla="*/ 443192 h 797705"/>
              <a:gd name="connsiteX73" fmla="*/ 802292 w 829568"/>
              <a:gd name="connsiteY73" fmla="*/ 452264 h 797705"/>
              <a:gd name="connsiteX74" fmla="*/ 800019 w 829568"/>
              <a:gd name="connsiteY74" fmla="*/ 459068 h 797705"/>
              <a:gd name="connsiteX75" fmla="*/ 800019 w 829568"/>
              <a:gd name="connsiteY75" fmla="*/ 470408 h 797705"/>
              <a:gd name="connsiteX76" fmla="*/ 800019 w 829568"/>
              <a:gd name="connsiteY76" fmla="*/ 481749 h 797705"/>
              <a:gd name="connsiteX77" fmla="*/ 784108 w 829568"/>
              <a:gd name="connsiteY77" fmla="*/ 477212 h 797705"/>
              <a:gd name="connsiteX78" fmla="*/ 777289 w 829568"/>
              <a:gd name="connsiteY78" fmla="*/ 477212 h 797705"/>
              <a:gd name="connsiteX79" fmla="*/ 770470 w 829568"/>
              <a:gd name="connsiteY79" fmla="*/ 481749 h 797705"/>
              <a:gd name="connsiteX80" fmla="*/ 768197 w 829568"/>
              <a:gd name="connsiteY80" fmla="*/ 488553 h 797705"/>
              <a:gd name="connsiteX81" fmla="*/ 750013 w 829568"/>
              <a:gd name="connsiteY81" fmla="*/ 497625 h 797705"/>
              <a:gd name="connsiteX82" fmla="*/ 745467 w 829568"/>
              <a:gd name="connsiteY82" fmla="*/ 490821 h 797705"/>
              <a:gd name="connsiteX83" fmla="*/ 740921 w 829568"/>
              <a:gd name="connsiteY83" fmla="*/ 493089 h 797705"/>
              <a:gd name="connsiteX84" fmla="*/ 738648 w 829568"/>
              <a:gd name="connsiteY84" fmla="*/ 499893 h 797705"/>
              <a:gd name="connsiteX85" fmla="*/ 738648 w 829568"/>
              <a:gd name="connsiteY85" fmla="*/ 502161 h 797705"/>
              <a:gd name="connsiteX86" fmla="*/ 725010 w 829568"/>
              <a:gd name="connsiteY86" fmla="*/ 504429 h 797705"/>
              <a:gd name="connsiteX87" fmla="*/ 715918 w 829568"/>
              <a:gd name="connsiteY87" fmla="*/ 508965 h 797705"/>
              <a:gd name="connsiteX88" fmla="*/ 715918 w 829568"/>
              <a:gd name="connsiteY88" fmla="*/ 520306 h 797705"/>
              <a:gd name="connsiteX89" fmla="*/ 713645 w 829568"/>
              <a:gd name="connsiteY89" fmla="*/ 522574 h 797705"/>
              <a:gd name="connsiteX90" fmla="*/ 693188 w 829568"/>
              <a:gd name="connsiteY90" fmla="*/ 527110 h 797705"/>
              <a:gd name="connsiteX91" fmla="*/ 677276 w 829568"/>
              <a:gd name="connsiteY91" fmla="*/ 531646 h 797705"/>
              <a:gd name="connsiteX92" fmla="*/ 668184 w 829568"/>
              <a:gd name="connsiteY92" fmla="*/ 527110 h 797705"/>
              <a:gd name="connsiteX93" fmla="*/ 665911 w 829568"/>
              <a:gd name="connsiteY93" fmla="*/ 529378 h 797705"/>
              <a:gd name="connsiteX94" fmla="*/ 665911 w 829568"/>
              <a:gd name="connsiteY94" fmla="*/ 538450 h 797705"/>
              <a:gd name="connsiteX95" fmla="*/ 659092 w 829568"/>
              <a:gd name="connsiteY95" fmla="*/ 540718 h 797705"/>
              <a:gd name="connsiteX96" fmla="*/ 659092 w 829568"/>
              <a:gd name="connsiteY96" fmla="*/ 545254 h 797705"/>
              <a:gd name="connsiteX97" fmla="*/ 659092 w 829568"/>
              <a:gd name="connsiteY97" fmla="*/ 556595 h 797705"/>
              <a:gd name="connsiteX98" fmla="*/ 656819 w 829568"/>
              <a:gd name="connsiteY98" fmla="*/ 561131 h 797705"/>
              <a:gd name="connsiteX99" fmla="*/ 652273 w 829568"/>
              <a:gd name="connsiteY99" fmla="*/ 561131 h 797705"/>
              <a:gd name="connsiteX100" fmla="*/ 650000 w 829568"/>
              <a:gd name="connsiteY100" fmla="*/ 561131 h 797705"/>
              <a:gd name="connsiteX101" fmla="*/ 618178 w 829568"/>
              <a:gd name="connsiteY101" fmla="*/ 552058 h 797705"/>
              <a:gd name="connsiteX102" fmla="*/ 618178 w 829568"/>
              <a:gd name="connsiteY102" fmla="*/ 549790 h 797705"/>
              <a:gd name="connsiteX103" fmla="*/ 609086 w 829568"/>
              <a:gd name="connsiteY103" fmla="*/ 542986 h 797705"/>
              <a:gd name="connsiteX104" fmla="*/ 599994 w 829568"/>
              <a:gd name="connsiteY104" fmla="*/ 547522 h 797705"/>
              <a:gd name="connsiteX105" fmla="*/ 590902 w 829568"/>
              <a:gd name="connsiteY105" fmla="*/ 554327 h 797705"/>
              <a:gd name="connsiteX106" fmla="*/ 579537 w 829568"/>
              <a:gd name="connsiteY106" fmla="*/ 563399 h 797705"/>
              <a:gd name="connsiteX107" fmla="*/ 574991 w 829568"/>
              <a:gd name="connsiteY107" fmla="*/ 556595 h 797705"/>
              <a:gd name="connsiteX108" fmla="*/ 570445 w 829568"/>
              <a:gd name="connsiteY108" fmla="*/ 558863 h 797705"/>
              <a:gd name="connsiteX109" fmla="*/ 568172 w 829568"/>
              <a:gd name="connsiteY109" fmla="*/ 563399 h 797705"/>
              <a:gd name="connsiteX110" fmla="*/ 568172 w 829568"/>
              <a:gd name="connsiteY110" fmla="*/ 565667 h 797705"/>
              <a:gd name="connsiteX111" fmla="*/ 568172 w 829568"/>
              <a:gd name="connsiteY111" fmla="*/ 570203 h 797705"/>
              <a:gd name="connsiteX112" fmla="*/ 565899 w 829568"/>
              <a:gd name="connsiteY112" fmla="*/ 572471 h 797705"/>
              <a:gd name="connsiteX113" fmla="*/ 565899 w 829568"/>
              <a:gd name="connsiteY113" fmla="*/ 574739 h 797705"/>
              <a:gd name="connsiteX114" fmla="*/ 581810 w 829568"/>
              <a:gd name="connsiteY114" fmla="*/ 581543 h 797705"/>
              <a:gd name="connsiteX115" fmla="*/ 586356 w 829568"/>
              <a:gd name="connsiteY115" fmla="*/ 586079 h 797705"/>
              <a:gd name="connsiteX116" fmla="*/ 590902 w 829568"/>
              <a:gd name="connsiteY116" fmla="*/ 579275 h 797705"/>
              <a:gd name="connsiteX117" fmla="*/ 597721 w 829568"/>
              <a:gd name="connsiteY117" fmla="*/ 583811 h 797705"/>
              <a:gd name="connsiteX118" fmla="*/ 599994 w 829568"/>
              <a:gd name="connsiteY118" fmla="*/ 579275 h 797705"/>
              <a:gd name="connsiteX119" fmla="*/ 606813 w 829568"/>
              <a:gd name="connsiteY119" fmla="*/ 588347 h 797705"/>
              <a:gd name="connsiteX120" fmla="*/ 606813 w 829568"/>
              <a:gd name="connsiteY120" fmla="*/ 590616 h 797705"/>
              <a:gd name="connsiteX121" fmla="*/ 602267 w 829568"/>
              <a:gd name="connsiteY121" fmla="*/ 601956 h 797705"/>
              <a:gd name="connsiteX122" fmla="*/ 604540 w 829568"/>
              <a:gd name="connsiteY122" fmla="*/ 606492 h 797705"/>
              <a:gd name="connsiteX123" fmla="*/ 609086 w 829568"/>
              <a:gd name="connsiteY123" fmla="*/ 611028 h 797705"/>
              <a:gd name="connsiteX124" fmla="*/ 606813 w 829568"/>
              <a:gd name="connsiteY124" fmla="*/ 613296 h 797705"/>
              <a:gd name="connsiteX125" fmla="*/ 588629 w 829568"/>
              <a:gd name="connsiteY125" fmla="*/ 613296 h 797705"/>
              <a:gd name="connsiteX126" fmla="*/ 572718 w 829568"/>
              <a:gd name="connsiteY126" fmla="*/ 597420 h 797705"/>
              <a:gd name="connsiteX127" fmla="*/ 568172 w 829568"/>
              <a:gd name="connsiteY127" fmla="*/ 606492 h 797705"/>
              <a:gd name="connsiteX128" fmla="*/ 561353 w 829568"/>
              <a:gd name="connsiteY128" fmla="*/ 597420 h 797705"/>
              <a:gd name="connsiteX129" fmla="*/ 556807 w 829568"/>
              <a:gd name="connsiteY129" fmla="*/ 592884 h 797705"/>
              <a:gd name="connsiteX130" fmla="*/ 540896 w 829568"/>
              <a:gd name="connsiteY130" fmla="*/ 570203 h 797705"/>
              <a:gd name="connsiteX131" fmla="*/ 529530 w 829568"/>
              <a:gd name="connsiteY131" fmla="*/ 565667 h 797705"/>
              <a:gd name="connsiteX132" fmla="*/ 518165 w 829568"/>
              <a:gd name="connsiteY132" fmla="*/ 572471 h 797705"/>
              <a:gd name="connsiteX133" fmla="*/ 509073 w 829568"/>
              <a:gd name="connsiteY133" fmla="*/ 577007 h 797705"/>
              <a:gd name="connsiteX134" fmla="*/ 506800 w 829568"/>
              <a:gd name="connsiteY134" fmla="*/ 574739 h 797705"/>
              <a:gd name="connsiteX135" fmla="*/ 504527 w 829568"/>
              <a:gd name="connsiteY135" fmla="*/ 574739 h 797705"/>
              <a:gd name="connsiteX136" fmla="*/ 504527 w 829568"/>
              <a:gd name="connsiteY136" fmla="*/ 570324 h 797705"/>
              <a:gd name="connsiteX137" fmla="*/ 503669 w 829568"/>
              <a:gd name="connsiteY137" fmla="*/ 570324 h 797705"/>
              <a:gd name="connsiteX138" fmla="*/ 503669 w 829568"/>
              <a:gd name="connsiteY138" fmla="*/ 574870 h 797705"/>
              <a:gd name="connsiteX139" fmla="*/ 505946 w 829568"/>
              <a:gd name="connsiteY139" fmla="*/ 577143 h 797705"/>
              <a:gd name="connsiteX140" fmla="*/ 505946 w 829568"/>
              <a:gd name="connsiteY140" fmla="*/ 579415 h 797705"/>
              <a:gd name="connsiteX141" fmla="*/ 505946 w 829568"/>
              <a:gd name="connsiteY141" fmla="*/ 581688 h 797705"/>
              <a:gd name="connsiteX142" fmla="*/ 496839 w 829568"/>
              <a:gd name="connsiteY142" fmla="*/ 590779 h 797705"/>
              <a:gd name="connsiteX143" fmla="*/ 496839 w 829568"/>
              <a:gd name="connsiteY143" fmla="*/ 595324 h 797705"/>
              <a:gd name="connsiteX144" fmla="*/ 501392 w 829568"/>
              <a:gd name="connsiteY144" fmla="*/ 599870 h 797705"/>
              <a:gd name="connsiteX145" fmla="*/ 510500 w 829568"/>
              <a:gd name="connsiteY145" fmla="*/ 608960 h 797705"/>
              <a:gd name="connsiteX146" fmla="*/ 508223 w 829568"/>
              <a:gd name="connsiteY146" fmla="*/ 613506 h 797705"/>
              <a:gd name="connsiteX147" fmla="*/ 508223 w 829568"/>
              <a:gd name="connsiteY147" fmla="*/ 618051 h 797705"/>
              <a:gd name="connsiteX148" fmla="*/ 490008 w 829568"/>
              <a:gd name="connsiteY148" fmla="*/ 640778 h 797705"/>
              <a:gd name="connsiteX149" fmla="*/ 464962 w 829568"/>
              <a:gd name="connsiteY149" fmla="*/ 631687 h 797705"/>
              <a:gd name="connsiteX150" fmla="*/ 451300 w 829568"/>
              <a:gd name="connsiteY150" fmla="*/ 624869 h 797705"/>
              <a:gd name="connsiteX151" fmla="*/ 423977 w 829568"/>
              <a:gd name="connsiteY151" fmla="*/ 638506 h 797705"/>
              <a:gd name="connsiteX152" fmla="*/ 414870 w 829568"/>
              <a:gd name="connsiteY152" fmla="*/ 643051 h 797705"/>
              <a:gd name="connsiteX153" fmla="*/ 398931 w 829568"/>
              <a:gd name="connsiteY153" fmla="*/ 645324 h 797705"/>
              <a:gd name="connsiteX154" fmla="*/ 394378 w 829568"/>
              <a:gd name="connsiteY154" fmla="*/ 652142 h 797705"/>
              <a:gd name="connsiteX155" fmla="*/ 373885 w 829568"/>
              <a:gd name="connsiteY155" fmla="*/ 654415 h 797705"/>
              <a:gd name="connsiteX156" fmla="*/ 353393 w 829568"/>
              <a:gd name="connsiteY156" fmla="*/ 661233 h 797705"/>
              <a:gd name="connsiteX157" fmla="*/ 344285 w 829568"/>
              <a:gd name="connsiteY157" fmla="*/ 683960 h 797705"/>
              <a:gd name="connsiteX158" fmla="*/ 346559 w 829568"/>
              <a:gd name="connsiteY158" fmla="*/ 695305 h 797705"/>
              <a:gd name="connsiteX159" fmla="*/ 346890 w 829568"/>
              <a:gd name="connsiteY159" fmla="*/ 695371 h 797705"/>
              <a:gd name="connsiteX160" fmla="*/ 349169 w 829568"/>
              <a:gd name="connsiteY160" fmla="*/ 697639 h 797705"/>
              <a:gd name="connsiteX161" fmla="*/ 349169 w 829568"/>
              <a:gd name="connsiteY161" fmla="*/ 708981 h 797705"/>
              <a:gd name="connsiteX162" fmla="*/ 349169 w 829568"/>
              <a:gd name="connsiteY162" fmla="*/ 713518 h 797705"/>
              <a:gd name="connsiteX163" fmla="*/ 346890 w 829568"/>
              <a:gd name="connsiteY163" fmla="*/ 724861 h 797705"/>
              <a:gd name="connsiteX164" fmla="*/ 340053 w 829568"/>
              <a:gd name="connsiteY164" fmla="*/ 722592 h 797705"/>
              <a:gd name="connsiteX165" fmla="*/ 317264 w 829568"/>
              <a:gd name="connsiteY165" fmla="*/ 720324 h 797705"/>
              <a:gd name="connsiteX166" fmla="*/ 312706 w 829568"/>
              <a:gd name="connsiteY166" fmla="*/ 718055 h 797705"/>
              <a:gd name="connsiteX167" fmla="*/ 303590 w 829568"/>
              <a:gd name="connsiteY167" fmla="*/ 724861 h 797705"/>
              <a:gd name="connsiteX168" fmla="*/ 294474 w 829568"/>
              <a:gd name="connsiteY168" fmla="*/ 731666 h 797705"/>
              <a:gd name="connsiteX169" fmla="*/ 289916 w 829568"/>
              <a:gd name="connsiteY169" fmla="*/ 738471 h 797705"/>
              <a:gd name="connsiteX170" fmla="*/ 289916 w 829568"/>
              <a:gd name="connsiteY170" fmla="*/ 752082 h 797705"/>
              <a:gd name="connsiteX171" fmla="*/ 280800 w 829568"/>
              <a:gd name="connsiteY171" fmla="*/ 740740 h 797705"/>
              <a:gd name="connsiteX172" fmla="*/ 278521 w 829568"/>
              <a:gd name="connsiteY172" fmla="*/ 738471 h 797705"/>
              <a:gd name="connsiteX173" fmla="*/ 278521 w 829568"/>
              <a:gd name="connsiteY173" fmla="*/ 743008 h 797705"/>
              <a:gd name="connsiteX174" fmla="*/ 276242 w 829568"/>
              <a:gd name="connsiteY174" fmla="*/ 749814 h 797705"/>
              <a:gd name="connsiteX175" fmla="*/ 269405 w 829568"/>
              <a:gd name="connsiteY175" fmla="*/ 761156 h 797705"/>
              <a:gd name="connsiteX176" fmla="*/ 232942 w 829568"/>
              <a:gd name="connsiteY176" fmla="*/ 749814 h 797705"/>
              <a:gd name="connsiteX177" fmla="*/ 230663 w 829568"/>
              <a:gd name="connsiteY177" fmla="*/ 754351 h 797705"/>
              <a:gd name="connsiteX178" fmla="*/ 203316 w 829568"/>
              <a:gd name="connsiteY178" fmla="*/ 754351 h 797705"/>
              <a:gd name="connsiteX179" fmla="*/ 180526 w 829568"/>
              <a:gd name="connsiteY179" fmla="*/ 761156 h 797705"/>
              <a:gd name="connsiteX180" fmla="*/ 169131 w 829568"/>
              <a:gd name="connsiteY180" fmla="*/ 767961 h 797705"/>
              <a:gd name="connsiteX181" fmla="*/ 157736 w 829568"/>
              <a:gd name="connsiteY181" fmla="*/ 783841 h 797705"/>
              <a:gd name="connsiteX182" fmla="*/ 137226 w 829568"/>
              <a:gd name="connsiteY182" fmla="*/ 797451 h 797705"/>
              <a:gd name="connsiteX183" fmla="*/ 128110 w 829568"/>
              <a:gd name="connsiteY183" fmla="*/ 786109 h 797705"/>
              <a:gd name="connsiteX184" fmla="*/ 121273 w 829568"/>
              <a:gd name="connsiteY184" fmla="*/ 792914 h 797705"/>
              <a:gd name="connsiteX185" fmla="*/ 93925 w 829568"/>
              <a:gd name="connsiteY185" fmla="*/ 790646 h 797705"/>
              <a:gd name="connsiteX186" fmla="*/ 68857 w 829568"/>
              <a:gd name="connsiteY186" fmla="*/ 790646 h 797705"/>
              <a:gd name="connsiteX187" fmla="*/ 57462 w 829568"/>
              <a:gd name="connsiteY187" fmla="*/ 792914 h 797705"/>
              <a:gd name="connsiteX188" fmla="*/ 46067 w 829568"/>
              <a:gd name="connsiteY188" fmla="*/ 788377 h 797705"/>
              <a:gd name="connsiteX189" fmla="*/ 25556 w 829568"/>
              <a:gd name="connsiteY189" fmla="*/ 786109 h 797705"/>
              <a:gd name="connsiteX190" fmla="*/ 25556 w 829568"/>
              <a:gd name="connsiteY190" fmla="*/ 783841 h 797705"/>
              <a:gd name="connsiteX191" fmla="*/ 27835 w 829568"/>
              <a:gd name="connsiteY191" fmla="*/ 777035 h 797705"/>
              <a:gd name="connsiteX192" fmla="*/ 25556 w 829568"/>
              <a:gd name="connsiteY192" fmla="*/ 774767 h 797705"/>
              <a:gd name="connsiteX193" fmla="*/ 43788 w 829568"/>
              <a:gd name="connsiteY193" fmla="*/ 770230 h 797705"/>
              <a:gd name="connsiteX194" fmla="*/ 48346 w 829568"/>
              <a:gd name="connsiteY194" fmla="*/ 699908 h 797705"/>
              <a:gd name="connsiteX195" fmla="*/ 5046 w 829568"/>
              <a:gd name="connsiteY195" fmla="*/ 670418 h 797705"/>
              <a:gd name="connsiteX196" fmla="*/ 30114 w 829568"/>
              <a:gd name="connsiteY196" fmla="*/ 615975 h 797705"/>
              <a:gd name="connsiteX197" fmla="*/ 41509 w 829568"/>
              <a:gd name="connsiteY197" fmla="*/ 600095 h 797705"/>
              <a:gd name="connsiteX198" fmla="*/ 34672 w 829568"/>
              <a:gd name="connsiteY198" fmla="*/ 581948 h 797705"/>
              <a:gd name="connsiteX199" fmla="*/ 41509 w 829568"/>
              <a:gd name="connsiteY199" fmla="*/ 554726 h 797705"/>
              <a:gd name="connsiteX200" fmla="*/ 16441 w 829568"/>
              <a:gd name="connsiteY200" fmla="*/ 543384 h 797705"/>
              <a:gd name="connsiteX201" fmla="*/ 34672 w 829568"/>
              <a:gd name="connsiteY201" fmla="*/ 541115 h 797705"/>
              <a:gd name="connsiteX202" fmla="*/ 41498 w 829568"/>
              <a:gd name="connsiteY202" fmla="*/ 541115 h 797705"/>
              <a:gd name="connsiteX203" fmla="*/ 39341 w 829568"/>
              <a:gd name="connsiteY203" fmla="*/ 528176 h 797705"/>
              <a:gd name="connsiteX204" fmla="*/ 86966 w 829568"/>
              <a:gd name="connsiteY204" fmla="*/ 494839 h 797705"/>
              <a:gd name="connsiteX205" fmla="*/ 65409 w 829568"/>
              <a:gd name="connsiteY205" fmla="*/ 464300 h 797705"/>
              <a:gd name="connsiteX206" fmla="*/ 62429 w 829568"/>
              <a:gd name="connsiteY206" fmla="*/ 465726 h 797705"/>
              <a:gd name="connsiteX207" fmla="*/ 62429 w 829568"/>
              <a:gd name="connsiteY207" fmla="*/ 467991 h 797705"/>
              <a:gd name="connsiteX208" fmla="*/ 57874 w 829568"/>
              <a:gd name="connsiteY208" fmla="*/ 470256 h 797705"/>
              <a:gd name="connsiteX209" fmla="*/ 48763 w 829568"/>
              <a:gd name="connsiteY209" fmla="*/ 472522 h 797705"/>
              <a:gd name="connsiteX210" fmla="*/ 35096 w 829568"/>
              <a:gd name="connsiteY210" fmla="*/ 467991 h 797705"/>
              <a:gd name="connsiteX211" fmla="*/ 32818 w 829568"/>
              <a:gd name="connsiteY211" fmla="*/ 449871 h 797705"/>
              <a:gd name="connsiteX212" fmla="*/ 55596 w 829568"/>
              <a:gd name="connsiteY212" fmla="*/ 418160 h 797705"/>
              <a:gd name="connsiteX213" fmla="*/ 55596 w 829568"/>
              <a:gd name="connsiteY213" fmla="*/ 404569 h 797705"/>
              <a:gd name="connsiteX214" fmla="*/ 48763 w 829568"/>
              <a:gd name="connsiteY214" fmla="*/ 372858 h 797705"/>
              <a:gd name="connsiteX215" fmla="*/ 41929 w 829568"/>
              <a:gd name="connsiteY215" fmla="*/ 354737 h 797705"/>
              <a:gd name="connsiteX216" fmla="*/ 41929 w 829568"/>
              <a:gd name="connsiteY216" fmla="*/ 320761 h 797705"/>
              <a:gd name="connsiteX217" fmla="*/ 41929 w 829568"/>
              <a:gd name="connsiteY217" fmla="*/ 300375 h 797705"/>
              <a:gd name="connsiteX218" fmla="*/ 44207 w 829568"/>
              <a:gd name="connsiteY218" fmla="*/ 302640 h 797705"/>
              <a:gd name="connsiteX219" fmla="*/ 57934 w 829568"/>
              <a:gd name="connsiteY219" fmla="*/ 312196 h 797705"/>
              <a:gd name="connsiteX220" fmla="*/ 58242 w 829568"/>
              <a:gd name="connsiteY220" fmla="*/ 311394 h 797705"/>
              <a:gd name="connsiteX221" fmla="*/ 56256 w 829568"/>
              <a:gd name="connsiteY221" fmla="*/ 310012 h 797705"/>
              <a:gd name="connsiteX222" fmla="*/ 44300 w 829568"/>
              <a:gd name="connsiteY222" fmla="*/ 302367 h 797705"/>
              <a:gd name="connsiteX223" fmla="*/ 42022 w 829568"/>
              <a:gd name="connsiteY223" fmla="*/ 300102 h 797705"/>
              <a:gd name="connsiteX224" fmla="*/ 44300 w 829568"/>
              <a:gd name="connsiteY224" fmla="*/ 291042 h 797705"/>
              <a:gd name="connsiteX225" fmla="*/ 78462 w 829568"/>
              <a:gd name="connsiteY225" fmla="*/ 259331 h 797705"/>
              <a:gd name="connsiteX226" fmla="*/ 92126 w 829568"/>
              <a:gd name="connsiteY226" fmla="*/ 232149 h 797705"/>
              <a:gd name="connsiteX227" fmla="*/ 114901 w 829568"/>
              <a:gd name="connsiteY227" fmla="*/ 211764 h 797705"/>
              <a:gd name="connsiteX228" fmla="*/ 108638 w 829568"/>
              <a:gd name="connsiteY228" fmla="*/ 204968 h 797705"/>
              <a:gd name="connsiteX229" fmla="*/ 92261 w 829568"/>
              <a:gd name="connsiteY229" fmla="*/ 198228 h 797705"/>
              <a:gd name="connsiteX230" fmla="*/ 91806 w 829568"/>
              <a:gd name="connsiteY230" fmla="*/ 198355 h 797705"/>
              <a:gd name="connsiteX231" fmla="*/ 84968 w 829568"/>
              <a:gd name="connsiteY231" fmla="*/ 193807 h 797705"/>
              <a:gd name="connsiteX232" fmla="*/ 94086 w 829568"/>
              <a:gd name="connsiteY232" fmla="*/ 155145 h 797705"/>
              <a:gd name="connsiteX233" fmla="*/ 135114 w 829568"/>
              <a:gd name="connsiteY233" fmla="*/ 127854 h 797705"/>
              <a:gd name="connsiteX234" fmla="*/ 160186 w 829568"/>
              <a:gd name="connsiteY234" fmla="*/ 134677 h 797705"/>
              <a:gd name="connsiteX235" fmla="*/ 160186 w 829568"/>
              <a:gd name="connsiteY235" fmla="*/ 109660 h 797705"/>
              <a:gd name="connsiteX236" fmla="*/ 187538 w 829568"/>
              <a:gd name="connsiteY236" fmla="*/ 82369 h 797705"/>
              <a:gd name="connsiteX237" fmla="*/ 187538 w 829568"/>
              <a:gd name="connsiteY237" fmla="*/ 48256 h 797705"/>
              <a:gd name="connsiteX238" fmla="*/ 190103 w 829568"/>
              <a:gd name="connsiteY238"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70418 w 829568"/>
              <a:gd name="connsiteY8" fmla="*/ 255212 h 797705"/>
              <a:gd name="connsiteX9" fmla="*/ 568829 w 829568"/>
              <a:gd name="connsiteY9" fmla="*/ 260444 h 797705"/>
              <a:gd name="connsiteX10" fmla="*/ 570418 w 829568"/>
              <a:gd name="connsiteY10" fmla="*/ 255212 h 797705"/>
              <a:gd name="connsiteX11" fmla="*/ 561350 w 829568"/>
              <a:gd name="connsiteY11" fmla="*/ 243680 h 797705"/>
              <a:gd name="connsiteX12" fmla="*/ 563631 w 829568"/>
              <a:gd name="connsiteY12" fmla="*/ 245950 h 797705"/>
              <a:gd name="connsiteX13" fmla="*/ 563632 w 829568"/>
              <a:gd name="connsiteY13" fmla="*/ 245962 h 797705"/>
              <a:gd name="connsiteX14" fmla="*/ 561350 w 829568"/>
              <a:gd name="connsiteY14" fmla="*/ 243680 h 797705"/>
              <a:gd name="connsiteX15" fmla="*/ 190103 w 829568"/>
              <a:gd name="connsiteY15" fmla="*/ 284 h 797705"/>
              <a:gd name="connsiteX16" fmla="*/ 208052 w 829568"/>
              <a:gd name="connsiteY16" fmla="*/ 7319 h 797705"/>
              <a:gd name="connsiteX17" fmla="*/ 244522 w 829568"/>
              <a:gd name="connsiteY17" fmla="*/ 16416 h 797705"/>
              <a:gd name="connsiteX18" fmla="*/ 269594 w 829568"/>
              <a:gd name="connsiteY18" fmla="*/ 36884 h 797705"/>
              <a:gd name="connsiteX19" fmla="*/ 303784 w 829568"/>
              <a:gd name="connsiteY19" fmla="*/ 59627 h 797705"/>
              <a:gd name="connsiteX20" fmla="*/ 317460 w 829568"/>
              <a:gd name="connsiteY20" fmla="*/ 89192 h 797705"/>
              <a:gd name="connsiteX21" fmla="*/ 353930 w 829568"/>
              <a:gd name="connsiteY21" fmla="*/ 73272 h 797705"/>
              <a:gd name="connsiteX22" fmla="*/ 399516 w 829568"/>
              <a:gd name="connsiteY22" fmla="*/ 82369 h 797705"/>
              <a:gd name="connsiteX23" fmla="*/ 417751 w 829568"/>
              <a:gd name="connsiteY23" fmla="*/ 77821 h 797705"/>
              <a:gd name="connsiteX24" fmla="*/ 438265 w 829568"/>
              <a:gd name="connsiteY24" fmla="*/ 64175 h 797705"/>
              <a:gd name="connsiteX25" fmla="*/ 472455 w 829568"/>
              <a:gd name="connsiteY25" fmla="*/ 73272 h 797705"/>
              <a:gd name="connsiteX26" fmla="*/ 486131 w 829568"/>
              <a:gd name="connsiteY26" fmla="*/ 82369 h 797705"/>
              <a:gd name="connsiteX27" fmla="*/ 490690 w 829568"/>
              <a:gd name="connsiteY27" fmla="*/ 132402 h 797705"/>
              <a:gd name="connsiteX28" fmla="*/ 495248 w 829568"/>
              <a:gd name="connsiteY28" fmla="*/ 196081 h 797705"/>
              <a:gd name="connsiteX29" fmla="*/ 495248 w 829568"/>
              <a:gd name="connsiteY29" fmla="*/ 214275 h 797705"/>
              <a:gd name="connsiteX30" fmla="*/ 495067 w 829568"/>
              <a:gd name="connsiteY30" fmla="*/ 214233 h 797705"/>
              <a:gd name="connsiteX31" fmla="*/ 497146 w 829568"/>
              <a:gd name="connsiteY31" fmla="*/ 220449 h 797705"/>
              <a:gd name="connsiteX32" fmla="*/ 508530 w 829568"/>
              <a:gd name="connsiteY32" fmla="*/ 224986 h 797705"/>
              <a:gd name="connsiteX33" fmla="*/ 524467 w 829568"/>
              <a:gd name="connsiteY33" fmla="*/ 238598 h 797705"/>
              <a:gd name="connsiteX34" fmla="*/ 556340 w 829568"/>
              <a:gd name="connsiteY34" fmla="*/ 234060 h 797705"/>
              <a:gd name="connsiteX35" fmla="*/ 560894 w 829568"/>
              <a:gd name="connsiteY35" fmla="*/ 243135 h 797705"/>
              <a:gd name="connsiteX36" fmla="*/ 563170 w 829568"/>
              <a:gd name="connsiteY36" fmla="*/ 247672 h 797705"/>
              <a:gd name="connsiteX37" fmla="*/ 564024 w 829568"/>
              <a:gd name="connsiteY37" fmla="*/ 255045 h 797705"/>
              <a:gd name="connsiteX38" fmla="*/ 563903 w 829568"/>
              <a:gd name="connsiteY38" fmla="*/ 256574 h 797705"/>
              <a:gd name="connsiteX39" fmla="*/ 564418 w 829568"/>
              <a:gd name="connsiteY39" fmla="*/ 256978 h 797705"/>
              <a:gd name="connsiteX40" fmla="*/ 564486 w 829568"/>
              <a:gd name="connsiteY40" fmla="*/ 256164 h 797705"/>
              <a:gd name="connsiteX41" fmla="*/ 563684 w 829568"/>
              <a:gd name="connsiteY41" fmla="*/ 246583 h 797705"/>
              <a:gd name="connsiteX42" fmla="*/ 570440 w 829568"/>
              <a:gd name="connsiteY42" fmla="*/ 254988 h 797705"/>
              <a:gd name="connsiteX43" fmla="*/ 570445 w 829568"/>
              <a:gd name="connsiteY43" fmla="*/ 254942 h 797705"/>
              <a:gd name="connsiteX44" fmla="*/ 574113 w 829568"/>
              <a:gd name="connsiteY44" fmla="*/ 256872 h 797705"/>
              <a:gd name="connsiteX45" fmla="*/ 567290 w 829568"/>
              <a:gd name="connsiteY45" fmla="*/ 250109 h 797705"/>
              <a:gd name="connsiteX46" fmla="*/ 563684 w 829568"/>
              <a:gd name="connsiteY46" fmla="*/ 246583 h 797705"/>
              <a:gd name="connsiteX47" fmla="*/ 563632 w 829568"/>
              <a:gd name="connsiteY47" fmla="*/ 245962 h 797705"/>
              <a:gd name="connsiteX48" fmla="*/ 574458 w 829568"/>
              <a:gd name="connsiteY48" fmla="*/ 256788 h 797705"/>
              <a:gd name="connsiteX49" fmla="*/ 583230 w 829568"/>
              <a:gd name="connsiteY49" fmla="*/ 254659 h 797705"/>
              <a:gd name="connsiteX50" fmla="*/ 595448 w 829568"/>
              <a:gd name="connsiteY50" fmla="*/ 250406 h 797705"/>
              <a:gd name="connsiteX51" fmla="*/ 624997 w 829568"/>
              <a:gd name="connsiteY51" fmla="*/ 282159 h 797705"/>
              <a:gd name="connsiteX52" fmla="*/ 637214 w 829568"/>
              <a:gd name="connsiteY52" fmla="*/ 311928 h 797705"/>
              <a:gd name="connsiteX53" fmla="*/ 636731 w 829568"/>
              <a:gd name="connsiteY53" fmla="*/ 319061 h 797705"/>
              <a:gd name="connsiteX54" fmla="*/ 652790 w 829568"/>
              <a:gd name="connsiteY54" fmla="*/ 335120 h 797705"/>
              <a:gd name="connsiteX55" fmla="*/ 638758 w 829568"/>
              <a:gd name="connsiteY55" fmla="*/ 321150 h 797705"/>
              <a:gd name="connsiteX56" fmla="*/ 636727 w 829568"/>
              <a:gd name="connsiteY56" fmla="*/ 319129 h 797705"/>
              <a:gd name="connsiteX57" fmla="*/ 636185 w 829568"/>
              <a:gd name="connsiteY57" fmla="*/ 327131 h 797705"/>
              <a:gd name="connsiteX58" fmla="*/ 640908 w 829568"/>
              <a:gd name="connsiteY58" fmla="*/ 343397 h 797705"/>
              <a:gd name="connsiteX59" fmla="*/ 656819 w 829568"/>
              <a:gd name="connsiteY59" fmla="*/ 329788 h 797705"/>
              <a:gd name="connsiteX60" fmla="*/ 672730 w 829568"/>
              <a:gd name="connsiteY60" fmla="*/ 347933 h 797705"/>
              <a:gd name="connsiteX61" fmla="*/ 679549 w 829568"/>
              <a:gd name="connsiteY61" fmla="*/ 366077 h 797705"/>
              <a:gd name="connsiteX62" fmla="*/ 686368 w 829568"/>
              <a:gd name="connsiteY62" fmla="*/ 418243 h 797705"/>
              <a:gd name="connsiteX63" fmla="*/ 736375 w 829568"/>
              <a:gd name="connsiteY63" fmla="*/ 413707 h 797705"/>
              <a:gd name="connsiteX64" fmla="*/ 756832 w 829568"/>
              <a:gd name="connsiteY64" fmla="*/ 420511 h 797705"/>
              <a:gd name="connsiteX65" fmla="*/ 765924 w 829568"/>
              <a:gd name="connsiteY65" fmla="*/ 406903 h 797705"/>
              <a:gd name="connsiteX66" fmla="*/ 829568 w 829568"/>
              <a:gd name="connsiteY66" fmla="*/ 397830 h 797705"/>
              <a:gd name="connsiteX67" fmla="*/ 829568 w 829568"/>
              <a:gd name="connsiteY67" fmla="*/ 413707 h 797705"/>
              <a:gd name="connsiteX68" fmla="*/ 827295 w 829568"/>
              <a:gd name="connsiteY68" fmla="*/ 422779 h 797705"/>
              <a:gd name="connsiteX69" fmla="*/ 822749 w 829568"/>
              <a:gd name="connsiteY69" fmla="*/ 427315 h 797705"/>
              <a:gd name="connsiteX70" fmla="*/ 815930 w 829568"/>
              <a:gd name="connsiteY70" fmla="*/ 427315 h 797705"/>
              <a:gd name="connsiteX71" fmla="*/ 809111 w 829568"/>
              <a:gd name="connsiteY71" fmla="*/ 443192 h 797705"/>
              <a:gd name="connsiteX72" fmla="*/ 802292 w 829568"/>
              <a:gd name="connsiteY72" fmla="*/ 452264 h 797705"/>
              <a:gd name="connsiteX73" fmla="*/ 800019 w 829568"/>
              <a:gd name="connsiteY73" fmla="*/ 459068 h 797705"/>
              <a:gd name="connsiteX74" fmla="*/ 800019 w 829568"/>
              <a:gd name="connsiteY74" fmla="*/ 470408 h 797705"/>
              <a:gd name="connsiteX75" fmla="*/ 800019 w 829568"/>
              <a:gd name="connsiteY75" fmla="*/ 481749 h 797705"/>
              <a:gd name="connsiteX76" fmla="*/ 784108 w 829568"/>
              <a:gd name="connsiteY76" fmla="*/ 477212 h 797705"/>
              <a:gd name="connsiteX77" fmla="*/ 777289 w 829568"/>
              <a:gd name="connsiteY77" fmla="*/ 477212 h 797705"/>
              <a:gd name="connsiteX78" fmla="*/ 770470 w 829568"/>
              <a:gd name="connsiteY78" fmla="*/ 481749 h 797705"/>
              <a:gd name="connsiteX79" fmla="*/ 768197 w 829568"/>
              <a:gd name="connsiteY79" fmla="*/ 488553 h 797705"/>
              <a:gd name="connsiteX80" fmla="*/ 750013 w 829568"/>
              <a:gd name="connsiteY80" fmla="*/ 497625 h 797705"/>
              <a:gd name="connsiteX81" fmla="*/ 745467 w 829568"/>
              <a:gd name="connsiteY81" fmla="*/ 490821 h 797705"/>
              <a:gd name="connsiteX82" fmla="*/ 740921 w 829568"/>
              <a:gd name="connsiteY82" fmla="*/ 493089 h 797705"/>
              <a:gd name="connsiteX83" fmla="*/ 738648 w 829568"/>
              <a:gd name="connsiteY83" fmla="*/ 499893 h 797705"/>
              <a:gd name="connsiteX84" fmla="*/ 738648 w 829568"/>
              <a:gd name="connsiteY84" fmla="*/ 502161 h 797705"/>
              <a:gd name="connsiteX85" fmla="*/ 725010 w 829568"/>
              <a:gd name="connsiteY85" fmla="*/ 504429 h 797705"/>
              <a:gd name="connsiteX86" fmla="*/ 715918 w 829568"/>
              <a:gd name="connsiteY86" fmla="*/ 508965 h 797705"/>
              <a:gd name="connsiteX87" fmla="*/ 715918 w 829568"/>
              <a:gd name="connsiteY87" fmla="*/ 520306 h 797705"/>
              <a:gd name="connsiteX88" fmla="*/ 713645 w 829568"/>
              <a:gd name="connsiteY88" fmla="*/ 522574 h 797705"/>
              <a:gd name="connsiteX89" fmla="*/ 693188 w 829568"/>
              <a:gd name="connsiteY89" fmla="*/ 527110 h 797705"/>
              <a:gd name="connsiteX90" fmla="*/ 677276 w 829568"/>
              <a:gd name="connsiteY90" fmla="*/ 531646 h 797705"/>
              <a:gd name="connsiteX91" fmla="*/ 668184 w 829568"/>
              <a:gd name="connsiteY91" fmla="*/ 527110 h 797705"/>
              <a:gd name="connsiteX92" fmla="*/ 665911 w 829568"/>
              <a:gd name="connsiteY92" fmla="*/ 529378 h 797705"/>
              <a:gd name="connsiteX93" fmla="*/ 665911 w 829568"/>
              <a:gd name="connsiteY93" fmla="*/ 538450 h 797705"/>
              <a:gd name="connsiteX94" fmla="*/ 659092 w 829568"/>
              <a:gd name="connsiteY94" fmla="*/ 540718 h 797705"/>
              <a:gd name="connsiteX95" fmla="*/ 659092 w 829568"/>
              <a:gd name="connsiteY95" fmla="*/ 545254 h 797705"/>
              <a:gd name="connsiteX96" fmla="*/ 659092 w 829568"/>
              <a:gd name="connsiteY96" fmla="*/ 556595 h 797705"/>
              <a:gd name="connsiteX97" fmla="*/ 656819 w 829568"/>
              <a:gd name="connsiteY97" fmla="*/ 561131 h 797705"/>
              <a:gd name="connsiteX98" fmla="*/ 652273 w 829568"/>
              <a:gd name="connsiteY98" fmla="*/ 561131 h 797705"/>
              <a:gd name="connsiteX99" fmla="*/ 650000 w 829568"/>
              <a:gd name="connsiteY99" fmla="*/ 561131 h 797705"/>
              <a:gd name="connsiteX100" fmla="*/ 618178 w 829568"/>
              <a:gd name="connsiteY100" fmla="*/ 552058 h 797705"/>
              <a:gd name="connsiteX101" fmla="*/ 618178 w 829568"/>
              <a:gd name="connsiteY101" fmla="*/ 549790 h 797705"/>
              <a:gd name="connsiteX102" fmla="*/ 609086 w 829568"/>
              <a:gd name="connsiteY102" fmla="*/ 542986 h 797705"/>
              <a:gd name="connsiteX103" fmla="*/ 599994 w 829568"/>
              <a:gd name="connsiteY103" fmla="*/ 547522 h 797705"/>
              <a:gd name="connsiteX104" fmla="*/ 590902 w 829568"/>
              <a:gd name="connsiteY104" fmla="*/ 554327 h 797705"/>
              <a:gd name="connsiteX105" fmla="*/ 579537 w 829568"/>
              <a:gd name="connsiteY105" fmla="*/ 563399 h 797705"/>
              <a:gd name="connsiteX106" fmla="*/ 574991 w 829568"/>
              <a:gd name="connsiteY106" fmla="*/ 556595 h 797705"/>
              <a:gd name="connsiteX107" fmla="*/ 570445 w 829568"/>
              <a:gd name="connsiteY107" fmla="*/ 558863 h 797705"/>
              <a:gd name="connsiteX108" fmla="*/ 568172 w 829568"/>
              <a:gd name="connsiteY108" fmla="*/ 563399 h 797705"/>
              <a:gd name="connsiteX109" fmla="*/ 568172 w 829568"/>
              <a:gd name="connsiteY109" fmla="*/ 565667 h 797705"/>
              <a:gd name="connsiteX110" fmla="*/ 568172 w 829568"/>
              <a:gd name="connsiteY110" fmla="*/ 570203 h 797705"/>
              <a:gd name="connsiteX111" fmla="*/ 565899 w 829568"/>
              <a:gd name="connsiteY111" fmla="*/ 572471 h 797705"/>
              <a:gd name="connsiteX112" fmla="*/ 565899 w 829568"/>
              <a:gd name="connsiteY112" fmla="*/ 574739 h 797705"/>
              <a:gd name="connsiteX113" fmla="*/ 581810 w 829568"/>
              <a:gd name="connsiteY113" fmla="*/ 581543 h 797705"/>
              <a:gd name="connsiteX114" fmla="*/ 586356 w 829568"/>
              <a:gd name="connsiteY114" fmla="*/ 586079 h 797705"/>
              <a:gd name="connsiteX115" fmla="*/ 590902 w 829568"/>
              <a:gd name="connsiteY115" fmla="*/ 579275 h 797705"/>
              <a:gd name="connsiteX116" fmla="*/ 597721 w 829568"/>
              <a:gd name="connsiteY116" fmla="*/ 583811 h 797705"/>
              <a:gd name="connsiteX117" fmla="*/ 599994 w 829568"/>
              <a:gd name="connsiteY117" fmla="*/ 579275 h 797705"/>
              <a:gd name="connsiteX118" fmla="*/ 606813 w 829568"/>
              <a:gd name="connsiteY118" fmla="*/ 588347 h 797705"/>
              <a:gd name="connsiteX119" fmla="*/ 606813 w 829568"/>
              <a:gd name="connsiteY119" fmla="*/ 590616 h 797705"/>
              <a:gd name="connsiteX120" fmla="*/ 602267 w 829568"/>
              <a:gd name="connsiteY120" fmla="*/ 601956 h 797705"/>
              <a:gd name="connsiteX121" fmla="*/ 604540 w 829568"/>
              <a:gd name="connsiteY121" fmla="*/ 606492 h 797705"/>
              <a:gd name="connsiteX122" fmla="*/ 609086 w 829568"/>
              <a:gd name="connsiteY122" fmla="*/ 611028 h 797705"/>
              <a:gd name="connsiteX123" fmla="*/ 606813 w 829568"/>
              <a:gd name="connsiteY123" fmla="*/ 613296 h 797705"/>
              <a:gd name="connsiteX124" fmla="*/ 588629 w 829568"/>
              <a:gd name="connsiteY124" fmla="*/ 613296 h 797705"/>
              <a:gd name="connsiteX125" fmla="*/ 572718 w 829568"/>
              <a:gd name="connsiteY125" fmla="*/ 597420 h 797705"/>
              <a:gd name="connsiteX126" fmla="*/ 568172 w 829568"/>
              <a:gd name="connsiteY126" fmla="*/ 606492 h 797705"/>
              <a:gd name="connsiteX127" fmla="*/ 561353 w 829568"/>
              <a:gd name="connsiteY127" fmla="*/ 597420 h 797705"/>
              <a:gd name="connsiteX128" fmla="*/ 556807 w 829568"/>
              <a:gd name="connsiteY128" fmla="*/ 592884 h 797705"/>
              <a:gd name="connsiteX129" fmla="*/ 540896 w 829568"/>
              <a:gd name="connsiteY129" fmla="*/ 570203 h 797705"/>
              <a:gd name="connsiteX130" fmla="*/ 529530 w 829568"/>
              <a:gd name="connsiteY130" fmla="*/ 565667 h 797705"/>
              <a:gd name="connsiteX131" fmla="*/ 518165 w 829568"/>
              <a:gd name="connsiteY131" fmla="*/ 572471 h 797705"/>
              <a:gd name="connsiteX132" fmla="*/ 509073 w 829568"/>
              <a:gd name="connsiteY132" fmla="*/ 577007 h 797705"/>
              <a:gd name="connsiteX133" fmla="*/ 506800 w 829568"/>
              <a:gd name="connsiteY133" fmla="*/ 574739 h 797705"/>
              <a:gd name="connsiteX134" fmla="*/ 504527 w 829568"/>
              <a:gd name="connsiteY134" fmla="*/ 574739 h 797705"/>
              <a:gd name="connsiteX135" fmla="*/ 504527 w 829568"/>
              <a:gd name="connsiteY135" fmla="*/ 570324 h 797705"/>
              <a:gd name="connsiteX136" fmla="*/ 503669 w 829568"/>
              <a:gd name="connsiteY136" fmla="*/ 570324 h 797705"/>
              <a:gd name="connsiteX137" fmla="*/ 503669 w 829568"/>
              <a:gd name="connsiteY137" fmla="*/ 574870 h 797705"/>
              <a:gd name="connsiteX138" fmla="*/ 505946 w 829568"/>
              <a:gd name="connsiteY138" fmla="*/ 577143 h 797705"/>
              <a:gd name="connsiteX139" fmla="*/ 505946 w 829568"/>
              <a:gd name="connsiteY139" fmla="*/ 579415 h 797705"/>
              <a:gd name="connsiteX140" fmla="*/ 505946 w 829568"/>
              <a:gd name="connsiteY140" fmla="*/ 581688 h 797705"/>
              <a:gd name="connsiteX141" fmla="*/ 496839 w 829568"/>
              <a:gd name="connsiteY141" fmla="*/ 590779 h 797705"/>
              <a:gd name="connsiteX142" fmla="*/ 496839 w 829568"/>
              <a:gd name="connsiteY142" fmla="*/ 595324 h 797705"/>
              <a:gd name="connsiteX143" fmla="*/ 501392 w 829568"/>
              <a:gd name="connsiteY143" fmla="*/ 599870 h 797705"/>
              <a:gd name="connsiteX144" fmla="*/ 510500 w 829568"/>
              <a:gd name="connsiteY144" fmla="*/ 608960 h 797705"/>
              <a:gd name="connsiteX145" fmla="*/ 508223 w 829568"/>
              <a:gd name="connsiteY145" fmla="*/ 613506 h 797705"/>
              <a:gd name="connsiteX146" fmla="*/ 508223 w 829568"/>
              <a:gd name="connsiteY146" fmla="*/ 618051 h 797705"/>
              <a:gd name="connsiteX147" fmla="*/ 490008 w 829568"/>
              <a:gd name="connsiteY147" fmla="*/ 640778 h 797705"/>
              <a:gd name="connsiteX148" fmla="*/ 464962 w 829568"/>
              <a:gd name="connsiteY148" fmla="*/ 631687 h 797705"/>
              <a:gd name="connsiteX149" fmla="*/ 451300 w 829568"/>
              <a:gd name="connsiteY149" fmla="*/ 624869 h 797705"/>
              <a:gd name="connsiteX150" fmla="*/ 423977 w 829568"/>
              <a:gd name="connsiteY150" fmla="*/ 638506 h 797705"/>
              <a:gd name="connsiteX151" fmla="*/ 414870 w 829568"/>
              <a:gd name="connsiteY151" fmla="*/ 643051 h 797705"/>
              <a:gd name="connsiteX152" fmla="*/ 398931 w 829568"/>
              <a:gd name="connsiteY152" fmla="*/ 645324 h 797705"/>
              <a:gd name="connsiteX153" fmla="*/ 394378 w 829568"/>
              <a:gd name="connsiteY153" fmla="*/ 652142 h 797705"/>
              <a:gd name="connsiteX154" fmla="*/ 373885 w 829568"/>
              <a:gd name="connsiteY154" fmla="*/ 654415 h 797705"/>
              <a:gd name="connsiteX155" fmla="*/ 353393 w 829568"/>
              <a:gd name="connsiteY155" fmla="*/ 661233 h 797705"/>
              <a:gd name="connsiteX156" fmla="*/ 344285 w 829568"/>
              <a:gd name="connsiteY156" fmla="*/ 683960 h 797705"/>
              <a:gd name="connsiteX157" fmla="*/ 346559 w 829568"/>
              <a:gd name="connsiteY157" fmla="*/ 695305 h 797705"/>
              <a:gd name="connsiteX158" fmla="*/ 346890 w 829568"/>
              <a:gd name="connsiteY158" fmla="*/ 695371 h 797705"/>
              <a:gd name="connsiteX159" fmla="*/ 349169 w 829568"/>
              <a:gd name="connsiteY159" fmla="*/ 697639 h 797705"/>
              <a:gd name="connsiteX160" fmla="*/ 349169 w 829568"/>
              <a:gd name="connsiteY160" fmla="*/ 708981 h 797705"/>
              <a:gd name="connsiteX161" fmla="*/ 349169 w 829568"/>
              <a:gd name="connsiteY161" fmla="*/ 713518 h 797705"/>
              <a:gd name="connsiteX162" fmla="*/ 346890 w 829568"/>
              <a:gd name="connsiteY162" fmla="*/ 724861 h 797705"/>
              <a:gd name="connsiteX163" fmla="*/ 340053 w 829568"/>
              <a:gd name="connsiteY163" fmla="*/ 722592 h 797705"/>
              <a:gd name="connsiteX164" fmla="*/ 317264 w 829568"/>
              <a:gd name="connsiteY164" fmla="*/ 720324 h 797705"/>
              <a:gd name="connsiteX165" fmla="*/ 312706 w 829568"/>
              <a:gd name="connsiteY165" fmla="*/ 718055 h 797705"/>
              <a:gd name="connsiteX166" fmla="*/ 303590 w 829568"/>
              <a:gd name="connsiteY166" fmla="*/ 724861 h 797705"/>
              <a:gd name="connsiteX167" fmla="*/ 294474 w 829568"/>
              <a:gd name="connsiteY167" fmla="*/ 731666 h 797705"/>
              <a:gd name="connsiteX168" fmla="*/ 289916 w 829568"/>
              <a:gd name="connsiteY168" fmla="*/ 738471 h 797705"/>
              <a:gd name="connsiteX169" fmla="*/ 289916 w 829568"/>
              <a:gd name="connsiteY169" fmla="*/ 752082 h 797705"/>
              <a:gd name="connsiteX170" fmla="*/ 280800 w 829568"/>
              <a:gd name="connsiteY170" fmla="*/ 740740 h 797705"/>
              <a:gd name="connsiteX171" fmla="*/ 278521 w 829568"/>
              <a:gd name="connsiteY171" fmla="*/ 738471 h 797705"/>
              <a:gd name="connsiteX172" fmla="*/ 278521 w 829568"/>
              <a:gd name="connsiteY172" fmla="*/ 743008 h 797705"/>
              <a:gd name="connsiteX173" fmla="*/ 276242 w 829568"/>
              <a:gd name="connsiteY173" fmla="*/ 749814 h 797705"/>
              <a:gd name="connsiteX174" fmla="*/ 269405 w 829568"/>
              <a:gd name="connsiteY174" fmla="*/ 761156 h 797705"/>
              <a:gd name="connsiteX175" fmla="*/ 232942 w 829568"/>
              <a:gd name="connsiteY175" fmla="*/ 749814 h 797705"/>
              <a:gd name="connsiteX176" fmla="*/ 230663 w 829568"/>
              <a:gd name="connsiteY176" fmla="*/ 754351 h 797705"/>
              <a:gd name="connsiteX177" fmla="*/ 203316 w 829568"/>
              <a:gd name="connsiteY177" fmla="*/ 754351 h 797705"/>
              <a:gd name="connsiteX178" fmla="*/ 180526 w 829568"/>
              <a:gd name="connsiteY178" fmla="*/ 761156 h 797705"/>
              <a:gd name="connsiteX179" fmla="*/ 169131 w 829568"/>
              <a:gd name="connsiteY179" fmla="*/ 767961 h 797705"/>
              <a:gd name="connsiteX180" fmla="*/ 157736 w 829568"/>
              <a:gd name="connsiteY180" fmla="*/ 783841 h 797705"/>
              <a:gd name="connsiteX181" fmla="*/ 137226 w 829568"/>
              <a:gd name="connsiteY181" fmla="*/ 797451 h 797705"/>
              <a:gd name="connsiteX182" fmla="*/ 128110 w 829568"/>
              <a:gd name="connsiteY182" fmla="*/ 786109 h 797705"/>
              <a:gd name="connsiteX183" fmla="*/ 121273 w 829568"/>
              <a:gd name="connsiteY183" fmla="*/ 792914 h 797705"/>
              <a:gd name="connsiteX184" fmla="*/ 93925 w 829568"/>
              <a:gd name="connsiteY184" fmla="*/ 790646 h 797705"/>
              <a:gd name="connsiteX185" fmla="*/ 68857 w 829568"/>
              <a:gd name="connsiteY185" fmla="*/ 790646 h 797705"/>
              <a:gd name="connsiteX186" fmla="*/ 57462 w 829568"/>
              <a:gd name="connsiteY186" fmla="*/ 792914 h 797705"/>
              <a:gd name="connsiteX187" fmla="*/ 46067 w 829568"/>
              <a:gd name="connsiteY187" fmla="*/ 788377 h 797705"/>
              <a:gd name="connsiteX188" fmla="*/ 25556 w 829568"/>
              <a:gd name="connsiteY188" fmla="*/ 786109 h 797705"/>
              <a:gd name="connsiteX189" fmla="*/ 25556 w 829568"/>
              <a:gd name="connsiteY189" fmla="*/ 783841 h 797705"/>
              <a:gd name="connsiteX190" fmla="*/ 27835 w 829568"/>
              <a:gd name="connsiteY190" fmla="*/ 777035 h 797705"/>
              <a:gd name="connsiteX191" fmla="*/ 25556 w 829568"/>
              <a:gd name="connsiteY191" fmla="*/ 774767 h 797705"/>
              <a:gd name="connsiteX192" fmla="*/ 43788 w 829568"/>
              <a:gd name="connsiteY192" fmla="*/ 770230 h 797705"/>
              <a:gd name="connsiteX193" fmla="*/ 48346 w 829568"/>
              <a:gd name="connsiteY193" fmla="*/ 699908 h 797705"/>
              <a:gd name="connsiteX194" fmla="*/ 5046 w 829568"/>
              <a:gd name="connsiteY194" fmla="*/ 670418 h 797705"/>
              <a:gd name="connsiteX195" fmla="*/ 30114 w 829568"/>
              <a:gd name="connsiteY195" fmla="*/ 615975 h 797705"/>
              <a:gd name="connsiteX196" fmla="*/ 41509 w 829568"/>
              <a:gd name="connsiteY196" fmla="*/ 600095 h 797705"/>
              <a:gd name="connsiteX197" fmla="*/ 34672 w 829568"/>
              <a:gd name="connsiteY197" fmla="*/ 581948 h 797705"/>
              <a:gd name="connsiteX198" fmla="*/ 41509 w 829568"/>
              <a:gd name="connsiteY198" fmla="*/ 554726 h 797705"/>
              <a:gd name="connsiteX199" fmla="*/ 16441 w 829568"/>
              <a:gd name="connsiteY199" fmla="*/ 543384 h 797705"/>
              <a:gd name="connsiteX200" fmla="*/ 34672 w 829568"/>
              <a:gd name="connsiteY200" fmla="*/ 541115 h 797705"/>
              <a:gd name="connsiteX201" fmla="*/ 41498 w 829568"/>
              <a:gd name="connsiteY201" fmla="*/ 541115 h 797705"/>
              <a:gd name="connsiteX202" fmla="*/ 39341 w 829568"/>
              <a:gd name="connsiteY202" fmla="*/ 528176 h 797705"/>
              <a:gd name="connsiteX203" fmla="*/ 86966 w 829568"/>
              <a:gd name="connsiteY203" fmla="*/ 494839 h 797705"/>
              <a:gd name="connsiteX204" fmla="*/ 65409 w 829568"/>
              <a:gd name="connsiteY204" fmla="*/ 464300 h 797705"/>
              <a:gd name="connsiteX205" fmla="*/ 62429 w 829568"/>
              <a:gd name="connsiteY205" fmla="*/ 465726 h 797705"/>
              <a:gd name="connsiteX206" fmla="*/ 62429 w 829568"/>
              <a:gd name="connsiteY206" fmla="*/ 467991 h 797705"/>
              <a:gd name="connsiteX207" fmla="*/ 57874 w 829568"/>
              <a:gd name="connsiteY207" fmla="*/ 470256 h 797705"/>
              <a:gd name="connsiteX208" fmla="*/ 48763 w 829568"/>
              <a:gd name="connsiteY208" fmla="*/ 472522 h 797705"/>
              <a:gd name="connsiteX209" fmla="*/ 35096 w 829568"/>
              <a:gd name="connsiteY209" fmla="*/ 467991 h 797705"/>
              <a:gd name="connsiteX210" fmla="*/ 32818 w 829568"/>
              <a:gd name="connsiteY210" fmla="*/ 449871 h 797705"/>
              <a:gd name="connsiteX211" fmla="*/ 55596 w 829568"/>
              <a:gd name="connsiteY211" fmla="*/ 418160 h 797705"/>
              <a:gd name="connsiteX212" fmla="*/ 55596 w 829568"/>
              <a:gd name="connsiteY212" fmla="*/ 404569 h 797705"/>
              <a:gd name="connsiteX213" fmla="*/ 48763 w 829568"/>
              <a:gd name="connsiteY213" fmla="*/ 372858 h 797705"/>
              <a:gd name="connsiteX214" fmla="*/ 41929 w 829568"/>
              <a:gd name="connsiteY214" fmla="*/ 354737 h 797705"/>
              <a:gd name="connsiteX215" fmla="*/ 41929 w 829568"/>
              <a:gd name="connsiteY215" fmla="*/ 320761 h 797705"/>
              <a:gd name="connsiteX216" fmla="*/ 41929 w 829568"/>
              <a:gd name="connsiteY216" fmla="*/ 300375 h 797705"/>
              <a:gd name="connsiteX217" fmla="*/ 44207 w 829568"/>
              <a:gd name="connsiteY217" fmla="*/ 302640 h 797705"/>
              <a:gd name="connsiteX218" fmla="*/ 57934 w 829568"/>
              <a:gd name="connsiteY218" fmla="*/ 312196 h 797705"/>
              <a:gd name="connsiteX219" fmla="*/ 58242 w 829568"/>
              <a:gd name="connsiteY219" fmla="*/ 311394 h 797705"/>
              <a:gd name="connsiteX220" fmla="*/ 56256 w 829568"/>
              <a:gd name="connsiteY220" fmla="*/ 310012 h 797705"/>
              <a:gd name="connsiteX221" fmla="*/ 44300 w 829568"/>
              <a:gd name="connsiteY221" fmla="*/ 302367 h 797705"/>
              <a:gd name="connsiteX222" fmla="*/ 42022 w 829568"/>
              <a:gd name="connsiteY222" fmla="*/ 300102 h 797705"/>
              <a:gd name="connsiteX223" fmla="*/ 44300 w 829568"/>
              <a:gd name="connsiteY223" fmla="*/ 291042 h 797705"/>
              <a:gd name="connsiteX224" fmla="*/ 78462 w 829568"/>
              <a:gd name="connsiteY224" fmla="*/ 259331 h 797705"/>
              <a:gd name="connsiteX225" fmla="*/ 92126 w 829568"/>
              <a:gd name="connsiteY225" fmla="*/ 232149 h 797705"/>
              <a:gd name="connsiteX226" fmla="*/ 114901 w 829568"/>
              <a:gd name="connsiteY226" fmla="*/ 211764 h 797705"/>
              <a:gd name="connsiteX227" fmla="*/ 108638 w 829568"/>
              <a:gd name="connsiteY227" fmla="*/ 204968 h 797705"/>
              <a:gd name="connsiteX228" fmla="*/ 92261 w 829568"/>
              <a:gd name="connsiteY228" fmla="*/ 198228 h 797705"/>
              <a:gd name="connsiteX229" fmla="*/ 91806 w 829568"/>
              <a:gd name="connsiteY229" fmla="*/ 198355 h 797705"/>
              <a:gd name="connsiteX230" fmla="*/ 84968 w 829568"/>
              <a:gd name="connsiteY230" fmla="*/ 193807 h 797705"/>
              <a:gd name="connsiteX231" fmla="*/ 94086 w 829568"/>
              <a:gd name="connsiteY231" fmla="*/ 155145 h 797705"/>
              <a:gd name="connsiteX232" fmla="*/ 135114 w 829568"/>
              <a:gd name="connsiteY232" fmla="*/ 127854 h 797705"/>
              <a:gd name="connsiteX233" fmla="*/ 160186 w 829568"/>
              <a:gd name="connsiteY233" fmla="*/ 134677 h 797705"/>
              <a:gd name="connsiteX234" fmla="*/ 160186 w 829568"/>
              <a:gd name="connsiteY234" fmla="*/ 109660 h 797705"/>
              <a:gd name="connsiteX235" fmla="*/ 187538 w 829568"/>
              <a:gd name="connsiteY235" fmla="*/ 82369 h 797705"/>
              <a:gd name="connsiteX236" fmla="*/ 187538 w 829568"/>
              <a:gd name="connsiteY236" fmla="*/ 48256 h 797705"/>
              <a:gd name="connsiteX237" fmla="*/ 190103 w 829568"/>
              <a:gd name="connsiteY237"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70418 w 829568"/>
              <a:gd name="connsiteY8" fmla="*/ 255212 h 797705"/>
              <a:gd name="connsiteX9" fmla="*/ 568829 w 829568"/>
              <a:gd name="connsiteY9" fmla="*/ 260444 h 797705"/>
              <a:gd name="connsiteX10" fmla="*/ 570418 w 829568"/>
              <a:gd name="connsiteY10" fmla="*/ 255212 h 797705"/>
              <a:gd name="connsiteX11" fmla="*/ 561350 w 829568"/>
              <a:gd name="connsiteY11" fmla="*/ 243680 h 797705"/>
              <a:gd name="connsiteX12" fmla="*/ 563631 w 829568"/>
              <a:gd name="connsiteY12" fmla="*/ 245950 h 797705"/>
              <a:gd name="connsiteX13" fmla="*/ 563632 w 829568"/>
              <a:gd name="connsiteY13" fmla="*/ 245962 h 797705"/>
              <a:gd name="connsiteX14" fmla="*/ 561350 w 829568"/>
              <a:gd name="connsiteY14" fmla="*/ 243680 h 797705"/>
              <a:gd name="connsiteX15" fmla="*/ 190103 w 829568"/>
              <a:gd name="connsiteY15" fmla="*/ 284 h 797705"/>
              <a:gd name="connsiteX16" fmla="*/ 208052 w 829568"/>
              <a:gd name="connsiteY16" fmla="*/ 7319 h 797705"/>
              <a:gd name="connsiteX17" fmla="*/ 244522 w 829568"/>
              <a:gd name="connsiteY17" fmla="*/ 16416 h 797705"/>
              <a:gd name="connsiteX18" fmla="*/ 269594 w 829568"/>
              <a:gd name="connsiteY18" fmla="*/ 36884 h 797705"/>
              <a:gd name="connsiteX19" fmla="*/ 303784 w 829568"/>
              <a:gd name="connsiteY19" fmla="*/ 59627 h 797705"/>
              <a:gd name="connsiteX20" fmla="*/ 317460 w 829568"/>
              <a:gd name="connsiteY20" fmla="*/ 89192 h 797705"/>
              <a:gd name="connsiteX21" fmla="*/ 353930 w 829568"/>
              <a:gd name="connsiteY21" fmla="*/ 73272 h 797705"/>
              <a:gd name="connsiteX22" fmla="*/ 399516 w 829568"/>
              <a:gd name="connsiteY22" fmla="*/ 82369 h 797705"/>
              <a:gd name="connsiteX23" fmla="*/ 417751 w 829568"/>
              <a:gd name="connsiteY23" fmla="*/ 77821 h 797705"/>
              <a:gd name="connsiteX24" fmla="*/ 438265 w 829568"/>
              <a:gd name="connsiteY24" fmla="*/ 64175 h 797705"/>
              <a:gd name="connsiteX25" fmla="*/ 472455 w 829568"/>
              <a:gd name="connsiteY25" fmla="*/ 73272 h 797705"/>
              <a:gd name="connsiteX26" fmla="*/ 486131 w 829568"/>
              <a:gd name="connsiteY26" fmla="*/ 82369 h 797705"/>
              <a:gd name="connsiteX27" fmla="*/ 490690 w 829568"/>
              <a:gd name="connsiteY27" fmla="*/ 132402 h 797705"/>
              <a:gd name="connsiteX28" fmla="*/ 495248 w 829568"/>
              <a:gd name="connsiteY28" fmla="*/ 196081 h 797705"/>
              <a:gd name="connsiteX29" fmla="*/ 495248 w 829568"/>
              <a:gd name="connsiteY29" fmla="*/ 214275 h 797705"/>
              <a:gd name="connsiteX30" fmla="*/ 495067 w 829568"/>
              <a:gd name="connsiteY30" fmla="*/ 214233 h 797705"/>
              <a:gd name="connsiteX31" fmla="*/ 497146 w 829568"/>
              <a:gd name="connsiteY31" fmla="*/ 220449 h 797705"/>
              <a:gd name="connsiteX32" fmla="*/ 508530 w 829568"/>
              <a:gd name="connsiteY32" fmla="*/ 224986 h 797705"/>
              <a:gd name="connsiteX33" fmla="*/ 524467 w 829568"/>
              <a:gd name="connsiteY33" fmla="*/ 238598 h 797705"/>
              <a:gd name="connsiteX34" fmla="*/ 556340 w 829568"/>
              <a:gd name="connsiteY34" fmla="*/ 234060 h 797705"/>
              <a:gd name="connsiteX35" fmla="*/ 560894 w 829568"/>
              <a:gd name="connsiteY35" fmla="*/ 243135 h 797705"/>
              <a:gd name="connsiteX36" fmla="*/ 563170 w 829568"/>
              <a:gd name="connsiteY36" fmla="*/ 247672 h 797705"/>
              <a:gd name="connsiteX37" fmla="*/ 564024 w 829568"/>
              <a:gd name="connsiteY37" fmla="*/ 255045 h 797705"/>
              <a:gd name="connsiteX38" fmla="*/ 563903 w 829568"/>
              <a:gd name="connsiteY38" fmla="*/ 256574 h 797705"/>
              <a:gd name="connsiteX39" fmla="*/ 564418 w 829568"/>
              <a:gd name="connsiteY39" fmla="*/ 256978 h 797705"/>
              <a:gd name="connsiteX40" fmla="*/ 563684 w 829568"/>
              <a:gd name="connsiteY40" fmla="*/ 246583 h 797705"/>
              <a:gd name="connsiteX41" fmla="*/ 570440 w 829568"/>
              <a:gd name="connsiteY41" fmla="*/ 254988 h 797705"/>
              <a:gd name="connsiteX42" fmla="*/ 570445 w 829568"/>
              <a:gd name="connsiteY42" fmla="*/ 254942 h 797705"/>
              <a:gd name="connsiteX43" fmla="*/ 574113 w 829568"/>
              <a:gd name="connsiteY43" fmla="*/ 256872 h 797705"/>
              <a:gd name="connsiteX44" fmla="*/ 567290 w 829568"/>
              <a:gd name="connsiteY44" fmla="*/ 250109 h 797705"/>
              <a:gd name="connsiteX45" fmla="*/ 563684 w 829568"/>
              <a:gd name="connsiteY45" fmla="*/ 246583 h 797705"/>
              <a:gd name="connsiteX46" fmla="*/ 563632 w 829568"/>
              <a:gd name="connsiteY46" fmla="*/ 245962 h 797705"/>
              <a:gd name="connsiteX47" fmla="*/ 574458 w 829568"/>
              <a:gd name="connsiteY47" fmla="*/ 256788 h 797705"/>
              <a:gd name="connsiteX48" fmla="*/ 583230 w 829568"/>
              <a:gd name="connsiteY48" fmla="*/ 254659 h 797705"/>
              <a:gd name="connsiteX49" fmla="*/ 595448 w 829568"/>
              <a:gd name="connsiteY49" fmla="*/ 250406 h 797705"/>
              <a:gd name="connsiteX50" fmla="*/ 624997 w 829568"/>
              <a:gd name="connsiteY50" fmla="*/ 282159 h 797705"/>
              <a:gd name="connsiteX51" fmla="*/ 637214 w 829568"/>
              <a:gd name="connsiteY51" fmla="*/ 311928 h 797705"/>
              <a:gd name="connsiteX52" fmla="*/ 636731 w 829568"/>
              <a:gd name="connsiteY52" fmla="*/ 319061 h 797705"/>
              <a:gd name="connsiteX53" fmla="*/ 652790 w 829568"/>
              <a:gd name="connsiteY53" fmla="*/ 335120 h 797705"/>
              <a:gd name="connsiteX54" fmla="*/ 638758 w 829568"/>
              <a:gd name="connsiteY54" fmla="*/ 321150 h 797705"/>
              <a:gd name="connsiteX55" fmla="*/ 636727 w 829568"/>
              <a:gd name="connsiteY55" fmla="*/ 319129 h 797705"/>
              <a:gd name="connsiteX56" fmla="*/ 636185 w 829568"/>
              <a:gd name="connsiteY56" fmla="*/ 327131 h 797705"/>
              <a:gd name="connsiteX57" fmla="*/ 640908 w 829568"/>
              <a:gd name="connsiteY57" fmla="*/ 343397 h 797705"/>
              <a:gd name="connsiteX58" fmla="*/ 656819 w 829568"/>
              <a:gd name="connsiteY58" fmla="*/ 329788 h 797705"/>
              <a:gd name="connsiteX59" fmla="*/ 672730 w 829568"/>
              <a:gd name="connsiteY59" fmla="*/ 347933 h 797705"/>
              <a:gd name="connsiteX60" fmla="*/ 679549 w 829568"/>
              <a:gd name="connsiteY60" fmla="*/ 366077 h 797705"/>
              <a:gd name="connsiteX61" fmla="*/ 686368 w 829568"/>
              <a:gd name="connsiteY61" fmla="*/ 418243 h 797705"/>
              <a:gd name="connsiteX62" fmla="*/ 736375 w 829568"/>
              <a:gd name="connsiteY62" fmla="*/ 413707 h 797705"/>
              <a:gd name="connsiteX63" fmla="*/ 756832 w 829568"/>
              <a:gd name="connsiteY63" fmla="*/ 420511 h 797705"/>
              <a:gd name="connsiteX64" fmla="*/ 765924 w 829568"/>
              <a:gd name="connsiteY64" fmla="*/ 406903 h 797705"/>
              <a:gd name="connsiteX65" fmla="*/ 829568 w 829568"/>
              <a:gd name="connsiteY65" fmla="*/ 397830 h 797705"/>
              <a:gd name="connsiteX66" fmla="*/ 829568 w 829568"/>
              <a:gd name="connsiteY66" fmla="*/ 413707 h 797705"/>
              <a:gd name="connsiteX67" fmla="*/ 827295 w 829568"/>
              <a:gd name="connsiteY67" fmla="*/ 422779 h 797705"/>
              <a:gd name="connsiteX68" fmla="*/ 822749 w 829568"/>
              <a:gd name="connsiteY68" fmla="*/ 427315 h 797705"/>
              <a:gd name="connsiteX69" fmla="*/ 815930 w 829568"/>
              <a:gd name="connsiteY69" fmla="*/ 427315 h 797705"/>
              <a:gd name="connsiteX70" fmla="*/ 809111 w 829568"/>
              <a:gd name="connsiteY70" fmla="*/ 443192 h 797705"/>
              <a:gd name="connsiteX71" fmla="*/ 802292 w 829568"/>
              <a:gd name="connsiteY71" fmla="*/ 452264 h 797705"/>
              <a:gd name="connsiteX72" fmla="*/ 800019 w 829568"/>
              <a:gd name="connsiteY72" fmla="*/ 459068 h 797705"/>
              <a:gd name="connsiteX73" fmla="*/ 800019 w 829568"/>
              <a:gd name="connsiteY73" fmla="*/ 470408 h 797705"/>
              <a:gd name="connsiteX74" fmla="*/ 800019 w 829568"/>
              <a:gd name="connsiteY74" fmla="*/ 481749 h 797705"/>
              <a:gd name="connsiteX75" fmla="*/ 784108 w 829568"/>
              <a:gd name="connsiteY75" fmla="*/ 477212 h 797705"/>
              <a:gd name="connsiteX76" fmla="*/ 777289 w 829568"/>
              <a:gd name="connsiteY76" fmla="*/ 477212 h 797705"/>
              <a:gd name="connsiteX77" fmla="*/ 770470 w 829568"/>
              <a:gd name="connsiteY77" fmla="*/ 481749 h 797705"/>
              <a:gd name="connsiteX78" fmla="*/ 768197 w 829568"/>
              <a:gd name="connsiteY78" fmla="*/ 488553 h 797705"/>
              <a:gd name="connsiteX79" fmla="*/ 750013 w 829568"/>
              <a:gd name="connsiteY79" fmla="*/ 497625 h 797705"/>
              <a:gd name="connsiteX80" fmla="*/ 745467 w 829568"/>
              <a:gd name="connsiteY80" fmla="*/ 490821 h 797705"/>
              <a:gd name="connsiteX81" fmla="*/ 740921 w 829568"/>
              <a:gd name="connsiteY81" fmla="*/ 493089 h 797705"/>
              <a:gd name="connsiteX82" fmla="*/ 738648 w 829568"/>
              <a:gd name="connsiteY82" fmla="*/ 499893 h 797705"/>
              <a:gd name="connsiteX83" fmla="*/ 738648 w 829568"/>
              <a:gd name="connsiteY83" fmla="*/ 502161 h 797705"/>
              <a:gd name="connsiteX84" fmla="*/ 725010 w 829568"/>
              <a:gd name="connsiteY84" fmla="*/ 504429 h 797705"/>
              <a:gd name="connsiteX85" fmla="*/ 715918 w 829568"/>
              <a:gd name="connsiteY85" fmla="*/ 508965 h 797705"/>
              <a:gd name="connsiteX86" fmla="*/ 715918 w 829568"/>
              <a:gd name="connsiteY86" fmla="*/ 520306 h 797705"/>
              <a:gd name="connsiteX87" fmla="*/ 713645 w 829568"/>
              <a:gd name="connsiteY87" fmla="*/ 522574 h 797705"/>
              <a:gd name="connsiteX88" fmla="*/ 693188 w 829568"/>
              <a:gd name="connsiteY88" fmla="*/ 527110 h 797705"/>
              <a:gd name="connsiteX89" fmla="*/ 677276 w 829568"/>
              <a:gd name="connsiteY89" fmla="*/ 531646 h 797705"/>
              <a:gd name="connsiteX90" fmla="*/ 668184 w 829568"/>
              <a:gd name="connsiteY90" fmla="*/ 527110 h 797705"/>
              <a:gd name="connsiteX91" fmla="*/ 665911 w 829568"/>
              <a:gd name="connsiteY91" fmla="*/ 529378 h 797705"/>
              <a:gd name="connsiteX92" fmla="*/ 665911 w 829568"/>
              <a:gd name="connsiteY92" fmla="*/ 538450 h 797705"/>
              <a:gd name="connsiteX93" fmla="*/ 659092 w 829568"/>
              <a:gd name="connsiteY93" fmla="*/ 540718 h 797705"/>
              <a:gd name="connsiteX94" fmla="*/ 659092 w 829568"/>
              <a:gd name="connsiteY94" fmla="*/ 545254 h 797705"/>
              <a:gd name="connsiteX95" fmla="*/ 659092 w 829568"/>
              <a:gd name="connsiteY95" fmla="*/ 556595 h 797705"/>
              <a:gd name="connsiteX96" fmla="*/ 656819 w 829568"/>
              <a:gd name="connsiteY96" fmla="*/ 561131 h 797705"/>
              <a:gd name="connsiteX97" fmla="*/ 652273 w 829568"/>
              <a:gd name="connsiteY97" fmla="*/ 561131 h 797705"/>
              <a:gd name="connsiteX98" fmla="*/ 650000 w 829568"/>
              <a:gd name="connsiteY98" fmla="*/ 561131 h 797705"/>
              <a:gd name="connsiteX99" fmla="*/ 618178 w 829568"/>
              <a:gd name="connsiteY99" fmla="*/ 552058 h 797705"/>
              <a:gd name="connsiteX100" fmla="*/ 618178 w 829568"/>
              <a:gd name="connsiteY100" fmla="*/ 549790 h 797705"/>
              <a:gd name="connsiteX101" fmla="*/ 609086 w 829568"/>
              <a:gd name="connsiteY101" fmla="*/ 542986 h 797705"/>
              <a:gd name="connsiteX102" fmla="*/ 599994 w 829568"/>
              <a:gd name="connsiteY102" fmla="*/ 547522 h 797705"/>
              <a:gd name="connsiteX103" fmla="*/ 590902 w 829568"/>
              <a:gd name="connsiteY103" fmla="*/ 554327 h 797705"/>
              <a:gd name="connsiteX104" fmla="*/ 579537 w 829568"/>
              <a:gd name="connsiteY104" fmla="*/ 563399 h 797705"/>
              <a:gd name="connsiteX105" fmla="*/ 574991 w 829568"/>
              <a:gd name="connsiteY105" fmla="*/ 556595 h 797705"/>
              <a:gd name="connsiteX106" fmla="*/ 570445 w 829568"/>
              <a:gd name="connsiteY106" fmla="*/ 558863 h 797705"/>
              <a:gd name="connsiteX107" fmla="*/ 568172 w 829568"/>
              <a:gd name="connsiteY107" fmla="*/ 563399 h 797705"/>
              <a:gd name="connsiteX108" fmla="*/ 568172 w 829568"/>
              <a:gd name="connsiteY108" fmla="*/ 565667 h 797705"/>
              <a:gd name="connsiteX109" fmla="*/ 568172 w 829568"/>
              <a:gd name="connsiteY109" fmla="*/ 570203 h 797705"/>
              <a:gd name="connsiteX110" fmla="*/ 565899 w 829568"/>
              <a:gd name="connsiteY110" fmla="*/ 572471 h 797705"/>
              <a:gd name="connsiteX111" fmla="*/ 565899 w 829568"/>
              <a:gd name="connsiteY111" fmla="*/ 574739 h 797705"/>
              <a:gd name="connsiteX112" fmla="*/ 581810 w 829568"/>
              <a:gd name="connsiteY112" fmla="*/ 581543 h 797705"/>
              <a:gd name="connsiteX113" fmla="*/ 586356 w 829568"/>
              <a:gd name="connsiteY113" fmla="*/ 586079 h 797705"/>
              <a:gd name="connsiteX114" fmla="*/ 590902 w 829568"/>
              <a:gd name="connsiteY114" fmla="*/ 579275 h 797705"/>
              <a:gd name="connsiteX115" fmla="*/ 597721 w 829568"/>
              <a:gd name="connsiteY115" fmla="*/ 583811 h 797705"/>
              <a:gd name="connsiteX116" fmla="*/ 599994 w 829568"/>
              <a:gd name="connsiteY116" fmla="*/ 579275 h 797705"/>
              <a:gd name="connsiteX117" fmla="*/ 606813 w 829568"/>
              <a:gd name="connsiteY117" fmla="*/ 588347 h 797705"/>
              <a:gd name="connsiteX118" fmla="*/ 606813 w 829568"/>
              <a:gd name="connsiteY118" fmla="*/ 590616 h 797705"/>
              <a:gd name="connsiteX119" fmla="*/ 602267 w 829568"/>
              <a:gd name="connsiteY119" fmla="*/ 601956 h 797705"/>
              <a:gd name="connsiteX120" fmla="*/ 604540 w 829568"/>
              <a:gd name="connsiteY120" fmla="*/ 606492 h 797705"/>
              <a:gd name="connsiteX121" fmla="*/ 609086 w 829568"/>
              <a:gd name="connsiteY121" fmla="*/ 611028 h 797705"/>
              <a:gd name="connsiteX122" fmla="*/ 606813 w 829568"/>
              <a:gd name="connsiteY122" fmla="*/ 613296 h 797705"/>
              <a:gd name="connsiteX123" fmla="*/ 588629 w 829568"/>
              <a:gd name="connsiteY123" fmla="*/ 613296 h 797705"/>
              <a:gd name="connsiteX124" fmla="*/ 572718 w 829568"/>
              <a:gd name="connsiteY124" fmla="*/ 597420 h 797705"/>
              <a:gd name="connsiteX125" fmla="*/ 568172 w 829568"/>
              <a:gd name="connsiteY125" fmla="*/ 606492 h 797705"/>
              <a:gd name="connsiteX126" fmla="*/ 561353 w 829568"/>
              <a:gd name="connsiteY126" fmla="*/ 597420 h 797705"/>
              <a:gd name="connsiteX127" fmla="*/ 556807 w 829568"/>
              <a:gd name="connsiteY127" fmla="*/ 592884 h 797705"/>
              <a:gd name="connsiteX128" fmla="*/ 540896 w 829568"/>
              <a:gd name="connsiteY128" fmla="*/ 570203 h 797705"/>
              <a:gd name="connsiteX129" fmla="*/ 529530 w 829568"/>
              <a:gd name="connsiteY129" fmla="*/ 565667 h 797705"/>
              <a:gd name="connsiteX130" fmla="*/ 518165 w 829568"/>
              <a:gd name="connsiteY130" fmla="*/ 572471 h 797705"/>
              <a:gd name="connsiteX131" fmla="*/ 509073 w 829568"/>
              <a:gd name="connsiteY131" fmla="*/ 577007 h 797705"/>
              <a:gd name="connsiteX132" fmla="*/ 506800 w 829568"/>
              <a:gd name="connsiteY132" fmla="*/ 574739 h 797705"/>
              <a:gd name="connsiteX133" fmla="*/ 504527 w 829568"/>
              <a:gd name="connsiteY133" fmla="*/ 574739 h 797705"/>
              <a:gd name="connsiteX134" fmla="*/ 504527 w 829568"/>
              <a:gd name="connsiteY134" fmla="*/ 570324 h 797705"/>
              <a:gd name="connsiteX135" fmla="*/ 503669 w 829568"/>
              <a:gd name="connsiteY135" fmla="*/ 570324 h 797705"/>
              <a:gd name="connsiteX136" fmla="*/ 503669 w 829568"/>
              <a:gd name="connsiteY136" fmla="*/ 574870 h 797705"/>
              <a:gd name="connsiteX137" fmla="*/ 505946 w 829568"/>
              <a:gd name="connsiteY137" fmla="*/ 577143 h 797705"/>
              <a:gd name="connsiteX138" fmla="*/ 505946 w 829568"/>
              <a:gd name="connsiteY138" fmla="*/ 579415 h 797705"/>
              <a:gd name="connsiteX139" fmla="*/ 505946 w 829568"/>
              <a:gd name="connsiteY139" fmla="*/ 581688 h 797705"/>
              <a:gd name="connsiteX140" fmla="*/ 496839 w 829568"/>
              <a:gd name="connsiteY140" fmla="*/ 590779 h 797705"/>
              <a:gd name="connsiteX141" fmla="*/ 496839 w 829568"/>
              <a:gd name="connsiteY141" fmla="*/ 595324 h 797705"/>
              <a:gd name="connsiteX142" fmla="*/ 501392 w 829568"/>
              <a:gd name="connsiteY142" fmla="*/ 599870 h 797705"/>
              <a:gd name="connsiteX143" fmla="*/ 510500 w 829568"/>
              <a:gd name="connsiteY143" fmla="*/ 608960 h 797705"/>
              <a:gd name="connsiteX144" fmla="*/ 508223 w 829568"/>
              <a:gd name="connsiteY144" fmla="*/ 613506 h 797705"/>
              <a:gd name="connsiteX145" fmla="*/ 508223 w 829568"/>
              <a:gd name="connsiteY145" fmla="*/ 618051 h 797705"/>
              <a:gd name="connsiteX146" fmla="*/ 490008 w 829568"/>
              <a:gd name="connsiteY146" fmla="*/ 640778 h 797705"/>
              <a:gd name="connsiteX147" fmla="*/ 464962 w 829568"/>
              <a:gd name="connsiteY147" fmla="*/ 631687 h 797705"/>
              <a:gd name="connsiteX148" fmla="*/ 451300 w 829568"/>
              <a:gd name="connsiteY148" fmla="*/ 624869 h 797705"/>
              <a:gd name="connsiteX149" fmla="*/ 423977 w 829568"/>
              <a:gd name="connsiteY149" fmla="*/ 638506 h 797705"/>
              <a:gd name="connsiteX150" fmla="*/ 414870 w 829568"/>
              <a:gd name="connsiteY150" fmla="*/ 643051 h 797705"/>
              <a:gd name="connsiteX151" fmla="*/ 398931 w 829568"/>
              <a:gd name="connsiteY151" fmla="*/ 645324 h 797705"/>
              <a:gd name="connsiteX152" fmla="*/ 394378 w 829568"/>
              <a:gd name="connsiteY152" fmla="*/ 652142 h 797705"/>
              <a:gd name="connsiteX153" fmla="*/ 373885 w 829568"/>
              <a:gd name="connsiteY153" fmla="*/ 654415 h 797705"/>
              <a:gd name="connsiteX154" fmla="*/ 353393 w 829568"/>
              <a:gd name="connsiteY154" fmla="*/ 661233 h 797705"/>
              <a:gd name="connsiteX155" fmla="*/ 344285 w 829568"/>
              <a:gd name="connsiteY155" fmla="*/ 683960 h 797705"/>
              <a:gd name="connsiteX156" fmla="*/ 346559 w 829568"/>
              <a:gd name="connsiteY156" fmla="*/ 695305 h 797705"/>
              <a:gd name="connsiteX157" fmla="*/ 346890 w 829568"/>
              <a:gd name="connsiteY157" fmla="*/ 695371 h 797705"/>
              <a:gd name="connsiteX158" fmla="*/ 349169 w 829568"/>
              <a:gd name="connsiteY158" fmla="*/ 697639 h 797705"/>
              <a:gd name="connsiteX159" fmla="*/ 349169 w 829568"/>
              <a:gd name="connsiteY159" fmla="*/ 708981 h 797705"/>
              <a:gd name="connsiteX160" fmla="*/ 349169 w 829568"/>
              <a:gd name="connsiteY160" fmla="*/ 713518 h 797705"/>
              <a:gd name="connsiteX161" fmla="*/ 346890 w 829568"/>
              <a:gd name="connsiteY161" fmla="*/ 724861 h 797705"/>
              <a:gd name="connsiteX162" fmla="*/ 340053 w 829568"/>
              <a:gd name="connsiteY162" fmla="*/ 722592 h 797705"/>
              <a:gd name="connsiteX163" fmla="*/ 317264 w 829568"/>
              <a:gd name="connsiteY163" fmla="*/ 720324 h 797705"/>
              <a:gd name="connsiteX164" fmla="*/ 312706 w 829568"/>
              <a:gd name="connsiteY164" fmla="*/ 718055 h 797705"/>
              <a:gd name="connsiteX165" fmla="*/ 303590 w 829568"/>
              <a:gd name="connsiteY165" fmla="*/ 724861 h 797705"/>
              <a:gd name="connsiteX166" fmla="*/ 294474 w 829568"/>
              <a:gd name="connsiteY166" fmla="*/ 731666 h 797705"/>
              <a:gd name="connsiteX167" fmla="*/ 289916 w 829568"/>
              <a:gd name="connsiteY167" fmla="*/ 738471 h 797705"/>
              <a:gd name="connsiteX168" fmla="*/ 289916 w 829568"/>
              <a:gd name="connsiteY168" fmla="*/ 752082 h 797705"/>
              <a:gd name="connsiteX169" fmla="*/ 280800 w 829568"/>
              <a:gd name="connsiteY169" fmla="*/ 740740 h 797705"/>
              <a:gd name="connsiteX170" fmla="*/ 278521 w 829568"/>
              <a:gd name="connsiteY170" fmla="*/ 738471 h 797705"/>
              <a:gd name="connsiteX171" fmla="*/ 278521 w 829568"/>
              <a:gd name="connsiteY171" fmla="*/ 743008 h 797705"/>
              <a:gd name="connsiteX172" fmla="*/ 276242 w 829568"/>
              <a:gd name="connsiteY172" fmla="*/ 749814 h 797705"/>
              <a:gd name="connsiteX173" fmla="*/ 269405 w 829568"/>
              <a:gd name="connsiteY173" fmla="*/ 761156 h 797705"/>
              <a:gd name="connsiteX174" fmla="*/ 232942 w 829568"/>
              <a:gd name="connsiteY174" fmla="*/ 749814 h 797705"/>
              <a:gd name="connsiteX175" fmla="*/ 230663 w 829568"/>
              <a:gd name="connsiteY175" fmla="*/ 754351 h 797705"/>
              <a:gd name="connsiteX176" fmla="*/ 203316 w 829568"/>
              <a:gd name="connsiteY176" fmla="*/ 754351 h 797705"/>
              <a:gd name="connsiteX177" fmla="*/ 180526 w 829568"/>
              <a:gd name="connsiteY177" fmla="*/ 761156 h 797705"/>
              <a:gd name="connsiteX178" fmla="*/ 169131 w 829568"/>
              <a:gd name="connsiteY178" fmla="*/ 767961 h 797705"/>
              <a:gd name="connsiteX179" fmla="*/ 157736 w 829568"/>
              <a:gd name="connsiteY179" fmla="*/ 783841 h 797705"/>
              <a:gd name="connsiteX180" fmla="*/ 137226 w 829568"/>
              <a:gd name="connsiteY180" fmla="*/ 797451 h 797705"/>
              <a:gd name="connsiteX181" fmla="*/ 128110 w 829568"/>
              <a:gd name="connsiteY181" fmla="*/ 786109 h 797705"/>
              <a:gd name="connsiteX182" fmla="*/ 121273 w 829568"/>
              <a:gd name="connsiteY182" fmla="*/ 792914 h 797705"/>
              <a:gd name="connsiteX183" fmla="*/ 93925 w 829568"/>
              <a:gd name="connsiteY183" fmla="*/ 790646 h 797705"/>
              <a:gd name="connsiteX184" fmla="*/ 68857 w 829568"/>
              <a:gd name="connsiteY184" fmla="*/ 790646 h 797705"/>
              <a:gd name="connsiteX185" fmla="*/ 57462 w 829568"/>
              <a:gd name="connsiteY185" fmla="*/ 792914 h 797705"/>
              <a:gd name="connsiteX186" fmla="*/ 46067 w 829568"/>
              <a:gd name="connsiteY186" fmla="*/ 788377 h 797705"/>
              <a:gd name="connsiteX187" fmla="*/ 25556 w 829568"/>
              <a:gd name="connsiteY187" fmla="*/ 786109 h 797705"/>
              <a:gd name="connsiteX188" fmla="*/ 25556 w 829568"/>
              <a:gd name="connsiteY188" fmla="*/ 783841 h 797705"/>
              <a:gd name="connsiteX189" fmla="*/ 27835 w 829568"/>
              <a:gd name="connsiteY189" fmla="*/ 777035 h 797705"/>
              <a:gd name="connsiteX190" fmla="*/ 25556 w 829568"/>
              <a:gd name="connsiteY190" fmla="*/ 774767 h 797705"/>
              <a:gd name="connsiteX191" fmla="*/ 43788 w 829568"/>
              <a:gd name="connsiteY191" fmla="*/ 770230 h 797705"/>
              <a:gd name="connsiteX192" fmla="*/ 48346 w 829568"/>
              <a:gd name="connsiteY192" fmla="*/ 699908 h 797705"/>
              <a:gd name="connsiteX193" fmla="*/ 5046 w 829568"/>
              <a:gd name="connsiteY193" fmla="*/ 670418 h 797705"/>
              <a:gd name="connsiteX194" fmla="*/ 30114 w 829568"/>
              <a:gd name="connsiteY194" fmla="*/ 615975 h 797705"/>
              <a:gd name="connsiteX195" fmla="*/ 41509 w 829568"/>
              <a:gd name="connsiteY195" fmla="*/ 600095 h 797705"/>
              <a:gd name="connsiteX196" fmla="*/ 34672 w 829568"/>
              <a:gd name="connsiteY196" fmla="*/ 581948 h 797705"/>
              <a:gd name="connsiteX197" fmla="*/ 41509 w 829568"/>
              <a:gd name="connsiteY197" fmla="*/ 554726 h 797705"/>
              <a:gd name="connsiteX198" fmla="*/ 16441 w 829568"/>
              <a:gd name="connsiteY198" fmla="*/ 543384 h 797705"/>
              <a:gd name="connsiteX199" fmla="*/ 34672 w 829568"/>
              <a:gd name="connsiteY199" fmla="*/ 541115 h 797705"/>
              <a:gd name="connsiteX200" fmla="*/ 41498 w 829568"/>
              <a:gd name="connsiteY200" fmla="*/ 541115 h 797705"/>
              <a:gd name="connsiteX201" fmla="*/ 39341 w 829568"/>
              <a:gd name="connsiteY201" fmla="*/ 528176 h 797705"/>
              <a:gd name="connsiteX202" fmla="*/ 86966 w 829568"/>
              <a:gd name="connsiteY202" fmla="*/ 494839 h 797705"/>
              <a:gd name="connsiteX203" fmla="*/ 65409 w 829568"/>
              <a:gd name="connsiteY203" fmla="*/ 464300 h 797705"/>
              <a:gd name="connsiteX204" fmla="*/ 62429 w 829568"/>
              <a:gd name="connsiteY204" fmla="*/ 465726 h 797705"/>
              <a:gd name="connsiteX205" fmla="*/ 62429 w 829568"/>
              <a:gd name="connsiteY205" fmla="*/ 467991 h 797705"/>
              <a:gd name="connsiteX206" fmla="*/ 57874 w 829568"/>
              <a:gd name="connsiteY206" fmla="*/ 470256 h 797705"/>
              <a:gd name="connsiteX207" fmla="*/ 48763 w 829568"/>
              <a:gd name="connsiteY207" fmla="*/ 472522 h 797705"/>
              <a:gd name="connsiteX208" fmla="*/ 35096 w 829568"/>
              <a:gd name="connsiteY208" fmla="*/ 467991 h 797705"/>
              <a:gd name="connsiteX209" fmla="*/ 32818 w 829568"/>
              <a:gd name="connsiteY209" fmla="*/ 449871 h 797705"/>
              <a:gd name="connsiteX210" fmla="*/ 55596 w 829568"/>
              <a:gd name="connsiteY210" fmla="*/ 418160 h 797705"/>
              <a:gd name="connsiteX211" fmla="*/ 55596 w 829568"/>
              <a:gd name="connsiteY211" fmla="*/ 404569 h 797705"/>
              <a:gd name="connsiteX212" fmla="*/ 48763 w 829568"/>
              <a:gd name="connsiteY212" fmla="*/ 372858 h 797705"/>
              <a:gd name="connsiteX213" fmla="*/ 41929 w 829568"/>
              <a:gd name="connsiteY213" fmla="*/ 354737 h 797705"/>
              <a:gd name="connsiteX214" fmla="*/ 41929 w 829568"/>
              <a:gd name="connsiteY214" fmla="*/ 320761 h 797705"/>
              <a:gd name="connsiteX215" fmla="*/ 41929 w 829568"/>
              <a:gd name="connsiteY215" fmla="*/ 300375 h 797705"/>
              <a:gd name="connsiteX216" fmla="*/ 44207 w 829568"/>
              <a:gd name="connsiteY216" fmla="*/ 302640 h 797705"/>
              <a:gd name="connsiteX217" fmla="*/ 57934 w 829568"/>
              <a:gd name="connsiteY217" fmla="*/ 312196 h 797705"/>
              <a:gd name="connsiteX218" fmla="*/ 58242 w 829568"/>
              <a:gd name="connsiteY218" fmla="*/ 311394 h 797705"/>
              <a:gd name="connsiteX219" fmla="*/ 56256 w 829568"/>
              <a:gd name="connsiteY219" fmla="*/ 310012 h 797705"/>
              <a:gd name="connsiteX220" fmla="*/ 44300 w 829568"/>
              <a:gd name="connsiteY220" fmla="*/ 302367 h 797705"/>
              <a:gd name="connsiteX221" fmla="*/ 42022 w 829568"/>
              <a:gd name="connsiteY221" fmla="*/ 300102 h 797705"/>
              <a:gd name="connsiteX222" fmla="*/ 44300 w 829568"/>
              <a:gd name="connsiteY222" fmla="*/ 291042 h 797705"/>
              <a:gd name="connsiteX223" fmla="*/ 78462 w 829568"/>
              <a:gd name="connsiteY223" fmla="*/ 259331 h 797705"/>
              <a:gd name="connsiteX224" fmla="*/ 92126 w 829568"/>
              <a:gd name="connsiteY224" fmla="*/ 232149 h 797705"/>
              <a:gd name="connsiteX225" fmla="*/ 114901 w 829568"/>
              <a:gd name="connsiteY225" fmla="*/ 211764 h 797705"/>
              <a:gd name="connsiteX226" fmla="*/ 108638 w 829568"/>
              <a:gd name="connsiteY226" fmla="*/ 204968 h 797705"/>
              <a:gd name="connsiteX227" fmla="*/ 92261 w 829568"/>
              <a:gd name="connsiteY227" fmla="*/ 198228 h 797705"/>
              <a:gd name="connsiteX228" fmla="*/ 91806 w 829568"/>
              <a:gd name="connsiteY228" fmla="*/ 198355 h 797705"/>
              <a:gd name="connsiteX229" fmla="*/ 84968 w 829568"/>
              <a:gd name="connsiteY229" fmla="*/ 193807 h 797705"/>
              <a:gd name="connsiteX230" fmla="*/ 94086 w 829568"/>
              <a:gd name="connsiteY230" fmla="*/ 155145 h 797705"/>
              <a:gd name="connsiteX231" fmla="*/ 135114 w 829568"/>
              <a:gd name="connsiteY231" fmla="*/ 127854 h 797705"/>
              <a:gd name="connsiteX232" fmla="*/ 160186 w 829568"/>
              <a:gd name="connsiteY232" fmla="*/ 134677 h 797705"/>
              <a:gd name="connsiteX233" fmla="*/ 160186 w 829568"/>
              <a:gd name="connsiteY233" fmla="*/ 109660 h 797705"/>
              <a:gd name="connsiteX234" fmla="*/ 187538 w 829568"/>
              <a:gd name="connsiteY234" fmla="*/ 82369 h 797705"/>
              <a:gd name="connsiteX235" fmla="*/ 187538 w 829568"/>
              <a:gd name="connsiteY235" fmla="*/ 48256 h 797705"/>
              <a:gd name="connsiteX236" fmla="*/ 190103 w 829568"/>
              <a:gd name="connsiteY236"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70418 w 829568"/>
              <a:gd name="connsiteY8" fmla="*/ 255212 h 797705"/>
              <a:gd name="connsiteX9" fmla="*/ 568829 w 829568"/>
              <a:gd name="connsiteY9" fmla="*/ 260444 h 797705"/>
              <a:gd name="connsiteX10" fmla="*/ 570418 w 829568"/>
              <a:gd name="connsiteY10" fmla="*/ 255212 h 797705"/>
              <a:gd name="connsiteX11" fmla="*/ 561350 w 829568"/>
              <a:gd name="connsiteY11" fmla="*/ 243680 h 797705"/>
              <a:gd name="connsiteX12" fmla="*/ 563631 w 829568"/>
              <a:gd name="connsiteY12" fmla="*/ 245950 h 797705"/>
              <a:gd name="connsiteX13" fmla="*/ 563632 w 829568"/>
              <a:gd name="connsiteY13" fmla="*/ 245962 h 797705"/>
              <a:gd name="connsiteX14" fmla="*/ 561350 w 829568"/>
              <a:gd name="connsiteY14" fmla="*/ 243680 h 797705"/>
              <a:gd name="connsiteX15" fmla="*/ 190103 w 829568"/>
              <a:gd name="connsiteY15" fmla="*/ 284 h 797705"/>
              <a:gd name="connsiteX16" fmla="*/ 208052 w 829568"/>
              <a:gd name="connsiteY16" fmla="*/ 7319 h 797705"/>
              <a:gd name="connsiteX17" fmla="*/ 244522 w 829568"/>
              <a:gd name="connsiteY17" fmla="*/ 16416 h 797705"/>
              <a:gd name="connsiteX18" fmla="*/ 269594 w 829568"/>
              <a:gd name="connsiteY18" fmla="*/ 36884 h 797705"/>
              <a:gd name="connsiteX19" fmla="*/ 303784 w 829568"/>
              <a:gd name="connsiteY19" fmla="*/ 59627 h 797705"/>
              <a:gd name="connsiteX20" fmla="*/ 317460 w 829568"/>
              <a:gd name="connsiteY20" fmla="*/ 89192 h 797705"/>
              <a:gd name="connsiteX21" fmla="*/ 353930 w 829568"/>
              <a:gd name="connsiteY21" fmla="*/ 73272 h 797705"/>
              <a:gd name="connsiteX22" fmla="*/ 399516 w 829568"/>
              <a:gd name="connsiteY22" fmla="*/ 82369 h 797705"/>
              <a:gd name="connsiteX23" fmla="*/ 417751 w 829568"/>
              <a:gd name="connsiteY23" fmla="*/ 77821 h 797705"/>
              <a:gd name="connsiteX24" fmla="*/ 438265 w 829568"/>
              <a:gd name="connsiteY24" fmla="*/ 64175 h 797705"/>
              <a:gd name="connsiteX25" fmla="*/ 472455 w 829568"/>
              <a:gd name="connsiteY25" fmla="*/ 73272 h 797705"/>
              <a:gd name="connsiteX26" fmla="*/ 486131 w 829568"/>
              <a:gd name="connsiteY26" fmla="*/ 82369 h 797705"/>
              <a:gd name="connsiteX27" fmla="*/ 490690 w 829568"/>
              <a:gd name="connsiteY27" fmla="*/ 132402 h 797705"/>
              <a:gd name="connsiteX28" fmla="*/ 495248 w 829568"/>
              <a:gd name="connsiteY28" fmla="*/ 196081 h 797705"/>
              <a:gd name="connsiteX29" fmla="*/ 495248 w 829568"/>
              <a:gd name="connsiteY29" fmla="*/ 214275 h 797705"/>
              <a:gd name="connsiteX30" fmla="*/ 495067 w 829568"/>
              <a:gd name="connsiteY30" fmla="*/ 214233 h 797705"/>
              <a:gd name="connsiteX31" fmla="*/ 497146 w 829568"/>
              <a:gd name="connsiteY31" fmla="*/ 220449 h 797705"/>
              <a:gd name="connsiteX32" fmla="*/ 508530 w 829568"/>
              <a:gd name="connsiteY32" fmla="*/ 224986 h 797705"/>
              <a:gd name="connsiteX33" fmla="*/ 524467 w 829568"/>
              <a:gd name="connsiteY33" fmla="*/ 238598 h 797705"/>
              <a:gd name="connsiteX34" fmla="*/ 556340 w 829568"/>
              <a:gd name="connsiteY34" fmla="*/ 234060 h 797705"/>
              <a:gd name="connsiteX35" fmla="*/ 560894 w 829568"/>
              <a:gd name="connsiteY35" fmla="*/ 243135 h 797705"/>
              <a:gd name="connsiteX36" fmla="*/ 563170 w 829568"/>
              <a:gd name="connsiteY36" fmla="*/ 247672 h 797705"/>
              <a:gd name="connsiteX37" fmla="*/ 564024 w 829568"/>
              <a:gd name="connsiteY37" fmla="*/ 255045 h 797705"/>
              <a:gd name="connsiteX38" fmla="*/ 563903 w 829568"/>
              <a:gd name="connsiteY38" fmla="*/ 256574 h 797705"/>
              <a:gd name="connsiteX39" fmla="*/ 563684 w 829568"/>
              <a:gd name="connsiteY39" fmla="*/ 246583 h 797705"/>
              <a:gd name="connsiteX40" fmla="*/ 570440 w 829568"/>
              <a:gd name="connsiteY40" fmla="*/ 254988 h 797705"/>
              <a:gd name="connsiteX41" fmla="*/ 570445 w 829568"/>
              <a:gd name="connsiteY41" fmla="*/ 254942 h 797705"/>
              <a:gd name="connsiteX42" fmla="*/ 574113 w 829568"/>
              <a:gd name="connsiteY42" fmla="*/ 256872 h 797705"/>
              <a:gd name="connsiteX43" fmla="*/ 567290 w 829568"/>
              <a:gd name="connsiteY43" fmla="*/ 250109 h 797705"/>
              <a:gd name="connsiteX44" fmla="*/ 563684 w 829568"/>
              <a:gd name="connsiteY44" fmla="*/ 246583 h 797705"/>
              <a:gd name="connsiteX45" fmla="*/ 563632 w 829568"/>
              <a:gd name="connsiteY45" fmla="*/ 245962 h 797705"/>
              <a:gd name="connsiteX46" fmla="*/ 574458 w 829568"/>
              <a:gd name="connsiteY46" fmla="*/ 256788 h 797705"/>
              <a:gd name="connsiteX47" fmla="*/ 583230 w 829568"/>
              <a:gd name="connsiteY47" fmla="*/ 254659 h 797705"/>
              <a:gd name="connsiteX48" fmla="*/ 595448 w 829568"/>
              <a:gd name="connsiteY48" fmla="*/ 250406 h 797705"/>
              <a:gd name="connsiteX49" fmla="*/ 624997 w 829568"/>
              <a:gd name="connsiteY49" fmla="*/ 282159 h 797705"/>
              <a:gd name="connsiteX50" fmla="*/ 637214 w 829568"/>
              <a:gd name="connsiteY50" fmla="*/ 311928 h 797705"/>
              <a:gd name="connsiteX51" fmla="*/ 636731 w 829568"/>
              <a:gd name="connsiteY51" fmla="*/ 319061 h 797705"/>
              <a:gd name="connsiteX52" fmla="*/ 652790 w 829568"/>
              <a:gd name="connsiteY52" fmla="*/ 335120 h 797705"/>
              <a:gd name="connsiteX53" fmla="*/ 638758 w 829568"/>
              <a:gd name="connsiteY53" fmla="*/ 321150 h 797705"/>
              <a:gd name="connsiteX54" fmla="*/ 636727 w 829568"/>
              <a:gd name="connsiteY54" fmla="*/ 319129 h 797705"/>
              <a:gd name="connsiteX55" fmla="*/ 636185 w 829568"/>
              <a:gd name="connsiteY55" fmla="*/ 327131 h 797705"/>
              <a:gd name="connsiteX56" fmla="*/ 640908 w 829568"/>
              <a:gd name="connsiteY56" fmla="*/ 343397 h 797705"/>
              <a:gd name="connsiteX57" fmla="*/ 656819 w 829568"/>
              <a:gd name="connsiteY57" fmla="*/ 329788 h 797705"/>
              <a:gd name="connsiteX58" fmla="*/ 672730 w 829568"/>
              <a:gd name="connsiteY58" fmla="*/ 347933 h 797705"/>
              <a:gd name="connsiteX59" fmla="*/ 679549 w 829568"/>
              <a:gd name="connsiteY59" fmla="*/ 366077 h 797705"/>
              <a:gd name="connsiteX60" fmla="*/ 686368 w 829568"/>
              <a:gd name="connsiteY60" fmla="*/ 418243 h 797705"/>
              <a:gd name="connsiteX61" fmla="*/ 736375 w 829568"/>
              <a:gd name="connsiteY61" fmla="*/ 413707 h 797705"/>
              <a:gd name="connsiteX62" fmla="*/ 756832 w 829568"/>
              <a:gd name="connsiteY62" fmla="*/ 420511 h 797705"/>
              <a:gd name="connsiteX63" fmla="*/ 765924 w 829568"/>
              <a:gd name="connsiteY63" fmla="*/ 406903 h 797705"/>
              <a:gd name="connsiteX64" fmla="*/ 829568 w 829568"/>
              <a:gd name="connsiteY64" fmla="*/ 397830 h 797705"/>
              <a:gd name="connsiteX65" fmla="*/ 829568 w 829568"/>
              <a:gd name="connsiteY65" fmla="*/ 413707 h 797705"/>
              <a:gd name="connsiteX66" fmla="*/ 827295 w 829568"/>
              <a:gd name="connsiteY66" fmla="*/ 422779 h 797705"/>
              <a:gd name="connsiteX67" fmla="*/ 822749 w 829568"/>
              <a:gd name="connsiteY67" fmla="*/ 427315 h 797705"/>
              <a:gd name="connsiteX68" fmla="*/ 815930 w 829568"/>
              <a:gd name="connsiteY68" fmla="*/ 427315 h 797705"/>
              <a:gd name="connsiteX69" fmla="*/ 809111 w 829568"/>
              <a:gd name="connsiteY69" fmla="*/ 443192 h 797705"/>
              <a:gd name="connsiteX70" fmla="*/ 802292 w 829568"/>
              <a:gd name="connsiteY70" fmla="*/ 452264 h 797705"/>
              <a:gd name="connsiteX71" fmla="*/ 800019 w 829568"/>
              <a:gd name="connsiteY71" fmla="*/ 459068 h 797705"/>
              <a:gd name="connsiteX72" fmla="*/ 800019 w 829568"/>
              <a:gd name="connsiteY72" fmla="*/ 470408 h 797705"/>
              <a:gd name="connsiteX73" fmla="*/ 800019 w 829568"/>
              <a:gd name="connsiteY73" fmla="*/ 481749 h 797705"/>
              <a:gd name="connsiteX74" fmla="*/ 784108 w 829568"/>
              <a:gd name="connsiteY74" fmla="*/ 477212 h 797705"/>
              <a:gd name="connsiteX75" fmla="*/ 777289 w 829568"/>
              <a:gd name="connsiteY75" fmla="*/ 477212 h 797705"/>
              <a:gd name="connsiteX76" fmla="*/ 770470 w 829568"/>
              <a:gd name="connsiteY76" fmla="*/ 481749 h 797705"/>
              <a:gd name="connsiteX77" fmla="*/ 768197 w 829568"/>
              <a:gd name="connsiteY77" fmla="*/ 488553 h 797705"/>
              <a:gd name="connsiteX78" fmla="*/ 750013 w 829568"/>
              <a:gd name="connsiteY78" fmla="*/ 497625 h 797705"/>
              <a:gd name="connsiteX79" fmla="*/ 745467 w 829568"/>
              <a:gd name="connsiteY79" fmla="*/ 490821 h 797705"/>
              <a:gd name="connsiteX80" fmla="*/ 740921 w 829568"/>
              <a:gd name="connsiteY80" fmla="*/ 493089 h 797705"/>
              <a:gd name="connsiteX81" fmla="*/ 738648 w 829568"/>
              <a:gd name="connsiteY81" fmla="*/ 499893 h 797705"/>
              <a:gd name="connsiteX82" fmla="*/ 738648 w 829568"/>
              <a:gd name="connsiteY82" fmla="*/ 502161 h 797705"/>
              <a:gd name="connsiteX83" fmla="*/ 725010 w 829568"/>
              <a:gd name="connsiteY83" fmla="*/ 504429 h 797705"/>
              <a:gd name="connsiteX84" fmla="*/ 715918 w 829568"/>
              <a:gd name="connsiteY84" fmla="*/ 508965 h 797705"/>
              <a:gd name="connsiteX85" fmla="*/ 715918 w 829568"/>
              <a:gd name="connsiteY85" fmla="*/ 520306 h 797705"/>
              <a:gd name="connsiteX86" fmla="*/ 713645 w 829568"/>
              <a:gd name="connsiteY86" fmla="*/ 522574 h 797705"/>
              <a:gd name="connsiteX87" fmla="*/ 693188 w 829568"/>
              <a:gd name="connsiteY87" fmla="*/ 527110 h 797705"/>
              <a:gd name="connsiteX88" fmla="*/ 677276 w 829568"/>
              <a:gd name="connsiteY88" fmla="*/ 531646 h 797705"/>
              <a:gd name="connsiteX89" fmla="*/ 668184 w 829568"/>
              <a:gd name="connsiteY89" fmla="*/ 527110 h 797705"/>
              <a:gd name="connsiteX90" fmla="*/ 665911 w 829568"/>
              <a:gd name="connsiteY90" fmla="*/ 529378 h 797705"/>
              <a:gd name="connsiteX91" fmla="*/ 665911 w 829568"/>
              <a:gd name="connsiteY91" fmla="*/ 538450 h 797705"/>
              <a:gd name="connsiteX92" fmla="*/ 659092 w 829568"/>
              <a:gd name="connsiteY92" fmla="*/ 540718 h 797705"/>
              <a:gd name="connsiteX93" fmla="*/ 659092 w 829568"/>
              <a:gd name="connsiteY93" fmla="*/ 545254 h 797705"/>
              <a:gd name="connsiteX94" fmla="*/ 659092 w 829568"/>
              <a:gd name="connsiteY94" fmla="*/ 556595 h 797705"/>
              <a:gd name="connsiteX95" fmla="*/ 656819 w 829568"/>
              <a:gd name="connsiteY95" fmla="*/ 561131 h 797705"/>
              <a:gd name="connsiteX96" fmla="*/ 652273 w 829568"/>
              <a:gd name="connsiteY96" fmla="*/ 561131 h 797705"/>
              <a:gd name="connsiteX97" fmla="*/ 650000 w 829568"/>
              <a:gd name="connsiteY97" fmla="*/ 561131 h 797705"/>
              <a:gd name="connsiteX98" fmla="*/ 618178 w 829568"/>
              <a:gd name="connsiteY98" fmla="*/ 552058 h 797705"/>
              <a:gd name="connsiteX99" fmla="*/ 618178 w 829568"/>
              <a:gd name="connsiteY99" fmla="*/ 549790 h 797705"/>
              <a:gd name="connsiteX100" fmla="*/ 609086 w 829568"/>
              <a:gd name="connsiteY100" fmla="*/ 542986 h 797705"/>
              <a:gd name="connsiteX101" fmla="*/ 599994 w 829568"/>
              <a:gd name="connsiteY101" fmla="*/ 547522 h 797705"/>
              <a:gd name="connsiteX102" fmla="*/ 590902 w 829568"/>
              <a:gd name="connsiteY102" fmla="*/ 554327 h 797705"/>
              <a:gd name="connsiteX103" fmla="*/ 579537 w 829568"/>
              <a:gd name="connsiteY103" fmla="*/ 563399 h 797705"/>
              <a:gd name="connsiteX104" fmla="*/ 574991 w 829568"/>
              <a:gd name="connsiteY104" fmla="*/ 556595 h 797705"/>
              <a:gd name="connsiteX105" fmla="*/ 570445 w 829568"/>
              <a:gd name="connsiteY105" fmla="*/ 558863 h 797705"/>
              <a:gd name="connsiteX106" fmla="*/ 568172 w 829568"/>
              <a:gd name="connsiteY106" fmla="*/ 563399 h 797705"/>
              <a:gd name="connsiteX107" fmla="*/ 568172 w 829568"/>
              <a:gd name="connsiteY107" fmla="*/ 565667 h 797705"/>
              <a:gd name="connsiteX108" fmla="*/ 568172 w 829568"/>
              <a:gd name="connsiteY108" fmla="*/ 570203 h 797705"/>
              <a:gd name="connsiteX109" fmla="*/ 565899 w 829568"/>
              <a:gd name="connsiteY109" fmla="*/ 572471 h 797705"/>
              <a:gd name="connsiteX110" fmla="*/ 565899 w 829568"/>
              <a:gd name="connsiteY110" fmla="*/ 574739 h 797705"/>
              <a:gd name="connsiteX111" fmla="*/ 581810 w 829568"/>
              <a:gd name="connsiteY111" fmla="*/ 581543 h 797705"/>
              <a:gd name="connsiteX112" fmla="*/ 586356 w 829568"/>
              <a:gd name="connsiteY112" fmla="*/ 586079 h 797705"/>
              <a:gd name="connsiteX113" fmla="*/ 590902 w 829568"/>
              <a:gd name="connsiteY113" fmla="*/ 579275 h 797705"/>
              <a:gd name="connsiteX114" fmla="*/ 597721 w 829568"/>
              <a:gd name="connsiteY114" fmla="*/ 583811 h 797705"/>
              <a:gd name="connsiteX115" fmla="*/ 599994 w 829568"/>
              <a:gd name="connsiteY115" fmla="*/ 579275 h 797705"/>
              <a:gd name="connsiteX116" fmla="*/ 606813 w 829568"/>
              <a:gd name="connsiteY116" fmla="*/ 588347 h 797705"/>
              <a:gd name="connsiteX117" fmla="*/ 606813 w 829568"/>
              <a:gd name="connsiteY117" fmla="*/ 590616 h 797705"/>
              <a:gd name="connsiteX118" fmla="*/ 602267 w 829568"/>
              <a:gd name="connsiteY118" fmla="*/ 601956 h 797705"/>
              <a:gd name="connsiteX119" fmla="*/ 604540 w 829568"/>
              <a:gd name="connsiteY119" fmla="*/ 606492 h 797705"/>
              <a:gd name="connsiteX120" fmla="*/ 609086 w 829568"/>
              <a:gd name="connsiteY120" fmla="*/ 611028 h 797705"/>
              <a:gd name="connsiteX121" fmla="*/ 606813 w 829568"/>
              <a:gd name="connsiteY121" fmla="*/ 613296 h 797705"/>
              <a:gd name="connsiteX122" fmla="*/ 588629 w 829568"/>
              <a:gd name="connsiteY122" fmla="*/ 613296 h 797705"/>
              <a:gd name="connsiteX123" fmla="*/ 572718 w 829568"/>
              <a:gd name="connsiteY123" fmla="*/ 597420 h 797705"/>
              <a:gd name="connsiteX124" fmla="*/ 568172 w 829568"/>
              <a:gd name="connsiteY124" fmla="*/ 606492 h 797705"/>
              <a:gd name="connsiteX125" fmla="*/ 561353 w 829568"/>
              <a:gd name="connsiteY125" fmla="*/ 597420 h 797705"/>
              <a:gd name="connsiteX126" fmla="*/ 556807 w 829568"/>
              <a:gd name="connsiteY126" fmla="*/ 592884 h 797705"/>
              <a:gd name="connsiteX127" fmla="*/ 540896 w 829568"/>
              <a:gd name="connsiteY127" fmla="*/ 570203 h 797705"/>
              <a:gd name="connsiteX128" fmla="*/ 529530 w 829568"/>
              <a:gd name="connsiteY128" fmla="*/ 565667 h 797705"/>
              <a:gd name="connsiteX129" fmla="*/ 518165 w 829568"/>
              <a:gd name="connsiteY129" fmla="*/ 572471 h 797705"/>
              <a:gd name="connsiteX130" fmla="*/ 509073 w 829568"/>
              <a:gd name="connsiteY130" fmla="*/ 577007 h 797705"/>
              <a:gd name="connsiteX131" fmla="*/ 506800 w 829568"/>
              <a:gd name="connsiteY131" fmla="*/ 574739 h 797705"/>
              <a:gd name="connsiteX132" fmla="*/ 504527 w 829568"/>
              <a:gd name="connsiteY132" fmla="*/ 574739 h 797705"/>
              <a:gd name="connsiteX133" fmla="*/ 504527 w 829568"/>
              <a:gd name="connsiteY133" fmla="*/ 570324 h 797705"/>
              <a:gd name="connsiteX134" fmla="*/ 503669 w 829568"/>
              <a:gd name="connsiteY134" fmla="*/ 570324 h 797705"/>
              <a:gd name="connsiteX135" fmla="*/ 503669 w 829568"/>
              <a:gd name="connsiteY135" fmla="*/ 574870 h 797705"/>
              <a:gd name="connsiteX136" fmla="*/ 505946 w 829568"/>
              <a:gd name="connsiteY136" fmla="*/ 577143 h 797705"/>
              <a:gd name="connsiteX137" fmla="*/ 505946 w 829568"/>
              <a:gd name="connsiteY137" fmla="*/ 579415 h 797705"/>
              <a:gd name="connsiteX138" fmla="*/ 505946 w 829568"/>
              <a:gd name="connsiteY138" fmla="*/ 581688 h 797705"/>
              <a:gd name="connsiteX139" fmla="*/ 496839 w 829568"/>
              <a:gd name="connsiteY139" fmla="*/ 590779 h 797705"/>
              <a:gd name="connsiteX140" fmla="*/ 496839 w 829568"/>
              <a:gd name="connsiteY140" fmla="*/ 595324 h 797705"/>
              <a:gd name="connsiteX141" fmla="*/ 501392 w 829568"/>
              <a:gd name="connsiteY141" fmla="*/ 599870 h 797705"/>
              <a:gd name="connsiteX142" fmla="*/ 510500 w 829568"/>
              <a:gd name="connsiteY142" fmla="*/ 608960 h 797705"/>
              <a:gd name="connsiteX143" fmla="*/ 508223 w 829568"/>
              <a:gd name="connsiteY143" fmla="*/ 613506 h 797705"/>
              <a:gd name="connsiteX144" fmla="*/ 508223 w 829568"/>
              <a:gd name="connsiteY144" fmla="*/ 618051 h 797705"/>
              <a:gd name="connsiteX145" fmla="*/ 490008 w 829568"/>
              <a:gd name="connsiteY145" fmla="*/ 640778 h 797705"/>
              <a:gd name="connsiteX146" fmla="*/ 464962 w 829568"/>
              <a:gd name="connsiteY146" fmla="*/ 631687 h 797705"/>
              <a:gd name="connsiteX147" fmla="*/ 451300 w 829568"/>
              <a:gd name="connsiteY147" fmla="*/ 624869 h 797705"/>
              <a:gd name="connsiteX148" fmla="*/ 423977 w 829568"/>
              <a:gd name="connsiteY148" fmla="*/ 638506 h 797705"/>
              <a:gd name="connsiteX149" fmla="*/ 414870 w 829568"/>
              <a:gd name="connsiteY149" fmla="*/ 643051 h 797705"/>
              <a:gd name="connsiteX150" fmla="*/ 398931 w 829568"/>
              <a:gd name="connsiteY150" fmla="*/ 645324 h 797705"/>
              <a:gd name="connsiteX151" fmla="*/ 394378 w 829568"/>
              <a:gd name="connsiteY151" fmla="*/ 652142 h 797705"/>
              <a:gd name="connsiteX152" fmla="*/ 373885 w 829568"/>
              <a:gd name="connsiteY152" fmla="*/ 654415 h 797705"/>
              <a:gd name="connsiteX153" fmla="*/ 353393 w 829568"/>
              <a:gd name="connsiteY153" fmla="*/ 661233 h 797705"/>
              <a:gd name="connsiteX154" fmla="*/ 344285 w 829568"/>
              <a:gd name="connsiteY154" fmla="*/ 683960 h 797705"/>
              <a:gd name="connsiteX155" fmla="*/ 346559 w 829568"/>
              <a:gd name="connsiteY155" fmla="*/ 695305 h 797705"/>
              <a:gd name="connsiteX156" fmla="*/ 346890 w 829568"/>
              <a:gd name="connsiteY156" fmla="*/ 695371 h 797705"/>
              <a:gd name="connsiteX157" fmla="*/ 349169 w 829568"/>
              <a:gd name="connsiteY157" fmla="*/ 697639 h 797705"/>
              <a:gd name="connsiteX158" fmla="*/ 349169 w 829568"/>
              <a:gd name="connsiteY158" fmla="*/ 708981 h 797705"/>
              <a:gd name="connsiteX159" fmla="*/ 349169 w 829568"/>
              <a:gd name="connsiteY159" fmla="*/ 713518 h 797705"/>
              <a:gd name="connsiteX160" fmla="*/ 346890 w 829568"/>
              <a:gd name="connsiteY160" fmla="*/ 724861 h 797705"/>
              <a:gd name="connsiteX161" fmla="*/ 340053 w 829568"/>
              <a:gd name="connsiteY161" fmla="*/ 722592 h 797705"/>
              <a:gd name="connsiteX162" fmla="*/ 317264 w 829568"/>
              <a:gd name="connsiteY162" fmla="*/ 720324 h 797705"/>
              <a:gd name="connsiteX163" fmla="*/ 312706 w 829568"/>
              <a:gd name="connsiteY163" fmla="*/ 718055 h 797705"/>
              <a:gd name="connsiteX164" fmla="*/ 303590 w 829568"/>
              <a:gd name="connsiteY164" fmla="*/ 724861 h 797705"/>
              <a:gd name="connsiteX165" fmla="*/ 294474 w 829568"/>
              <a:gd name="connsiteY165" fmla="*/ 731666 h 797705"/>
              <a:gd name="connsiteX166" fmla="*/ 289916 w 829568"/>
              <a:gd name="connsiteY166" fmla="*/ 738471 h 797705"/>
              <a:gd name="connsiteX167" fmla="*/ 289916 w 829568"/>
              <a:gd name="connsiteY167" fmla="*/ 752082 h 797705"/>
              <a:gd name="connsiteX168" fmla="*/ 280800 w 829568"/>
              <a:gd name="connsiteY168" fmla="*/ 740740 h 797705"/>
              <a:gd name="connsiteX169" fmla="*/ 278521 w 829568"/>
              <a:gd name="connsiteY169" fmla="*/ 738471 h 797705"/>
              <a:gd name="connsiteX170" fmla="*/ 278521 w 829568"/>
              <a:gd name="connsiteY170" fmla="*/ 743008 h 797705"/>
              <a:gd name="connsiteX171" fmla="*/ 276242 w 829568"/>
              <a:gd name="connsiteY171" fmla="*/ 749814 h 797705"/>
              <a:gd name="connsiteX172" fmla="*/ 269405 w 829568"/>
              <a:gd name="connsiteY172" fmla="*/ 761156 h 797705"/>
              <a:gd name="connsiteX173" fmla="*/ 232942 w 829568"/>
              <a:gd name="connsiteY173" fmla="*/ 749814 h 797705"/>
              <a:gd name="connsiteX174" fmla="*/ 230663 w 829568"/>
              <a:gd name="connsiteY174" fmla="*/ 754351 h 797705"/>
              <a:gd name="connsiteX175" fmla="*/ 203316 w 829568"/>
              <a:gd name="connsiteY175" fmla="*/ 754351 h 797705"/>
              <a:gd name="connsiteX176" fmla="*/ 180526 w 829568"/>
              <a:gd name="connsiteY176" fmla="*/ 761156 h 797705"/>
              <a:gd name="connsiteX177" fmla="*/ 169131 w 829568"/>
              <a:gd name="connsiteY177" fmla="*/ 767961 h 797705"/>
              <a:gd name="connsiteX178" fmla="*/ 157736 w 829568"/>
              <a:gd name="connsiteY178" fmla="*/ 783841 h 797705"/>
              <a:gd name="connsiteX179" fmla="*/ 137226 w 829568"/>
              <a:gd name="connsiteY179" fmla="*/ 797451 h 797705"/>
              <a:gd name="connsiteX180" fmla="*/ 128110 w 829568"/>
              <a:gd name="connsiteY180" fmla="*/ 786109 h 797705"/>
              <a:gd name="connsiteX181" fmla="*/ 121273 w 829568"/>
              <a:gd name="connsiteY181" fmla="*/ 792914 h 797705"/>
              <a:gd name="connsiteX182" fmla="*/ 93925 w 829568"/>
              <a:gd name="connsiteY182" fmla="*/ 790646 h 797705"/>
              <a:gd name="connsiteX183" fmla="*/ 68857 w 829568"/>
              <a:gd name="connsiteY183" fmla="*/ 790646 h 797705"/>
              <a:gd name="connsiteX184" fmla="*/ 57462 w 829568"/>
              <a:gd name="connsiteY184" fmla="*/ 792914 h 797705"/>
              <a:gd name="connsiteX185" fmla="*/ 46067 w 829568"/>
              <a:gd name="connsiteY185" fmla="*/ 788377 h 797705"/>
              <a:gd name="connsiteX186" fmla="*/ 25556 w 829568"/>
              <a:gd name="connsiteY186" fmla="*/ 786109 h 797705"/>
              <a:gd name="connsiteX187" fmla="*/ 25556 w 829568"/>
              <a:gd name="connsiteY187" fmla="*/ 783841 h 797705"/>
              <a:gd name="connsiteX188" fmla="*/ 27835 w 829568"/>
              <a:gd name="connsiteY188" fmla="*/ 777035 h 797705"/>
              <a:gd name="connsiteX189" fmla="*/ 25556 w 829568"/>
              <a:gd name="connsiteY189" fmla="*/ 774767 h 797705"/>
              <a:gd name="connsiteX190" fmla="*/ 43788 w 829568"/>
              <a:gd name="connsiteY190" fmla="*/ 770230 h 797705"/>
              <a:gd name="connsiteX191" fmla="*/ 48346 w 829568"/>
              <a:gd name="connsiteY191" fmla="*/ 699908 h 797705"/>
              <a:gd name="connsiteX192" fmla="*/ 5046 w 829568"/>
              <a:gd name="connsiteY192" fmla="*/ 670418 h 797705"/>
              <a:gd name="connsiteX193" fmla="*/ 30114 w 829568"/>
              <a:gd name="connsiteY193" fmla="*/ 615975 h 797705"/>
              <a:gd name="connsiteX194" fmla="*/ 41509 w 829568"/>
              <a:gd name="connsiteY194" fmla="*/ 600095 h 797705"/>
              <a:gd name="connsiteX195" fmla="*/ 34672 w 829568"/>
              <a:gd name="connsiteY195" fmla="*/ 581948 h 797705"/>
              <a:gd name="connsiteX196" fmla="*/ 41509 w 829568"/>
              <a:gd name="connsiteY196" fmla="*/ 554726 h 797705"/>
              <a:gd name="connsiteX197" fmla="*/ 16441 w 829568"/>
              <a:gd name="connsiteY197" fmla="*/ 543384 h 797705"/>
              <a:gd name="connsiteX198" fmla="*/ 34672 w 829568"/>
              <a:gd name="connsiteY198" fmla="*/ 541115 h 797705"/>
              <a:gd name="connsiteX199" fmla="*/ 41498 w 829568"/>
              <a:gd name="connsiteY199" fmla="*/ 541115 h 797705"/>
              <a:gd name="connsiteX200" fmla="*/ 39341 w 829568"/>
              <a:gd name="connsiteY200" fmla="*/ 528176 h 797705"/>
              <a:gd name="connsiteX201" fmla="*/ 86966 w 829568"/>
              <a:gd name="connsiteY201" fmla="*/ 494839 h 797705"/>
              <a:gd name="connsiteX202" fmla="*/ 65409 w 829568"/>
              <a:gd name="connsiteY202" fmla="*/ 464300 h 797705"/>
              <a:gd name="connsiteX203" fmla="*/ 62429 w 829568"/>
              <a:gd name="connsiteY203" fmla="*/ 465726 h 797705"/>
              <a:gd name="connsiteX204" fmla="*/ 62429 w 829568"/>
              <a:gd name="connsiteY204" fmla="*/ 467991 h 797705"/>
              <a:gd name="connsiteX205" fmla="*/ 57874 w 829568"/>
              <a:gd name="connsiteY205" fmla="*/ 470256 h 797705"/>
              <a:gd name="connsiteX206" fmla="*/ 48763 w 829568"/>
              <a:gd name="connsiteY206" fmla="*/ 472522 h 797705"/>
              <a:gd name="connsiteX207" fmla="*/ 35096 w 829568"/>
              <a:gd name="connsiteY207" fmla="*/ 467991 h 797705"/>
              <a:gd name="connsiteX208" fmla="*/ 32818 w 829568"/>
              <a:gd name="connsiteY208" fmla="*/ 449871 h 797705"/>
              <a:gd name="connsiteX209" fmla="*/ 55596 w 829568"/>
              <a:gd name="connsiteY209" fmla="*/ 418160 h 797705"/>
              <a:gd name="connsiteX210" fmla="*/ 55596 w 829568"/>
              <a:gd name="connsiteY210" fmla="*/ 404569 h 797705"/>
              <a:gd name="connsiteX211" fmla="*/ 48763 w 829568"/>
              <a:gd name="connsiteY211" fmla="*/ 372858 h 797705"/>
              <a:gd name="connsiteX212" fmla="*/ 41929 w 829568"/>
              <a:gd name="connsiteY212" fmla="*/ 354737 h 797705"/>
              <a:gd name="connsiteX213" fmla="*/ 41929 w 829568"/>
              <a:gd name="connsiteY213" fmla="*/ 320761 h 797705"/>
              <a:gd name="connsiteX214" fmla="*/ 41929 w 829568"/>
              <a:gd name="connsiteY214" fmla="*/ 300375 h 797705"/>
              <a:gd name="connsiteX215" fmla="*/ 44207 w 829568"/>
              <a:gd name="connsiteY215" fmla="*/ 302640 h 797705"/>
              <a:gd name="connsiteX216" fmla="*/ 57934 w 829568"/>
              <a:gd name="connsiteY216" fmla="*/ 312196 h 797705"/>
              <a:gd name="connsiteX217" fmla="*/ 58242 w 829568"/>
              <a:gd name="connsiteY217" fmla="*/ 311394 h 797705"/>
              <a:gd name="connsiteX218" fmla="*/ 56256 w 829568"/>
              <a:gd name="connsiteY218" fmla="*/ 310012 h 797705"/>
              <a:gd name="connsiteX219" fmla="*/ 44300 w 829568"/>
              <a:gd name="connsiteY219" fmla="*/ 302367 h 797705"/>
              <a:gd name="connsiteX220" fmla="*/ 42022 w 829568"/>
              <a:gd name="connsiteY220" fmla="*/ 300102 h 797705"/>
              <a:gd name="connsiteX221" fmla="*/ 44300 w 829568"/>
              <a:gd name="connsiteY221" fmla="*/ 291042 h 797705"/>
              <a:gd name="connsiteX222" fmla="*/ 78462 w 829568"/>
              <a:gd name="connsiteY222" fmla="*/ 259331 h 797705"/>
              <a:gd name="connsiteX223" fmla="*/ 92126 w 829568"/>
              <a:gd name="connsiteY223" fmla="*/ 232149 h 797705"/>
              <a:gd name="connsiteX224" fmla="*/ 114901 w 829568"/>
              <a:gd name="connsiteY224" fmla="*/ 211764 h 797705"/>
              <a:gd name="connsiteX225" fmla="*/ 108638 w 829568"/>
              <a:gd name="connsiteY225" fmla="*/ 204968 h 797705"/>
              <a:gd name="connsiteX226" fmla="*/ 92261 w 829568"/>
              <a:gd name="connsiteY226" fmla="*/ 198228 h 797705"/>
              <a:gd name="connsiteX227" fmla="*/ 91806 w 829568"/>
              <a:gd name="connsiteY227" fmla="*/ 198355 h 797705"/>
              <a:gd name="connsiteX228" fmla="*/ 84968 w 829568"/>
              <a:gd name="connsiteY228" fmla="*/ 193807 h 797705"/>
              <a:gd name="connsiteX229" fmla="*/ 94086 w 829568"/>
              <a:gd name="connsiteY229" fmla="*/ 155145 h 797705"/>
              <a:gd name="connsiteX230" fmla="*/ 135114 w 829568"/>
              <a:gd name="connsiteY230" fmla="*/ 127854 h 797705"/>
              <a:gd name="connsiteX231" fmla="*/ 160186 w 829568"/>
              <a:gd name="connsiteY231" fmla="*/ 134677 h 797705"/>
              <a:gd name="connsiteX232" fmla="*/ 160186 w 829568"/>
              <a:gd name="connsiteY232" fmla="*/ 109660 h 797705"/>
              <a:gd name="connsiteX233" fmla="*/ 187538 w 829568"/>
              <a:gd name="connsiteY233" fmla="*/ 82369 h 797705"/>
              <a:gd name="connsiteX234" fmla="*/ 187538 w 829568"/>
              <a:gd name="connsiteY234" fmla="*/ 48256 h 797705"/>
              <a:gd name="connsiteX235" fmla="*/ 190103 w 829568"/>
              <a:gd name="connsiteY235"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70418 w 829568"/>
              <a:gd name="connsiteY8" fmla="*/ 255212 h 797705"/>
              <a:gd name="connsiteX9" fmla="*/ 568829 w 829568"/>
              <a:gd name="connsiteY9" fmla="*/ 260444 h 797705"/>
              <a:gd name="connsiteX10" fmla="*/ 570418 w 829568"/>
              <a:gd name="connsiteY10" fmla="*/ 255212 h 797705"/>
              <a:gd name="connsiteX11" fmla="*/ 561350 w 829568"/>
              <a:gd name="connsiteY11" fmla="*/ 243680 h 797705"/>
              <a:gd name="connsiteX12" fmla="*/ 563631 w 829568"/>
              <a:gd name="connsiteY12" fmla="*/ 245950 h 797705"/>
              <a:gd name="connsiteX13" fmla="*/ 563632 w 829568"/>
              <a:gd name="connsiteY13" fmla="*/ 245962 h 797705"/>
              <a:gd name="connsiteX14" fmla="*/ 561350 w 829568"/>
              <a:gd name="connsiteY14" fmla="*/ 243680 h 797705"/>
              <a:gd name="connsiteX15" fmla="*/ 190103 w 829568"/>
              <a:gd name="connsiteY15" fmla="*/ 284 h 797705"/>
              <a:gd name="connsiteX16" fmla="*/ 208052 w 829568"/>
              <a:gd name="connsiteY16" fmla="*/ 7319 h 797705"/>
              <a:gd name="connsiteX17" fmla="*/ 244522 w 829568"/>
              <a:gd name="connsiteY17" fmla="*/ 16416 h 797705"/>
              <a:gd name="connsiteX18" fmla="*/ 269594 w 829568"/>
              <a:gd name="connsiteY18" fmla="*/ 36884 h 797705"/>
              <a:gd name="connsiteX19" fmla="*/ 303784 w 829568"/>
              <a:gd name="connsiteY19" fmla="*/ 59627 h 797705"/>
              <a:gd name="connsiteX20" fmla="*/ 317460 w 829568"/>
              <a:gd name="connsiteY20" fmla="*/ 89192 h 797705"/>
              <a:gd name="connsiteX21" fmla="*/ 353930 w 829568"/>
              <a:gd name="connsiteY21" fmla="*/ 73272 h 797705"/>
              <a:gd name="connsiteX22" fmla="*/ 399516 w 829568"/>
              <a:gd name="connsiteY22" fmla="*/ 82369 h 797705"/>
              <a:gd name="connsiteX23" fmla="*/ 417751 w 829568"/>
              <a:gd name="connsiteY23" fmla="*/ 77821 h 797705"/>
              <a:gd name="connsiteX24" fmla="*/ 438265 w 829568"/>
              <a:gd name="connsiteY24" fmla="*/ 64175 h 797705"/>
              <a:gd name="connsiteX25" fmla="*/ 472455 w 829568"/>
              <a:gd name="connsiteY25" fmla="*/ 73272 h 797705"/>
              <a:gd name="connsiteX26" fmla="*/ 486131 w 829568"/>
              <a:gd name="connsiteY26" fmla="*/ 82369 h 797705"/>
              <a:gd name="connsiteX27" fmla="*/ 490690 w 829568"/>
              <a:gd name="connsiteY27" fmla="*/ 132402 h 797705"/>
              <a:gd name="connsiteX28" fmla="*/ 495248 w 829568"/>
              <a:gd name="connsiteY28" fmla="*/ 196081 h 797705"/>
              <a:gd name="connsiteX29" fmla="*/ 495248 w 829568"/>
              <a:gd name="connsiteY29" fmla="*/ 214275 h 797705"/>
              <a:gd name="connsiteX30" fmla="*/ 495067 w 829568"/>
              <a:gd name="connsiteY30" fmla="*/ 214233 h 797705"/>
              <a:gd name="connsiteX31" fmla="*/ 497146 w 829568"/>
              <a:gd name="connsiteY31" fmla="*/ 220449 h 797705"/>
              <a:gd name="connsiteX32" fmla="*/ 508530 w 829568"/>
              <a:gd name="connsiteY32" fmla="*/ 224986 h 797705"/>
              <a:gd name="connsiteX33" fmla="*/ 524467 w 829568"/>
              <a:gd name="connsiteY33" fmla="*/ 238598 h 797705"/>
              <a:gd name="connsiteX34" fmla="*/ 556340 w 829568"/>
              <a:gd name="connsiteY34" fmla="*/ 234060 h 797705"/>
              <a:gd name="connsiteX35" fmla="*/ 560894 w 829568"/>
              <a:gd name="connsiteY35" fmla="*/ 243135 h 797705"/>
              <a:gd name="connsiteX36" fmla="*/ 563170 w 829568"/>
              <a:gd name="connsiteY36" fmla="*/ 247672 h 797705"/>
              <a:gd name="connsiteX37" fmla="*/ 564024 w 829568"/>
              <a:gd name="connsiteY37" fmla="*/ 255045 h 797705"/>
              <a:gd name="connsiteX38" fmla="*/ 563684 w 829568"/>
              <a:gd name="connsiteY38" fmla="*/ 246583 h 797705"/>
              <a:gd name="connsiteX39" fmla="*/ 570440 w 829568"/>
              <a:gd name="connsiteY39" fmla="*/ 254988 h 797705"/>
              <a:gd name="connsiteX40" fmla="*/ 570445 w 829568"/>
              <a:gd name="connsiteY40" fmla="*/ 254942 h 797705"/>
              <a:gd name="connsiteX41" fmla="*/ 574113 w 829568"/>
              <a:gd name="connsiteY41" fmla="*/ 256872 h 797705"/>
              <a:gd name="connsiteX42" fmla="*/ 567290 w 829568"/>
              <a:gd name="connsiteY42" fmla="*/ 250109 h 797705"/>
              <a:gd name="connsiteX43" fmla="*/ 563684 w 829568"/>
              <a:gd name="connsiteY43" fmla="*/ 246583 h 797705"/>
              <a:gd name="connsiteX44" fmla="*/ 563632 w 829568"/>
              <a:gd name="connsiteY44" fmla="*/ 245962 h 797705"/>
              <a:gd name="connsiteX45" fmla="*/ 574458 w 829568"/>
              <a:gd name="connsiteY45" fmla="*/ 256788 h 797705"/>
              <a:gd name="connsiteX46" fmla="*/ 583230 w 829568"/>
              <a:gd name="connsiteY46" fmla="*/ 254659 h 797705"/>
              <a:gd name="connsiteX47" fmla="*/ 595448 w 829568"/>
              <a:gd name="connsiteY47" fmla="*/ 250406 h 797705"/>
              <a:gd name="connsiteX48" fmla="*/ 624997 w 829568"/>
              <a:gd name="connsiteY48" fmla="*/ 282159 h 797705"/>
              <a:gd name="connsiteX49" fmla="*/ 637214 w 829568"/>
              <a:gd name="connsiteY49" fmla="*/ 311928 h 797705"/>
              <a:gd name="connsiteX50" fmla="*/ 636731 w 829568"/>
              <a:gd name="connsiteY50" fmla="*/ 319061 h 797705"/>
              <a:gd name="connsiteX51" fmla="*/ 652790 w 829568"/>
              <a:gd name="connsiteY51" fmla="*/ 335120 h 797705"/>
              <a:gd name="connsiteX52" fmla="*/ 638758 w 829568"/>
              <a:gd name="connsiteY52" fmla="*/ 321150 h 797705"/>
              <a:gd name="connsiteX53" fmla="*/ 636727 w 829568"/>
              <a:gd name="connsiteY53" fmla="*/ 319129 h 797705"/>
              <a:gd name="connsiteX54" fmla="*/ 636185 w 829568"/>
              <a:gd name="connsiteY54" fmla="*/ 327131 h 797705"/>
              <a:gd name="connsiteX55" fmla="*/ 640908 w 829568"/>
              <a:gd name="connsiteY55" fmla="*/ 343397 h 797705"/>
              <a:gd name="connsiteX56" fmla="*/ 656819 w 829568"/>
              <a:gd name="connsiteY56" fmla="*/ 329788 h 797705"/>
              <a:gd name="connsiteX57" fmla="*/ 672730 w 829568"/>
              <a:gd name="connsiteY57" fmla="*/ 347933 h 797705"/>
              <a:gd name="connsiteX58" fmla="*/ 679549 w 829568"/>
              <a:gd name="connsiteY58" fmla="*/ 366077 h 797705"/>
              <a:gd name="connsiteX59" fmla="*/ 686368 w 829568"/>
              <a:gd name="connsiteY59" fmla="*/ 418243 h 797705"/>
              <a:gd name="connsiteX60" fmla="*/ 736375 w 829568"/>
              <a:gd name="connsiteY60" fmla="*/ 413707 h 797705"/>
              <a:gd name="connsiteX61" fmla="*/ 756832 w 829568"/>
              <a:gd name="connsiteY61" fmla="*/ 420511 h 797705"/>
              <a:gd name="connsiteX62" fmla="*/ 765924 w 829568"/>
              <a:gd name="connsiteY62" fmla="*/ 406903 h 797705"/>
              <a:gd name="connsiteX63" fmla="*/ 829568 w 829568"/>
              <a:gd name="connsiteY63" fmla="*/ 397830 h 797705"/>
              <a:gd name="connsiteX64" fmla="*/ 829568 w 829568"/>
              <a:gd name="connsiteY64" fmla="*/ 413707 h 797705"/>
              <a:gd name="connsiteX65" fmla="*/ 827295 w 829568"/>
              <a:gd name="connsiteY65" fmla="*/ 422779 h 797705"/>
              <a:gd name="connsiteX66" fmla="*/ 822749 w 829568"/>
              <a:gd name="connsiteY66" fmla="*/ 427315 h 797705"/>
              <a:gd name="connsiteX67" fmla="*/ 815930 w 829568"/>
              <a:gd name="connsiteY67" fmla="*/ 427315 h 797705"/>
              <a:gd name="connsiteX68" fmla="*/ 809111 w 829568"/>
              <a:gd name="connsiteY68" fmla="*/ 443192 h 797705"/>
              <a:gd name="connsiteX69" fmla="*/ 802292 w 829568"/>
              <a:gd name="connsiteY69" fmla="*/ 452264 h 797705"/>
              <a:gd name="connsiteX70" fmla="*/ 800019 w 829568"/>
              <a:gd name="connsiteY70" fmla="*/ 459068 h 797705"/>
              <a:gd name="connsiteX71" fmla="*/ 800019 w 829568"/>
              <a:gd name="connsiteY71" fmla="*/ 470408 h 797705"/>
              <a:gd name="connsiteX72" fmla="*/ 800019 w 829568"/>
              <a:gd name="connsiteY72" fmla="*/ 481749 h 797705"/>
              <a:gd name="connsiteX73" fmla="*/ 784108 w 829568"/>
              <a:gd name="connsiteY73" fmla="*/ 477212 h 797705"/>
              <a:gd name="connsiteX74" fmla="*/ 777289 w 829568"/>
              <a:gd name="connsiteY74" fmla="*/ 477212 h 797705"/>
              <a:gd name="connsiteX75" fmla="*/ 770470 w 829568"/>
              <a:gd name="connsiteY75" fmla="*/ 481749 h 797705"/>
              <a:gd name="connsiteX76" fmla="*/ 768197 w 829568"/>
              <a:gd name="connsiteY76" fmla="*/ 488553 h 797705"/>
              <a:gd name="connsiteX77" fmla="*/ 750013 w 829568"/>
              <a:gd name="connsiteY77" fmla="*/ 497625 h 797705"/>
              <a:gd name="connsiteX78" fmla="*/ 745467 w 829568"/>
              <a:gd name="connsiteY78" fmla="*/ 490821 h 797705"/>
              <a:gd name="connsiteX79" fmla="*/ 740921 w 829568"/>
              <a:gd name="connsiteY79" fmla="*/ 493089 h 797705"/>
              <a:gd name="connsiteX80" fmla="*/ 738648 w 829568"/>
              <a:gd name="connsiteY80" fmla="*/ 499893 h 797705"/>
              <a:gd name="connsiteX81" fmla="*/ 738648 w 829568"/>
              <a:gd name="connsiteY81" fmla="*/ 502161 h 797705"/>
              <a:gd name="connsiteX82" fmla="*/ 725010 w 829568"/>
              <a:gd name="connsiteY82" fmla="*/ 504429 h 797705"/>
              <a:gd name="connsiteX83" fmla="*/ 715918 w 829568"/>
              <a:gd name="connsiteY83" fmla="*/ 508965 h 797705"/>
              <a:gd name="connsiteX84" fmla="*/ 715918 w 829568"/>
              <a:gd name="connsiteY84" fmla="*/ 520306 h 797705"/>
              <a:gd name="connsiteX85" fmla="*/ 713645 w 829568"/>
              <a:gd name="connsiteY85" fmla="*/ 522574 h 797705"/>
              <a:gd name="connsiteX86" fmla="*/ 693188 w 829568"/>
              <a:gd name="connsiteY86" fmla="*/ 527110 h 797705"/>
              <a:gd name="connsiteX87" fmla="*/ 677276 w 829568"/>
              <a:gd name="connsiteY87" fmla="*/ 531646 h 797705"/>
              <a:gd name="connsiteX88" fmla="*/ 668184 w 829568"/>
              <a:gd name="connsiteY88" fmla="*/ 527110 h 797705"/>
              <a:gd name="connsiteX89" fmla="*/ 665911 w 829568"/>
              <a:gd name="connsiteY89" fmla="*/ 529378 h 797705"/>
              <a:gd name="connsiteX90" fmla="*/ 665911 w 829568"/>
              <a:gd name="connsiteY90" fmla="*/ 538450 h 797705"/>
              <a:gd name="connsiteX91" fmla="*/ 659092 w 829568"/>
              <a:gd name="connsiteY91" fmla="*/ 540718 h 797705"/>
              <a:gd name="connsiteX92" fmla="*/ 659092 w 829568"/>
              <a:gd name="connsiteY92" fmla="*/ 545254 h 797705"/>
              <a:gd name="connsiteX93" fmla="*/ 659092 w 829568"/>
              <a:gd name="connsiteY93" fmla="*/ 556595 h 797705"/>
              <a:gd name="connsiteX94" fmla="*/ 656819 w 829568"/>
              <a:gd name="connsiteY94" fmla="*/ 561131 h 797705"/>
              <a:gd name="connsiteX95" fmla="*/ 652273 w 829568"/>
              <a:gd name="connsiteY95" fmla="*/ 561131 h 797705"/>
              <a:gd name="connsiteX96" fmla="*/ 650000 w 829568"/>
              <a:gd name="connsiteY96" fmla="*/ 561131 h 797705"/>
              <a:gd name="connsiteX97" fmla="*/ 618178 w 829568"/>
              <a:gd name="connsiteY97" fmla="*/ 552058 h 797705"/>
              <a:gd name="connsiteX98" fmla="*/ 618178 w 829568"/>
              <a:gd name="connsiteY98" fmla="*/ 549790 h 797705"/>
              <a:gd name="connsiteX99" fmla="*/ 609086 w 829568"/>
              <a:gd name="connsiteY99" fmla="*/ 542986 h 797705"/>
              <a:gd name="connsiteX100" fmla="*/ 599994 w 829568"/>
              <a:gd name="connsiteY100" fmla="*/ 547522 h 797705"/>
              <a:gd name="connsiteX101" fmla="*/ 590902 w 829568"/>
              <a:gd name="connsiteY101" fmla="*/ 554327 h 797705"/>
              <a:gd name="connsiteX102" fmla="*/ 579537 w 829568"/>
              <a:gd name="connsiteY102" fmla="*/ 563399 h 797705"/>
              <a:gd name="connsiteX103" fmla="*/ 574991 w 829568"/>
              <a:gd name="connsiteY103" fmla="*/ 556595 h 797705"/>
              <a:gd name="connsiteX104" fmla="*/ 570445 w 829568"/>
              <a:gd name="connsiteY104" fmla="*/ 558863 h 797705"/>
              <a:gd name="connsiteX105" fmla="*/ 568172 w 829568"/>
              <a:gd name="connsiteY105" fmla="*/ 563399 h 797705"/>
              <a:gd name="connsiteX106" fmla="*/ 568172 w 829568"/>
              <a:gd name="connsiteY106" fmla="*/ 565667 h 797705"/>
              <a:gd name="connsiteX107" fmla="*/ 568172 w 829568"/>
              <a:gd name="connsiteY107" fmla="*/ 570203 h 797705"/>
              <a:gd name="connsiteX108" fmla="*/ 565899 w 829568"/>
              <a:gd name="connsiteY108" fmla="*/ 572471 h 797705"/>
              <a:gd name="connsiteX109" fmla="*/ 565899 w 829568"/>
              <a:gd name="connsiteY109" fmla="*/ 574739 h 797705"/>
              <a:gd name="connsiteX110" fmla="*/ 581810 w 829568"/>
              <a:gd name="connsiteY110" fmla="*/ 581543 h 797705"/>
              <a:gd name="connsiteX111" fmla="*/ 586356 w 829568"/>
              <a:gd name="connsiteY111" fmla="*/ 586079 h 797705"/>
              <a:gd name="connsiteX112" fmla="*/ 590902 w 829568"/>
              <a:gd name="connsiteY112" fmla="*/ 579275 h 797705"/>
              <a:gd name="connsiteX113" fmla="*/ 597721 w 829568"/>
              <a:gd name="connsiteY113" fmla="*/ 583811 h 797705"/>
              <a:gd name="connsiteX114" fmla="*/ 599994 w 829568"/>
              <a:gd name="connsiteY114" fmla="*/ 579275 h 797705"/>
              <a:gd name="connsiteX115" fmla="*/ 606813 w 829568"/>
              <a:gd name="connsiteY115" fmla="*/ 588347 h 797705"/>
              <a:gd name="connsiteX116" fmla="*/ 606813 w 829568"/>
              <a:gd name="connsiteY116" fmla="*/ 590616 h 797705"/>
              <a:gd name="connsiteX117" fmla="*/ 602267 w 829568"/>
              <a:gd name="connsiteY117" fmla="*/ 601956 h 797705"/>
              <a:gd name="connsiteX118" fmla="*/ 604540 w 829568"/>
              <a:gd name="connsiteY118" fmla="*/ 606492 h 797705"/>
              <a:gd name="connsiteX119" fmla="*/ 609086 w 829568"/>
              <a:gd name="connsiteY119" fmla="*/ 611028 h 797705"/>
              <a:gd name="connsiteX120" fmla="*/ 606813 w 829568"/>
              <a:gd name="connsiteY120" fmla="*/ 613296 h 797705"/>
              <a:gd name="connsiteX121" fmla="*/ 588629 w 829568"/>
              <a:gd name="connsiteY121" fmla="*/ 613296 h 797705"/>
              <a:gd name="connsiteX122" fmla="*/ 572718 w 829568"/>
              <a:gd name="connsiteY122" fmla="*/ 597420 h 797705"/>
              <a:gd name="connsiteX123" fmla="*/ 568172 w 829568"/>
              <a:gd name="connsiteY123" fmla="*/ 606492 h 797705"/>
              <a:gd name="connsiteX124" fmla="*/ 561353 w 829568"/>
              <a:gd name="connsiteY124" fmla="*/ 597420 h 797705"/>
              <a:gd name="connsiteX125" fmla="*/ 556807 w 829568"/>
              <a:gd name="connsiteY125" fmla="*/ 592884 h 797705"/>
              <a:gd name="connsiteX126" fmla="*/ 540896 w 829568"/>
              <a:gd name="connsiteY126" fmla="*/ 570203 h 797705"/>
              <a:gd name="connsiteX127" fmla="*/ 529530 w 829568"/>
              <a:gd name="connsiteY127" fmla="*/ 565667 h 797705"/>
              <a:gd name="connsiteX128" fmla="*/ 518165 w 829568"/>
              <a:gd name="connsiteY128" fmla="*/ 572471 h 797705"/>
              <a:gd name="connsiteX129" fmla="*/ 509073 w 829568"/>
              <a:gd name="connsiteY129" fmla="*/ 577007 h 797705"/>
              <a:gd name="connsiteX130" fmla="*/ 506800 w 829568"/>
              <a:gd name="connsiteY130" fmla="*/ 574739 h 797705"/>
              <a:gd name="connsiteX131" fmla="*/ 504527 w 829568"/>
              <a:gd name="connsiteY131" fmla="*/ 574739 h 797705"/>
              <a:gd name="connsiteX132" fmla="*/ 504527 w 829568"/>
              <a:gd name="connsiteY132" fmla="*/ 570324 h 797705"/>
              <a:gd name="connsiteX133" fmla="*/ 503669 w 829568"/>
              <a:gd name="connsiteY133" fmla="*/ 570324 h 797705"/>
              <a:gd name="connsiteX134" fmla="*/ 503669 w 829568"/>
              <a:gd name="connsiteY134" fmla="*/ 574870 h 797705"/>
              <a:gd name="connsiteX135" fmla="*/ 505946 w 829568"/>
              <a:gd name="connsiteY135" fmla="*/ 577143 h 797705"/>
              <a:gd name="connsiteX136" fmla="*/ 505946 w 829568"/>
              <a:gd name="connsiteY136" fmla="*/ 579415 h 797705"/>
              <a:gd name="connsiteX137" fmla="*/ 505946 w 829568"/>
              <a:gd name="connsiteY137" fmla="*/ 581688 h 797705"/>
              <a:gd name="connsiteX138" fmla="*/ 496839 w 829568"/>
              <a:gd name="connsiteY138" fmla="*/ 590779 h 797705"/>
              <a:gd name="connsiteX139" fmla="*/ 496839 w 829568"/>
              <a:gd name="connsiteY139" fmla="*/ 595324 h 797705"/>
              <a:gd name="connsiteX140" fmla="*/ 501392 w 829568"/>
              <a:gd name="connsiteY140" fmla="*/ 599870 h 797705"/>
              <a:gd name="connsiteX141" fmla="*/ 510500 w 829568"/>
              <a:gd name="connsiteY141" fmla="*/ 608960 h 797705"/>
              <a:gd name="connsiteX142" fmla="*/ 508223 w 829568"/>
              <a:gd name="connsiteY142" fmla="*/ 613506 h 797705"/>
              <a:gd name="connsiteX143" fmla="*/ 508223 w 829568"/>
              <a:gd name="connsiteY143" fmla="*/ 618051 h 797705"/>
              <a:gd name="connsiteX144" fmla="*/ 490008 w 829568"/>
              <a:gd name="connsiteY144" fmla="*/ 640778 h 797705"/>
              <a:gd name="connsiteX145" fmla="*/ 464962 w 829568"/>
              <a:gd name="connsiteY145" fmla="*/ 631687 h 797705"/>
              <a:gd name="connsiteX146" fmla="*/ 451300 w 829568"/>
              <a:gd name="connsiteY146" fmla="*/ 624869 h 797705"/>
              <a:gd name="connsiteX147" fmla="*/ 423977 w 829568"/>
              <a:gd name="connsiteY147" fmla="*/ 638506 h 797705"/>
              <a:gd name="connsiteX148" fmla="*/ 414870 w 829568"/>
              <a:gd name="connsiteY148" fmla="*/ 643051 h 797705"/>
              <a:gd name="connsiteX149" fmla="*/ 398931 w 829568"/>
              <a:gd name="connsiteY149" fmla="*/ 645324 h 797705"/>
              <a:gd name="connsiteX150" fmla="*/ 394378 w 829568"/>
              <a:gd name="connsiteY150" fmla="*/ 652142 h 797705"/>
              <a:gd name="connsiteX151" fmla="*/ 373885 w 829568"/>
              <a:gd name="connsiteY151" fmla="*/ 654415 h 797705"/>
              <a:gd name="connsiteX152" fmla="*/ 353393 w 829568"/>
              <a:gd name="connsiteY152" fmla="*/ 661233 h 797705"/>
              <a:gd name="connsiteX153" fmla="*/ 344285 w 829568"/>
              <a:gd name="connsiteY153" fmla="*/ 683960 h 797705"/>
              <a:gd name="connsiteX154" fmla="*/ 346559 w 829568"/>
              <a:gd name="connsiteY154" fmla="*/ 695305 h 797705"/>
              <a:gd name="connsiteX155" fmla="*/ 346890 w 829568"/>
              <a:gd name="connsiteY155" fmla="*/ 695371 h 797705"/>
              <a:gd name="connsiteX156" fmla="*/ 349169 w 829568"/>
              <a:gd name="connsiteY156" fmla="*/ 697639 h 797705"/>
              <a:gd name="connsiteX157" fmla="*/ 349169 w 829568"/>
              <a:gd name="connsiteY157" fmla="*/ 708981 h 797705"/>
              <a:gd name="connsiteX158" fmla="*/ 349169 w 829568"/>
              <a:gd name="connsiteY158" fmla="*/ 713518 h 797705"/>
              <a:gd name="connsiteX159" fmla="*/ 346890 w 829568"/>
              <a:gd name="connsiteY159" fmla="*/ 724861 h 797705"/>
              <a:gd name="connsiteX160" fmla="*/ 340053 w 829568"/>
              <a:gd name="connsiteY160" fmla="*/ 722592 h 797705"/>
              <a:gd name="connsiteX161" fmla="*/ 317264 w 829568"/>
              <a:gd name="connsiteY161" fmla="*/ 720324 h 797705"/>
              <a:gd name="connsiteX162" fmla="*/ 312706 w 829568"/>
              <a:gd name="connsiteY162" fmla="*/ 718055 h 797705"/>
              <a:gd name="connsiteX163" fmla="*/ 303590 w 829568"/>
              <a:gd name="connsiteY163" fmla="*/ 724861 h 797705"/>
              <a:gd name="connsiteX164" fmla="*/ 294474 w 829568"/>
              <a:gd name="connsiteY164" fmla="*/ 731666 h 797705"/>
              <a:gd name="connsiteX165" fmla="*/ 289916 w 829568"/>
              <a:gd name="connsiteY165" fmla="*/ 738471 h 797705"/>
              <a:gd name="connsiteX166" fmla="*/ 289916 w 829568"/>
              <a:gd name="connsiteY166" fmla="*/ 752082 h 797705"/>
              <a:gd name="connsiteX167" fmla="*/ 280800 w 829568"/>
              <a:gd name="connsiteY167" fmla="*/ 740740 h 797705"/>
              <a:gd name="connsiteX168" fmla="*/ 278521 w 829568"/>
              <a:gd name="connsiteY168" fmla="*/ 738471 h 797705"/>
              <a:gd name="connsiteX169" fmla="*/ 278521 w 829568"/>
              <a:gd name="connsiteY169" fmla="*/ 743008 h 797705"/>
              <a:gd name="connsiteX170" fmla="*/ 276242 w 829568"/>
              <a:gd name="connsiteY170" fmla="*/ 749814 h 797705"/>
              <a:gd name="connsiteX171" fmla="*/ 269405 w 829568"/>
              <a:gd name="connsiteY171" fmla="*/ 761156 h 797705"/>
              <a:gd name="connsiteX172" fmla="*/ 232942 w 829568"/>
              <a:gd name="connsiteY172" fmla="*/ 749814 h 797705"/>
              <a:gd name="connsiteX173" fmla="*/ 230663 w 829568"/>
              <a:gd name="connsiteY173" fmla="*/ 754351 h 797705"/>
              <a:gd name="connsiteX174" fmla="*/ 203316 w 829568"/>
              <a:gd name="connsiteY174" fmla="*/ 754351 h 797705"/>
              <a:gd name="connsiteX175" fmla="*/ 180526 w 829568"/>
              <a:gd name="connsiteY175" fmla="*/ 761156 h 797705"/>
              <a:gd name="connsiteX176" fmla="*/ 169131 w 829568"/>
              <a:gd name="connsiteY176" fmla="*/ 767961 h 797705"/>
              <a:gd name="connsiteX177" fmla="*/ 157736 w 829568"/>
              <a:gd name="connsiteY177" fmla="*/ 783841 h 797705"/>
              <a:gd name="connsiteX178" fmla="*/ 137226 w 829568"/>
              <a:gd name="connsiteY178" fmla="*/ 797451 h 797705"/>
              <a:gd name="connsiteX179" fmla="*/ 128110 w 829568"/>
              <a:gd name="connsiteY179" fmla="*/ 786109 h 797705"/>
              <a:gd name="connsiteX180" fmla="*/ 121273 w 829568"/>
              <a:gd name="connsiteY180" fmla="*/ 792914 h 797705"/>
              <a:gd name="connsiteX181" fmla="*/ 93925 w 829568"/>
              <a:gd name="connsiteY181" fmla="*/ 790646 h 797705"/>
              <a:gd name="connsiteX182" fmla="*/ 68857 w 829568"/>
              <a:gd name="connsiteY182" fmla="*/ 790646 h 797705"/>
              <a:gd name="connsiteX183" fmla="*/ 57462 w 829568"/>
              <a:gd name="connsiteY183" fmla="*/ 792914 h 797705"/>
              <a:gd name="connsiteX184" fmla="*/ 46067 w 829568"/>
              <a:gd name="connsiteY184" fmla="*/ 788377 h 797705"/>
              <a:gd name="connsiteX185" fmla="*/ 25556 w 829568"/>
              <a:gd name="connsiteY185" fmla="*/ 786109 h 797705"/>
              <a:gd name="connsiteX186" fmla="*/ 25556 w 829568"/>
              <a:gd name="connsiteY186" fmla="*/ 783841 h 797705"/>
              <a:gd name="connsiteX187" fmla="*/ 27835 w 829568"/>
              <a:gd name="connsiteY187" fmla="*/ 777035 h 797705"/>
              <a:gd name="connsiteX188" fmla="*/ 25556 w 829568"/>
              <a:gd name="connsiteY188" fmla="*/ 774767 h 797705"/>
              <a:gd name="connsiteX189" fmla="*/ 43788 w 829568"/>
              <a:gd name="connsiteY189" fmla="*/ 770230 h 797705"/>
              <a:gd name="connsiteX190" fmla="*/ 48346 w 829568"/>
              <a:gd name="connsiteY190" fmla="*/ 699908 h 797705"/>
              <a:gd name="connsiteX191" fmla="*/ 5046 w 829568"/>
              <a:gd name="connsiteY191" fmla="*/ 670418 h 797705"/>
              <a:gd name="connsiteX192" fmla="*/ 30114 w 829568"/>
              <a:gd name="connsiteY192" fmla="*/ 615975 h 797705"/>
              <a:gd name="connsiteX193" fmla="*/ 41509 w 829568"/>
              <a:gd name="connsiteY193" fmla="*/ 600095 h 797705"/>
              <a:gd name="connsiteX194" fmla="*/ 34672 w 829568"/>
              <a:gd name="connsiteY194" fmla="*/ 581948 h 797705"/>
              <a:gd name="connsiteX195" fmla="*/ 41509 w 829568"/>
              <a:gd name="connsiteY195" fmla="*/ 554726 h 797705"/>
              <a:gd name="connsiteX196" fmla="*/ 16441 w 829568"/>
              <a:gd name="connsiteY196" fmla="*/ 543384 h 797705"/>
              <a:gd name="connsiteX197" fmla="*/ 34672 w 829568"/>
              <a:gd name="connsiteY197" fmla="*/ 541115 h 797705"/>
              <a:gd name="connsiteX198" fmla="*/ 41498 w 829568"/>
              <a:gd name="connsiteY198" fmla="*/ 541115 h 797705"/>
              <a:gd name="connsiteX199" fmla="*/ 39341 w 829568"/>
              <a:gd name="connsiteY199" fmla="*/ 528176 h 797705"/>
              <a:gd name="connsiteX200" fmla="*/ 86966 w 829568"/>
              <a:gd name="connsiteY200" fmla="*/ 494839 h 797705"/>
              <a:gd name="connsiteX201" fmla="*/ 65409 w 829568"/>
              <a:gd name="connsiteY201" fmla="*/ 464300 h 797705"/>
              <a:gd name="connsiteX202" fmla="*/ 62429 w 829568"/>
              <a:gd name="connsiteY202" fmla="*/ 465726 h 797705"/>
              <a:gd name="connsiteX203" fmla="*/ 62429 w 829568"/>
              <a:gd name="connsiteY203" fmla="*/ 467991 h 797705"/>
              <a:gd name="connsiteX204" fmla="*/ 57874 w 829568"/>
              <a:gd name="connsiteY204" fmla="*/ 470256 h 797705"/>
              <a:gd name="connsiteX205" fmla="*/ 48763 w 829568"/>
              <a:gd name="connsiteY205" fmla="*/ 472522 h 797705"/>
              <a:gd name="connsiteX206" fmla="*/ 35096 w 829568"/>
              <a:gd name="connsiteY206" fmla="*/ 467991 h 797705"/>
              <a:gd name="connsiteX207" fmla="*/ 32818 w 829568"/>
              <a:gd name="connsiteY207" fmla="*/ 449871 h 797705"/>
              <a:gd name="connsiteX208" fmla="*/ 55596 w 829568"/>
              <a:gd name="connsiteY208" fmla="*/ 418160 h 797705"/>
              <a:gd name="connsiteX209" fmla="*/ 55596 w 829568"/>
              <a:gd name="connsiteY209" fmla="*/ 404569 h 797705"/>
              <a:gd name="connsiteX210" fmla="*/ 48763 w 829568"/>
              <a:gd name="connsiteY210" fmla="*/ 372858 h 797705"/>
              <a:gd name="connsiteX211" fmla="*/ 41929 w 829568"/>
              <a:gd name="connsiteY211" fmla="*/ 354737 h 797705"/>
              <a:gd name="connsiteX212" fmla="*/ 41929 w 829568"/>
              <a:gd name="connsiteY212" fmla="*/ 320761 h 797705"/>
              <a:gd name="connsiteX213" fmla="*/ 41929 w 829568"/>
              <a:gd name="connsiteY213" fmla="*/ 300375 h 797705"/>
              <a:gd name="connsiteX214" fmla="*/ 44207 w 829568"/>
              <a:gd name="connsiteY214" fmla="*/ 302640 h 797705"/>
              <a:gd name="connsiteX215" fmla="*/ 57934 w 829568"/>
              <a:gd name="connsiteY215" fmla="*/ 312196 h 797705"/>
              <a:gd name="connsiteX216" fmla="*/ 58242 w 829568"/>
              <a:gd name="connsiteY216" fmla="*/ 311394 h 797705"/>
              <a:gd name="connsiteX217" fmla="*/ 56256 w 829568"/>
              <a:gd name="connsiteY217" fmla="*/ 310012 h 797705"/>
              <a:gd name="connsiteX218" fmla="*/ 44300 w 829568"/>
              <a:gd name="connsiteY218" fmla="*/ 302367 h 797705"/>
              <a:gd name="connsiteX219" fmla="*/ 42022 w 829568"/>
              <a:gd name="connsiteY219" fmla="*/ 300102 h 797705"/>
              <a:gd name="connsiteX220" fmla="*/ 44300 w 829568"/>
              <a:gd name="connsiteY220" fmla="*/ 291042 h 797705"/>
              <a:gd name="connsiteX221" fmla="*/ 78462 w 829568"/>
              <a:gd name="connsiteY221" fmla="*/ 259331 h 797705"/>
              <a:gd name="connsiteX222" fmla="*/ 92126 w 829568"/>
              <a:gd name="connsiteY222" fmla="*/ 232149 h 797705"/>
              <a:gd name="connsiteX223" fmla="*/ 114901 w 829568"/>
              <a:gd name="connsiteY223" fmla="*/ 211764 h 797705"/>
              <a:gd name="connsiteX224" fmla="*/ 108638 w 829568"/>
              <a:gd name="connsiteY224" fmla="*/ 204968 h 797705"/>
              <a:gd name="connsiteX225" fmla="*/ 92261 w 829568"/>
              <a:gd name="connsiteY225" fmla="*/ 198228 h 797705"/>
              <a:gd name="connsiteX226" fmla="*/ 91806 w 829568"/>
              <a:gd name="connsiteY226" fmla="*/ 198355 h 797705"/>
              <a:gd name="connsiteX227" fmla="*/ 84968 w 829568"/>
              <a:gd name="connsiteY227" fmla="*/ 193807 h 797705"/>
              <a:gd name="connsiteX228" fmla="*/ 94086 w 829568"/>
              <a:gd name="connsiteY228" fmla="*/ 155145 h 797705"/>
              <a:gd name="connsiteX229" fmla="*/ 135114 w 829568"/>
              <a:gd name="connsiteY229" fmla="*/ 127854 h 797705"/>
              <a:gd name="connsiteX230" fmla="*/ 160186 w 829568"/>
              <a:gd name="connsiteY230" fmla="*/ 134677 h 797705"/>
              <a:gd name="connsiteX231" fmla="*/ 160186 w 829568"/>
              <a:gd name="connsiteY231" fmla="*/ 109660 h 797705"/>
              <a:gd name="connsiteX232" fmla="*/ 187538 w 829568"/>
              <a:gd name="connsiteY232" fmla="*/ 82369 h 797705"/>
              <a:gd name="connsiteX233" fmla="*/ 187538 w 829568"/>
              <a:gd name="connsiteY233" fmla="*/ 48256 h 797705"/>
              <a:gd name="connsiteX234" fmla="*/ 190103 w 829568"/>
              <a:gd name="connsiteY234"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70418 w 829568"/>
              <a:gd name="connsiteY8" fmla="*/ 255212 h 797705"/>
              <a:gd name="connsiteX9" fmla="*/ 568829 w 829568"/>
              <a:gd name="connsiteY9" fmla="*/ 260444 h 797705"/>
              <a:gd name="connsiteX10" fmla="*/ 570418 w 829568"/>
              <a:gd name="connsiteY10" fmla="*/ 255212 h 797705"/>
              <a:gd name="connsiteX11" fmla="*/ 561350 w 829568"/>
              <a:gd name="connsiteY11" fmla="*/ 243680 h 797705"/>
              <a:gd name="connsiteX12" fmla="*/ 563631 w 829568"/>
              <a:gd name="connsiteY12" fmla="*/ 245950 h 797705"/>
              <a:gd name="connsiteX13" fmla="*/ 563632 w 829568"/>
              <a:gd name="connsiteY13" fmla="*/ 245962 h 797705"/>
              <a:gd name="connsiteX14" fmla="*/ 561350 w 829568"/>
              <a:gd name="connsiteY14" fmla="*/ 243680 h 797705"/>
              <a:gd name="connsiteX15" fmla="*/ 190103 w 829568"/>
              <a:gd name="connsiteY15" fmla="*/ 284 h 797705"/>
              <a:gd name="connsiteX16" fmla="*/ 208052 w 829568"/>
              <a:gd name="connsiteY16" fmla="*/ 7319 h 797705"/>
              <a:gd name="connsiteX17" fmla="*/ 244522 w 829568"/>
              <a:gd name="connsiteY17" fmla="*/ 16416 h 797705"/>
              <a:gd name="connsiteX18" fmla="*/ 269594 w 829568"/>
              <a:gd name="connsiteY18" fmla="*/ 36884 h 797705"/>
              <a:gd name="connsiteX19" fmla="*/ 303784 w 829568"/>
              <a:gd name="connsiteY19" fmla="*/ 59627 h 797705"/>
              <a:gd name="connsiteX20" fmla="*/ 317460 w 829568"/>
              <a:gd name="connsiteY20" fmla="*/ 89192 h 797705"/>
              <a:gd name="connsiteX21" fmla="*/ 353930 w 829568"/>
              <a:gd name="connsiteY21" fmla="*/ 73272 h 797705"/>
              <a:gd name="connsiteX22" fmla="*/ 399516 w 829568"/>
              <a:gd name="connsiteY22" fmla="*/ 82369 h 797705"/>
              <a:gd name="connsiteX23" fmla="*/ 417751 w 829568"/>
              <a:gd name="connsiteY23" fmla="*/ 77821 h 797705"/>
              <a:gd name="connsiteX24" fmla="*/ 438265 w 829568"/>
              <a:gd name="connsiteY24" fmla="*/ 64175 h 797705"/>
              <a:gd name="connsiteX25" fmla="*/ 472455 w 829568"/>
              <a:gd name="connsiteY25" fmla="*/ 73272 h 797705"/>
              <a:gd name="connsiteX26" fmla="*/ 486131 w 829568"/>
              <a:gd name="connsiteY26" fmla="*/ 82369 h 797705"/>
              <a:gd name="connsiteX27" fmla="*/ 490690 w 829568"/>
              <a:gd name="connsiteY27" fmla="*/ 132402 h 797705"/>
              <a:gd name="connsiteX28" fmla="*/ 495248 w 829568"/>
              <a:gd name="connsiteY28" fmla="*/ 196081 h 797705"/>
              <a:gd name="connsiteX29" fmla="*/ 495248 w 829568"/>
              <a:gd name="connsiteY29" fmla="*/ 214275 h 797705"/>
              <a:gd name="connsiteX30" fmla="*/ 495067 w 829568"/>
              <a:gd name="connsiteY30" fmla="*/ 214233 h 797705"/>
              <a:gd name="connsiteX31" fmla="*/ 497146 w 829568"/>
              <a:gd name="connsiteY31" fmla="*/ 220449 h 797705"/>
              <a:gd name="connsiteX32" fmla="*/ 508530 w 829568"/>
              <a:gd name="connsiteY32" fmla="*/ 224986 h 797705"/>
              <a:gd name="connsiteX33" fmla="*/ 524467 w 829568"/>
              <a:gd name="connsiteY33" fmla="*/ 238598 h 797705"/>
              <a:gd name="connsiteX34" fmla="*/ 556340 w 829568"/>
              <a:gd name="connsiteY34" fmla="*/ 234060 h 797705"/>
              <a:gd name="connsiteX35" fmla="*/ 560894 w 829568"/>
              <a:gd name="connsiteY35" fmla="*/ 243135 h 797705"/>
              <a:gd name="connsiteX36" fmla="*/ 563170 w 829568"/>
              <a:gd name="connsiteY36" fmla="*/ 247672 h 797705"/>
              <a:gd name="connsiteX37" fmla="*/ 563684 w 829568"/>
              <a:gd name="connsiteY37" fmla="*/ 246583 h 797705"/>
              <a:gd name="connsiteX38" fmla="*/ 570440 w 829568"/>
              <a:gd name="connsiteY38" fmla="*/ 254988 h 797705"/>
              <a:gd name="connsiteX39" fmla="*/ 570445 w 829568"/>
              <a:gd name="connsiteY39" fmla="*/ 254942 h 797705"/>
              <a:gd name="connsiteX40" fmla="*/ 574113 w 829568"/>
              <a:gd name="connsiteY40" fmla="*/ 256872 h 797705"/>
              <a:gd name="connsiteX41" fmla="*/ 567290 w 829568"/>
              <a:gd name="connsiteY41" fmla="*/ 250109 h 797705"/>
              <a:gd name="connsiteX42" fmla="*/ 563684 w 829568"/>
              <a:gd name="connsiteY42" fmla="*/ 246583 h 797705"/>
              <a:gd name="connsiteX43" fmla="*/ 563632 w 829568"/>
              <a:gd name="connsiteY43" fmla="*/ 245962 h 797705"/>
              <a:gd name="connsiteX44" fmla="*/ 574458 w 829568"/>
              <a:gd name="connsiteY44" fmla="*/ 256788 h 797705"/>
              <a:gd name="connsiteX45" fmla="*/ 583230 w 829568"/>
              <a:gd name="connsiteY45" fmla="*/ 254659 h 797705"/>
              <a:gd name="connsiteX46" fmla="*/ 595448 w 829568"/>
              <a:gd name="connsiteY46" fmla="*/ 250406 h 797705"/>
              <a:gd name="connsiteX47" fmla="*/ 624997 w 829568"/>
              <a:gd name="connsiteY47" fmla="*/ 282159 h 797705"/>
              <a:gd name="connsiteX48" fmla="*/ 637214 w 829568"/>
              <a:gd name="connsiteY48" fmla="*/ 311928 h 797705"/>
              <a:gd name="connsiteX49" fmla="*/ 636731 w 829568"/>
              <a:gd name="connsiteY49" fmla="*/ 319061 h 797705"/>
              <a:gd name="connsiteX50" fmla="*/ 652790 w 829568"/>
              <a:gd name="connsiteY50" fmla="*/ 335120 h 797705"/>
              <a:gd name="connsiteX51" fmla="*/ 638758 w 829568"/>
              <a:gd name="connsiteY51" fmla="*/ 321150 h 797705"/>
              <a:gd name="connsiteX52" fmla="*/ 636727 w 829568"/>
              <a:gd name="connsiteY52" fmla="*/ 319129 h 797705"/>
              <a:gd name="connsiteX53" fmla="*/ 636185 w 829568"/>
              <a:gd name="connsiteY53" fmla="*/ 327131 h 797705"/>
              <a:gd name="connsiteX54" fmla="*/ 640908 w 829568"/>
              <a:gd name="connsiteY54" fmla="*/ 343397 h 797705"/>
              <a:gd name="connsiteX55" fmla="*/ 656819 w 829568"/>
              <a:gd name="connsiteY55" fmla="*/ 329788 h 797705"/>
              <a:gd name="connsiteX56" fmla="*/ 672730 w 829568"/>
              <a:gd name="connsiteY56" fmla="*/ 347933 h 797705"/>
              <a:gd name="connsiteX57" fmla="*/ 679549 w 829568"/>
              <a:gd name="connsiteY57" fmla="*/ 366077 h 797705"/>
              <a:gd name="connsiteX58" fmla="*/ 686368 w 829568"/>
              <a:gd name="connsiteY58" fmla="*/ 418243 h 797705"/>
              <a:gd name="connsiteX59" fmla="*/ 736375 w 829568"/>
              <a:gd name="connsiteY59" fmla="*/ 413707 h 797705"/>
              <a:gd name="connsiteX60" fmla="*/ 756832 w 829568"/>
              <a:gd name="connsiteY60" fmla="*/ 420511 h 797705"/>
              <a:gd name="connsiteX61" fmla="*/ 765924 w 829568"/>
              <a:gd name="connsiteY61" fmla="*/ 406903 h 797705"/>
              <a:gd name="connsiteX62" fmla="*/ 829568 w 829568"/>
              <a:gd name="connsiteY62" fmla="*/ 397830 h 797705"/>
              <a:gd name="connsiteX63" fmla="*/ 829568 w 829568"/>
              <a:gd name="connsiteY63" fmla="*/ 413707 h 797705"/>
              <a:gd name="connsiteX64" fmla="*/ 827295 w 829568"/>
              <a:gd name="connsiteY64" fmla="*/ 422779 h 797705"/>
              <a:gd name="connsiteX65" fmla="*/ 822749 w 829568"/>
              <a:gd name="connsiteY65" fmla="*/ 427315 h 797705"/>
              <a:gd name="connsiteX66" fmla="*/ 815930 w 829568"/>
              <a:gd name="connsiteY66" fmla="*/ 427315 h 797705"/>
              <a:gd name="connsiteX67" fmla="*/ 809111 w 829568"/>
              <a:gd name="connsiteY67" fmla="*/ 443192 h 797705"/>
              <a:gd name="connsiteX68" fmla="*/ 802292 w 829568"/>
              <a:gd name="connsiteY68" fmla="*/ 452264 h 797705"/>
              <a:gd name="connsiteX69" fmla="*/ 800019 w 829568"/>
              <a:gd name="connsiteY69" fmla="*/ 459068 h 797705"/>
              <a:gd name="connsiteX70" fmla="*/ 800019 w 829568"/>
              <a:gd name="connsiteY70" fmla="*/ 470408 h 797705"/>
              <a:gd name="connsiteX71" fmla="*/ 800019 w 829568"/>
              <a:gd name="connsiteY71" fmla="*/ 481749 h 797705"/>
              <a:gd name="connsiteX72" fmla="*/ 784108 w 829568"/>
              <a:gd name="connsiteY72" fmla="*/ 477212 h 797705"/>
              <a:gd name="connsiteX73" fmla="*/ 777289 w 829568"/>
              <a:gd name="connsiteY73" fmla="*/ 477212 h 797705"/>
              <a:gd name="connsiteX74" fmla="*/ 770470 w 829568"/>
              <a:gd name="connsiteY74" fmla="*/ 481749 h 797705"/>
              <a:gd name="connsiteX75" fmla="*/ 768197 w 829568"/>
              <a:gd name="connsiteY75" fmla="*/ 488553 h 797705"/>
              <a:gd name="connsiteX76" fmla="*/ 750013 w 829568"/>
              <a:gd name="connsiteY76" fmla="*/ 497625 h 797705"/>
              <a:gd name="connsiteX77" fmla="*/ 745467 w 829568"/>
              <a:gd name="connsiteY77" fmla="*/ 490821 h 797705"/>
              <a:gd name="connsiteX78" fmla="*/ 740921 w 829568"/>
              <a:gd name="connsiteY78" fmla="*/ 493089 h 797705"/>
              <a:gd name="connsiteX79" fmla="*/ 738648 w 829568"/>
              <a:gd name="connsiteY79" fmla="*/ 499893 h 797705"/>
              <a:gd name="connsiteX80" fmla="*/ 738648 w 829568"/>
              <a:gd name="connsiteY80" fmla="*/ 502161 h 797705"/>
              <a:gd name="connsiteX81" fmla="*/ 725010 w 829568"/>
              <a:gd name="connsiteY81" fmla="*/ 504429 h 797705"/>
              <a:gd name="connsiteX82" fmla="*/ 715918 w 829568"/>
              <a:gd name="connsiteY82" fmla="*/ 508965 h 797705"/>
              <a:gd name="connsiteX83" fmla="*/ 715918 w 829568"/>
              <a:gd name="connsiteY83" fmla="*/ 520306 h 797705"/>
              <a:gd name="connsiteX84" fmla="*/ 713645 w 829568"/>
              <a:gd name="connsiteY84" fmla="*/ 522574 h 797705"/>
              <a:gd name="connsiteX85" fmla="*/ 693188 w 829568"/>
              <a:gd name="connsiteY85" fmla="*/ 527110 h 797705"/>
              <a:gd name="connsiteX86" fmla="*/ 677276 w 829568"/>
              <a:gd name="connsiteY86" fmla="*/ 531646 h 797705"/>
              <a:gd name="connsiteX87" fmla="*/ 668184 w 829568"/>
              <a:gd name="connsiteY87" fmla="*/ 527110 h 797705"/>
              <a:gd name="connsiteX88" fmla="*/ 665911 w 829568"/>
              <a:gd name="connsiteY88" fmla="*/ 529378 h 797705"/>
              <a:gd name="connsiteX89" fmla="*/ 665911 w 829568"/>
              <a:gd name="connsiteY89" fmla="*/ 538450 h 797705"/>
              <a:gd name="connsiteX90" fmla="*/ 659092 w 829568"/>
              <a:gd name="connsiteY90" fmla="*/ 540718 h 797705"/>
              <a:gd name="connsiteX91" fmla="*/ 659092 w 829568"/>
              <a:gd name="connsiteY91" fmla="*/ 545254 h 797705"/>
              <a:gd name="connsiteX92" fmla="*/ 659092 w 829568"/>
              <a:gd name="connsiteY92" fmla="*/ 556595 h 797705"/>
              <a:gd name="connsiteX93" fmla="*/ 656819 w 829568"/>
              <a:gd name="connsiteY93" fmla="*/ 561131 h 797705"/>
              <a:gd name="connsiteX94" fmla="*/ 652273 w 829568"/>
              <a:gd name="connsiteY94" fmla="*/ 561131 h 797705"/>
              <a:gd name="connsiteX95" fmla="*/ 650000 w 829568"/>
              <a:gd name="connsiteY95" fmla="*/ 561131 h 797705"/>
              <a:gd name="connsiteX96" fmla="*/ 618178 w 829568"/>
              <a:gd name="connsiteY96" fmla="*/ 552058 h 797705"/>
              <a:gd name="connsiteX97" fmla="*/ 618178 w 829568"/>
              <a:gd name="connsiteY97" fmla="*/ 549790 h 797705"/>
              <a:gd name="connsiteX98" fmla="*/ 609086 w 829568"/>
              <a:gd name="connsiteY98" fmla="*/ 542986 h 797705"/>
              <a:gd name="connsiteX99" fmla="*/ 599994 w 829568"/>
              <a:gd name="connsiteY99" fmla="*/ 547522 h 797705"/>
              <a:gd name="connsiteX100" fmla="*/ 590902 w 829568"/>
              <a:gd name="connsiteY100" fmla="*/ 554327 h 797705"/>
              <a:gd name="connsiteX101" fmla="*/ 579537 w 829568"/>
              <a:gd name="connsiteY101" fmla="*/ 563399 h 797705"/>
              <a:gd name="connsiteX102" fmla="*/ 574991 w 829568"/>
              <a:gd name="connsiteY102" fmla="*/ 556595 h 797705"/>
              <a:gd name="connsiteX103" fmla="*/ 570445 w 829568"/>
              <a:gd name="connsiteY103" fmla="*/ 558863 h 797705"/>
              <a:gd name="connsiteX104" fmla="*/ 568172 w 829568"/>
              <a:gd name="connsiteY104" fmla="*/ 563399 h 797705"/>
              <a:gd name="connsiteX105" fmla="*/ 568172 w 829568"/>
              <a:gd name="connsiteY105" fmla="*/ 565667 h 797705"/>
              <a:gd name="connsiteX106" fmla="*/ 568172 w 829568"/>
              <a:gd name="connsiteY106" fmla="*/ 570203 h 797705"/>
              <a:gd name="connsiteX107" fmla="*/ 565899 w 829568"/>
              <a:gd name="connsiteY107" fmla="*/ 572471 h 797705"/>
              <a:gd name="connsiteX108" fmla="*/ 565899 w 829568"/>
              <a:gd name="connsiteY108" fmla="*/ 574739 h 797705"/>
              <a:gd name="connsiteX109" fmla="*/ 581810 w 829568"/>
              <a:gd name="connsiteY109" fmla="*/ 581543 h 797705"/>
              <a:gd name="connsiteX110" fmla="*/ 586356 w 829568"/>
              <a:gd name="connsiteY110" fmla="*/ 586079 h 797705"/>
              <a:gd name="connsiteX111" fmla="*/ 590902 w 829568"/>
              <a:gd name="connsiteY111" fmla="*/ 579275 h 797705"/>
              <a:gd name="connsiteX112" fmla="*/ 597721 w 829568"/>
              <a:gd name="connsiteY112" fmla="*/ 583811 h 797705"/>
              <a:gd name="connsiteX113" fmla="*/ 599994 w 829568"/>
              <a:gd name="connsiteY113" fmla="*/ 579275 h 797705"/>
              <a:gd name="connsiteX114" fmla="*/ 606813 w 829568"/>
              <a:gd name="connsiteY114" fmla="*/ 588347 h 797705"/>
              <a:gd name="connsiteX115" fmla="*/ 606813 w 829568"/>
              <a:gd name="connsiteY115" fmla="*/ 590616 h 797705"/>
              <a:gd name="connsiteX116" fmla="*/ 602267 w 829568"/>
              <a:gd name="connsiteY116" fmla="*/ 601956 h 797705"/>
              <a:gd name="connsiteX117" fmla="*/ 604540 w 829568"/>
              <a:gd name="connsiteY117" fmla="*/ 606492 h 797705"/>
              <a:gd name="connsiteX118" fmla="*/ 609086 w 829568"/>
              <a:gd name="connsiteY118" fmla="*/ 611028 h 797705"/>
              <a:gd name="connsiteX119" fmla="*/ 606813 w 829568"/>
              <a:gd name="connsiteY119" fmla="*/ 613296 h 797705"/>
              <a:gd name="connsiteX120" fmla="*/ 588629 w 829568"/>
              <a:gd name="connsiteY120" fmla="*/ 613296 h 797705"/>
              <a:gd name="connsiteX121" fmla="*/ 572718 w 829568"/>
              <a:gd name="connsiteY121" fmla="*/ 597420 h 797705"/>
              <a:gd name="connsiteX122" fmla="*/ 568172 w 829568"/>
              <a:gd name="connsiteY122" fmla="*/ 606492 h 797705"/>
              <a:gd name="connsiteX123" fmla="*/ 561353 w 829568"/>
              <a:gd name="connsiteY123" fmla="*/ 597420 h 797705"/>
              <a:gd name="connsiteX124" fmla="*/ 556807 w 829568"/>
              <a:gd name="connsiteY124" fmla="*/ 592884 h 797705"/>
              <a:gd name="connsiteX125" fmla="*/ 540896 w 829568"/>
              <a:gd name="connsiteY125" fmla="*/ 570203 h 797705"/>
              <a:gd name="connsiteX126" fmla="*/ 529530 w 829568"/>
              <a:gd name="connsiteY126" fmla="*/ 565667 h 797705"/>
              <a:gd name="connsiteX127" fmla="*/ 518165 w 829568"/>
              <a:gd name="connsiteY127" fmla="*/ 572471 h 797705"/>
              <a:gd name="connsiteX128" fmla="*/ 509073 w 829568"/>
              <a:gd name="connsiteY128" fmla="*/ 577007 h 797705"/>
              <a:gd name="connsiteX129" fmla="*/ 506800 w 829568"/>
              <a:gd name="connsiteY129" fmla="*/ 574739 h 797705"/>
              <a:gd name="connsiteX130" fmla="*/ 504527 w 829568"/>
              <a:gd name="connsiteY130" fmla="*/ 574739 h 797705"/>
              <a:gd name="connsiteX131" fmla="*/ 504527 w 829568"/>
              <a:gd name="connsiteY131" fmla="*/ 570324 h 797705"/>
              <a:gd name="connsiteX132" fmla="*/ 503669 w 829568"/>
              <a:gd name="connsiteY132" fmla="*/ 570324 h 797705"/>
              <a:gd name="connsiteX133" fmla="*/ 503669 w 829568"/>
              <a:gd name="connsiteY133" fmla="*/ 574870 h 797705"/>
              <a:gd name="connsiteX134" fmla="*/ 505946 w 829568"/>
              <a:gd name="connsiteY134" fmla="*/ 577143 h 797705"/>
              <a:gd name="connsiteX135" fmla="*/ 505946 w 829568"/>
              <a:gd name="connsiteY135" fmla="*/ 579415 h 797705"/>
              <a:gd name="connsiteX136" fmla="*/ 505946 w 829568"/>
              <a:gd name="connsiteY136" fmla="*/ 581688 h 797705"/>
              <a:gd name="connsiteX137" fmla="*/ 496839 w 829568"/>
              <a:gd name="connsiteY137" fmla="*/ 590779 h 797705"/>
              <a:gd name="connsiteX138" fmla="*/ 496839 w 829568"/>
              <a:gd name="connsiteY138" fmla="*/ 595324 h 797705"/>
              <a:gd name="connsiteX139" fmla="*/ 501392 w 829568"/>
              <a:gd name="connsiteY139" fmla="*/ 599870 h 797705"/>
              <a:gd name="connsiteX140" fmla="*/ 510500 w 829568"/>
              <a:gd name="connsiteY140" fmla="*/ 608960 h 797705"/>
              <a:gd name="connsiteX141" fmla="*/ 508223 w 829568"/>
              <a:gd name="connsiteY141" fmla="*/ 613506 h 797705"/>
              <a:gd name="connsiteX142" fmla="*/ 508223 w 829568"/>
              <a:gd name="connsiteY142" fmla="*/ 618051 h 797705"/>
              <a:gd name="connsiteX143" fmla="*/ 490008 w 829568"/>
              <a:gd name="connsiteY143" fmla="*/ 640778 h 797705"/>
              <a:gd name="connsiteX144" fmla="*/ 464962 w 829568"/>
              <a:gd name="connsiteY144" fmla="*/ 631687 h 797705"/>
              <a:gd name="connsiteX145" fmla="*/ 451300 w 829568"/>
              <a:gd name="connsiteY145" fmla="*/ 624869 h 797705"/>
              <a:gd name="connsiteX146" fmla="*/ 423977 w 829568"/>
              <a:gd name="connsiteY146" fmla="*/ 638506 h 797705"/>
              <a:gd name="connsiteX147" fmla="*/ 414870 w 829568"/>
              <a:gd name="connsiteY147" fmla="*/ 643051 h 797705"/>
              <a:gd name="connsiteX148" fmla="*/ 398931 w 829568"/>
              <a:gd name="connsiteY148" fmla="*/ 645324 h 797705"/>
              <a:gd name="connsiteX149" fmla="*/ 394378 w 829568"/>
              <a:gd name="connsiteY149" fmla="*/ 652142 h 797705"/>
              <a:gd name="connsiteX150" fmla="*/ 373885 w 829568"/>
              <a:gd name="connsiteY150" fmla="*/ 654415 h 797705"/>
              <a:gd name="connsiteX151" fmla="*/ 353393 w 829568"/>
              <a:gd name="connsiteY151" fmla="*/ 661233 h 797705"/>
              <a:gd name="connsiteX152" fmla="*/ 344285 w 829568"/>
              <a:gd name="connsiteY152" fmla="*/ 683960 h 797705"/>
              <a:gd name="connsiteX153" fmla="*/ 346559 w 829568"/>
              <a:gd name="connsiteY153" fmla="*/ 695305 h 797705"/>
              <a:gd name="connsiteX154" fmla="*/ 346890 w 829568"/>
              <a:gd name="connsiteY154" fmla="*/ 695371 h 797705"/>
              <a:gd name="connsiteX155" fmla="*/ 349169 w 829568"/>
              <a:gd name="connsiteY155" fmla="*/ 697639 h 797705"/>
              <a:gd name="connsiteX156" fmla="*/ 349169 w 829568"/>
              <a:gd name="connsiteY156" fmla="*/ 708981 h 797705"/>
              <a:gd name="connsiteX157" fmla="*/ 349169 w 829568"/>
              <a:gd name="connsiteY157" fmla="*/ 713518 h 797705"/>
              <a:gd name="connsiteX158" fmla="*/ 346890 w 829568"/>
              <a:gd name="connsiteY158" fmla="*/ 724861 h 797705"/>
              <a:gd name="connsiteX159" fmla="*/ 340053 w 829568"/>
              <a:gd name="connsiteY159" fmla="*/ 722592 h 797705"/>
              <a:gd name="connsiteX160" fmla="*/ 317264 w 829568"/>
              <a:gd name="connsiteY160" fmla="*/ 720324 h 797705"/>
              <a:gd name="connsiteX161" fmla="*/ 312706 w 829568"/>
              <a:gd name="connsiteY161" fmla="*/ 718055 h 797705"/>
              <a:gd name="connsiteX162" fmla="*/ 303590 w 829568"/>
              <a:gd name="connsiteY162" fmla="*/ 724861 h 797705"/>
              <a:gd name="connsiteX163" fmla="*/ 294474 w 829568"/>
              <a:gd name="connsiteY163" fmla="*/ 731666 h 797705"/>
              <a:gd name="connsiteX164" fmla="*/ 289916 w 829568"/>
              <a:gd name="connsiteY164" fmla="*/ 738471 h 797705"/>
              <a:gd name="connsiteX165" fmla="*/ 289916 w 829568"/>
              <a:gd name="connsiteY165" fmla="*/ 752082 h 797705"/>
              <a:gd name="connsiteX166" fmla="*/ 280800 w 829568"/>
              <a:gd name="connsiteY166" fmla="*/ 740740 h 797705"/>
              <a:gd name="connsiteX167" fmla="*/ 278521 w 829568"/>
              <a:gd name="connsiteY167" fmla="*/ 738471 h 797705"/>
              <a:gd name="connsiteX168" fmla="*/ 278521 w 829568"/>
              <a:gd name="connsiteY168" fmla="*/ 743008 h 797705"/>
              <a:gd name="connsiteX169" fmla="*/ 276242 w 829568"/>
              <a:gd name="connsiteY169" fmla="*/ 749814 h 797705"/>
              <a:gd name="connsiteX170" fmla="*/ 269405 w 829568"/>
              <a:gd name="connsiteY170" fmla="*/ 761156 h 797705"/>
              <a:gd name="connsiteX171" fmla="*/ 232942 w 829568"/>
              <a:gd name="connsiteY171" fmla="*/ 749814 h 797705"/>
              <a:gd name="connsiteX172" fmla="*/ 230663 w 829568"/>
              <a:gd name="connsiteY172" fmla="*/ 754351 h 797705"/>
              <a:gd name="connsiteX173" fmla="*/ 203316 w 829568"/>
              <a:gd name="connsiteY173" fmla="*/ 754351 h 797705"/>
              <a:gd name="connsiteX174" fmla="*/ 180526 w 829568"/>
              <a:gd name="connsiteY174" fmla="*/ 761156 h 797705"/>
              <a:gd name="connsiteX175" fmla="*/ 169131 w 829568"/>
              <a:gd name="connsiteY175" fmla="*/ 767961 h 797705"/>
              <a:gd name="connsiteX176" fmla="*/ 157736 w 829568"/>
              <a:gd name="connsiteY176" fmla="*/ 783841 h 797705"/>
              <a:gd name="connsiteX177" fmla="*/ 137226 w 829568"/>
              <a:gd name="connsiteY177" fmla="*/ 797451 h 797705"/>
              <a:gd name="connsiteX178" fmla="*/ 128110 w 829568"/>
              <a:gd name="connsiteY178" fmla="*/ 786109 h 797705"/>
              <a:gd name="connsiteX179" fmla="*/ 121273 w 829568"/>
              <a:gd name="connsiteY179" fmla="*/ 792914 h 797705"/>
              <a:gd name="connsiteX180" fmla="*/ 93925 w 829568"/>
              <a:gd name="connsiteY180" fmla="*/ 790646 h 797705"/>
              <a:gd name="connsiteX181" fmla="*/ 68857 w 829568"/>
              <a:gd name="connsiteY181" fmla="*/ 790646 h 797705"/>
              <a:gd name="connsiteX182" fmla="*/ 57462 w 829568"/>
              <a:gd name="connsiteY182" fmla="*/ 792914 h 797705"/>
              <a:gd name="connsiteX183" fmla="*/ 46067 w 829568"/>
              <a:gd name="connsiteY183" fmla="*/ 788377 h 797705"/>
              <a:gd name="connsiteX184" fmla="*/ 25556 w 829568"/>
              <a:gd name="connsiteY184" fmla="*/ 786109 h 797705"/>
              <a:gd name="connsiteX185" fmla="*/ 25556 w 829568"/>
              <a:gd name="connsiteY185" fmla="*/ 783841 h 797705"/>
              <a:gd name="connsiteX186" fmla="*/ 27835 w 829568"/>
              <a:gd name="connsiteY186" fmla="*/ 777035 h 797705"/>
              <a:gd name="connsiteX187" fmla="*/ 25556 w 829568"/>
              <a:gd name="connsiteY187" fmla="*/ 774767 h 797705"/>
              <a:gd name="connsiteX188" fmla="*/ 43788 w 829568"/>
              <a:gd name="connsiteY188" fmla="*/ 770230 h 797705"/>
              <a:gd name="connsiteX189" fmla="*/ 48346 w 829568"/>
              <a:gd name="connsiteY189" fmla="*/ 699908 h 797705"/>
              <a:gd name="connsiteX190" fmla="*/ 5046 w 829568"/>
              <a:gd name="connsiteY190" fmla="*/ 670418 h 797705"/>
              <a:gd name="connsiteX191" fmla="*/ 30114 w 829568"/>
              <a:gd name="connsiteY191" fmla="*/ 615975 h 797705"/>
              <a:gd name="connsiteX192" fmla="*/ 41509 w 829568"/>
              <a:gd name="connsiteY192" fmla="*/ 600095 h 797705"/>
              <a:gd name="connsiteX193" fmla="*/ 34672 w 829568"/>
              <a:gd name="connsiteY193" fmla="*/ 581948 h 797705"/>
              <a:gd name="connsiteX194" fmla="*/ 41509 w 829568"/>
              <a:gd name="connsiteY194" fmla="*/ 554726 h 797705"/>
              <a:gd name="connsiteX195" fmla="*/ 16441 w 829568"/>
              <a:gd name="connsiteY195" fmla="*/ 543384 h 797705"/>
              <a:gd name="connsiteX196" fmla="*/ 34672 w 829568"/>
              <a:gd name="connsiteY196" fmla="*/ 541115 h 797705"/>
              <a:gd name="connsiteX197" fmla="*/ 41498 w 829568"/>
              <a:gd name="connsiteY197" fmla="*/ 541115 h 797705"/>
              <a:gd name="connsiteX198" fmla="*/ 39341 w 829568"/>
              <a:gd name="connsiteY198" fmla="*/ 528176 h 797705"/>
              <a:gd name="connsiteX199" fmla="*/ 86966 w 829568"/>
              <a:gd name="connsiteY199" fmla="*/ 494839 h 797705"/>
              <a:gd name="connsiteX200" fmla="*/ 65409 w 829568"/>
              <a:gd name="connsiteY200" fmla="*/ 464300 h 797705"/>
              <a:gd name="connsiteX201" fmla="*/ 62429 w 829568"/>
              <a:gd name="connsiteY201" fmla="*/ 465726 h 797705"/>
              <a:gd name="connsiteX202" fmla="*/ 62429 w 829568"/>
              <a:gd name="connsiteY202" fmla="*/ 467991 h 797705"/>
              <a:gd name="connsiteX203" fmla="*/ 57874 w 829568"/>
              <a:gd name="connsiteY203" fmla="*/ 470256 h 797705"/>
              <a:gd name="connsiteX204" fmla="*/ 48763 w 829568"/>
              <a:gd name="connsiteY204" fmla="*/ 472522 h 797705"/>
              <a:gd name="connsiteX205" fmla="*/ 35096 w 829568"/>
              <a:gd name="connsiteY205" fmla="*/ 467991 h 797705"/>
              <a:gd name="connsiteX206" fmla="*/ 32818 w 829568"/>
              <a:gd name="connsiteY206" fmla="*/ 449871 h 797705"/>
              <a:gd name="connsiteX207" fmla="*/ 55596 w 829568"/>
              <a:gd name="connsiteY207" fmla="*/ 418160 h 797705"/>
              <a:gd name="connsiteX208" fmla="*/ 55596 w 829568"/>
              <a:gd name="connsiteY208" fmla="*/ 404569 h 797705"/>
              <a:gd name="connsiteX209" fmla="*/ 48763 w 829568"/>
              <a:gd name="connsiteY209" fmla="*/ 372858 h 797705"/>
              <a:gd name="connsiteX210" fmla="*/ 41929 w 829568"/>
              <a:gd name="connsiteY210" fmla="*/ 354737 h 797705"/>
              <a:gd name="connsiteX211" fmla="*/ 41929 w 829568"/>
              <a:gd name="connsiteY211" fmla="*/ 320761 h 797705"/>
              <a:gd name="connsiteX212" fmla="*/ 41929 w 829568"/>
              <a:gd name="connsiteY212" fmla="*/ 300375 h 797705"/>
              <a:gd name="connsiteX213" fmla="*/ 44207 w 829568"/>
              <a:gd name="connsiteY213" fmla="*/ 302640 h 797705"/>
              <a:gd name="connsiteX214" fmla="*/ 57934 w 829568"/>
              <a:gd name="connsiteY214" fmla="*/ 312196 h 797705"/>
              <a:gd name="connsiteX215" fmla="*/ 58242 w 829568"/>
              <a:gd name="connsiteY215" fmla="*/ 311394 h 797705"/>
              <a:gd name="connsiteX216" fmla="*/ 56256 w 829568"/>
              <a:gd name="connsiteY216" fmla="*/ 310012 h 797705"/>
              <a:gd name="connsiteX217" fmla="*/ 44300 w 829568"/>
              <a:gd name="connsiteY217" fmla="*/ 302367 h 797705"/>
              <a:gd name="connsiteX218" fmla="*/ 42022 w 829568"/>
              <a:gd name="connsiteY218" fmla="*/ 300102 h 797705"/>
              <a:gd name="connsiteX219" fmla="*/ 44300 w 829568"/>
              <a:gd name="connsiteY219" fmla="*/ 291042 h 797705"/>
              <a:gd name="connsiteX220" fmla="*/ 78462 w 829568"/>
              <a:gd name="connsiteY220" fmla="*/ 259331 h 797705"/>
              <a:gd name="connsiteX221" fmla="*/ 92126 w 829568"/>
              <a:gd name="connsiteY221" fmla="*/ 232149 h 797705"/>
              <a:gd name="connsiteX222" fmla="*/ 114901 w 829568"/>
              <a:gd name="connsiteY222" fmla="*/ 211764 h 797705"/>
              <a:gd name="connsiteX223" fmla="*/ 108638 w 829568"/>
              <a:gd name="connsiteY223" fmla="*/ 204968 h 797705"/>
              <a:gd name="connsiteX224" fmla="*/ 92261 w 829568"/>
              <a:gd name="connsiteY224" fmla="*/ 198228 h 797705"/>
              <a:gd name="connsiteX225" fmla="*/ 91806 w 829568"/>
              <a:gd name="connsiteY225" fmla="*/ 198355 h 797705"/>
              <a:gd name="connsiteX226" fmla="*/ 84968 w 829568"/>
              <a:gd name="connsiteY226" fmla="*/ 193807 h 797705"/>
              <a:gd name="connsiteX227" fmla="*/ 94086 w 829568"/>
              <a:gd name="connsiteY227" fmla="*/ 155145 h 797705"/>
              <a:gd name="connsiteX228" fmla="*/ 135114 w 829568"/>
              <a:gd name="connsiteY228" fmla="*/ 127854 h 797705"/>
              <a:gd name="connsiteX229" fmla="*/ 160186 w 829568"/>
              <a:gd name="connsiteY229" fmla="*/ 134677 h 797705"/>
              <a:gd name="connsiteX230" fmla="*/ 160186 w 829568"/>
              <a:gd name="connsiteY230" fmla="*/ 109660 h 797705"/>
              <a:gd name="connsiteX231" fmla="*/ 187538 w 829568"/>
              <a:gd name="connsiteY231" fmla="*/ 82369 h 797705"/>
              <a:gd name="connsiteX232" fmla="*/ 187538 w 829568"/>
              <a:gd name="connsiteY232" fmla="*/ 48256 h 797705"/>
              <a:gd name="connsiteX233" fmla="*/ 190103 w 829568"/>
              <a:gd name="connsiteY233"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61350 w 829568"/>
              <a:gd name="connsiteY8" fmla="*/ 243680 h 797705"/>
              <a:gd name="connsiteX9" fmla="*/ 563631 w 829568"/>
              <a:gd name="connsiteY9" fmla="*/ 245950 h 797705"/>
              <a:gd name="connsiteX10" fmla="*/ 563632 w 829568"/>
              <a:gd name="connsiteY10" fmla="*/ 245962 h 797705"/>
              <a:gd name="connsiteX11" fmla="*/ 561350 w 829568"/>
              <a:gd name="connsiteY11" fmla="*/ 243680 h 797705"/>
              <a:gd name="connsiteX12" fmla="*/ 190103 w 829568"/>
              <a:gd name="connsiteY12" fmla="*/ 284 h 797705"/>
              <a:gd name="connsiteX13" fmla="*/ 208052 w 829568"/>
              <a:gd name="connsiteY13" fmla="*/ 7319 h 797705"/>
              <a:gd name="connsiteX14" fmla="*/ 244522 w 829568"/>
              <a:gd name="connsiteY14" fmla="*/ 16416 h 797705"/>
              <a:gd name="connsiteX15" fmla="*/ 269594 w 829568"/>
              <a:gd name="connsiteY15" fmla="*/ 36884 h 797705"/>
              <a:gd name="connsiteX16" fmla="*/ 303784 w 829568"/>
              <a:gd name="connsiteY16" fmla="*/ 59627 h 797705"/>
              <a:gd name="connsiteX17" fmla="*/ 317460 w 829568"/>
              <a:gd name="connsiteY17" fmla="*/ 89192 h 797705"/>
              <a:gd name="connsiteX18" fmla="*/ 353930 w 829568"/>
              <a:gd name="connsiteY18" fmla="*/ 73272 h 797705"/>
              <a:gd name="connsiteX19" fmla="*/ 399516 w 829568"/>
              <a:gd name="connsiteY19" fmla="*/ 82369 h 797705"/>
              <a:gd name="connsiteX20" fmla="*/ 417751 w 829568"/>
              <a:gd name="connsiteY20" fmla="*/ 77821 h 797705"/>
              <a:gd name="connsiteX21" fmla="*/ 438265 w 829568"/>
              <a:gd name="connsiteY21" fmla="*/ 64175 h 797705"/>
              <a:gd name="connsiteX22" fmla="*/ 472455 w 829568"/>
              <a:gd name="connsiteY22" fmla="*/ 73272 h 797705"/>
              <a:gd name="connsiteX23" fmla="*/ 486131 w 829568"/>
              <a:gd name="connsiteY23" fmla="*/ 82369 h 797705"/>
              <a:gd name="connsiteX24" fmla="*/ 490690 w 829568"/>
              <a:gd name="connsiteY24" fmla="*/ 132402 h 797705"/>
              <a:gd name="connsiteX25" fmla="*/ 495248 w 829568"/>
              <a:gd name="connsiteY25" fmla="*/ 196081 h 797705"/>
              <a:gd name="connsiteX26" fmla="*/ 495248 w 829568"/>
              <a:gd name="connsiteY26" fmla="*/ 214275 h 797705"/>
              <a:gd name="connsiteX27" fmla="*/ 495067 w 829568"/>
              <a:gd name="connsiteY27" fmla="*/ 214233 h 797705"/>
              <a:gd name="connsiteX28" fmla="*/ 497146 w 829568"/>
              <a:gd name="connsiteY28" fmla="*/ 220449 h 797705"/>
              <a:gd name="connsiteX29" fmla="*/ 508530 w 829568"/>
              <a:gd name="connsiteY29" fmla="*/ 224986 h 797705"/>
              <a:gd name="connsiteX30" fmla="*/ 524467 w 829568"/>
              <a:gd name="connsiteY30" fmla="*/ 238598 h 797705"/>
              <a:gd name="connsiteX31" fmla="*/ 556340 w 829568"/>
              <a:gd name="connsiteY31" fmla="*/ 234060 h 797705"/>
              <a:gd name="connsiteX32" fmla="*/ 560894 w 829568"/>
              <a:gd name="connsiteY32" fmla="*/ 243135 h 797705"/>
              <a:gd name="connsiteX33" fmla="*/ 563170 w 829568"/>
              <a:gd name="connsiteY33" fmla="*/ 247672 h 797705"/>
              <a:gd name="connsiteX34" fmla="*/ 563684 w 829568"/>
              <a:gd name="connsiteY34" fmla="*/ 246583 h 797705"/>
              <a:gd name="connsiteX35" fmla="*/ 570440 w 829568"/>
              <a:gd name="connsiteY35" fmla="*/ 254988 h 797705"/>
              <a:gd name="connsiteX36" fmla="*/ 570445 w 829568"/>
              <a:gd name="connsiteY36" fmla="*/ 254942 h 797705"/>
              <a:gd name="connsiteX37" fmla="*/ 574113 w 829568"/>
              <a:gd name="connsiteY37" fmla="*/ 256872 h 797705"/>
              <a:gd name="connsiteX38" fmla="*/ 567290 w 829568"/>
              <a:gd name="connsiteY38" fmla="*/ 250109 h 797705"/>
              <a:gd name="connsiteX39" fmla="*/ 563684 w 829568"/>
              <a:gd name="connsiteY39" fmla="*/ 246583 h 797705"/>
              <a:gd name="connsiteX40" fmla="*/ 563632 w 829568"/>
              <a:gd name="connsiteY40" fmla="*/ 245962 h 797705"/>
              <a:gd name="connsiteX41" fmla="*/ 574458 w 829568"/>
              <a:gd name="connsiteY41" fmla="*/ 256788 h 797705"/>
              <a:gd name="connsiteX42" fmla="*/ 583230 w 829568"/>
              <a:gd name="connsiteY42" fmla="*/ 254659 h 797705"/>
              <a:gd name="connsiteX43" fmla="*/ 595448 w 829568"/>
              <a:gd name="connsiteY43" fmla="*/ 250406 h 797705"/>
              <a:gd name="connsiteX44" fmla="*/ 624997 w 829568"/>
              <a:gd name="connsiteY44" fmla="*/ 282159 h 797705"/>
              <a:gd name="connsiteX45" fmla="*/ 637214 w 829568"/>
              <a:gd name="connsiteY45" fmla="*/ 311928 h 797705"/>
              <a:gd name="connsiteX46" fmla="*/ 636731 w 829568"/>
              <a:gd name="connsiteY46" fmla="*/ 319061 h 797705"/>
              <a:gd name="connsiteX47" fmla="*/ 652790 w 829568"/>
              <a:gd name="connsiteY47" fmla="*/ 335120 h 797705"/>
              <a:gd name="connsiteX48" fmla="*/ 638758 w 829568"/>
              <a:gd name="connsiteY48" fmla="*/ 321150 h 797705"/>
              <a:gd name="connsiteX49" fmla="*/ 636727 w 829568"/>
              <a:gd name="connsiteY49" fmla="*/ 319129 h 797705"/>
              <a:gd name="connsiteX50" fmla="*/ 636185 w 829568"/>
              <a:gd name="connsiteY50" fmla="*/ 327131 h 797705"/>
              <a:gd name="connsiteX51" fmla="*/ 640908 w 829568"/>
              <a:gd name="connsiteY51" fmla="*/ 343397 h 797705"/>
              <a:gd name="connsiteX52" fmla="*/ 656819 w 829568"/>
              <a:gd name="connsiteY52" fmla="*/ 329788 h 797705"/>
              <a:gd name="connsiteX53" fmla="*/ 672730 w 829568"/>
              <a:gd name="connsiteY53" fmla="*/ 347933 h 797705"/>
              <a:gd name="connsiteX54" fmla="*/ 679549 w 829568"/>
              <a:gd name="connsiteY54" fmla="*/ 366077 h 797705"/>
              <a:gd name="connsiteX55" fmla="*/ 686368 w 829568"/>
              <a:gd name="connsiteY55" fmla="*/ 418243 h 797705"/>
              <a:gd name="connsiteX56" fmla="*/ 736375 w 829568"/>
              <a:gd name="connsiteY56" fmla="*/ 413707 h 797705"/>
              <a:gd name="connsiteX57" fmla="*/ 756832 w 829568"/>
              <a:gd name="connsiteY57" fmla="*/ 420511 h 797705"/>
              <a:gd name="connsiteX58" fmla="*/ 765924 w 829568"/>
              <a:gd name="connsiteY58" fmla="*/ 406903 h 797705"/>
              <a:gd name="connsiteX59" fmla="*/ 829568 w 829568"/>
              <a:gd name="connsiteY59" fmla="*/ 397830 h 797705"/>
              <a:gd name="connsiteX60" fmla="*/ 829568 w 829568"/>
              <a:gd name="connsiteY60" fmla="*/ 413707 h 797705"/>
              <a:gd name="connsiteX61" fmla="*/ 827295 w 829568"/>
              <a:gd name="connsiteY61" fmla="*/ 422779 h 797705"/>
              <a:gd name="connsiteX62" fmla="*/ 822749 w 829568"/>
              <a:gd name="connsiteY62" fmla="*/ 427315 h 797705"/>
              <a:gd name="connsiteX63" fmla="*/ 815930 w 829568"/>
              <a:gd name="connsiteY63" fmla="*/ 427315 h 797705"/>
              <a:gd name="connsiteX64" fmla="*/ 809111 w 829568"/>
              <a:gd name="connsiteY64" fmla="*/ 443192 h 797705"/>
              <a:gd name="connsiteX65" fmla="*/ 802292 w 829568"/>
              <a:gd name="connsiteY65" fmla="*/ 452264 h 797705"/>
              <a:gd name="connsiteX66" fmla="*/ 800019 w 829568"/>
              <a:gd name="connsiteY66" fmla="*/ 459068 h 797705"/>
              <a:gd name="connsiteX67" fmla="*/ 800019 w 829568"/>
              <a:gd name="connsiteY67" fmla="*/ 470408 h 797705"/>
              <a:gd name="connsiteX68" fmla="*/ 800019 w 829568"/>
              <a:gd name="connsiteY68" fmla="*/ 481749 h 797705"/>
              <a:gd name="connsiteX69" fmla="*/ 784108 w 829568"/>
              <a:gd name="connsiteY69" fmla="*/ 477212 h 797705"/>
              <a:gd name="connsiteX70" fmla="*/ 777289 w 829568"/>
              <a:gd name="connsiteY70" fmla="*/ 477212 h 797705"/>
              <a:gd name="connsiteX71" fmla="*/ 770470 w 829568"/>
              <a:gd name="connsiteY71" fmla="*/ 481749 h 797705"/>
              <a:gd name="connsiteX72" fmla="*/ 768197 w 829568"/>
              <a:gd name="connsiteY72" fmla="*/ 488553 h 797705"/>
              <a:gd name="connsiteX73" fmla="*/ 750013 w 829568"/>
              <a:gd name="connsiteY73" fmla="*/ 497625 h 797705"/>
              <a:gd name="connsiteX74" fmla="*/ 745467 w 829568"/>
              <a:gd name="connsiteY74" fmla="*/ 490821 h 797705"/>
              <a:gd name="connsiteX75" fmla="*/ 740921 w 829568"/>
              <a:gd name="connsiteY75" fmla="*/ 493089 h 797705"/>
              <a:gd name="connsiteX76" fmla="*/ 738648 w 829568"/>
              <a:gd name="connsiteY76" fmla="*/ 499893 h 797705"/>
              <a:gd name="connsiteX77" fmla="*/ 738648 w 829568"/>
              <a:gd name="connsiteY77" fmla="*/ 502161 h 797705"/>
              <a:gd name="connsiteX78" fmla="*/ 725010 w 829568"/>
              <a:gd name="connsiteY78" fmla="*/ 504429 h 797705"/>
              <a:gd name="connsiteX79" fmla="*/ 715918 w 829568"/>
              <a:gd name="connsiteY79" fmla="*/ 508965 h 797705"/>
              <a:gd name="connsiteX80" fmla="*/ 715918 w 829568"/>
              <a:gd name="connsiteY80" fmla="*/ 520306 h 797705"/>
              <a:gd name="connsiteX81" fmla="*/ 713645 w 829568"/>
              <a:gd name="connsiteY81" fmla="*/ 522574 h 797705"/>
              <a:gd name="connsiteX82" fmla="*/ 693188 w 829568"/>
              <a:gd name="connsiteY82" fmla="*/ 527110 h 797705"/>
              <a:gd name="connsiteX83" fmla="*/ 677276 w 829568"/>
              <a:gd name="connsiteY83" fmla="*/ 531646 h 797705"/>
              <a:gd name="connsiteX84" fmla="*/ 668184 w 829568"/>
              <a:gd name="connsiteY84" fmla="*/ 527110 h 797705"/>
              <a:gd name="connsiteX85" fmla="*/ 665911 w 829568"/>
              <a:gd name="connsiteY85" fmla="*/ 529378 h 797705"/>
              <a:gd name="connsiteX86" fmla="*/ 665911 w 829568"/>
              <a:gd name="connsiteY86" fmla="*/ 538450 h 797705"/>
              <a:gd name="connsiteX87" fmla="*/ 659092 w 829568"/>
              <a:gd name="connsiteY87" fmla="*/ 540718 h 797705"/>
              <a:gd name="connsiteX88" fmla="*/ 659092 w 829568"/>
              <a:gd name="connsiteY88" fmla="*/ 545254 h 797705"/>
              <a:gd name="connsiteX89" fmla="*/ 659092 w 829568"/>
              <a:gd name="connsiteY89" fmla="*/ 556595 h 797705"/>
              <a:gd name="connsiteX90" fmla="*/ 656819 w 829568"/>
              <a:gd name="connsiteY90" fmla="*/ 561131 h 797705"/>
              <a:gd name="connsiteX91" fmla="*/ 652273 w 829568"/>
              <a:gd name="connsiteY91" fmla="*/ 561131 h 797705"/>
              <a:gd name="connsiteX92" fmla="*/ 650000 w 829568"/>
              <a:gd name="connsiteY92" fmla="*/ 561131 h 797705"/>
              <a:gd name="connsiteX93" fmla="*/ 618178 w 829568"/>
              <a:gd name="connsiteY93" fmla="*/ 552058 h 797705"/>
              <a:gd name="connsiteX94" fmla="*/ 618178 w 829568"/>
              <a:gd name="connsiteY94" fmla="*/ 549790 h 797705"/>
              <a:gd name="connsiteX95" fmla="*/ 609086 w 829568"/>
              <a:gd name="connsiteY95" fmla="*/ 542986 h 797705"/>
              <a:gd name="connsiteX96" fmla="*/ 599994 w 829568"/>
              <a:gd name="connsiteY96" fmla="*/ 547522 h 797705"/>
              <a:gd name="connsiteX97" fmla="*/ 590902 w 829568"/>
              <a:gd name="connsiteY97" fmla="*/ 554327 h 797705"/>
              <a:gd name="connsiteX98" fmla="*/ 579537 w 829568"/>
              <a:gd name="connsiteY98" fmla="*/ 563399 h 797705"/>
              <a:gd name="connsiteX99" fmla="*/ 574991 w 829568"/>
              <a:gd name="connsiteY99" fmla="*/ 556595 h 797705"/>
              <a:gd name="connsiteX100" fmla="*/ 570445 w 829568"/>
              <a:gd name="connsiteY100" fmla="*/ 558863 h 797705"/>
              <a:gd name="connsiteX101" fmla="*/ 568172 w 829568"/>
              <a:gd name="connsiteY101" fmla="*/ 563399 h 797705"/>
              <a:gd name="connsiteX102" fmla="*/ 568172 w 829568"/>
              <a:gd name="connsiteY102" fmla="*/ 565667 h 797705"/>
              <a:gd name="connsiteX103" fmla="*/ 568172 w 829568"/>
              <a:gd name="connsiteY103" fmla="*/ 570203 h 797705"/>
              <a:gd name="connsiteX104" fmla="*/ 565899 w 829568"/>
              <a:gd name="connsiteY104" fmla="*/ 572471 h 797705"/>
              <a:gd name="connsiteX105" fmla="*/ 565899 w 829568"/>
              <a:gd name="connsiteY105" fmla="*/ 574739 h 797705"/>
              <a:gd name="connsiteX106" fmla="*/ 581810 w 829568"/>
              <a:gd name="connsiteY106" fmla="*/ 581543 h 797705"/>
              <a:gd name="connsiteX107" fmla="*/ 586356 w 829568"/>
              <a:gd name="connsiteY107" fmla="*/ 586079 h 797705"/>
              <a:gd name="connsiteX108" fmla="*/ 590902 w 829568"/>
              <a:gd name="connsiteY108" fmla="*/ 579275 h 797705"/>
              <a:gd name="connsiteX109" fmla="*/ 597721 w 829568"/>
              <a:gd name="connsiteY109" fmla="*/ 583811 h 797705"/>
              <a:gd name="connsiteX110" fmla="*/ 599994 w 829568"/>
              <a:gd name="connsiteY110" fmla="*/ 579275 h 797705"/>
              <a:gd name="connsiteX111" fmla="*/ 606813 w 829568"/>
              <a:gd name="connsiteY111" fmla="*/ 588347 h 797705"/>
              <a:gd name="connsiteX112" fmla="*/ 606813 w 829568"/>
              <a:gd name="connsiteY112" fmla="*/ 590616 h 797705"/>
              <a:gd name="connsiteX113" fmla="*/ 602267 w 829568"/>
              <a:gd name="connsiteY113" fmla="*/ 601956 h 797705"/>
              <a:gd name="connsiteX114" fmla="*/ 604540 w 829568"/>
              <a:gd name="connsiteY114" fmla="*/ 606492 h 797705"/>
              <a:gd name="connsiteX115" fmla="*/ 609086 w 829568"/>
              <a:gd name="connsiteY115" fmla="*/ 611028 h 797705"/>
              <a:gd name="connsiteX116" fmla="*/ 606813 w 829568"/>
              <a:gd name="connsiteY116" fmla="*/ 613296 h 797705"/>
              <a:gd name="connsiteX117" fmla="*/ 588629 w 829568"/>
              <a:gd name="connsiteY117" fmla="*/ 613296 h 797705"/>
              <a:gd name="connsiteX118" fmla="*/ 572718 w 829568"/>
              <a:gd name="connsiteY118" fmla="*/ 597420 h 797705"/>
              <a:gd name="connsiteX119" fmla="*/ 568172 w 829568"/>
              <a:gd name="connsiteY119" fmla="*/ 606492 h 797705"/>
              <a:gd name="connsiteX120" fmla="*/ 561353 w 829568"/>
              <a:gd name="connsiteY120" fmla="*/ 597420 h 797705"/>
              <a:gd name="connsiteX121" fmla="*/ 556807 w 829568"/>
              <a:gd name="connsiteY121" fmla="*/ 592884 h 797705"/>
              <a:gd name="connsiteX122" fmla="*/ 540896 w 829568"/>
              <a:gd name="connsiteY122" fmla="*/ 570203 h 797705"/>
              <a:gd name="connsiteX123" fmla="*/ 529530 w 829568"/>
              <a:gd name="connsiteY123" fmla="*/ 565667 h 797705"/>
              <a:gd name="connsiteX124" fmla="*/ 518165 w 829568"/>
              <a:gd name="connsiteY124" fmla="*/ 572471 h 797705"/>
              <a:gd name="connsiteX125" fmla="*/ 509073 w 829568"/>
              <a:gd name="connsiteY125" fmla="*/ 577007 h 797705"/>
              <a:gd name="connsiteX126" fmla="*/ 506800 w 829568"/>
              <a:gd name="connsiteY126" fmla="*/ 574739 h 797705"/>
              <a:gd name="connsiteX127" fmla="*/ 504527 w 829568"/>
              <a:gd name="connsiteY127" fmla="*/ 574739 h 797705"/>
              <a:gd name="connsiteX128" fmla="*/ 504527 w 829568"/>
              <a:gd name="connsiteY128" fmla="*/ 570324 h 797705"/>
              <a:gd name="connsiteX129" fmla="*/ 503669 w 829568"/>
              <a:gd name="connsiteY129" fmla="*/ 570324 h 797705"/>
              <a:gd name="connsiteX130" fmla="*/ 503669 w 829568"/>
              <a:gd name="connsiteY130" fmla="*/ 574870 h 797705"/>
              <a:gd name="connsiteX131" fmla="*/ 505946 w 829568"/>
              <a:gd name="connsiteY131" fmla="*/ 577143 h 797705"/>
              <a:gd name="connsiteX132" fmla="*/ 505946 w 829568"/>
              <a:gd name="connsiteY132" fmla="*/ 579415 h 797705"/>
              <a:gd name="connsiteX133" fmla="*/ 505946 w 829568"/>
              <a:gd name="connsiteY133" fmla="*/ 581688 h 797705"/>
              <a:gd name="connsiteX134" fmla="*/ 496839 w 829568"/>
              <a:gd name="connsiteY134" fmla="*/ 590779 h 797705"/>
              <a:gd name="connsiteX135" fmla="*/ 496839 w 829568"/>
              <a:gd name="connsiteY135" fmla="*/ 595324 h 797705"/>
              <a:gd name="connsiteX136" fmla="*/ 501392 w 829568"/>
              <a:gd name="connsiteY136" fmla="*/ 599870 h 797705"/>
              <a:gd name="connsiteX137" fmla="*/ 510500 w 829568"/>
              <a:gd name="connsiteY137" fmla="*/ 608960 h 797705"/>
              <a:gd name="connsiteX138" fmla="*/ 508223 w 829568"/>
              <a:gd name="connsiteY138" fmla="*/ 613506 h 797705"/>
              <a:gd name="connsiteX139" fmla="*/ 508223 w 829568"/>
              <a:gd name="connsiteY139" fmla="*/ 618051 h 797705"/>
              <a:gd name="connsiteX140" fmla="*/ 490008 w 829568"/>
              <a:gd name="connsiteY140" fmla="*/ 640778 h 797705"/>
              <a:gd name="connsiteX141" fmla="*/ 464962 w 829568"/>
              <a:gd name="connsiteY141" fmla="*/ 631687 h 797705"/>
              <a:gd name="connsiteX142" fmla="*/ 451300 w 829568"/>
              <a:gd name="connsiteY142" fmla="*/ 624869 h 797705"/>
              <a:gd name="connsiteX143" fmla="*/ 423977 w 829568"/>
              <a:gd name="connsiteY143" fmla="*/ 638506 h 797705"/>
              <a:gd name="connsiteX144" fmla="*/ 414870 w 829568"/>
              <a:gd name="connsiteY144" fmla="*/ 643051 h 797705"/>
              <a:gd name="connsiteX145" fmla="*/ 398931 w 829568"/>
              <a:gd name="connsiteY145" fmla="*/ 645324 h 797705"/>
              <a:gd name="connsiteX146" fmla="*/ 394378 w 829568"/>
              <a:gd name="connsiteY146" fmla="*/ 652142 h 797705"/>
              <a:gd name="connsiteX147" fmla="*/ 373885 w 829568"/>
              <a:gd name="connsiteY147" fmla="*/ 654415 h 797705"/>
              <a:gd name="connsiteX148" fmla="*/ 353393 w 829568"/>
              <a:gd name="connsiteY148" fmla="*/ 661233 h 797705"/>
              <a:gd name="connsiteX149" fmla="*/ 344285 w 829568"/>
              <a:gd name="connsiteY149" fmla="*/ 683960 h 797705"/>
              <a:gd name="connsiteX150" fmla="*/ 346559 w 829568"/>
              <a:gd name="connsiteY150" fmla="*/ 695305 h 797705"/>
              <a:gd name="connsiteX151" fmla="*/ 346890 w 829568"/>
              <a:gd name="connsiteY151" fmla="*/ 695371 h 797705"/>
              <a:gd name="connsiteX152" fmla="*/ 349169 w 829568"/>
              <a:gd name="connsiteY152" fmla="*/ 697639 h 797705"/>
              <a:gd name="connsiteX153" fmla="*/ 349169 w 829568"/>
              <a:gd name="connsiteY153" fmla="*/ 708981 h 797705"/>
              <a:gd name="connsiteX154" fmla="*/ 349169 w 829568"/>
              <a:gd name="connsiteY154" fmla="*/ 713518 h 797705"/>
              <a:gd name="connsiteX155" fmla="*/ 346890 w 829568"/>
              <a:gd name="connsiteY155" fmla="*/ 724861 h 797705"/>
              <a:gd name="connsiteX156" fmla="*/ 340053 w 829568"/>
              <a:gd name="connsiteY156" fmla="*/ 722592 h 797705"/>
              <a:gd name="connsiteX157" fmla="*/ 317264 w 829568"/>
              <a:gd name="connsiteY157" fmla="*/ 720324 h 797705"/>
              <a:gd name="connsiteX158" fmla="*/ 312706 w 829568"/>
              <a:gd name="connsiteY158" fmla="*/ 718055 h 797705"/>
              <a:gd name="connsiteX159" fmla="*/ 303590 w 829568"/>
              <a:gd name="connsiteY159" fmla="*/ 724861 h 797705"/>
              <a:gd name="connsiteX160" fmla="*/ 294474 w 829568"/>
              <a:gd name="connsiteY160" fmla="*/ 731666 h 797705"/>
              <a:gd name="connsiteX161" fmla="*/ 289916 w 829568"/>
              <a:gd name="connsiteY161" fmla="*/ 738471 h 797705"/>
              <a:gd name="connsiteX162" fmla="*/ 289916 w 829568"/>
              <a:gd name="connsiteY162" fmla="*/ 752082 h 797705"/>
              <a:gd name="connsiteX163" fmla="*/ 280800 w 829568"/>
              <a:gd name="connsiteY163" fmla="*/ 740740 h 797705"/>
              <a:gd name="connsiteX164" fmla="*/ 278521 w 829568"/>
              <a:gd name="connsiteY164" fmla="*/ 738471 h 797705"/>
              <a:gd name="connsiteX165" fmla="*/ 278521 w 829568"/>
              <a:gd name="connsiteY165" fmla="*/ 743008 h 797705"/>
              <a:gd name="connsiteX166" fmla="*/ 276242 w 829568"/>
              <a:gd name="connsiteY166" fmla="*/ 749814 h 797705"/>
              <a:gd name="connsiteX167" fmla="*/ 269405 w 829568"/>
              <a:gd name="connsiteY167" fmla="*/ 761156 h 797705"/>
              <a:gd name="connsiteX168" fmla="*/ 232942 w 829568"/>
              <a:gd name="connsiteY168" fmla="*/ 749814 h 797705"/>
              <a:gd name="connsiteX169" fmla="*/ 230663 w 829568"/>
              <a:gd name="connsiteY169" fmla="*/ 754351 h 797705"/>
              <a:gd name="connsiteX170" fmla="*/ 203316 w 829568"/>
              <a:gd name="connsiteY170" fmla="*/ 754351 h 797705"/>
              <a:gd name="connsiteX171" fmla="*/ 180526 w 829568"/>
              <a:gd name="connsiteY171" fmla="*/ 761156 h 797705"/>
              <a:gd name="connsiteX172" fmla="*/ 169131 w 829568"/>
              <a:gd name="connsiteY172" fmla="*/ 767961 h 797705"/>
              <a:gd name="connsiteX173" fmla="*/ 157736 w 829568"/>
              <a:gd name="connsiteY173" fmla="*/ 783841 h 797705"/>
              <a:gd name="connsiteX174" fmla="*/ 137226 w 829568"/>
              <a:gd name="connsiteY174" fmla="*/ 797451 h 797705"/>
              <a:gd name="connsiteX175" fmla="*/ 128110 w 829568"/>
              <a:gd name="connsiteY175" fmla="*/ 786109 h 797705"/>
              <a:gd name="connsiteX176" fmla="*/ 121273 w 829568"/>
              <a:gd name="connsiteY176" fmla="*/ 792914 h 797705"/>
              <a:gd name="connsiteX177" fmla="*/ 93925 w 829568"/>
              <a:gd name="connsiteY177" fmla="*/ 790646 h 797705"/>
              <a:gd name="connsiteX178" fmla="*/ 68857 w 829568"/>
              <a:gd name="connsiteY178" fmla="*/ 790646 h 797705"/>
              <a:gd name="connsiteX179" fmla="*/ 57462 w 829568"/>
              <a:gd name="connsiteY179" fmla="*/ 792914 h 797705"/>
              <a:gd name="connsiteX180" fmla="*/ 46067 w 829568"/>
              <a:gd name="connsiteY180" fmla="*/ 788377 h 797705"/>
              <a:gd name="connsiteX181" fmla="*/ 25556 w 829568"/>
              <a:gd name="connsiteY181" fmla="*/ 786109 h 797705"/>
              <a:gd name="connsiteX182" fmla="*/ 25556 w 829568"/>
              <a:gd name="connsiteY182" fmla="*/ 783841 h 797705"/>
              <a:gd name="connsiteX183" fmla="*/ 27835 w 829568"/>
              <a:gd name="connsiteY183" fmla="*/ 777035 h 797705"/>
              <a:gd name="connsiteX184" fmla="*/ 25556 w 829568"/>
              <a:gd name="connsiteY184" fmla="*/ 774767 h 797705"/>
              <a:gd name="connsiteX185" fmla="*/ 43788 w 829568"/>
              <a:gd name="connsiteY185" fmla="*/ 770230 h 797705"/>
              <a:gd name="connsiteX186" fmla="*/ 48346 w 829568"/>
              <a:gd name="connsiteY186" fmla="*/ 699908 h 797705"/>
              <a:gd name="connsiteX187" fmla="*/ 5046 w 829568"/>
              <a:gd name="connsiteY187" fmla="*/ 670418 h 797705"/>
              <a:gd name="connsiteX188" fmla="*/ 30114 w 829568"/>
              <a:gd name="connsiteY188" fmla="*/ 615975 h 797705"/>
              <a:gd name="connsiteX189" fmla="*/ 41509 w 829568"/>
              <a:gd name="connsiteY189" fmla="*/ 600095 h 797705"/>
              <a:gd name="connsiteX190" fmla="*/ 34672 w 829568"/>
              <a:gd name="connsiteY190" fmla="*/ 581948 h 797705"/>
              <a:gd name="connsiteX191" fmla="*/ 41509 w 829568"/>
              <a:gd name="connsiteY191" fmla="*/ 554726 h 797705"/>
              <a:gd name="connsiteX192" fmla="*/ 16441 w 829568"/>
              <a:gd name="connsiteY192" fmla="*/ 543384 h 797705"/>
              <a:gd name="connsiteX193" fmla="*/ 34672 w 829568"/>
              <a:gd name="connsiteY193" fmla="*/ 541115 h 797705"/>
              <a:gd name="connsiteX194" fmla="*/ 41498 w 829568"/>
              <a:gd name="connsiteY194" fmla="*/ 541115 h 797705"/>
              <a:gd name="connsiteX195" fmla="*/ 39341 w 829568"/>
              <a:gd name="connsiteY195" fmla="*/ 528176 h 797705"/>
              <a:gd name="connsiteX196" fmla="*/ 86966 w 829568"/>
              <a:gd name="connsiteY196" fmla="*/ 494839 h 797705"/>
              <a:gd name="connsiteX197" fmla="*/ 65409 w 829568"/>
              <a:gd name="connsiteY197" fmla="*/ 464300 h 797705"/>
              <a:gd name="connsiteX198" fmla="*/ 62429 w 829568"/>
              <a:gd name="connsiteY198" fmla="*/ 465726 h 797705"/>
              <a:gd name="connsiteX199" fmla="*/ 62429 w 829568"/>
              <a:gd name="connsiteY199" fmla="*/ 467991 h 797705"/>
              <a:gd name="connsiteX200" fmla="*/ 57874 w 829568"/>
              <a:gd name="connsiteY200" fmla="*/ 470256 h 797705"/>
              <a:gd name="connsiteX201" fmla="*/ 48763 w 829568"/>
              <a:gd name="connsiteY201" fmla="*/ 472522 h 797705"/>
              <a:gd name="connsiteX202" fmla="*/ 35096 w 829568"/>
              <a:gd name="connsiteY202" fmla="*/ 467991 h 797705"/>
              <a:gd name="connsiteX203" fmla="*/ 32818 w 829568"/>
              <a:gd name="connsiteY203" fmla="*/ 449871 h 797705"/>
              <a:gd name="connsiteX204" fmla="*/ 55596 w 829568"/>
              <a:gd name="connsiteY204" fmla="*/ 418160 h 797705"/>
              <a:gd name="connsiteX205" fmla="*/ 55596 w 829568"/>
              <a:gd name="connsiteY205" fmla="*/ 404569 h 797705"/>
              <a:gd name="connsiteX206" fmla="*/ 48763 w 829568"/>
              <a:gd name="connsiteY206" fmla="*/ 372858 h 797705"/>
              <a:gd name="connsiteX207" fmla="*/ 41929 w 829568"/>
              <a:gd name="connsiteY207" fmla="*/ 354737 h 797705"/>
              <a:gd name="connsiteX208" fmla="*/ 41929 w 829568"/>
              <a:gd name="connsiteY208" fmla="*/ 320761 h 797705"/>
              <a:gd name="connsiteX209" fmla="*/ 41929 w 829568"/>
              <a:gd name="connsiteY209" fmla="*/ 300375 h 797705"/>
              <a:gd name="connsiteX210" fmla="*/ 44207 w 829568"/>
              <a:gd name="connsiteY210" fmla="*/ 302640 h 797705"/>
              <a:gd name="connsiteX211" fmla="*/ 57934 w 829568"/>
              <a:gd name="connsiteY211" fmla="*/ 312196 h 797705"/>
              <a:gd name="connsiteX212" fmla="*/ 58242 w 829568"/>
              <a:gd name="connsiteY212" fmla="*/ 311394 h 797705"/>
              <a:gd name="connsiteX213" fmla="*/ 56256 w 829568"/>
              <a:gd name="connsiteY213" fmla="*/ 310012 h 797705"/>
              <a:gd name="connsiteX214" fmla="*/ 44300 w 829568"/>
              <a:gd name="connsiteY214" fmla="*/ 302367 h 797705"/>
              <a:gd name="connsiteX215" fmla="*/ 42022 w 829568"/>
              <a:gd name="connsiteY215" fmla="*/ 300102 h 797705"/>
              <a:gd name="connsiteX216" fmla="*/ 44300 w 829568"/>
              <a:gd name="connsiteY216" fmla="*/ 291042 h 797705"/>
              <a:gd name="connsiteX217" fmla="*/ 78462 w 829568"/>
              <a:gd name="connsiteY217" fmla="*/ 259331 h 797705"/>
              <a:gd name="connsiteX218" fmla="*/ 92126 w 829568"/>
              <a:gd name="connsiteY218" fmla="*/ 232149 h 797705"/>
              <a:gd name="connsiteX219" fmla="*/ 114901 w 829568"/>
              <a:gd name="connsiteY219" fmla="*/ 211764 h 797705"/>
              <a:gd name="connsiteX220" fmla="*/ 108638 w 829568"/>
              <a:gd name="connsiteY220" fmla="*/ 204968 h 797705"/>
              <a:gd name="connsiteX221" fmla="*/ 92261 w 829568"/>
              <a:gd name="connsiteY221" fmla="*/ 198228 h 797705"/>
              <a:gd name="connsiteX222" fmla="*/ 91806 w 829568"/>
              <a:gd name="connsiteY222" fmla="*/ 198355 h 797705"/>
              <a:gd name="connsiteX223" fmla="*/ 84968 w 829568"/>
              <a:gd name="connsiteY223" fmla="*/ 193807 h 797705"/>
              <a:gd name="connsiteX224" fmla="*/ 94086 w 829568"/>
              <a:gd name="connsiteY224" fmla="*/ 155145 h 797705"/>
              <a:gd name="connsiteX225" fmla="*/ 135114 w 829568"/>
              <a:gd name="connsiteY225" fmla="*/ 127854 h 797705"/>
              <a:gd name="connsiteX226" fmla="*/ 160186 w 829568"/>
              <a:gd name="connsiteY226" fmla="*/ 134677 h 797705"/>
              <a:gd name="connsiteX227" fmla="*/ 160186 w 829568"/>
              <a:gd name="connsiteY227" fmla="*/ 109660 h 797705"/>
              <a:gd name="connsiteX228" fmla="*/ 187538 w 829568"/>
              <a:gd name="connsiteY228" fmla="*/ 82369 h 797705"/>
              <a:gd name="connsiteX229" fmla="*/ 187538 w 829568"/>
              <a:gd name="connsiteY229" fmla="*/ 48256 h 797705"/>
              <a:gd name="connsiteX230" fmla="*/ 190103 w 829568"/>
              <a:gd name="connsiteY230"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61350 w 829568"/>
              <a:gd name="connsiteY8" fmla="*/ 243680 h 797705"/>
              <a:gd name="connsiteX9" fmla="*/ 563631 w 829568"/>
              <a:gd name="connsiteY9" fmla="*/ 245950 h 797705"/>
              <a:gd name="connsiteX10" fmla="*/ 563632 w 829568"/>
              <a:gd name="connsiteY10" fmla="*/ 245962 h 797705"/>
              <a:gd name="connsiteX11" fmla="*/ 561350 w 829568"/>
              <a:gd name="connsiteY11" fmla="*/ 243680 h 797705"/>
              <a:gd name="connsiteX12" fmla="*/ 190103 w 829568"/>
              <a:gd name="connsiteY12" fmla="*/ 284 h 797705"/>
              <a:gd name="connsiteX13" fmla="*/ 208052 w 829568"/>
              <a:gd name="connsiteY13" fmla="*/ 7319 h 797705"/>
              <a:gd name="connsiteX14" fmla="*/ 244522 w 829568"/>
              <a:gd name="connsiteY14" fmla="*/ 16416 h 797705"/>
              <a:gd name="connsiteX15" fmla="*/ 269594 w 829568"/>
              <a:gd name="connsiteY15" fmla="*/ 36884 h 797705"/>
              <a:gd name="connsiteX16" fmla="*/ 303784 w 829568"/>
              <a:gd name="connsiteY16" fmla="*/ 59627 h 797705"/>
              <a:gd name="connsiteX17" fmla="*/ 317460 w 829568"/>
              <a:gd name="connsiteY17" fmla="*/ 89192 h 797705"/>
              <a:gd name="connsiteX18" fmla="*/ 353930 w 829568"/>
              <a:gd name="connsiteY18" fmla="*/ 73272 h 797705"/>
              <a:gd name="connsiteX19" fmla="*/ 399516 w 829568"/>
              <a:gd name="connsiteY19" fmla="*/ 82369 h 797705"/>
              <a:gd name="connsiteX20" fmla="*/ 417751 w 829568"/>
              <a:gd name="connsiteY20" fmla="*/ 77821 h 797705"/>
              <a:gd name="connsiteX21" fmla="*/ 438265 w 829568"/>
              <a:gd name="connsiteY21" fmla="*/ 64175 h 797705"/>
              <a:gd name="connsiteX22" fmla="*/ 472455 w 829568"/>
              <a:gd name="connsiteY22" fmla="*/ 73272 h 797705"/>
              <a:gd name="connsiteX23" fmla="*/ 486131 w 829568"/>
              <a:gd name="connsiteY23" fmla="*/ 82369 h 797705"/>
              <a:gd name="connsiteX24" fmla="*/ 490690 w 829568"/>
              <a:gd name="connsiteY24" fmla="*/ 132402 h 797705"/>
              <a:gd name="connsiteX25" fmla="*/ 495248 w 829568"/>
              <a:gd name="connsiteY25" fmla="*/ 196081 h 797705"/>
              <a:gd name="connsiteX26" fmla="*/ 495248 w 829568"/>
              <a:gd name="connsiteY26" fmla="*/ 214275 h 797705"/>
              <a:gd name="connsiteX27" fmla="*/ 495067 w 829568"/>
              <a:gd name="connsiteY27" fmla="*/ 214233 h 797705"/>
              <a:gd name="connsiteX28" fmla="*/ 497146 w 829568"/>
              <a:gd name="connsiteY28" fmla="*/ 220449 h 797705"/>
              <a:gd name="connsiteX29" fmla="*/ 508530 w 829568"/>
              <a:gd name="connsiteY29" fmla="*/ 224986 h 797705"/>
              <a:gd name="connsiteX30" fmla="*/ 524467 w 829568"/>
              <a:gd name="connsiteY30" fmla="*/ 238598 h 797705"/>
              <a:gd name="connsiteX31" fmla="*/ 556340 w 829568"/>
              <a:gd name="connsiteY31" fmla="*/ 234060 h 797705"/>
              <a:gd name="connsiteX32" fmla="*/ 560894 w 829568"/>
              <a:gd name="connsiteY32" fmla="*/ 243135 h 797705"/>
              <a:gd name="connsiteX33" fmla="*/ 563170 w 829568"/>
              <a:gd name="connsiteY33" fmla="*/ 247672 h 797705"/>
              <a:gd name="connsiteX34" fmla="*/ 563684 w 829568"/>
              <a:gd name="connsiteY34" fmla="*/ 246583 h 797705"/>
              <a:gd name="connsiteX35" fmla="*/ 570440 w 829568"/>
              <a:gd name="connsiteY35" fmla="*/ 254988 h 797705"/>
              <a:gd name="connsiteX36" fmla="*/ 570445 w 829568"/>
              <a:gd name="connsiteY36" fmla="*/ 254942 h 797705"/>
              <a:gd name="connsiteX37" fmla="*/ 574113 w 829568"/>
              <a:gd name="connsiteY37" fmla="*/ 256872 h 797705"/>
              <a:gd name="connsiteX38" fmla="*/ 567290 w 829568"/>
              <a:gd name="connsiteY38" fmla="*/ 250109 h 797705"/>
              <a:gd name="connsiteX39" fmla="*/ 563684 w 829568"/>
              <a:gd name="connsiteY39" fmla="*/ 246583 h 797705"/>
              <a:gd name="connsiteX40" fmla="*/ 563632 w 829568"/>
              <a:gd name="connsiteY40" fmla="*/ 245962 h 797705"/>
              <a:gd name="connsiteX41" fmla="*/ 574458 w 829568"/>
              <a:gd name="connsiteY41" fmla="*/ 256788 h 797705"/>
              <a:gd name="connsiteX42" fmla="*/ 583230 w 829568"/>
              <a:gd name="connsiteY42" fmla="*/ 254659 h 797705"/>
              <a:gd name="connsiteX43" fmla="*/ 595448 w 829568"/>
              <a:gd name="connsiteY43" fmla="*/ 250406 h 797705"/>
              <a:gd name="connsiteX44" fmla="*/ 624997 w 829568"/>
              <a:gd name="connsiteY44" fmla="*/ 282159 h 797705"/>
              <a:gd name="connsiteX45" fmla="*/ 637214 w 829568"/>
              <a:gd name="connsiteY45" fmla="*/ 311928 h 797705"/>
              <a:gd name="connsiteX46" fmla="*/ 636731 w 829568"/>
              <a:gd name="connsiteY46" fmla="*/ 319061 h 797705"/>
              <a:gd name="connsiteX47" fmla="*/ 652790 w 829568"/>
              <a:gd name="connsiteY47" fmla="*/ 335120 h 797705"/>
              <a:gd name="connsiteX48" fmla="*/ 638758 w 829568"/>
              <a:gd name="connsiteY48" fmla="*/ 321150 h 797705"/>
              <a:gd name="connsiteX49" fmla="*/ 636185 w 829568"/>
              <a:gd name="connsiteY49" fmla="*/ 327131 h 797705"/>
              <a:gd name="connsiteX50" fmla="*/ 640908 w 829568"/>
              <a:gd name="connsiteY50" fmla="*/ 343397 h 797705"/>
              <a:gd name="connsiteX51" fmla="*/ 656819 w 829568"/>
              <a:gd name="connsiteY51" fmla="*/ 329788 h 797705"/>
              <a:gd name="connsiteX52" fmla="*/ 672730 w 829568"/>
              <a:gd name="connsiteY52" fmla="*/ 347933 h 797705"/>
              <a:gd name="connsiteX53" fmla="*/ 679549 w 829568"/>
              <a:gd name="connsiteY53" fmla="*/ 366077 h 797705"/>
              <a:gd name="connsiteX54" fmla="*/ 686368 w 829568"/>
              <a:gd name="connsiteY54" fmla="*/ 418243 h 797705"/>
              <a:gd name="connsiteX55" fmla="*/ 736375 w 829568"/>
              <a:gd name="connsiteY55" fmla="*/ 413707 h 797705"/>
              <a:gd name="connsiteX56" fmla="*/ 756832 w 829568"/>
              <a:gd name="connsiteY56" fmla="*/ 420511 h 797705"/>
              <a:gd name="connsiteX57" fmla="*/ 765924 w 829568"/>
              <a:gd name="connsiteY57" fmla="*/ 406903 h 797705"/>
              <a:gd name="connsiteX58" fmla="*/ 829568 w 829568"/>
              <a:gd name="connsiteY58" fmla="*/ 397830 h 797705"/>
              <a:gd name="connsiteX59" fmla="*/ 829568 w 829568"/>
              <a:gd name="connsiteY59" fmla="*/ 413707 h 797705"/>
              <a:gd name="connsiteX60" fmla="*/ 827295 w 829568"/>
              <a:gd name="connsiteY60" fmla="*/ 422779 h 797705"/>
              <a:gd name="connsiteX61" fmla="*/ 822749 w 829568"/>
              <a:gd name="connsiteY61" fmla="*/ 427315 h 797705"/>
              <a:gd name="connsiteX62" fmla="*/ 815930 w 829568"/>
              <a:gd name="connsiteY62" fmla="*/ 427315 h 797705"/>
              <a:gd name="connsiteX63" fmla="*/ 809111 w 829568"/>
              <a:gd name="connsiteY63" fmla="*/ 443192 h 797705"/>
              <a:gd name="connsiteX64" fmla="*/ 802292 w 829568"/>
              <a:gd name="connsiteY64" fmla="*/ 452264 h 797705"/>
              <a:gd name="connsiteX65" fmla="*/ 800019 w 829568"/>
              <a:gd name="connsiteY65" fmla="*/ 459068 h 797705"/>
              <a:gd name="connsiteX66" fmla="*/ 800019 w 829568"/>
              <a:gd name="connsiteY66" fmla="*/ 470408 h 797705"/>
              <a:gd name="connsiteX67" fmla="*/ 800019 w 829568"/>
              <a:gd name="connsiteY67" fmla="*/ 481749 h 797705"/>
              <a:gd name="connsiteX68" fmla="*/ 784108 w 829568"/>
              <a:gd name="connsiteY68" fmla="*/ 477212 h 797705"/>
              <a:gd name="connsiteX69" fmla="*/ 777289 w 829568"/>
              <a:gd name="connsiteY69" fmla="*/ 477212 h 797705"/>
              <a:gd name="connsiteX70" fmla="*/ 770470 w 829568"/>
              <a:gd name="connsiteY70" fmla="*/ 481749 h 797705"/>
              <a:gd name="connsiteX71" fmla="*/ 768197 w 829568"/>
              <a:gd name="connsiteY71" fmla="*/ 488553 h 797705"/>
              <a:gd name="connsiteX72" fmla="*/ 750013 w 829568"/>
              <a:gd name="connsiteY72" fmla="*/ 497625 h 797705"/>
              <a:gd name="connsiteX73" fmla="*/ 745467 w 829568"/>
              <a:gd name="connsiteY73" fmla="*/ 490821 h 797705"/>
              <a:gd name="connsiteX74" fmla="*/ 740921 w 829568"/>
              <a:gd name="connsiteY74" fmla="*/ 493089 h 797705"/>
              <a:gd name="connsiteX75" fmla="*/ 738648 w 829568"/>
              <a:gd name="connsiteY75" fmla="*/ 499893 h 797705"/>
              <a:gd name="connsiteX76" fmla="*/ 738648 w 829568"/>
              <a:gd name="connsiteY76" fmla="*/ 502161 h 797705"/>
              <a:gd name="connsiteX77" fmla="*/ 725010 w 829568"/>
              <a:gd name="connsiteY77" fmla="*/ 504429 h 797705"/>
              <a:gd name="connsiteX78" fmla="*/ 715918 w 829568"/>
              <a:gd name="connsiteY78" fmla="*/ 508965 h 797705"/>
              <a:gd name="connsiteX79" fmla="*/ 715918 w 829568"/>
              <a:gd name="connsiteY79" fmla="*/ 520306 h 797705"/>
              <a:gd name="connsiteX80" fmla="*/ 713645 w 829568"/>
              <a:gd name="connsiteY80" fmla="*/ 522574 h 797705"/>
              <a:gd name="connsiteX81" fmla="*/ 693188 w 829568"/>
              <a:gd name="connsiteY81" fmla="*/ 527110 h 797705"/>
              <a:gd name="connsiteX82" fmla="*/ 677276 w 829568"/>
              <a:gd name="connsiteY82" fmla="*/ 531646 h 797705"/>
              <a:gd name="connsiteX83" fmla="*/ 668184 w 829568"/>
              <a:gd name="connsiteY83" fmla="*/ 527110 h 797705"/>
              <a:gd name="connsiteX84" fmla="*/ 665911 w 829568"/>
              <a:gd name="connsiteY84" fmla="*/ 529378 h 797705"/>
              <a:gd name="connsiteX85" fmla="*/ 665911 w 829568"/>
              <a:gd name="connsiteY85" fmla="*/ 538450 h 797705"/>
              <a:gd name="connsiteX86" fmla="*/ 659092 w 829568"/>
              <a:gd name="connsiteY86" fmla="*/ 540718 h 797705"/>
              <a:gd name="connsiteX87" fmla="*/ 659092 w 829568"/>
              <a:gd name="connsiteY87" fmla="*/ 545254 h 797705"/>
              <a:gd name="connsiteX88" fmla="*/ 659092 w 829568"/>
              <a:gd name="connsiteY88" fmla="*/ 556595 h 797705"/>
              <a:gd name="connsiteX89" fmla="*/ 656819 w 829568"/>
              <a:gd name="connsiteY89" fmla="*/ 561131 h 797705"/>
              <a:gd name="connsiteX90" fmla="*/ 652273 w 829568"/>
              <a:gd name="connsiteY90" fmla="*/ 561131 h 797705"/>
              <a:gd name="connsiteX91" fmla="*/ 650000 w 829568"/>
              <a:gd name="connsiteY91" fmla="*/ 561131 h 797705"/>
              <a:gd name="connsiteX92" fmla="*/ 618178 w 829568"/>
              <a:gd name="connsiteY92" fmla="*/ 552058 h 797705"/>
              <a:gd name="connsiteX93" fmla="*/ 618178 w 829568"/>
              <a:gd name="connsiteY93" fmla="*/ 549790 h 797705"/>
              <a:gd name="connsiteX94" fmla="*/ 609086 w 829568"/>
              <a:gd name="connsiteY94" fmla="*/ 542986 h 797705"/>
              <a:gd name="connsiteX95" fmla="*/ 599994 w 829568"/>
              <a:gd name="connsiteY95" fmla="*/ 547522 h 797705"/>
              <a:gd name="connsiteX96" fmla="*/ 590902 w 829568"/>
              <a:gd name="connsiteY96" fmla="*/ 554327 h 797705"/>
              <a:gd name="connsiteX97" fmla="*/ 579537 w 829568"/>
              <a:gd name="connsiteY97" fmla="*/ 563399 h 797705"/>
              <a:gd name="connsiteX98" fmla="*/ 574991 w 829568"/>
              <a:gd name="connsiteY98" fmla="*/ 556595 h 797705"/>
              <a:gd name="connsiteX99" fmla="*/ 570445 w 829568"/>
              <a:gd name="connsiteY99" fmla="*/ 558863 h 797705"/>
              <a:gd name="connsiteX100" fmla="*/ 568172 w 829568"/>
              <a:gd name="connsiteY100" fmla="*/ 563399 h 797705"/>
              <a:gd name="connsiteX101" fmla="*/ 568172 w 829568"/>
              <a:gd name="connsiteY101" fmla="*/ 565667 h 797705"/>
              <a:gd name="connsiteX102" fmla="*/ 568172 w 829568"/>
              <a:gd name="connsiteY102" fmla="*/ 570203 h 797705"/>
              <a:gd name="connsiteX103" fmla="*/ 565899 w 829568"/>
              <a:gd name="connsiteY103" fmla="*/ 572471 h 797705"/>
              <a:gd name="connsiteX104" fmla="*/ 565899 w 829568"/>
              <a:gd name="connsiteY104" fmla="*/ 574739 h 797705"/>
              <a:gd name="connsiteX105" fmla="*/ 581810 w 829568"/>
              <a:gd name="connsiteY105" fmla="*/ 581543 h 797705"/>
              <a:gd name="connsiteX106" fmla="*/ 586356 w 829568"/>
              <a:gd name="connsiteY106" fmla="*/ 586079 h 797705"/>
              <a:gd name="connsiteX107" fmla="*/ 590902 w 829568"/>
              <a:gd name="connsiteY107" fmla="*/ 579275 h 797705"/>
              <a:gd name="connsiteX108" fmla="*/ 597721 w 829568"/>
              <a:gd name="connsiteY108" fmla="*/ 583811 h 797705"/>
              <a:gd name="connsiteX109" fmla="*/ 599994 w 829568"/>
              <a:gd name="connsiteY109" fmla="*/ 579275 h 797705"/>
              <a:gd name="connsiteX110" fmla="*/ 606813 w 829568"/>
              <a:gd name="connsiteY110" fmla="*/ 588347 h 797705"/>
              <a:gd name="connsiteX111" fmla="*/ 606813 w 829568"/>
              <a:gd name="connsiteY111" fmla="*/ 590616 h 797705"/>
              <a:gd name="connsiteX112" fmla="*/ 602267 w 829568"/>
              <a:gd name="connsiteY112" fmla="*/ 601956 h 797705"/>
              <a:gd name="connsiteX113" fmla="*/ 604540 w 829568"/>
              <a:gd name="connsiteY113" fmla="*/ 606492 h 797705"/>
              <a:gd name="connsiteX114" fmla="*/ 609086 w 829568"/>
              <a:gd name="connsiteY114" fmla="*/ 611028 h 797705"/>
              <a:gd name="connsiteX115" fmla="*/ 606813 w 829568"/>
              <a:gd name="connsiteY115" fmla="*/ 613296 h 797705"/>
              <a:gd name="connsiteX116" fmla="*/ 588629 w 829568"/>
              <a:gd name="connsiteY116" fmla="*/ 613296 h 797705"/>
              <a:gd name="connsiteX117" fmla="*/ 572718 w 829568"/>
              <a:gd name="connsiteY117" fmla="*/ 597420 h 797705"/>
              <a:gd name="connsiteX118" fmla="*/ 568172 w 829568"/>
              <a:gd name="connsiteY118" fmla="*/ 606492 h 797705"/>
              <a:gd name="connsiteX119" fmla="*/ 561353 w 829568"/>
              <a:gd name="connsiteY119" fmla="*/ 597420 h 797705"/>
              <a:gd name="connsiteX120" fmla="*/ 556807 w 829568"/>
              <a:gd name="connsiteY120" fmla="*/ 592884 h 797705"/>
              <a:gd name="connsiteX121" fmla="*/ 540896 w 829568"/>
              <a:gd name="connsiteY121" fmla="*/ 570203 h 797705"/>
              <a:gd name="connsiteX122" fmla="*/ 529530 w 829568"/>
              <a:gd name="connsiteY122" fmla="*/ 565667 h 797705"/>
              <a:gd name="connsiteX123" fmla="*/ 518165 w 829568"/>
              <a:gd name="connsiteY123" fmla="*/ 572471 h 797705"/>
              <a:gd name="connsiteX124" fmla="*/ 509073 w 829568"/>
              <a:gd name="connsiteY124" fmla="*/ 577007 h 797705"/>
              <a:gd name="connsiteX125" fmla="*/ 506800 w 829568"/>
              <a:gd name="connsiteY125" fmla="*/ 574739 h 797705"/>
              <a:gd name="connsiteX126" fmla="*/ 504527 w 829568"/>
              <a:gd name="connsiteY126" fmla="*/ 574739 h 797705"/>
              <a:gd name="connsiteX127" fmla="*/ 504527 w 829568"/>
              <a:gd name="connsiteY127" fmla="*/ 570324 h 797705"/>
              <a:gd name="connsiteX128" fmla="*/ 503669 w 829568"/>
              <a:gd name="connsiteY128" fmla="*/ 570324 h 797705"/>
              <a:gd name="connsiteX129" fmla="*/ 503669 w 829568"/>
              <a:gd name="connsiteY129" fmla="*/ 574870 h 797705"/>
              <a:gd name="connsiteX130" fmla="*/ 505946 w 829568"/>
              <a:gd name="connsiteY130" fmla="*/ 577143 h 797705"/>
              <a:gd name="connsiteX131" fmla="*/ 505946 w 829568"/>
              <a:gd name="connsiteY131" fmla="*/ 579415 h 797705"/>
              <a:gd name="connsiteX132" fmla="*/ 505946 w 829568"/>
              <a:gd name="connsiteY132" fmla="*/ 581688 h 797705"/>
              <a:gd name="connsiteX133" fmla="*/ 496839 w 829568"/>
              <a:gd name="connsiteY133" fmla="*/ 590779 h 797705"/>
              <a:gd name="connsiteX134" fmla="*/ 496839 w 829568"/>
              <a:gd name="connsiteY134" fmla="*/ 595324 h 797705"/>
              <a:gd name="connsiteX135" fmla="*/ 501392 w 829568"/>
              <a:gd name="connsiteY135" fmla="*/ 599870 h 797705"/>
              <a:gd name="connsiteX136" fmla="*/ 510500 w 829568"/>
              <a:gd name="connsiteY136" fmla="*/ 608960 h 797705"/>
              <a:gd name="connsiteX137" fmla="*/ 508223 w 829568"/>
              <a:gd name="connsiteY137" fmla="*/ 613506 h 797705"/>
              <a:gd name="connsiteX138" fmla="*/ 508223 w 829568"/>
              <a:gd name="connsiteY138" fmla="*/ 618051 h 797705"/>
              <a:gd name="connsiteX139" fmla="*/ 490008 w 829568"/>
              <a:gd name="connsiteY139" fmla="*/ 640778 h 797705"/>
              <a:gd name="connsiteX140" fmla="*/ 464962 w 829568"/>
              <a:gd name="connsiteY140" fmla="*/ 631687 h 797705"/>
              <a:gd name="connsiteX141" fmla="*/ 451300 w 829568"/>
              <a:gd name="connsiteY141" fmla="*/ 624869 h 797705"/>
              <a:gd name="connsiteX142" fmla="*/ 423977 w 829568"/>
              <a:gd name="connsiteY142" fmla="*/ 638506 h 797705"/>
              <a:gd name="connsiteX143" fmla="*/ 414870 w 829568"/>
              <a:gd name="connsiteY143" fmla="*/ 643051 h 797705"/>
              <a:gd name="connsiteX144" fmla="*/ 398931 w 829568"/>
              <a:gd name="connsiteY144" fmla="*/ 645324 h 797705"/>
              <a:gd name="connsiteX145" fmla="*/ 394378 w 829568"/>
              <a:gd name="connsiteY145" fmla="*/ 652142 h 797705"/>
              <a:gd name="connsiteX146" fmla="*/ 373885 w 829568"/>
              <a:gd name="connsiteY146" fmla="*/ 654415 h 797705"/>
              <a:gd name="connsiteX147" fmla="*/ 353393 w 829568"/>
              <a:gd name="connsiteY147" fmla="*/ 661233 h 797705"/>
              <a:gd name="connsiteX148" fmla="*/ 344285 w 829568"/>
              <a:gd name="connsiteY148" fmla="*/ 683960 h 797705"/>
              <a:gd name="connsiteX149" fmla="*/ 346559 w 829568"/>
              <a:gd name="connsiteY149" fmla="*/ 695305 h 797705"/>
              <a:gd name="connsiteX150" fmla="*/ 346890 w 829568"/>
              <a:gd name="connsiteY150" fmla="*/ 695371 h 797705"/>
              <a:gd name="connsiteX151" fmla="*/ 349169 w 829568"/>
              <a:gd name="connsiteY151" fmla="*/ 697639 h 797705"/>
              <a:gd name="connsiteX152" fmla="*/ 349169 w 829568"/>
              <a:gd name="connsiteY152" fmla="*/ 708981 h 797705"/>
              <a:gd name="connsiteX153" fmla="*/ 349169 w 829568"/>
              <a:gd name="connsiteY153" fmla="*/ 713518 h 797705"/>
              <a:gd name="connsiteX154" fmla="*/ 346890 w 829568"/>
              <a:gd name="connsiteY154" fmla="*/ 724861 h 797705"/>
              <a:gd name="connsiteX155" fmla="*/ 340053 w 829568"/>
              <a:gd name="connsiteY155" fmla="*/ 722592 h 797705"/>
              <a:gd name="connsiteX156" fmla="*/ 317264 w 829568"/>
              <a:gd name="connsiteY156" fmla="*/ 720324 h 797705"/>
              <a:gd name="connsiteX157" fmla="*/ 312706 w 829568"/>
              <a:gd name="connsiteY157" fmla="*/ 718055 h 797705"/>
              <a:gd name="connsiteX158" fmla="*/ 303590 w 829568"/>
              <a:gd name="connsiteY158" fmla="*/ 724861 h 797705"/>
              <a:gd name="connsiteX159" fmla="*/ 294474 w 829568"/>
              <a:gd name="connsiteY159" fmla="*/ 731666 h 797705"/>
              <a:gd name="connsiteX160" fmla="*/ 289916 w 829568"/>
              <a:gd name="connsiteY160" fmla="*/ 738471 h 797705"/>
              <a:gd name="connsiteX161" fmla="*/ 289916 w 829568"/>
              <a:gd name="connsiteY161" fmla="*/ 752082 h 797705"/>
              <a:gd name="connsiteX162" fmla="*/ 280800 w 829568"/>
              <a:gd name="connsiteY162" fmla="*/ 740740 h 797705"/>
              <a:gd name="connsiteX163" fmla="*/ 278521 w 829568"/>
              <a:gd name="connsiteY163" fmla="*/ 738471 h 797705"/>
              <a:gd name="connsiteX164" fmla="*/ 278521 w 829568"/>
              <a:gd name="connsiteY164" fmla="*/ 743008 h 797705"/>
              <a:gd name="connsiteX165" fmla="*/ 276242 w 829568"/>
              <a:gd name="connsiteY165" fmla="*/ 749814 h 797705"/>
              <a:gd name="connsiteX166" fmla="*/ 269405 w 829568"/>
              <a:gd name="connsiteY166" fmla="*/ 761156 h 797705"/>
              <a:gd name="connsiteX167" fmla="*/ 232942 w 829568"/>
              <a:gd name="connsiteY167" fmla="*/ 749814 h 797705"/>
              <a:gd name="connsiteX168" fmla="*/ 230663 w 829568"/>
              <a:gd name="connsiteY168" fmla="*/ 754351 h 797705"/>
              <a:gd name="connsiteX169" fmla="*/ 203316 w 829568"/>
              <a:gd name="connsiteY169" fmla="*/ 754351 h 797705"/>
              <a:gd name="connsiteX170" fmla="*/ 180526 w 829568"/>
              <a:gd name="connsiteY170" fmla="*/ 761156 h 797705"/>
              <a:gd name="connsiteX171" fmla="*/ 169131 w 829568"/>
              <a:gd name="connsiteY171" fmla="*/ 767961 h 797705"/>
              <a:gd name="connsiteX172" fmla="*/ 157736 w 829568"/>
              <a:gd name="connsiteY172" fmla="*/ 783841 h 797705"/>
              <a:gd name="connsiteX173" fmla="*/ 137226 w 829568"/>
              <a:gd name="connsiteY173" fmla="*/ 797451 h 797705"/>
              <a:gd name="connsiteX174" fmla="*/ 128110 w 829568"/>
              <a:gd name="connsiteY174" fmla="*/ 786109 h 797705"/>
              <a:gd name="connsiteX175" fmla="*/ 121273 w 829568"/>
              <a:gd name="connsiteY175" fmla="*/ 792914 h 797705"/>
              <a:gd name="connsiteX176" fmla="*/ 93925 w 829568"/>
              <a:gd name="connsiteY176" fmla="*/ 790646 h 797705"/>
              <a:gd name="connsiteX177" fmla="*/ 68857 w 829568"/>
              <a:gd name="connsiteY177" fmla="*/ 790646 h 797705"/>
              <a:gd name="connsiteX178" fmla="*/ 57462 w 829568"/>
              <a:gd name="connsiteY178" fmla="*/ 792914 h 797705"/>
              <a:gd name="connsiteX179" fmla="*/ 46067 w 829568"/>
              <a:gd name="connsiteY179" fmla="*/ 788377 h 797705"/>
              <a:gd name="connsiteX180" fmla="*/ 25556 w 829568"/>
              <a:gd name="connsiteY180" fmla="*/ 786109 h 797705"/>
              <a:gd name="connsiteX181" fmla="*/ 25556 w 829568"/>
              <a:gd name="connsiteY181" fmla="*/ 783841 h 797705"/>
              <a:gd name="connsiteX182" fmla="*/ 27835 w 829568"/>
              <a:gd name="connsiteY182" fmla="*/ 777035 h 797705"/>
              <a:gd name="connsiteX183" fmla="*/ 25556 w 829568"/>
              <a:gd name="connsiteY183" fmla="*/ 774767 h 797705"/>
              <a:gd name="connsiteX184" fmla="*/ 43788 w 829568"/>
              <a:gd name="connsiteY184" fmla="*/ 770230 h 797705"/>
              <a:gd name="connsiteX185" fmla="*/ 48346 w 829568"/>
              <a:gd name="connsiteY185" fmla="*/ 699908 h 797705"/>
              <a:gd name="connsiteX186" fmla="*/ 5046 w 829568"/>
              <a:gd name="connsiteY186" fmla="*/ 670418 h 797705"/>
              <a:gd name="connsiteX187" fmla="*/ 30114 w 829568"/>
              <a:gd name="connsiteY187" fmla="*/ 615975 h 797705"/>
              <a:gd name="connsiteX188" fmla="*/ 41509 w 829568"/>
              <a:gd name="connsiteY188" fmla="*/ 600095 h 797705"/>
              <a:gd name="connsiteX189" fmla="*/ 34672 w 829568"/>
              <a:gd name="connsiteY189" fmla="*/ 581948 h 797705"/>
              <a:gd name="connsiteX190" fmla="*/ 41509 w 829568"/>
              <a:gd name="connsiteY190" fmla="*/ 554726 h 797705"/>
              <a:gd name="connsiteX191" fmla="*/ 16441 w 829568"/>
              <a:gd name="connsiteY191" fmla="*/ 543384 h 797705"/>
              <a:gd name="connsiteX192" fmla="*/ 34672 w 829568"/>
              <a:gd name="connsiteY192" fmla="*/ 541115 h 797705"/>
              <a:gd name="connsiteX193" fmla="*/ 41498 w 829568"/>
              <a:gd name="connsiteY193" fmla="*/ 541115 h 797705"/>
              <a:gd name="connsiteX194" fmla="*/ 39341 w 829568"/>
              <a:gd name="connsiteY194" fmla="*/ 528176 h 797705"/>
              <a:gd name="connsiteX195" fmla="*/ 86966 w 829568"/>
              <a:gd name="connsiteY195" fmla="*/ 494839 h 797705"/>
              <a:gd name="connsiteX196" fmla="*/ 65409 w 829568"/>
              <a:gd name="connsiteY196" fmla="*/ 464300 h 797705"/>
              <a:gd name="connsiteX197" fmla="*/ 62429 w 829568"/>
              <a:gd name="connsiteY197" fmla="*/ 465726 h 797705"/>
              <a:gd name="connsiteX198" fmla="*/ 62429 w 829568"/>
              <a:gd name="connsiteY198" fmla="*/ 467991 h 797705"/>
              <a:gd name="connsiteX199" fmla="*/ 57874 w 829568"/>
              <a:gd name="connsiteY199" fmla="*/ 470256 h 797705"/>
              <a:gd name="connsiteX200" fmla="*/ 48763 w 829568"/>
              <a:gd name="connsiteY200" fmla="*/ 472522 h 797705"/>
              <a:gd name="connsiteX201" fmla="*/ 35096 w 829568"/>
              <a:gd name="connsiteY201" fmla="*/ 467991 h 797705"/>
              <a:gd name="connsiteX202" fmla="*/ 32818 w 829568"/>
              <a:gd name="connsiteY202" fmla="*/ 449871 h 797705"/>
              <a:gd name="connsiteX203" fmla="*/ 55596 w 829568"/>
              <a:gd name="connsiteY203" fmla="*/ 418160 h 797705"/>
              <a:gd name="connsiteX204" fmla="*/ 55596 w 829568"/>
              <a:gd name="connsiteY204" fmla="*/ 404569 h 797705"/>
              <a:gd name="connsiteX205" fmla="*/ 48763 w 829568"/>
              <a:gd name="connsiteY205" fmla="*/ 372858 h 797705"/>
              <a:gd name="connsiteX206" fmla="*/ 41929 w 829568"/>
              <a:gd name="connsiteY206" fmla="*/ 354737 h 797705"/>
              <a:gd name="connsiteX207" fmla="*/ 41929 w 829568"/>
              <a:gd name="connsiteY207" fmla="*/ 320761 h 797705"/>
              <a:gd name="connsiteX208" fmla="*/ 41929 w 829568"/>
              <a:gd name="connsiteY208" fmla="*/ 300375 h 797705"/>
              <a:gd name="connsiteX209" fmla="*/ 44207 w 829568"/>
              <a:gd name="connsiteY209" fmla="*/ 302640 h 797705"/>
              <a:gd name="connsiteX210" fmla="*/ 57934 w 829568"/>
              <a:gd name="connsiteY210" fmla="*/ 312196 h 797705"/>
              <a:gd name="connsiteX211" fmla="*/ 58242 w 829568"/>
              <a:gd name="connsiteY211" fmla="*/ 311394 h 797705"/>
              <a:gd name="connsiteX212" fmla="*/ 56256 w 829568"/>
              <a:gd name="connsiteY212" fmla="*/ 310012 h 797705"/>
              <a:gd name="connsiteX213" fmla="*/ 44300 w 829568"/>
              <a:gd name="connsiteY213" fmla="*/ 302367 h 797705"/>
              <a:gd name="connsiteX214" fmla="*/ 42022 w 829568"/>
              <a:gd name="connsiteY214" fmla="*/ 300102 h 797705"/>
              <a:gd name="connsiteX215" fmla="*/ 44300 w 829568"/>
              <a:gd name="connsiteY215" fmla="*/ 291042 h 797705"/>
              <a:gd name="connsiteX216" fmla="*/ 78462 w 829568"/>
              <a:gd name="connsiteY216" fmla="*/ 259331 h 797705"/>
              <a:gd name="connsiteX217" fmla="*/ 92126 w 829568"/>
              <a:gd name="connsiteY217" fmla="*/ 232149 h 797705"/>
              <a:gd name="connsiteX218" fmla="*/ 114901 w 829568"/>
              <a:gd name="connsiteY218" fmla="*/ 211764 h 797705"/>
              <a:gd name="connsiteX219" fmla="*/ 108638 w 829568"/>
              <a:gd name="connsiteY219" fmla="*/ 204968 h 797705"/>
              <a:gd name="connsiteX220" fmla="*/ 92261 w 829568"/>
              <a:gd name="connsiteY220" fmla="*/ 198228 h 797705"/>
              <a:gd name="connsiteX221" fmla="*/ 91806 w 829568"/>
              <a:gd name="connsiteY221" fmla="*/ 198355 h 797705"/>
              <a:gd name="connsiteX222" fmla="*/ 84968 w 829568"/>
              <a:gd name="connsiteY222" fmla="*/ 193807 h 797705"/>
              <a:gd name="connsiteX223" fmla="*/ 94086 w 829568"/>
              <a:gd name="connsiteY223" fmla="*/ 155145 h 797705"/>
              <a:gd name="connsiteX224" fmla="*/ 135114 w 829568"/>
              <a:gd name="connsiteY224" fmla="*/ 127854 h 797705"/>
              <a:gd name="connsiteX225" fmla="*/ 160186 w 829568"/>
              <a:gd name="connsiteY225" fmla="*/ 134677 h 797705"/>
              <a:gd name="connsiteX226" fmla="*/ 160186 w 829568"/>
              <a:gd name="connsiteY226" fmla="*/ 109660 h 797705"/>
              <a:gd name="connsiteX227" fmla="*/ 187538 w 829568"/>
              <a:gd name="connsiteY227" fmla="*/ 82369 h 797705"/>
              <a:gd name="connsiteX228" fmla="*/ 187538 w 829568"/>
              <a:gd name="connsiteY228" fmla="*/ 48256 h 797705"/>
              <a:gd name="connsiteX229" fmla="*/ 190103 w 829568"/>
              <a:gd name="connsiteY229"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61350 w 829568"/>
              <a:gd name="connsiteY8" fmla="*/ 243680 h 797705"/>
              <a:gd name="connsiteX9" fmla="*/ 563631 w 829568"/>
              <a:gd name="connsiteY9" fmla="*/ 245950 h 797705"/>
              <a:gd name="connsiteX10" fmla="*/ 563632 w 829568"/>
              <a:gd name="connsiteY10" fmla="*/ 245962 h 797705"/>
              <a:gd name="connsiteX11" fmla="*/ 561350 w 829568"/>
              <a:gd name="connsiteY11" fmla="*/ 243680 h 797705"/>
              <a:gd name="connsiteX12" fmla="*/ 190103 w 829568"/>
              <a:gd name="connsiteY12" fmla="*/ 284 h 797705"/>
              <a:gd name="connsiteX13" fmla="*/ 208052 w 829568"/>
              <a:gd name="connsiteY13" fmla="*/ 7319 h 797705"/>
              <a:gd name="connsiteX14" fmla="*/ 244522 w 829568"/>
              <a:gd name="connsiteY14" fmla="*/ 16416 h 797705"/>
              <a:gd name="connsiteX15" fmla="*/ 269594 w 829568"/>
              <a:gd name="connsiteY15" fmla="*/ 36884 h 797705"/>
              <a:gd name="connsiteX16" fmla="*/ 303784 w 829568"/>
              <a:gd name="connsiteY16" fmla="*/ 59627 h 797705"/>
              <a:gd name="connsiteX17" fmla="*/ 317460 w 829568"/>
              <a:gd name="connsiteY17" fmla="*/ 89192 h 797705"/>
              <a:gd name="connsiteX18" fmla="*/ 353930 w 829568"/>
              <a:gd name="connsiteY18" fmla="*/ 73272 h 797705"/>
              <a:gd name="connsiteX19" fmla="*/ 399516 w 829568"/>
              <a:gd name="connsiteY19" fmla="*/ 82369 h 797705"/>
              <a:gd name="connsiteX20" fmla="*/ 417751 w 829568"/>
              <a:gd name="connsiteY20" fmla="*/ 77821 h 797705"/>
              <a:gd name="connsiteX21" fmla="*/ 438265 w 829568"/>
              <a:gd name="connsiteY21" fmla="*/ 64175 h 797705"/>
              <a:gd name="connsiteX22" fmla="*/ 472455 w 829568"/>
              <a:gd name="connsiteY22" fmla="*/ 73272 h 797705"/>
              <a:gd name="connsiteX23" fmla="*/ 486131 w 829568"/>
              <a:gd name="connsiteY23" fmla="*/ 82369 h 797705"/>
              <a:gd name="connsiteX24" fmla="*/ 490690 w 829568"/>
              <a:gd name="connsiteY24" fmla="*/ 132402 h 797705"/>
              <a:gd name="connsiteX25" fmla="*/ 495248 w 829568"/>
              <a:gd name="connsiteY25" fmla="*/ 196081 h 797705"/>
              <a:gd name="connsiteX26" fmla="*/ 495248 w 829568"/>
              <a:gd name="connsiteY26" fmla="*/ 214275 h 797705"/>
              <a:gd name="connsiteX27" fmla="*/ 495067 w 829568"/>
              <a:gd name="connsiteY27" fmla="*/ 214233 h 797705"/>
              <a:gd name="connsiteX28" fmla="*/ 497146 w 829568"/>
              <a:gd name="connsiteY28" fmla="*/ 220449 h 797705"/>
              <a:gd name="connsiteX29" fmla="*/ 508530 w 829568"/>
              <a:gd name="connsiteY29" fmla="*/ 224986 h 797705"/>
              <a:gd name="connsiteX30" fmla="*/ 524467 w 829568"/>
              <a:gd name="connsiteY30" fmla="*/ 238598 h 797705"/>
              <a:gd name="connsiteX31" fmla="*/ 556340 w 829568"/>
              <a:gd name="connsiteY31" fmla="*/ 234060 h 797705"/>
              <a:gd name="connsiteX32" fmla="*/ 560894 w 829568"/>
              <a:gd name="connsiteY32" fmla="*/ 243135 h 797705"/>
              <a:gd name="connsiteX33" fmla="*/ 563170 w 829568"/>
              <a:gd name="connsiteY33" fmla="*/ 247672 h 797705"/>
              <a:gd name="connsiteX34" fmla="*/ 563684 w 829568"/>
              <a:gd name="connsiteY34" fmla="*/ 246583 h 797705"/>
              <a:gd name="connsiteX35" fmla="*/ 570440 w 829568"/>
              <a:gd name="connsiteY35" fmla="*/ 254988 h 797705"/>
              <a:gd name="connsiteX36" fmla="*/ 570445 w 829568"/>
              <a:gd name="connsiteY36" fmla="*/ 254942 h 797705"/>
              <a:gd name="connsiteX37" fmla="*/ 574113 w 829568"/>
              <a:gd name="connsiteY37" fmla="*/ 256872 h 797705"/>
              <a:gd name="connsiteX38" fmla="*/ 567290 w 829568"/>
              <a:gd name="connsiteY38" fmla="*/ 250109 h 797705"/>
              <a:gd name="connsiteX39" fmla="*/ 563684 w 829568"/>
              <a:gd name="connsiteY39" fmla="*/ 246583 h 797705"/>
              <a:gd name="connsiteX40" fmla="*/ 563632 w 829568"/>
              <a:gd name="connsiteY40" fmla="*/ 245962 h 797705"/>
              <a:gd name="connsiteX41" fmla="*/ 574458 w 829568"/>
              <a:gd name="connsiteY41" fmla="*/ 256788 h 797705"/>
              <a:gd name="connsiteX42" fmla="*/ 583230 w 829568"/>
              <a:gd name="connsiteY42" fmla="*/ 254659 h 797705"/>
              <a:gd name="connsiteX43" fmla="*/ 595448 w 829568"/>
              <a:gd name="connsiteY43" fmla="*/ 250406 h 797705"/>
              <a:gd name="connsiteX44" fmla="*/ 624997 w 829568"/>
              <a:gd name="connsiteY44" fmla="*/ 282159 h 797705"/>
              <a:gd name="connsiteX45" fmla="*/ 637214 w 829568"/>
              <a:gd name="connsiteY45" fmla="*/ 311928 h 797705"/>
              <a:gd name="connsiteX46" fmla="*/ 636731 w 829568"/>
              <a:gd name="connsiteY46" fmla="*/ 319061 h 797705"/>
              <a:gd name="connsiteX47" fmla="*/ 652790 w 829568"/>
              <a:gd name="connsiteY47" fmla="*/ 335120 h 797705"/>
              <a:gd name="connsiteX48" fmla="*/ 636185 w 829568"/>
              <a:gd name="connsiteY48" fmla="*/ 327131 h 797705"/>
              <a:gd name="connsiteX49" fmla="*/ 640908 w 829568"/>
              <a:gd name="connsiteY49" fmla="*/ 343397 h 797705"/>
              <a:gd name="connsiteX50" fmla="*/ 656819 w 829568"/>
              <a:gd name="connsiteY50" fmla="*/ 329788 h 797705"/>
              <a:gd name="connsiteX51" fmla="*/ 672730 w 829568"/>
              <a:gd name="connsiteY51" fmla="*/ 347933 h 797705"/>
              <a:gd name="connsiteX52" fmla="*/ 679549 w 829568"/>
              <a:gd name="connsiteY52" fmla="*/ 366077 h 797705"/>
              <a:gd name="connsiteX53" fmla="*/ 686368 w 829568"/>
              <a:gd name="connsiteY53" fmla="*/ 418243 h 797705"/>
              <a:gd name="connsiteX54" fmla="*/ 736375 w 829568"/>
              <a:gd name="connsiteY54" fmla="*/ 413707 h 797705"/>
              <a:gd name="connsiteX55" fmla="*/ 756832 w 829568"/>
              <a:gd name="connsiteY55" fmla="*/ 420511 h 797705"/>
              <a:gd name="connsiteX56" fmla="*/ 765924 w 829568"/>
              <a:gd name="connsiteY56" fmla="*/ 406903 h 797705"/>
              <a:gd name="connsiteX57" fmla="*/ 829568 w 829568"/>
              <a:gd name="connsiteY57" fmla="*/ 397830 h 797705"/>
              <a:gd name="connsiteX58" fmla="*/ 829568 w 829568"/>
              <a:gd name="connsiteY58" fmla="*/ 413707 h 797705"/>
              <a:gd name="connsiteX59" fmla="*/ 827295 w 829568"/>
              <a:gd name="connsiteY59" fmla="*/ 422779 h 797705"/>
              <a:gd name="connsiteX60" fmla="*/ 822749 w 829568"/>
              <a:gd name="connsiteY60" fmla="*/ 427315 h 797705"/>
              <a:gd name="connsiteX61" fmla="*/ 815930 w 829568"/>
              <a:gd name="connsiteY61" fmla="*/ 427315 h 797705"/>
              <a:gd name="connsiteX62" fmla="*/ 809111 w 829568"/>
              <a:gd name="connsiteY62" fmla="*/ 443192 h 797705"/>
              <a:gd name="connsiteX63" fmla="*/ 802292 w 829568"/>
              <a:gd name="connsiteY63" fmla="*/ 452264 h 797705"/>
              <a:gd name="connsiteX64" fmla="*/ 800019 w 829568"/>
              <a:gd name="connsiteY64" fmla="*/ 459068 h 797705"/>
              <a:gd name="connsiteX65" fmla="*/ 800019 w 829568"/>
              <a:gd name="connsiteY65" fmla="*/ 470408 h 797705"/>
              <a:gd name="connsiteX66" fmla="*/ 800019 w 829568"/>
              <a:gd name="connsiteY66" fmla="*/ 481749 h 797705"/>
              <a:gd name="connsiteX67" fmla="*/ 784108 w 829568"/>
              <a:gd name="connsiteY67" fmla="*/ 477212 h 797705"/>
              <a:gd name="connsiteX68" fmla="*/ 777289 w 829568"/>
              <a:gd name="connsiteY68" fmla="*/ 477212 h 797705"/>
              <a:gd name="connsiteX69" fmla="*/ 770470 w 829568"/>
              <a:gd name="connsiteY69" fmla="*/ 481749 h 797705"/>
              <a:gd name="connsiteX70" fmla="*/ 768197 w 829568"/>
              <a:gd name="connsiteY70" fmla="*/ 488553 h 797705"/>
              <a:gd name="connsiteX71" fmla="*/ 750013 w 829568"/>
              <a:gd name="connsiteY71" fmla="*/ 497625 h 797705"/>
              <a:gd name="connsiteX72" fmla="*/ 745467 w 829568"/>
              <a:gd name="connsiteY72" fmla="*/ 490821 h 797705"/>
              <a:gd name="connsiteX73" fmla="*/ 740921 w 829568"/>
              <a:gd name="connsiteY73" fmla="*/ 493089 h 797705"/>
              <a:gd name="connsiteX74" fmla="*/ 738648 w 829568"/>
              <a:gd name="connsiteY74" fmla="*/ 499893 h 797705"/>
              <a:gd name="connsiteX75" fmla="*/ 738648 w 829568"/>
              <a:gd name="connsiteY75" fmla="*/ 502161 h 797705"/>
              <a:gd name="connsiteX76" fmla="*/ 725010 w 829568"/>
              <a:gd name="connsiteY76" fmla="*/ 504429 h 797705"/>
              <a:gd name="connsiteX77" fmla="*/ 715918 w 829568"/>
              <a:gd name="connsiteY77" fmla="*/ 508965 h 797705"/>
              <a:gd name="connsiteX78" fmla="*/ 715918 w 829568"/>
              <a:gd name="connsiteY78" fmla="*/ 520306 h 797705"/>
              <a:gd name="connsiteX79" fmla="*/ 713645 w 829568"/>
              <a:gd name="connsiteY79" fmla="*/ 522574 h 797705"/>
              <a:gd name="connsiteX80" fmla="*/ 693188 w 829568"/>
              <a:gd name="connsiteY80" fmla="*/ 527110 h 797705"/>
              <a:gd name="connsiteX81" fmla="*/ 677276 w 829568"/>
              <a:gd name="connsiteY81" fmla="*/ 531646 h 797705"/>
              <a:gd name="connsiteX82" fmla="*/ 668184 w 829568"/>
              <a:gd name="connsiteY82" fmla="*/ 527110 h 797705"/>
              <a:gd name="connsiteX83" fmla="*/ 665911 w 829568"/>
              <a:gd name="connsiteY83" fmla="*/ 529378 h 797705"/>
              <a:gd name="connsiteX84" fmla="*/ 665911 w 829568"/>
              <a:gd name="connsiteY84" fmla="*/ 538450 h 797705"/>
              <a:gd name="connsiteX85" fmla="*/ 659092 w 829568"/>
              <a:gd name="connsiteY85" fmla="*/ 540718 h 797705"/>
              <a:gd name="connsiteX86" fmla="*/ 659092 w 829568"/>
              <a:gd name="connsiteY86" fmla="*/ 545254 h 797705"/>
              <a:gd name="connsiteX87" fmla="*/ 659092 w 829568"/>
              <a:gd name="connsiteY87" fmla="*/ 556595 h 797705"/>
              <a:gd name="connsiteX88" fmla="*/ 656819 w 829568"/>
              <a:gd name="connsiteY88" fmla="*/ 561131 h 797705"/>
              <a:gd name="connsiteX89" fmla="*/ 652273 w 829568"/>
              <a:gd name="connsiteY89" fmla="*/ 561131 h 797705"/>
              <a:gd name="connsiteX90" fmla="*/ 650000 w 829568"/>
              <a:gd name="connsiteY90" fmla="*/ 561131 h 797705"/>
              <a:gd name="connsiteX91" fmla="*/ 618178 w 829568"/>
              <a:gd name="connsiteY91" fmla="*/ 552058 h 797705"/>
              <a:gd name="connsiteX92" fmla="*/ 618178 w 829568"/>
              <a:gd name="connsiteY92" fmla="*/ 549790 h 797705"/>
              <a:gd name="connsiteX93" fmla="*/ 609086 w 829568"/>
              <a:gd name="connsiteY93" fmla="*/ 542986 h 797705"/>
              <a:gd name="connsiteX94" fmla="*/ 599994 w 829568"/>
              <a:gd name="connsiteY94" fmla="*/ 547522 h 797705"/>
              <a:gd name="connsiteX95" fmla="*/ 590902 w 829568"/>
              <a:gd name="connsiteY95" fmla="*/ 554327 h 797705"/>
              <a:gd name="connsiteX96" fmla="*/ 579537 w 829568"/>
              <a:gd name="connsiteY96" fmla="*/ 563399 h 797705"/>
              <a:gd name="connsiteX97" fmla="*/ 574991 w 829568"/>
              <a:gd name="connsiteY97" fmla="*/ 556595 h 797705"/>
              <a:gd name="connsiteX98" fmla="*/ 570445 w 829568"/>
              <a:gd name="connsiteY98" fmla="*/ 558863 h 797705"/>
              <a:gd name="connsiteX99" fmla="*/ 568172 w 829568"/>
              <a:gd name="connsiteY99" fmla="*/ 563399 h 797705"/>
              <a:gd name="connsiteX100" fmla="*/ 568172 w 829568"/>
              <a:gd name="connsiteY100" fmla="*/ 565667 h 797705"/>
              <a:gd name="connsiteX101" fmla="*/ 568172 w 829568"/>
              <a:gd name="connsiteY101" fmla="*/ 570203 h 797705"/>
              <a:gd name="connsiteX102" fmla="*/ 565899 w 829568"/>
              <a:gd name="connsiteY102" fmla="*/ 572471 h 797705"/>
              <a:gd name="connsiteX103" fmla="*/ 565899 w 829568"/>
              <a:gd name="connsiteY103" fmla="*/ 574739 h 797705"/>
              <a:gd name="connsiteX104" fmla="*/ 581810 w 829568"/>
              <a:gd name="connsiteY104" fmla="*/ 581543 h 797705"/>
              <a:gd name="connsiteX105" fmla="*/ 586356 w 829568"/>
              <a:gd name="connsiteY105" fmla="*/ 586079 h 797705"/>
              <a:gd name="connsiteX106" fmla="*/ 590902 w 829568"/>
              <a:gd name="connsiteY106" fmla="*/ 579275 h 797705"/>
              <a:gd name="connsiteX107" fmla="*/ 597721 w 829568"/>
              <a:gd name="connsiteY107" fmla="*/ 583811 h 797705"/>
              <a:gd name="connsiteX108" fmla="*/ 599994 w 829568"/>
              <a:gd name="connsiteY108" fmla="*/ 579275 h 797705"/>
              <a:gd name="connsiteX109" fmla="*/ 606813 w 829568"/>
              <a:gd name="connsiteY109" fmla="*/ 588347 h 797705"/>
              <a:gd name="connsiteX110" fmla="*/ 606813 w 829568"/>
              <a:gd name="connsiteY110" fmla="*/ 590616 h 797705"/>
              <a:gd name="connsiteX111" fmla="*/ 602267 w 829568"/>
              <a:gd name="connsiteY111" fmla="*/ 601956 h 797705"/>
              <a:gd name="connsiteX112" fmla="*/ 604540 w 829568"/>
              <a:gd name="connsiteY112" fmla="*/ 606492 h 797705"/>
              <a:gd name="connsiteX113" fmla="*/ 609086 w 829568"/>
              <a:gd name="connsiteY113" fmla="*/ 611028 h 797705"/>
              <a:gd name="connsiteX114" fmla="*/ 606813 w 829568"/>
              <a:gd name="connsiteY114" fmla="*/ 613296 h 797705"/>
              <a:gd name="connsiteX115" fmla="*/ 588629 w 829568"/>
              <a:gd name="connsiteY115" fmla="*/ 613296 h 797705"/>
              <a:gd name="connsiteX116" fmla="*/ 572718 w 829568"/>
              <a:gd name="connsiteY116" fmla="*/ 597420 h 797705"/>
              <a:gd name="connsiteX117" fmla="*/ 568172 w 829568"/>
              <a:gd name="connsiteY117" fmla="*/ 606492 h 797705"/>
              <a:gd name="connsiteX118" fmla="*/ 561353 w 829568"/>
              <a:gd name="connsiteY118" fmla="*/ 597420 h 797705"/>
              <a:gd name="connsiteX119" fmla="*/ 556807 w 829568"/>
              <a:gd name="connsiteY119" fmla="*/ 592884 h 797705"/>
              <a:gd name="connsiteX120" fmla="*/ 540896 w 829568"/>
              <a:gd name="connsiteY120" fmla="*/ 570203 h 797705"/>
              <a:gd name="connsiteX121" fmla="*/ 529530 w 829568"/>
              <a:gd name="connsiteY121" fmla="*/ 565667 h 797705"/>
              <a:gd name="connsiteX122" fmla="*/ 518165 w 829568"/>
              <a:gd name="connsiteY122" fmla="*/ 572471 h 797705"/>
              <a:gd name="connsiteX123" fmla="*/ 509073 w 829568"/>
              <a:gd name="connsiteY123" fmla="*/ 577007 h 797705"/>
              <a:gd name="connsiteX124" fmla="*/ 506800 w 829568"/>
              <a:gd name="connsiteY124" fmla="*/ 574739 h 797705"/>
              <a:gd name="connsiteX125" fmla="*/ 504527 w 829568"/>
              <a:gd name="connsiteY125" fmla="*/ 574739 h 797705"/>
              <a:gd name="connsiteX126" fmla="*/ 504527 w 829568"/>
              <a:gd name="connsiteY126" fmla="*/ 570324 h 797705"/>
              <a:gd name="connsiteX127" fmla="*/ 503669 w 829568"/>
              <a:gd name="connsiteY127" fmla="*/ 570324 h 797705"/>
              <a:gd name="connsiteX128" fmla="*/ 503669 w 829568"/>
              <a:gd name="connsiteY128" fmla="*/ 574870 h 797705"/>
              <a:gd name="connsiteX129" fmla="*/ 505946 w 829568"/>
              <a:gd name="connsiteY129" fmla="*/ 577143 h 797705"/>
              <a:gd name="connsiteX130" fmla="*/ 505946 w 829568"/>
              <a:gd name="connsiteY130" fmla="*/ 579415 h 797705"/>
              <a:gd name="connsiteX131" fmla="*/ 505946 w 829568"/>
              <a:gd name="connsiteY131" fmla="*/ 581688 h 797705"/>
              <a:gd name="connsiteX132" fmla="*/ 496839 w 829568"/>
              <a:gd name="connsiteY132" fmla="*/ 590779 h 797705"/>
              <a:gd name="connsiteX133" fmla="*/ 496839 w 829568"/>
              <a:gd name="connsiteY133" fmla="*/ 595324 h 797705"/>
              <a:gd name="connsiteX134" fmla="*/ 501392 w 829568"/>
              <a:gd name="connsiteY134" fmla="*/ 599870 h 797705"/>
              <a:gd name="connsiteX135" fmla="*/ 510500 w 829568"/>
              <a:gd name="connsiteY135" fmla="*/ 608960 h 797705"/>
              <a:gd name="connsiteX136" fmla="*/ 508223 w 829568"/>
              <a:gd name="connsiteY136" fmla="*/ 613506 h 797705"/>
              <a:gd name="connsiteX137" fmla="*/ 508223 w 829568"/>
              <a:gd name="connsiteY137" fmla="*/ 618051 h 797705"/>
              <a:gd name="connsiteX138" fmla="*/ 490008 w 829568"/>
              <a:gd name="connsiteY138" fmla="*/ 640778 h 797705"/>
              <a:gd name="connsiteX139" fmla="*/ 464962 w 829568"/>
              <a:gd name="connsiteY139" fmla="*/ 631687 h 797705"/>
              <a:gd name="connsiteX140" fmla="*/ 451300 w 829568"/>
              <a:gd name="connsiteY140" fmla="*/ 624869 h 797705"/>
              <a:gd name="connsiteX141" fmla="*/ 423977 w 829568"/>
              <a:gd name="connsiteY141" fmla="*/ 638506 h 797705"/>
              <a:gd name="connsiteX142" fmla="*/ 414870 w 829568"/>
              <a:gd name="connsiteY142" fmla="*/ 643051 h 797705"/>
              <a:gd name="connsiteX143" fmla="*/ 398931 w 829568"/>
              <a:gd name="connsiteY143" fmla="*/ 645324 h 797705"/>
              <a:gd name="connsiteX144" fmla="*/ 394378 w 829568"/>
              <a:gd name="connsiteY144" fmla="*/ 652142 h 797705"/>
              <a:gd name="connsiteX145" fmla="*/ 373885 w 829568"/>
              <a:gd name="connsiteY145" fmla="*/ 654415 h 797705"/>
              <a:gd name="connsiteX146" fmla="*/ 353393 w 829568"/>
              <a:gd name="connsiteY146" fmla="*/ 661233 h 797705"/>
              <a:gd name="connsiteX147" fmla="*/ 344285 w 829568"/>
              <a:gd name="connsiteY147" fmla="*/ 683960 h 797705"/>
              <a:gd name="connsiteX148" fmla="*/ 346559 w 829568"/>
              <a:gd name="connsiteY148" fmla="*/ 695305 h 797705"/>
              <a:gd name="connsiteX149" fmla="*/ 346890 w 829568"/>
              <a:gd name="connsiteY149" fmla="*/ 695371 h 797705"/>
              <a:gd name="connsiteX150" fmla="*/ 349169 w 829568"/>
              <a:gd name="connsiteY150" fmla="*/ 697639 h 797705"/>
              <a:gd name="connsiteX151" fmla="*/ 349169 w 829568"/>
              <a:gd name="connsiteY151" fmla="*/ 708981 h 797705"/>
              <a:gd name="connsiteX152" fmla="*/ 349169 w 829568"/>
              <a:gd name="connsiteY152" fmla="*/ 713518 h 797705"/>
              <a:gd name="connsiteX153" fmla="*/ 346890 w 829568"/>
              <a:gd name="connsiteY153" fmla="*/ 724861 h 797705"/>
              <a:gd name="connsiteX154" fmla="*/ 340053 w 829568"/>
              <a:gd name="connsiteY154" fmla="*/ 722592 h 797705"/>
              <a:gd name="connsiteX155" fmla="*/ 317264 w 829568"/>
              <a:gd name="connsiteY155" fmla="*/ 720324 h 797705"/>
              <a:gd name="connsiteX156" fmla="*/ 312706 w 829568"/>
              <a:gd name="connsiteY156" fmla="*/ 718055 h 797705"/>
              <a:gd name="connsiteX157" fmla="*/ 303590 w 829568"/>
              <a:gd name="connsiteY157" fmla="*/ 724861 h 797705"/>
              <a:gd name="connsiteX158" fmla="*/ 294474 w 829568"/>
              <a:gd name="connsiteY158" fmla="*/ 731666 h 797705"/>
              <a:gd name="connsiteX159" fmla="*/ 289916 w 829568"/>
              <a:gd name="connsiteY159" fmla="*/ 738471 h 797705"/>
              <a:gd name="connsiteX160" fmla="*/ 289916 w 829568"/>
              <a:gd name="connsiteY160" fmla="*/ 752082 h 797705"/>
              <a:gd name="connsiteX161" fmla="*/ 280800 w 829568"/>
              <a:gd name="connsiteY161" fmla="*/ 740740 h 797705"/>
              <a:gd name="connsiteX162" fmla="*/ 278521 w 829568"/>
              <a:gd name="connsiteY162" fmla="*/ 738471 h 797705"/>
              <a:gd name="connsiteX163" fmla="*/ 278521 w 829568"/>
              <a:gd name="connsiteY163" fmla="*/ 743008 h 797705"/>
              <a:gd name="connsiteX164" fmla="*/ 276242 w 829568"/>
              <a:gd name="connsiteY164" fmla="*/ 749814 h 797705"/>
              <a:gd name="connsiteX165" fmla="*/ 269405 w 829568"/>
              <a:gd name="connsiteY165" fmla="*/ 761156 h 797705"/>
              <a:gd name="connsiteX166" fmla="*/ 232942 w 829568"/>
              <a:gd name="connsiteY166" fmla="*/ 749814 h 797705"/>
              <a:gd name="connsiteX167" fmla="*/ 230663 w 829568"/>
              <a:gd name="connsiteY167" fmla="*/ 754351 h 797705"/>
              <a:gd name="connsiteX168" fmla="*/ 203316 w 829568"/>
              <a:gd name="connsiteY168" fmla="*/ 754351 h 797705"/>
              <a:gd name="connsiteX169" fmla="*/ 180526 w 829568"/>
              <a:gd name="connsiteY169" fmla="*/ 761156 h 797705"/>
              <a:gd name="connsiteX170" fmla="*/ 169131 w 829568"/>
              <a:gd name="connsiteY170" fmla="*/ 767961 h 797705"/>
              <a:gd name="connsiteX171" fmla="*/ 157736 w 829568"/>
              <a:gd name="connsiteY171" fmla="*/ 783841 h 797705"/>
              <a:gd name="connsiteX172" fmla="*/ 137226 w 829568"/>
              <a:gd name="connsiteY172" fmla="*/ 797451 h 797705"/>
              <a:gd name="connsiteX173" fmla="*/ 128110 w 829568"/>
              <a:gd name="connsiteY173" fmla="*/ 786109 h 797705"/>
              <a:gd name="connsiteX174" fmla="*/ 121273 w 829568"/>
              <a:gd name="connsiteY174" fmla="*/ 792914 h 797705"/>
              <a:gd name="connsiteX175" fmla="*/ 93925 w 829568"/>
              <a:gd name="connsiteY175" fmla="*/ 790646 h 797705"/>
              <a:gd name="connsiteX176" fmla="*/ 68857 w 829568"/>
              <a:gd name="connsiteY176" fmla="*/ 790646 h 797705"/>
              <a:gd name="connsiteX177" fmla="*/ 57462 w 829568"/>
              <a:gd name="connsiteY177" fmla="*/ 792914 h 797705"/>
              <a:gd name="connsiteX178" fmla="*/ 46067 w 829568"/>
              <a:gd name="connsiteY178" fmla="*/ 788377 h 797705"/>
              <a:gd name="connsiteX179" fmla="*/ 25556 w 829568"/>
              <a:gd name="connsiteY179" fmla="*/ 786109 h 797705"/>
              <a:gd name="connsiteX180" fmla="*/ 25556 w 829568"/>
              <a:gd name="connsiteY180" fmla="*/ 783841 h 797705"/>
              <a:gd name="connsiteX181" fmla="*/ 27835 w 829568"/>
              <a:gd name="connsiteY181" fmla="*/ 777035 h 797705"/>
              <a:gd name="connsiteX182" fmla="*/ 25556 w 829568"/>
              <a:gd name="connsiteY182" fmla="*/ 774767 h 797705"/>
              <a:gd name="connsiteX183" fmla="*/ 43788 w 829568"/>
              <a:gd name="connsiteY183" fmla="*/ 770230 h 797705"/>
              <a:gd name="connsiteX184" fmla="*/ 48346 w 829568"/>
              <a:gd name="connsiteY184" fmla="*/ 699908 h 797705"/>
              <a:gd name="connsiteX185" fmla="*/ 5046 w 829568"/>
              <a:gd name="connsiteY185" fmla="*/ 670418 h 797705"/>
              <a:gd name="connsiteX186" fmla="*/ 30114 w 829568"/>
              <a:gd name="connsiteY186" fmla="*/ 615975 h 797705"/>
              <a:gd name="connsiteX187" fmla="*/ 41509 w 829568"/>
              <a:gd name="connsiteY187" fmla="*/ 600095 h 797705"/>
              <a:gd name="connsiteX188" fmla="*/ 34672 w 829568"/>
              <a:gd name="connsiteY188" fmla="*/ 581948 h 797705"/>
              <a:gd name="connsiteX189" fmla="*/ 41509 w 829568"/>
              <a:gd name="connsiteY189" fmla="*/ 554726 h 797705"/>
              <a:gd name="connsiteX190" fmla="*/ 16441 w 829568"/>
              <a:gd name="connsiteY190" fmla="*/ 543384 h 797705"/>
              <a:gd name="connsiteX191" fmla="*/ 34672 w 829568"/>
              <a:gd name="connsiteY191" fmla="*/ 541115 h 797705"/>
              <a:gd name="connsiteX192" fmla="*/ 41498 w 829568"/>
              <a:gd name="connsiteY192" fmla="*/ 541115 h 797705"/>
              <a:gd name="connsiteX193" fmla="*/ 39341 w 829568"/>
              <a:gd name="connsiteY193" fmla="*/ 528176 h 797705"/>
              <a:gd name="connsiteX194" fmla="*/ 86966 w 829568"/>
              <a:gd name="connsiteY194" fmla="*/ 494839 h 797705"/>
              <a:gd name="connsiteX195" fmla="*/ 65409 w 829568"/>
              <a:gd name="connsiteY195" fmla="*/ 464300 h 797705"/>
              <a:gd name="connsiteX196" fmla="*/ 62429 w 829568"/>
              <a:gd name="connsiteY196" fmla="*/ 465726 h 797705"/>
              <a:gd name="connsiteX197" fmla="*/ 62429 w 829568"/>
              <a:gd name="connsiteY197" fmla="*/ 467991 h 797705"/>
              <a:gd name="connsiteX198" fmla="*/ 57874 w 829568"/>
              <a:gd name="connsiteY198" fmla="*/ 470256 h 797705"/>
              <a:gd name="connsiteX199" fmla="*/ 48763 w 829568"/>
              <a:gd name="connsiteY199" fmla="*/ 472522 h 797705"/>
              <a:gd name="connsiteX200" fmla="*/ 35096 w 829568"/>
              <a:gd name="connsiteY200" fmla="*/ 467991 h 797705"/>
              <a:gd name="connsiteX201" fmla="*/ 32818 w 829568"/>
              <a:gd name="connsiteY201" fmla="*/ 449871 h 797705"/>
              <a:gd name="connsiteX202" fmla="*/ 55596 w 829568"/>
              <a:gd name="connsiteY202" fmla="*/ 418160 h 797705"/>
              <a:gd name="connsiteX203" fmla="*/ 55596 w 829568"/>
              <a:gd name="connsiteY203" fmla="*/ 404569 h 797705"/>
              <a:gd name="connsiteX204" fmla="*/ 48763 w 829568"/>
              <a:gd name="connsiteY204" fmla="*/ 372858 h 797705"/>
              <a:gd name="connsiteX205" fmla="*/ 41929 w 829568"/>
              <a:gd name="connsiteY205" fmla="*/ 354737 h 797705"/>
              <a:gd name="connsiteX206" fmla="*/ 41929 w 829568"/>
              <a:gd name="connsiteY206" fmla="*/ 320761 h 797705"/>
              <a:gd name="connsiteX207" fmla="*/ 41929 w 829568"/>
              <a:gd name="connsiteY207" fmla="*/ 300375 h 797705"/>
              <a:gd name="connsiteX208" fmla="*/ 44207 w 829568"/>
              <a:gd name="connsiteY208" fmla="*/ 302640 h 797705"/>
              <a:gd name="connsiteX209" fmla="*/ 57934 w 829568"/>
              <a:gd name="connsiteY209" fmla="*/ 312196 h 797705"/>
              <a:gd name="connsiteX210" fmla="*/ 58242 w 829568"/>
              <a:gd name="connsiteY210" fmla="*/ 311394 h 797705"/>
              <a:gd name="connsiteX211" fmla="*/ 56256 w 829568"/>
              <a:gd name="connsiteY211" fmla="*/ 310012 h 797705"/>
              <a:gd name="connsiteX212" fmla="*/ 44300 w 829568"/>
              <a:gd name="connsiteY212" fmla="*/ 302367 h 797705"/>
              <a:gd name="connsiteX213" fmla="*/ 42022 w 829568"/>
              <a:gd name="connsiteY213" fmla="*/ 300102 h 797705"/>
              <a:gd name="connsiteX214" fmla="*/ 44300 w 829568"/>
              <a:gd name="connsiteY214" fmla="*/ 291042 h 797705"/>
              <a:gd name="connsiteX215" fmla="*/ 78462 w 829568"/>
              <a:gd name="connsiteY215" fmla="*/ 259331 h 797705"/>
              <a:gd name="connsiteX216" fmla="*/ 92126 w 829568"/>
              <a:gd name="connsiteY216" fmla="*/ 232149 h 797705"/>
              <a:gd name="connsiteX217" fmla="*/ 114901 w 829568"/>
              <a:gd name="connsiteY217" fmla="*/ 211764 h 797705"/>
              <a:gd name="connsiteX218" fmla="*/ 108638 w 829568"/>
              <a:gd name="connsiteY218" fmla="*/ 204968 h 797705"/>
              <a:gd name="connsiteX219" fmla="*/ 92261 w 829568"/>
              <a:gd name="connsiteY219" fmla="*/ 198228 h 797705"/>
              <a:gd name="connsiteX220" fmla="*/ 91806 w 829568"/>
              <a:gd name="connsiteY220" fmla="*/ 198355 h 797705"/>
              <a:gd name="connsiteX221" fmla="*/ 84968 w 829568"/>
              <a:gd name="connsiteY221" fmla="*/ 193807 h 797705"/>
              <a:gd name="connsiteX222" fmla="*/ 94086 w 829568"/>
              <a:gd name="connsiteY222" fmla="*/ 155145 h 797705"/>
              <a:gd name="connsiteX223" fmla="*/ 135114 w 829568"/>
              <a:gd name="connsiteY223" fmla="*/ 127854 h 797705"/>
              <a:gd name="connsiteX224" fmla="*/ 160186 w 829568"/>
              <a:gd name="connsiteY224" fmla="*/ 134677 h 797705"/>
              <a:gd name="connsiteX225" fmla="*/ 160186 w 829568"/>
              <a:gd name="connsiteY225" fmla="*/ 109660 h 797705"/>
              <a:gd name="connsiteX226" fmla="*/ 187538 w 829568"/>
              <a:gd name="connsiteY226" fmla="*/ 82369 h 797705"/>
              <a:gd name="connsiteX227" fmla="*/ 187538 w 829568"/>
              <a:gd name="connsiteY227" fmla="*/ 48256 h 797705"/>
              <a:gd name="connsiteX228" fmla="*/ 190103 w 829568"/>
              <a:gd name="connsiteY228"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61350 w 829568"/>
              <a:gd name="connsiteY8" fmla="*/ 243680 h 797705"/>
              <a:gd name="connsiteX9" fmla="*/ 563631 w 829568"/>
              <a:gd name="connsiteY9" fmla="*/ 245950 h 797705"/>
              <a:gd name="connsiteX10" fmla="*/ 563632 w 829568"/>
              <a:gd name="connsiteY10" fmla="*/ 245962 h 797705"/>
              <a:gd name="connsiteX11" fmla="*/ 561350 w 829568"/>
              <a:gd name="connsiteY11" fmla="*/ 243680 h 797705"/>
              <a:gd name="connsiteX12" fmla="*/ 190103 w 829568"/>
              <a:gd name="connsiteY12" fmla="*/ 284 h 797705"/>
              <a:gd name="connsiteX13" fmla="*/ 208052 w 829568"/>
              <a:gd name="connsiteY13" fmla="*/ 7319 h 797705"/>
              <a:gd name="connsiteX14" fmla="*/ 244522 w 829568"/>
              <a:gd name="connsiteY14" fmla="*/ 16416 h 797705"/>
              <a:gd name="connsiteX15" fmla="*/ 269594 w 829568"/>
              <a:gd name="connsiteY15" fmla="*/ 36884 h 797705"/>
              <a:gd name="connsiteX16" fmla="*/ 303784 w 829568"/>
              <a:gd name="connsiteY16" fmla="*/ 59627 h 797705"/>
              <a:gd name="connsiteX17" fmla="*/ 317460 w 829568"/>
              <a:gd name="connsiteY17" fmla="*/ 89192 h 797705"/>
              <a:gd name="connsiteX18" fmla="*/ 353930 w 829568"/>
              <a:gd name="connsiteY18" fmla="*/ 73272 h 797705"/>
              <a:gd name="connsiteX19" fmla="*/ 399516 w 829568"/>
              <a:gd name="connsiteY19" fmla="*/ 82369 h 797705"/>
              <a:gd name="connsiteX20" fmla="*/ 417751 w 829568"/>
              <a:gd name="connsiteY20" fmla="*/ 77821 h 797705"/>
              <a:gd name="connsiteX21" fmla="*/ 438265 w 829568"/>
              <a:gd name="connsiteY21" fmla="*/ 64175 h 797705"/>
              <a:gd name="connsiteX22" fmla="*/ 472455 w 829568"/>
              <a:gd name="connsiteY22" fmla="*/ 73272 h 797705"/>
              <a:gd name="connsiteX23" fmla="*/ 486131 w 829568"/>
              <a:gd name="connsiteY23" fmla="*/ 82369 h 797705"/>
              <a:gd name="connsiteX24" fmla="*/ 490690 w 829568"/>
              <a:gd name="connsiteY24" fmla="*/ 132402 h 797705"/>
              <a:gd name="connsiteX25" fmla="*/ 495248 w 829568"/>
              <a:gd name="connsiteY25" fmla="*/ 196081 h 797705"/>
              <a:gd name="connsiteX26" fmla="*/ 495248 w 829568"/>
              <a:gd name="connsiteY26" fmla="*/ 214275 h 797705"/>
              <a:gd name="connsiteX27" fmla="*/ 495067 w 829568"/>
              <a:gd name="connsiteY27" fmla="*/ 214233 h 797705"/>
              <a:gd name="connsiteX28" fmla="*/ 497146 w 829568"/>
              <a:gd name="connsiteY28" fmla="*/ 220449 h 797705"/>
              <a:gd name="connsiteX29" fmla="*/ 508530 w 829568"/>
              <a:gd name="connsiteY29" fmla="*/ 224986 h 797705"/>
              <a:gd name="connsiteX30" fmla="*/ 524467 w 829568"/>
              <a:gd name="connsiteY30" fmla="*/ 238598 h 797705"/>
              <a:gd name="connsiteX31" fmla="*/ 556340 w 829568"/>
              <a:gd name="connsiteY31" fmla="*/ 234060 h 797705"/>
              <a:gd name="connsiteX32" fmla="*/ 560894 w 829568"/>
              <a:gd name="connsiteY32" fmla="*/ 243135 h 797705"/>
              <a:gd name="connsiteX33" fmla="*/ 563170 w 829568"/>
              <a:gd name="connsiteY33" fmla="*/ 247672 h 797705"/>
              <a:gd name="connsiteX34" fmla="*/ 563684 w 829568"/>
              <a:gd name="connsiteY34" fmla="*/ 246583 h 797705"/>
              <a:gd name="connsiteX35" fmla="*/ 570440 w 829568"/>
              <a:gd name="connsiteY35" fmla="*/ 254988 h 797705"/>
              <a:gd name="connsiteX36" fmla="*/ 570445 w 829568"/>
              <a:gd name="connsiteY36" fmla="*/ 254942 h 797705"/>
              <a:gd name="connsiteX37" fmla="*/ 574113 w 829568"/>
              <a:gd name="connsiteY37" fmla="*/ 256872 h 797705"/>
              <a:gd name="connsiteX38" fmla="*/ 567290 w 829568"/>
              <a:gd name="connsiteY38" fmla="*/ 250109 h 797705"/>
              <a:gd name="connsiteX39" fmla="*/ 563684 w 829568"/>
              <a:gd name="connsiteY39" fmla="*/ 246583 h 797705"/>
              <a:gd name="connsiteX40" fmla="*/ 563632 w 829568"/>
              <a:gd name="connsiteY40" fmla="*/ 245962 h 797705"/>
              <a:gd name="connsiteX41" fmla="*/ 574458 w 829568"/>
              <a:gd name="connsiteY41" fmla="*/ 256788 h 797705"/>
              <a:gd name="connsiteX42" fmla="*/ 583230 w 829568"/>
              <a:gd name="connsiteY42" fmla="*/ 254659 h 797705"/>
              <a:gd name="connsiteX43" fmla="*/ 595448 w 829568"/>
              <a:gd name="connsiteY43" fmla="*/ 250406 h 797705"/>
              <a:gd name="connsiteX44" fmla="*/ 624997 w 829568"/>
              <a:gd name="connsiteY44" fmla="*/ 282159 h 797705"/>
              <a:gd name="connsiteX45" fmla="*/ 637214 w 829568"/>
              <a:gd name="connsiteY45" fmla="*/ 311928 h 797705"/>
              <a:gd name="connsiteX46" fmla="*/ 636731 w 829568"/>
              <a:gd name="connsiteY46" fmla="*/ 319061 h 797705"/>
              <a:gd name="connsiteX47" fmla="*/ 636185 w 829568"/>
              <a:gd name="connsiteY47" fmla="*/ 327131 h 797705"/>
              <a:gd name="connsiteX48" fmla="*/ 640908 w 829568"/>
              <a:gd name="connsiteY48" fmla="*/ 343397 h 797705"/>
              <a:gd name="connsiteX49" fmla="*/ 656819 w 829568"/>
              <a:gd name="connsiteY49" fmla="*/ 329788 h 797705"/>
              <a:gd name="connsiteX50" fmla="*/ 672730 w 829568"/>
              <a:gd name="connsiteY50" fmla="*/ 347933 h 797705"/>
              <a:gd name="connsiteX51" fmla="*/ 679549 w 829568"/>
              <a:gd name="connsiteY51" fmla="*/ 366077 h 797705"/>
              <a:gd name="connsiteX52" fmla="*/ 686368 w 829568"/>
              <a:gd name="connsiteY52" fmla="*/ 418243 h 797705"/>
              <a:gd name="connsiteX53" fmla="*/ 736375 w 829568"/>
              <a:gd name="connsiteY53" fmla="*/ 413707 h 797705"/>
              <a:gd name="connsiteX54" fmla="*/ 756832 w 829568"/>
              <a:gd name="connsiteY54" fmla="*/ 420511 h 797705"/>
              <a:gd name="connsiteX55" fmla="*/ 765924 w 829568"/>
              <a:gd name="connsiteY55" fmla="*/ 406903 h 797705"/>
              <a:gd name="connsiteX56" fmla="*/ 829568 w 829568"/>
              <a:gd name="connsiteY56" fmla="*/ 397830 h 797705"/>
              <a:gd name="connsiteX57" fmla="*/ 829568 w 829568"/>
              <a:gd name="connsiteY57" fmla="*/ 413707 h 797705"/>
              <a:gd name="connsiteX58" fmla="*/ 827295 w 829568"/>
              <a:gd name="connsiteY58" fmla="*/ 422779 h 797705"/>
              <a:gd name="connsiteX59" fmla="*/ 822749 w 829568"/>
              <a:gd name="connsiteY59" fmla="*/ 427315 h 797705"/>
              <a:gd name="connsiteX60" fmla="*/ 815930 w 829568"/>
              <a:gd name="connsiteY60" fmla="*/ 427315 h 797705"/>
              <a:gd name="connsiteX61" fmla="*/ 809111 w 829568"/>
              <a:gd name="connsiteY61" fmla="*/ 443192 h 797705"/>
              <a:gd name="connsiteX62" fmla="*/ 802292 w 829568"/>
              <a:gd name="connsiteY62" fmla="*/ 452264 h 797705"/>
              <a:gd name="connsiteX63" fmla="*/ 800019 w 829568"/>
              <a:gd name="connsiteY63" fmla="*/ 459068 h 797705"/>
              <a:gd name="connsiteX64" fmla="*/ 800019 w 829568"/>
              <a:gd name="connsiteY64" fmla="*/ 470408 h 797705"/>
              <a:gd name="connsiteX65" fmla="*/ 800019 w 829568"/>
              <a:gd name="connsiteY65" fmla="*/ 481749 h 797705"/>
              <a:gd name="connsiteX66" fmla="*/ 784108 w 829568"/>
              <a:gd name="connsiteY66" fmla="*/ 477212 h 797705"/>
              <a:gd name="connsiteX67" fmla="*/ 777289 w 829568"/>
              <a:gd name="connsiteY67" fmla="*/ 477212 h 797705"/>
              <a:gd name="connsiteX68" fmla="*/ 770470 w 829568"/>
              <a:gd name="connsiteY68" fmla="*/ 481749 h 797705"/>
              <a:gd name="connsiteX69" fmla="*/ 768197 w 829568"/>
              <a:gd name="connsiteY69" fmla="*/ 488553 h 797705"/>
              <a:gd name="connsiteX70" fmla="*/ 750013 w 829568"/>
              <a:gd name="connsiteY70" fmla="*/ 497625 h 797705"/>
              <a:gd name="connsiteX71" fmla="*/ 745467 w 829568"/>
              <a:gd name="connsiteY71" fmla="*/ 490821 h 797705"/>
              <a:gd name="connsiteX72" fmla="*/ 740921 w 829568"/>
              <a:gd name="connsiteY72" fmla="*/ 493089 h 797705"/>
              <a:gd name="connsiteX73" fmla="*/ 738648 w 829568"/>
              <a:gd name="connsiteY73" fmla="*/ 499893 h 797705"/>
              <a:gd name="connsiteX74" fmla="*/ 738648 w 829568"/>
              <a:gd name="connsiteY74" fmla="*/ 502161 h 797705"/>
              <a:gd name="connsiteX75" fmla="*/ 725010 w 829568"/>
              <a:gd name="connsiteY75" fmla="*/ 504429 h 797705"/>
              <a:gd name="connsiteX76" fmla="*/ 715918 w 829568"/>
              <a:gd name="connsiteY76" fmla="*/ 508965 h 797705"/>
              <a:gd name="connsiteX77" fmla="*/ 715918 w 829568"/>
              <a:gd name="connsiteY77" fmla="*/ 520306 h 797705"/>
              <a:gd name="connsiteX78" fmla="*/ 713645 w 829568"/>
              <a:gd name="connsiteY78" fmla="*/ 522574 h 797705"/>
              <a:gd name="connsiteX79" fmla="*/ 693188 w 829568"/>
              <a:gd name="connsiteY79" fmla="*/ 527110 h 797705"/>
              <a:gd name="connsiteX80" fmla="*/ 677276 w 829568"/>
              <a:gd name="connsiteY80" fmla="*/ 531646 h 797705"/>
              <a:gd name="connsiteX81" fmla="*/ 668184 w 829568"/>
              <a:gd name="connsiteY81" fmla="*/ 527110 h 797705"/>
              <a:gd name="connsiteX82" fmla="*/ 665911 w 829568"/>
              <a:gd name="connsiteY82" fmla="*/ 529378 h 797705"/>
              <a:gd name="connsiteX83" fmla="*/ 665911 w 829568"/>
              <a:gd name="connsiteY83" fmla="*/ 538450 h 797705"/>
              <a:gd name="connsiteX84" fmla="*/ 659092 w 829568"/>
              <a:gd name="connsiteY84" fmla="*/ 540718 h 797705"/>
              <a:gd name="connsiteX85" fmla="*/ 659092 w 829568"/>
              <a:gd name="connsiteY85" fmla="*/ 545254 h 797705"/>
              <a:gd name="connsiteX86" fmla="*/ 659092 w 829568"/>
              <a:gd name="connsiteY86" fmla="*/ 556595 h 797705"/>
              <a:gd name="connsiteX87" fmla="*/ 656819 w 829568"/>
              <a:gd name="connsiteY87" fmla="*/ 561131 h 797705"/>
              <a:gd name="connsiteX88" fmla="*/ 652273 w 829568"/>
              <a:gd name="connsiteY88" fmla="*/ 561131 h 797705"/>
              <a:gd name="connsiteX89" fmla="*/ 650000 w 829568"/>
              <a:gd name="connsiteY89" fmla="*/ 561131 h 797705"/>
              <a:gd name="connsiteX90" fmla="*/ 618178 w 829568"/>
              <a:gd name="connsiteY90" fmla="*/ 552058 h 797705"/>
              <a:gd name="connsiteX91" fmla="*/ 618178 w 829568"/>
              <a:gd name="connsiteY91" fmla="*/ 549790 h 797705"/>
              <a:gd name="connsiteX92" fmla="*/ 609086 w 829568"/>
              <a:gd name="connsiteY92" fmla="*/ 542986 h 797705"/>
              <a:gd name="connsiteX93" fmla="*/ 599994 w 829568"/>
              <a:gd name="connsiteY93" fmla="*/ 547522 h 797705"/>
              <a:gd name="connsiteX94" fmla="*/ 590902 w 829568"/>
              <a:gd name="connsiteY94" fmla="*/ 554327 h 797705"/>
              <a:gd name="connsiteX95" fmla="*/ 579537 w 829568"/>
              <a:gd name="connsiteY95" fmla="*/ 563399 h 797705"/>
              <a:gd name="connsiteX96" fmla="*/ 574991 w 829568"/>
              <a:gd name="connsiteY96" fmla="*/ 556595 h 797705"/>
              <a:gd name="connsiteX97" fmla="*/ 570445 w 829568"/>
              <a:gd name="connsiteY97" fmla="*/ 558863 h 797705"/>
              <a:gd name="connsiteX98" fmla="*/ 568172 w 829568"/>
              <a:gd name="connsiteY98" fmla="*/ 563399 h 797705"/>
              <a:gd name="connsiteX99" fmla="*/ 568172 w 829568"/>
              <a:gd name="connsiteY99" fmla="*/ 565667 h 797705"/>
              <a:gd name="connsiteX100" fmla="*/ 568172 w 829568"/>
              <a:gd name="connsiteY100" fmla="*/ 570203 h 797705"/>
              <a:gd name="connsiteX101" fmla="*/ 565899 w 829568"/>
              <a:gd name="connsiteY101" fmla="*/ 572471 h 797705"/>
              <a:gd name="connsiteX102" fmla="*/ 565899 w 829568"/>
              <a:gd name="connsiteY102" fmla="*/ 574739 h 797705"/>
              <a:gd name="connsiteX103" fmla="*/ 581810 w 829568"/>
              <a:gd name="connsiteY103" fmla="*/ 581543 h 797705"/>
              <a:gd name="connsiteX104" fmla="*/ 586356 w 829568"/>
              <a:gd name="connsiteY104" fmla="*/ 586079 h 797705"/>
              <a:gd name="connsiteX105" fmla="*/ 590902 w 829568"/>
              <a:gd name="connsiteY105" fmla="*/ 579275 h 797705"/>
              <a:gd name="connsiteX106" fmla="*/ 597721 w 829568"/>
              <a:gd name="connsiteY106" fmla="*/ 583811 h 797705"/>
              <a:gd name="connsiteX107" fmla="*/ 599994 w 829568"/>
              <a:gd name="connsiteY107" fmla="*/ 579275 h 797705"/>
              <a:gd name="connsiteX108" fmla="*/ 606813 w 829568"/>
              <a:gd name="connsiteY108" fmla="*/ 588347 h 797705"/>
              <a:gd name="connsiteX109" fmla="*/ 606813 w 829568"/>
              <a:gd name="connsiteY109" fmla="*/ 590616 h 797705"/>
              <a:gd name="connsiteX110" fmla="*/ 602267 w 829568"/>
              <a:gd name="connsiteY110" fmla="*/ 601956 h 797705"/>
              <a:gd name="connsiteX111" fmla="*/ 604540 w 829568"/>
              <a:gd name="connsiteY111" fmla="*/ 606492 h 797705"/>
              <a:gd name="connsiteX112" fmla="*/ 609086 w 829568"/>
              <a:gd name="connsiteY112" fmla="*/ 611028 h 797705"/>
              <a:gd name="connsiteX113" fmla="*/ 606813 w 829568"/>
              <a:gd name="connsiteY113" fmla="*/ 613296 h 797705"/>
              <a:gd name="connsiteX114" fmla="*/ 588629 w 829568"/>
              <a:gd name="connsiteY114" fmla="*/ 613296 h 797705"/>
              <a:gd name="connsiteX115" fmla="*/ 572718 w 829568"/>
              <a:gd name="connsiteY115" fmla="*/ 597420 h 797705"/>
              <a:gd name="connsiteX116" fmla="*/ 568172 w 829568"/>
              <a:gd name="connsiteY116" fmla="*/ 606492 h 797705"/>
              <a:gd name="connsiteX117" fmla="*/ 561353 w 829568"/>
              <a:gd name="connsiteY117" fmla="*/ 597420 h 797705"/>
              <a:gd name="connsiteX118" fmla="*/ 556807 w 829568"/>
              <a:gd name="connsiteY118" fmla="*/ 592884 h 797705"/>
              <a:gd name="connsiteX119" fmla="*/ 540896 w 829568"/>
              <a:gd name="connsiteY119" fmla="*/ 570203 h 797705"/>
              <a:gd name="connsiteX120" fmla="*/ 529530 w 829568"/>
              <a:gd name="connsiteY120" fmla="*/ 565667 h 797705"/>
              <a:gd name="connsiteX121" fmla="*/ 518165 w 829568"/>
              <a:gd name="connsiteY121" fmla="*/ 572471 h 797705"/>
              <a:gd name="connsiteX122" fmla="*/ 509073 w 829568"/>
              <a:gd name="connsiteY122" fmla="*/ 577007 h 797705"/>
              <a:gd name="connsiteX123" fmla="*/ 506800 w 829568"/>
              <a:gd name="connsiteY123" fmla="*/ 574739 h 797705"/>
              <a:gd name="connsiteX124" fmla="*/ 504527 w 829568"/>
              <a:gd name="connsiteY124" fmla="*/ 574739 h 797705"/>
              <a:gd name="connsiteX125" fmla="*/ 504527 w 829568"/>
              <a:gd name="connsiteY125" fmla="*/ 570324 h 797705"/>
              <a:gd name="connsiteX126" fmla="*/ 503669 w 829568"/>
              <a:gd name="connsiteY126" fmla="*/ 570324 h 797705"/>
              <a:gd name="connsiteX127" fmla="*/ 503669 w 829568"/>
              <a:gd name="connsiteY127" fmla="*/ 574870 h 797705"/>
              <a:gd name="connsiteX128" fmla="*/ 505946 w 829568"/>
              <a:gd name="connsiteY128" fmla="*/ 577143 h 797705"/>
              <a:gd name="connsiteX129" fmla="*/ 505946 w 829568"/>
              <a:gd name="connsiteY129" fmla="*/ 579415 h 797705"/>
              <a:gd name="connsiteX130" fmla="*/ 505946 w 829568"/>
              <a:gd name="connsiteY130" fmla="*/ 581688 h 797705"/>
              <a:gd name="connsiteX131" fmla="*/ 496839 w 829568"/>
              <a:gd name="connsiteY131" fmla="*/ 590779 h 797705"/>
              <a:gd name="connsiteX132" fmla="*/ 496839 w 829568"/>
              <a:gd name="connsiteY132" fmla="*/ 595324 h 797705"/>
              <a:gd name="connsiteX133" fmla="*/ 501392 w 829568"/>
              <a:gd name="connsiteY133" fmla="*/ 599870 h 797705"/>
              <a:gd name="connsiteX134" fmla="*/ 510500 w 829568"/>
              <a:gd name="connsiteY134" fmla="*/ 608960 h 797705"/>
              <a:gd name="connsiteX135" fmla="*/ 508223 w 829568"/>
              <a:gd name="connsiteY135" fmla="*/ 613506 h 797705"/>
              <a:gd name="connsiteX136" fmla="*/ 508223 w 829568"/>
              <a:gd name="connsiteY136" fmla="*/ 618051 h 797705"/>
              <a:gd name="connsiteX137" fmla="*/ 490008 w 829568"/>
              <a:gd name="connsiteY137" fmla="*/ 640778 h 797705"/>
              <a:gd name="connsiteX138" fmla="*/ 464962 w 829568"/>
              <a:gd name="connsiteY138" fmla="*/ 631687 h 797705"/>
              <a:gd name="connsiteX139" fmla="*/ 451300 w 829568"/>
              <a:gd name="connsiteY139" fmla="*/ 624869 h 797705"/>
              <a:gd name="connsiteX140" fmla="*/ 423977 w 829568"/>
              <a:gd name="connsiteY140" fmla="*/ 638506 h 797705"/>
              <a:gd name="connsiteX141" fmla="*/ 414870 w 829568"/>
              <a:gd name="connsiteY141" fmla="*/ 643051 h 797705"/>
              <a:gd name="connsiteX142" fmla="*/ 398931 w 829568"/>
              <a:gd name="connsiteY142" fmla="*/ 645324 h 797705"/>
              <a:gd name="connsiteX143" fmla="*/ 394378 w 829568"/>
              <a:gd name="connsiteY143" fmla="*/ 652142 h 797705"/>
              <a:gd name="connsiteX144" fmla="*/ 373885 w 829568"/>
              <a:gd name="connsiteY144" fmla="*/ 654415 h 797705"/>
              <a:gd name="connsiteX145" fmla="*/ 353393 w 829568"/>
              <a:gd name="connsiteY145" fmla="*/ 661233 h 797705"/>
              <a:gd name="connsiteX146" fmla="*/ 344285 w 829568"/>
              <a:gd name="connsiteY146" fmla="*/ 683960 h 797705"/>
              <a:gd name="connsiteX147" fmla="*/ 346559 w 829568"/>
              <a:gd name="connsiteY147" fmla="*/ 695305 h 797705"/>
              <a:gd name="connsiteX148" fmla="*/ 346890 w 829568"/>
              <a:gd name="connsiteY148" fmla="*/ 695371 h 797705"/>
              <a:gd name="connsiteX149" fmla="*/ 349169 w 829568"/>
              <a:gd name="connsiteY149" fmla="*/ 697639 h 797705"/>
              <a:gd name="connsiteX150" fmla="*/ 349169 w 829568"/>
              <a:gd name="connsiteY150" fmla="*/ 708981 h 797705"/>
              <a:gd name="connsiteX151" fmla="*/ 349169 w 829568"/>
              <a:gd name="connsiteY151" fmla="*/ 713518 h 797705"/>
              <a:gd name="connsiteX152" fmla="*/ 346890 w 829568"/>
              <a:gd name="connsiteY152" fmla="*/ 724861 h 797705"/>
              <a:gd name="connsiteX153" fmla="*/ 340053 w 829568"/>
              <a:gd name="connsiteY153" fmla="*/ 722592 h 797705"/>
              <a:gd name="connsiteX154" fmla="*/ 317264 w 829568"/>
              <a:gd name="connsiteY154" fmla="*/ 720324 h 797705"/>
              <a:gd name="connsiteX155" fmla="*/ 312706 w 829568"/>
              <a:gd name="connsiteY155" fmla="*/ 718055 h 797705"/>
              <a:gd name="connsiteX156" fmla="*/ 303590 w 829568"/>
              <a:gd name="connsiteY156" fmla="*/ 724861 h 797705"/>
              <a:gd name="connsiteX157" fmla="*/ 294474 w 829568"/>
              <a:gd name="connsiteY157" fmla="*/ 731666 h 797705"/>
              <a:gd name="connsiteX158" fmla="*/ 289916 w 829568"/>
              <a:gd name="connsiteY158" fmla="*/ 738471 h 797705"/>
              <a:gd name="connsiteX159" fmla="*/ 289916 w 829568"/>
              <a:gd name="connsiteY159" fmla="*/ 752082 h 797705"/>
              <a:gd name="connsiteX160" fmla="*/ 280800 w 829568"/>
              <a:gd name="connsiteY160" fmla="*/ 740740 h 797705"/>
              <a:gd name="connsiteX161" fmla="*/ 278521 w 829568"/>
              <a:gd name="connsiteY161" fmla="*/ 738471 h 797705"/>
              <a:gd name="connsiteX162" fmla="*/ 278521 w 829568"/>
              <a:gd name="connsiteY162" fmla="*/ 743008 h 797705"/>
              <a:gd name="connsiteX163" fmla="*/ 276242 w 829568"/>
              <a:gd name="connsiteY163" fmla="*/ 749814 h 797705"/>
              <a:gd name="connsiteX164" fmla="*/ 269405 w 829568"/>
              <a:gd name="connsiteY164" fmla="*/ 761156 h 797705"/>
              <a:gd name="connsiteX165" fmla="*/ 232942 w 829568"/>
              <a:gd name="connsiteY165" fmla="*/ 749814 h 797705"/>
              <a:gd name="connsiteX166" fmla="*/ 230663 w 829568"/>
              <a:gd name="connsiteY166" fmla="*/ 754351 h 797705"/>
              <a:gd name="connsiteX167" fmla="*/ 203316 w 829568"/>
              <a:gd name="connsiteY167" fmla="*/ 754351 h 797705"/>
              <a:gd name="connsiteX168" fmla="*/ 180526 w 829568"/>
              <a:gd name="connsiteY168" fmla="*/ 761156 h 797705"/>
              <a:gd name="connsiteX169" fmla="*/ 169131 w 829568"/>
              <a:gd name="connsiteY169" fmla="*/ 767961 h 797705"/>
              <a:gd name="connsiteX170" fmla="*/ 157736 w 829568"/>
              <a:gd name="connsiteY170" fmla="*/ 783841 h 797705"/>
              <a:gd name="connsiteX171" fmla="*/ 137226 w 829568"/>
              <a:gd name="connsiteY171" fmla="*/ 797451 h 797705"/>
              <a:gd name="connsiteX172" fmla="*/ 128110 w 829568"/>
              <a:gd name="connsiteY172" fmla="*/ 786109 h 797705"/>
              <a:gd name="connsiteX173" fmla="*/ 121273 w 829568"/>
              <a:gd name="connsiteY173" fmla="*/ 792914 h 797705"/>
              <a:gd name="connsiteX174" fmla="*/ 93925 w 829568"/>
              <a:gd name="connsiteY174" fmla="*/ 790646 h 797705"/>
              <a:gd name="connsiteX175" fmla="*/ 68857 w 829568"/>
              <a:gd name="connsiteY175" fmla="*/ 790646 h 797705"/>
              <a:gd name="connsiteX176" fmla="*/ 57462 w 829568"/>
              <a:gd name="connsiteY176" fmla="*/ 792914 h 797705"/>
              <a:gd name="connsiteX177" fmla="*/ 46067 w 829568"/>
              <a:gd name="connsiteY177" fmla="*/ 788377 h 797705"/>
              <a:gd name="connsiteX178" fmla="*/ 25556 w 829568"/>
              <a:gd name="connsiteY178" fmla="*/ 786109 h 797705"/>
              <a:gd name="connsiteX179" fmla="*/ 25556 w 829568"/>
              <a:gd name="connsiteY179" fmla="*/ 783841 h 797705"/>
              <a:gd name="connsiteX180" fmla="*/ 27835 w 829568"/>
              <a:gd name="connsiteY180" fmla="*/ 777035 h 797705"/>
              <a:gd name="connsiteX181" fmla="*/ 25556 w 829568"/>
              <a:gd name="connsiteY181" fmla="*/ 774767 h 797705"/>
              <a:gd name="connsiteX182" fmla="*/ 43788 w 829568"/>
              <a:gd name="connsiteY182" fmla="*/ 770230 h 797705"/>
              <a:gd name="connsiteX183" fmla="*/ 48346 w 829568"/>
              <a:gd name="connsiteY183" fmla="*/ 699908 h 797705"/>
              <a:gd name="connsiteX184" fmla="*/ 5046 w 829568"/>
              <a:gd name="connsiteY184" fmla="*/ 670418 h 797705"/>
              <a:gd name="connsiteX185" fmla="*/ 30114 w 829568"/>
              <a:gd name="connsiteY185" fmla="*/ 615975 h 797705"/>
              <a:gd name="connsiteX186" fmla="*/ 41509 w 829568"/>
              <a:gd name="connsiteY186" fmla="*/ 600095 h 797705"/>
              <a:gd name="connsiteX187" fmla="*/ 34672 w 829568"/>
              <a:gd name="connsiteY187" fmla="*/ 581948 h 797705"/>
              <a:gd name="connsiteX188" fmla="*/ 41509 w 829568"/>
              <a:gd name="connsiteY188" fmla="*/ 554726 h 797705"/>
              <a:gd name="connsiteX189" fmla="*/ 16441 w 829568"/>
              <a:gd name="connsiteY189" fmla="*/ 543384 h 797705"/>
              <a:gd name="connsiteX190" fmla="*/ 34672 w 829568"/>
              <a:gd name="connsiteY190" fmla="*/ 541115 h 797705"/>
              <a:gd name="connsiteX191" fmla="*/ 41498 w 829568"/>
              <a:gd name="connsiteY191" fmla="*/ 541115 h 797705"/>
              <a:gd name="connsiteX192" fmla="*/ 39341 w 829568"/>
              <a:gd name="connsiteY192" fmla="*/ 528176 h 797705"/>
              <a:gd name="connsiteX193" fmla="*/ 86966 w 829568"/>
              <a:gd name="connsiteY193" fmla="*/ 494839 h 797705"/>
              <a:gd name="connsiteX194" fmla="*/ 65409 w 829568"/>
              <a:gd name="connsiteY194" fmla="*/ 464300 h 797705"/>
              <a:gd name="connsiteX195" fmla="*/ 62429 w 829568"/>
              <a:gd name="connsiteY195" fmla="*/ 465726 h 797705"/>
              <a:gd name="connsiteX196" fmla="*/ 62429 w 829568"/>
              <a:gd name="connsiteY196" fmla="*/ 467991 h 797705"/>
              <a:gd name="connsiteX197" fmla="*/ 57874 w 829568"/>
              <a:gd name="connsiteY197" fmla="*/ 470256 h 797705"/>
              <a:gd name="connsiteX198" fmla="*/ 48763 w 829568"/>
              <a:gd name="connsiteY198" fmla="*/ 472522 h 797705"/>
              <a:gd name="connsiteX199" fmla="*/ 35096 w 829568"/>
              <a:gd name="connsiteY199" fmla="*/ 467991 h 797705"/>
              <a:gd name="connsiteX200" fmla="*/ 32818 w 829568"/>
              <a:gd name="connsiteY200" fmla="*/ 449871 h 797705"/>
              <a:gd name="connsiteX201" fmla="*/ 55596 w 829568"/>
              <a:gd name="connsiteY201" fmla="*/ 418160 h 797705"/>
              <a:gd name="connsiteX202" fmla="*/ 55596 w 829568"/>
              <a:gd name="connsiteY202" fmla="*/ 404569 h 797705"/>
              <a:gd name="connsiteX203" fmla="*/ 48763 w 829568"/>
              <a:gd name="connsiteY203" fmla="*/ 372858 h 797705"/>
              <a:gd name="connsiteX204" fmla="*/ 41929 w 829568"/>
              <a:gd name="connsiteY204" fmla="*/ 354737 h 797705"/>
              <a:gd name="connsiteX205" fmla="*/ 41929 w 829568"/>
              <a:gd name="connsiteY205" fmla="*/ 320761 h 797705"/>
              <a:gd name="connsiteX206" fmla="*/ 41929 w 829568"/>
              <a:gd name="connsiteY206" fmla="*/ 300375 h 797705"/>
              <a:gd name="connsiteX207" fmla="*/ 44207 w 829568"/>
              <a:gd name="connsiteY207" fmla="*/ 302640 h 797705"/>
              <a:gd name="connsiteX208" fmla="*/ 57934 w 829568"/>
              <a:gd name="connsiteY208" fmla="*/ 312196 h 797705"/>
              <a:gd name="connsiteX209" fmla="*/ 58242 w 829568"/>
              <a:gd name="connsiteY209" fmla="*/ 311394 h 797705"/>
              <a:gd name="connsiteX210" fmla="*/ 56256 w 829568"/>
              <a:gd name="connsiteY210" fmla="*/ 310012 h 797705"/>
              <a:gd name="connsiteX211" fmla="*/ 44300 w 829568"/>
              <a:gd name="connsiteY211" fmla="*/ 302367 h 797705"/>
              <a:gd name="connsiteX212" fmla="*/ 42022 w 829568"/>
              <a:gd name="connsiteY212" fmla="*/ 300102 h 797705"/>
              <a:gd name="connsiteX213" fmla="*/ 44300 w 829568"/>
              <a:gd name="connsiteY213" fmla="*/ 291042 h 797705"/>
              <a:gd name="connsiteX214" fmla="*/ 78462 w 829568"/>
              <a:gd name="connsiteY214" fmla="*/ 259331 h 797705"/>
              <a:gd name="connsiteX215" fmla="*/ 92126 w 829568"/>
              <a:gd name="connsiteY215" fmla="*/ 232149 h 797705"/>
              <a:gd name="connsiteX216" fmla="*/ 114901 w 829568"/>
              <a:gd name="connsiteY216" fmla="*/ 211764 h 797705"/>
              <a:gd name="connsiteX217" fmla="*/ 108638 w 829568"/>
              <a:gd name="connsiteY217" fmla="*/ 204968 h 797705"/>
              <a:gd name="connsiteX218" fmla="*/ 92261 w 829568"/>
              <a:gd name="connsiteY218" fmla="*/ 198228 h 797705"/>
              <a:gd name="connsiteX219" fmla="*/ 91806 w 829568"/>
              <a:gd name="connsiteY219" fmla="*/ 198355 h 797705"/>
              <a:gd name="connsiteX220" fmla="*/ 84968 w 829568"/>
              <a:gd name="connsiteY220" fmla="*/ 193807 h 797705"/>
              <a:gd name="connsiteX221" fmla="*/ 94086 w 829568"/>
              <a:gd name="connsiteY221" fmla="*/ 155145 h 797705"/>
              <a:gd name="connsiteX222" fmla="*/ 135114 w 829568"/>
              <a:gd name="connsiteY222" fmla="*/ 127854 h 797705"/>
              <a:gd name="connsiteX223" fmla="*/ 160186 w 829568"/>
              <a:gd name="connsiteY223" fmla="*/ 134677 h 797705"/>
              <a:gd name="connsiteX224" fmla="*/ 160186 w 829568"/>
              <a:gd name="connsiteY224" fmla="*/ 109660 h 797705"/>
              <a:gd name="connsiteX225" fmla="*/ 187538 w 829568"/>
              <a:gd name="connsiteY225" fmla="*/ 82369 h 797705"/>
              <a:gd name="connsiteX226" fmla="*/ 187538 w 829568"/>
              <a:gd name="connsiteY226" fmla="*/ 48256 h 797705"/>
              <a:gd name="connsiteX227" fmla="*/ 190103 w 829568"/>
              <a:gd name="connsiteY227"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9073 w 829568"/>
              <a:gd name="connsiteY6" fmla="*/ 565667 h 797705"/>
              <a:gd name="connsiteX7" fmla="*/ 505721 w 829568"/>
              <a:gd name="connsiteY7" fmla="*/ 565667 h 797705"/>
              <a:gd name="connsiteX8" fmla="*/ 561350 w 829568"/>
              <a:gd name="connsiteY8" fmla="*/ 243680 h 797705"/>
              <a:gd name="connsiteX9" fmla="*/ 563631 w 829568"/>
              <a:gd name="connsiteY9" fmla="*/ 245950 h 797705"/>
              <a:gd name="connsiteX10" fmla="*/ 563632 w 829568"/>
              <a:gd name="connsiteY10" fmla="*/ 245962 h 797705"/>
              <a:gd name="connsiteX11" fmla="*/ 561350 w 829568"/>
              <a:gd name="connsiteY11" fmla="*/ 243680 h 797705"/>
              <a:gd name="connsiteX12" fmla="*/ 190103 w 829568"/>
              <a:gd name="connsiteY12" fmla="*/ 284 h 797705"/>
              <a:gd name="connsiteX13" fmla="*/ 208052 w 829568"/>
              <a:gd name="connsiteY13" fmla="*/ 7319 h 797705"/>
              <a:gd name="connsiteX14" fmla="*/ 244522 w 829568"/>
              <a:gd name="connsiteY14" fmla="*/ 16416 h 797705"/>
              <a:gd name="connsiteX15" fmla="*/ 269594 w 829568"/>
              <a:gd name="connsiteY15" fmla="*/ 36884 h 797705"/>
              <a:gd name="connsiteX16" fmla="*/ 303784 w 829568"/>
              <a:gd name="connsiteY16" fmla="*/ 59627 h 797705"/>
              <a:gd name="connsiteX17" fmla="*/ 317460 w 829568"/>
              <a:gd name="connsiteY17" fmla="*/ 89192 h 797705"/>
              <a:gd name="connsiteX18" fmla="*/ 353930 w 829568"/>
              <a:gd name="connsiteY18" fmla="*/ 73272 h 797705"/>
              <a:gd name="connsiteX19" fmla="*/ 399516 w 829568"/>
              <a:gd name="connsiteY19" fmla="*/ 82369 h 797705"/>
              <a:gd name="connsiteX20" fmla="*/ 417751 w 829568"/>
              <a:gd name="connsiteY20" fmla="*/ 77821 h 797705"/>
              <a:gd name="connsiteX21" fmla="*/ 438265 w 829568"/>
              <a:gd name="connsiteY21" fmla="*/ 64175 h 797705"/>
              <a:gd name="connsiteX22" fmla="*/ 472455 w 829568"/>
              <a:gd name="connsiteY22" fmla="*/ 73272 h 797705"/>
              <a:gd name="connsiteX23" fmla="*/ 486131 w 829568"/>
              <a:gd name="connsiteY23" fmla="*/ 82369 h 797705"/>
              <a:gd name="connsiteX24" fmla="*/ 490690 w 829568"/>
              <a:gd name="connsiteY24" fmla="*/ 132402 h 797705"/>
              <a:gd name="connsiteX25" fmla="*/ 495248 w 829568"/>
              <a:gd name="connsiteY25" fmla="*/ 196081 h 797705"/>
              <a:gd name="connsiteX26" fmla="*/ 495248 w 829568"/>
              <a:gd name="connsiteY26" fmla="*/ 214275 h 797705"/>
              <a:gd name="connsiteX27" fmla="*/ 495067 w 829568"/>
              <a:gd name="connsiteY27" fmla="*/ 214233 h 797705"/>
              <a:gd name="connsiteX28" fmla="*/ 497146 w 829568"/>
              <a:gd name="connsiteY28" fmla="*/ 220449 h 797705"/>
              <a:gd name="connsiteX29" fmla="*/ 508530 w 829568"/>
              <a:gd name="connsiteY29" fmla="*/ 224986 h 797705"/>
              <a:gd name="connsiteX30" fmla="*/ 524467 w 829568"/>
              <a:gd name="connsiteY30" fmla="*/ 238598 h 797705"/>
              <a:gd name="connsiteX31" fmla="*/ 556340 w 829568"/>
              <a:gd name="connsiteY31" fmla="*/ 234060 h 797705"/>
              <a:gd name="connsiteX32" fmla="*/ 560894 w 829568"/>
              <a:gd name="connsiteY32" fmla="*/ 243135 h 797705"/>
              <a:gd name="connsiteX33" fmla="*/ 563170 w 829568"/>
              <a:gd name="connsiteY33" fmla="*/ 247672 h 797705"/>
              <a:gd name="connsiteX34" fmla="*/ 563684 w 829568"/>
              <a:gd name="connsiteY34" fmla="*/ 246583 h 797705"/>
              <a:gd name="connsiteX35" fmla="*/ 570440 w 829568"/>
              <a:gd name="connsiteY35" fmla="*/ 254988 h 797705"/>
              <a:gd name="connsiteX36" fmla="*/ 570445 w 829568"/>
              <a:gd name="connsiteY36" fmla="*/ 254942 h 797705"/>
              <a:gd name="connsiteX37" fmla="*/ 574113 w 829568"/>
              <a:gd name="connsiteY37" fmla="*/ 256872 h 797705"/>
              <a:gd name="connsiteX38" fmla="*/ 567290 w 829568"/>
              <a:gd name="connsiteY38" fmla="*/ 250109 h 797705"/>
              <a:gd name="connsiteX39" fmla="*/ 563684 w 829568"/>
              <a:gd name="connsiteY39" fmla="*/ 246583 h 797705"/>
              <a:gd name="connsiteX40" fmla="*/ 574458 w 829568"/>
              <a:gd name="connsiteY40" fmla="*/ 256788 h 797705"/>
              <a:gd name="connsiteX41" fmla="*/ 583230 w 829568"/>
              <a:gd name="connsiteY41" fmla="*/ 254659 h 797705"/>
              <a:gd name="connsiteX42" fmla="*/ 595448 w 829568"/>
              <a:gd name="connsiteY42" fmla="*/ 250406 h 797705"/>
              <a:gd name="connsiteX43" fmla="*/ 624997 w 829568"/>
              <a:gd name="connsiteY43" fmla="*/ 282159 h 797705"/>
              <a:gd name="connsiteX44" fmla="*/ 637214 w 829568"/>
              <a:gd name="connsiteY44" fmla="*/ 311928 h 797705"/>
              <a:gd name="connsiteX45" fmla="*/ 636731 w 829568"/>
              <a:gd name="connsiteY45" fmla="*/ 319061 h 797705"/>
              <a:gd name="connsiteX46" fmla="*/ 636185 w 829568"/>
              <a:gd name="connsiteY46" fmla="*/ 327131 h 797705"/>
              <a:gd name="connsiteX47" fmla="*/ 640908 w 829568"/>
              <a:gd name="connsiteY47" fmla="*/ 343397 h 797705"/>
              <a:gd name="connsiteX48" fmla="*/ 656819 w 829568"/>
              <a:gd name="connsiteY48" fmla="*/ 329788 h 797705"/>
              <a:gd name="connsiteX49" fmla="*/ 672730 w 829568"/>
              <a:gd name="connsiteY49" fmla="*/ 347933 h 797705"/>
              <a:gd name="connsiteX50" fmla="*/ 679549 w 829568"/>
              <a:gd name="connsiteY50" fmla="*/ 366077 h 797705"/>
              <a:gd name="connsiteX51" fmla="*/ 686368 w 829568"/>
              <a:gd name="connsiteY51" fmla="*/ 418243 h 797705"/>
              <a:gd name="connsiteX52" fmla="*/ 736375 w 829568"/>
              <a:gd name="connsiteY52" fmla="*/ 413707 h 797705"/>
              <a:gd name="connsiteX53" fmla="*/ 756832 w 829568"/>
              <a:gd name="connsiteY53" fmla="*/ 420511 h 797705"/>
              <a:gd name="connsiteX54" fmla="*/ 765924 w 829568"/>
              <a:gd name="connsiteY54" fmla="*/ 406903 h 797705"/>
              <a:gd name="connsiteX55" fmla="*/ 829568 w 829568"/>
              <a:gd name="connsiteY55" fmla="*/ 397830 h 797705"/>
              <a:gd name="connsiteX56" fmla="*/ 829568 w 829568"/>
              <a:gd name="connsiteY56" fmla="*/ 413707 h 797705"/>
              <a:gd name="connsiteX57" fmla="*/ 827295 w 829568"/>
              <a:gd name="connsiteY57" fmla="*/ 422779 h 797705"/>
              <a:gd name="connsiteX58" fmla="*/ 822749 w 829568"/>
              <a:gd name="connsiteY58" fmla="*/ 427315 h 797705"/>
              <a:gd name="connsiteX59" fmla="*/ 815930 w 829568"/>
              <a:gd name="connsiteY59" fmla="*/ 427315 h 797705"/>
              <a:gd name="connsiteX60" fmla="*/ 809111 w 829568"/>
              <a:gd name="connsiteY60" fmla="*/ 443192 h 797705"/>
              <a:gd name="connsiteX61" fmla="*/ 802292 w 829568"/>
              <a:gd name="connsiteY61" fmla="*/ 452264 h 797705"/>
              <a:gd name="connsiteX62" fmla="*/ 800019 w 829568"/>
              <a:gd name="connsiteY62" fmla="*/ 459068 h 797705"/>
              <a:gd name="connsiteX63" fmla="*/ 800019 w 829568"/>
              <a:gd name="connsiteY63" fmla="*/ 470408 h 797705"/>
              <a:gd name="connsiteX64" fmla="*/ 800019 w 829568"/>
              <a:gd name="connsiteY64" fmla="*/ 481749 h 797705"/>
              <a:gd name="connsiteX65" fmla="*/ 784108 w 829568"/>
              <a:gd name="connsiteY65" fmla="*/ 477212 h 797705"/>
              <a:gd name="connsiteX66" fmla="*/ 777289 w 829568"/>
              <a:gd name="connsiteY66" fmla="*/ 477212 h 797705"/>
              <a:gd name="connsiteX67" fmla="*/ 770470 w 829568"/>
              <a:gd name="connsiteY67" fmla="*/ 481749 h 797705"/>
              <a:gd name="connsiteX68" fmla="*/ 768197 w 829568"/>
              <a:gd name="connsiteY68" fmla="*/ 488553 h 797705"/>
              <a:gd name="connsiteX69" fmla="*/ 750013 w 829568"/>
              <a:gd name="connsiteY69" fmla="*/ 497625 h 797705"/>
              <a:gd name="connsiteX70" fmla="*/ 745467 w 829568"/>
              <a:gd name="connsiteY70" fmla="*/ 490821 h 797705"/>
              <a:gd name="connsiteX71" fmla="*/ 740921 w 829568"/>
              <a:gd name="connsiteY71" fmla="*/ 493089 h 797705"/>
              <a:gd name="connsiteX72" fmla="*/ 738648 w 829568"/>
              <a:gd name="connsiteY72" fmla="*/ 499893 h 797705"/>
              <a:gd name="connsiteX73" fmla="*/ 738648 w 829568"/>
              <a:gd name="connsiteY73" fmla="*/ 502161 h 797705"/>
              <a:gd name="connsiteX74" fmla="*/ 725010 w 829568"/>
              <a:gd name="connsiteY74" fmla="*/ 504429 h 797705"/>
              <a:gd name="connsiteX75" fmla="*/ 715918 w 829568"/>
              <a:gd name="connsiteY75" fmla="*/ 508965 h 797705"/>
              <a:gd name="connsiteX76" fmla="*/ 715918 w 829568"/>
              <a:gd name="connsiteY76" fmla="*/ 520306 h 797705"/>
              <a:gd name="connsiteX77" fmla="*/ 713645 w 829568"/>
              <a:gd name="connsiteY77" fmla="*/ 522574 h 797705"/>
              <a:gd name="connsiteX78" fmla="*/ 693188 w 829568"/>
              <a:gd name="connsiteY78" fmla="*/ 527110 h 797705"/>
              <a:gd name="connsiteX79" fmla="*/ 677276 w 829568"/>
              <a:gd name="connsiteY79" fmla="*/ 531646 h 797705"/>
              <a:gd name="connsiteX80" fmla="*/ 668184 w 829568"/>
              <a:gd name="connsiteY80" fmla="*/ 527110 h 797705"/>
              <a:gd name="connsiteX81" fmla="*/ 665911 w 829568"/>
              <a:gd name="connsiteY81" fmla="*/ 529378 h 797705"/>
              <a:gd name="connsiteX82" fmla="*/ 665911 w 829568"/>
              <a:gd name="connsiteY82" fmla="*/ 538450 h 797705"/>
              <a:gd name="connsiteX83" fmla="*/ 659092 w 829568"/>
              <a:gd name="connsiteY83" fmla="*/ 540718 h 797705"/>
              <a:gd name="connsiteX84" fmla="*/ 659092 w 829568"/>
              <a:gd name="connsiteY84" fmla="*/ 545254 h 797705"/>
              <a:gd name="connsiteX85" fmla="*/ 659092 w 829568"/>
              <a:gd name="connsiteY85" fmla="*/ 556595 h 797705"/>
              <a:gd name="connsiteX86" fmla="*/ 656819 w 829568"/>
              <a:gd name="connsiteY86" fmla="*/ 561131 h 797705"/>
              <a:gd name="connsiteX87" fmla="*/ 652273 w 829568"/>
              <a:gd name="connsiteY87" fmla="*/ 561131 h 797705"/>
              <a:gd name="connsiteX88" fmla="*/ 650000 w 829568"/>
              <a:gd name="connsiteY88" fmla="*/ 561131 h 797705"/>
              <a:gd name="connsiteX89" fmla="*/ 618178 w 829568"/>
              <a:gd name="connsiteY89" fmla="*/ 552058 h 797705"/>
              <a:gd name="connsiteX90" fmla="*/ 618178 w 829568"/>
              <a:gd name="connsiteY90" fmla="*/ 549790 h 797705"/>
              <a:gd name="connsiteX91" fmla="*/ 609086 w 829568"/>
              <a:gd name="connsiteY91" fmla="*/ 542986 h 797705"/>
              <a:gd name="connsiteX92" fmla="*/ 599994 w 829568"/>
              <a:gd name="connsiteY92" fmla="*/ 547522 h 797705"/>
              <a:gd name="connsiteX93" fmla="*/ 590902 w 829568"/>
              <a:gd name="connsiteY93" fmla="*/ 554327 h 797705"/>
              <a:gd name="connsiteX94" fmla="*/ 579537 w 829568"/>
              <a:gd name="connsiteY94" fmla="*/ 563399 h 797705"/>
              <a:gd name="connsiteX95" fmla="*/ 574991 w 829568"/>
              <a:gd name="connsiteY95" fmla="*/ 556595 h 797705"/>
              <a:gd name="connsiteX96" fmla="*/ 570445 w 829568"/>
              <a:gd name="connsiteY96" fmla="*/ 558863 h 797705"/>
              <a:gd name="connsiteX97" fmla="*/ 568172 w 829568"/>
              <a:gd name="connsiteY97" fmla="*/ 563399 h 797705"/>
              <a:gd name="connsiteX98" fmla="*/ 568172 w 829568"/>
              <a:gd name="connsiteY98" fmla="*/ 565667 h 797705"/>
              <a:gd name="connsiteX99" fmla="*/ 568172 w 829568"/>
              <a:gd name="connsiteY99" fmla="*/ 570203 h 797705"/>
              <a:gd name="connsiteX100" fmla="*/ 565899 w 829568"/>
              <a:gd name="connsiteY100" fmla="*/ 572471 h 797705"/>
              <a:gd name="connsiteX101" fmla="*/ 565899 w 829568"/>
              <a:gd name="connsiteY101" fmla="*/ 574739 h 797705"/>
              <a:gd name="connsiteX102" fmla="*/ 581810 w 829568"/>
              <a:gd name="connsiteY102" fmla="*/ 581543 h 797705"/>
              <a:gd name="connsiteX103" fmla="*/ 586356 w 829568"/>
              <a:gd name="connsiteY103" fmla="*/ 586079 h 797705"/>
              <a:gd name="connsiteX104" fmla="*/ 590902 w 829568"/>
              <a:gd name="connsiteY104" fmla="*/ 579275 h 797705"/>
              <a:gd name="connsiteX105" fmla="*/ 597721 w 829568"/>
              <a:gd name="connsiteY105" fmla="*/ 583811 h 797705"/>
              <a:gd name="connsiteX106" fmla="*/ 599994 w 829568"/>
              <a:gd name="connsiteY106" fmla="*/ 579275 h 797705"/>
              <a:gd name="connsiteX107" fmla="*/ 606813 w 829568"/>
              <a:gd name="connsiteY107" fmla="*/ 588347 h 797705"/>
              <a:gd name="connsiteX108" fmla="*/ 606813 w 829568"/>
              <a:gd name="connsiteY108" fmla="*/ 590616 h 797705"/>
              <a:gd name="connsiteX109" fmla="*/ 602267 w 829568"/>
              <a:gd name="connsiteY109" fmla="*/ 601956 h 797705"/>
              <a:gd name="connsiteX110" fmla="*/ 604540 w 829568"/>
              <a:gd name="connsiteY110" fmla="*/ 606492 h 797705"/>
              <a:gd name="connsiteX111" fmla="*/ 609086 w 829568"/>
              <a:gd name="connsiteY111" fmla="*/ 611028 h 797705"/>
              <a:gd name="connsiteX112" fmla="*/ 606813 w 829568"/>
              <a:gd name="connsiteY112" fmla="*/ 613296 h 797705"/>
              <a:gd name="connsiteX113" fmla="*/ 588629 w 829568"/>
              <a:gd name="connsiteY113" fmla="*/ 613296 h 797705"/>
              <a:gd name="connsiteX114" fmla="*/ 572718 w 829568"/>
              <a:gd name="connsiteY114" fmla="*/ 597420 h 797705"/>
              <a:gd name="connsiteX115" fmla="*/ 568172 w 829568"/>
              <a:gd name="connsiteY115" fmla="*/ 606492 h 797705"/>
              <a:gd name="connsiteX116" fmla="*/ 561353 w 829568"/>
              <a:gd name="connsiteY116" fmla="*/ 597420 h 797705"/>
              <a:gd name="connsiteX117" fmla="*/ 556807 w 829568"/>
              <a:gd name="connsiteY117" fmla="*/ 592884 h 797705"/>
              <a:gd name="connsiteX118" fmla="*/ 540896 w 829568"/>
              <a:gd name="connsiteY118" fmla="*/ 570203 h 797705"/>
              <a:gd name="connsiteX119" fmla="*/ 529530 w 829568"/>
              <a:gd name="connsiteY119" fmla="*/ 565667 h 797705"/>
              <a:gd name="connsiteX120" fmla="*/ 518165 w 829568"/>
              <a:gd name="connsiteY120" fmla="*/ 572471 h 797705"/>
              <a:gd name="connsiteX121" fmla="*/ 509073 w 829568"/>
              <a:gd name="connsiteY121" fmla="*/ 577007 h 797705"/>
              <a:gd name="connsiteX122" fmla="*/ 506800 w 829568"/>
              <a:gd name="connsiteY122" fmla="*/ 574739 h 797705"/>
              <a:gd name="connsiteX123" fmla="*/ 504527 w 829568"/>
              <a:gd name="connsiteY123" fmla="*/ 574739 h 797705"/>
              <a:gd name="connsiteX124" fmla="*/ 504527 w 829568"/>
              <a:gd name="connsiteY124" fmla="*/ 570324 h 797705"/>
              <a:gd name="connsiteX125" fmla="*/ 503669 w 829568"/>
              <a:gd name="connsiteY125" fmla="*/ 570324 h 797705"/>
              <a:gd name="connsiteX126" fmla="*/ 503669 w 829568"/>
              <a:gd name="connsiteY126" fmla="*/ 574870 h 797705"/>
              <a:gd name="connsiteX127" fmla="*/ 505946 w 829568"/>
              <a:gd name="connsiteY127" fmla="*/ 577143 h 797705"/>
              <a:gd name="connsiteX128" fmla="*/ 505946 w 829568"/>
              <a:gd name="connsiteY128" fmla="*/ 579415 h 797705"/>
              <a:gd name="connsiteX129" fmla="*/ 505946 w 829568"/>
              <a:gd name="connsiteY129" fmla="*/ 581688 h 797705"/>
              <a:gd name="connsiteX130" fmla="*/ 496839 w 829568"/>
              <a:gd name="connsiteY130" fmla="*/ 590779 h 797705"/>
              <a:gd name="connsiteX131" fmla="*/ 496839 w 829568"/>
              <a:gd name="connsiteY131" fmla="*/ 595324 h 797705"/>
              <a:gd name="connsiteX132" fmla="*/ 501392 w 829568"/>
              <a:gd name="connsiteY132" fmla="*/ 599870 h 797705"/>
              <a:gd name="connsiteX133" fmla="*/ 510500 w 829568"/>
              <a:gd name="connsiteY133" fmla="*/ 608960 h 797705"/>
              <a:gd name="connsiteX134" fmla="*/ 508223 w 829568"/>
              <a:gd name="connsiteY134" fmla="*/ 613506 h 797705"/>
              <a:gd name="connsiteX135" fmla="*/ 508223 w 829568"/>
              <a:gd name="connsiteY135" fmla="*/ 618051 h 797705"/>
              <a:gd name="connsiteX136" fmla="*/ 490008 w 829568"/>
              <a:gd name="connsiteY136" fmla="*/ 640778 h 797705"/>
              <a:gd name="connsiteX137" fmla="*/ 464962 w 829568"/>
              <a:gd name="connsiteY137" fmla="*/ 631687 h 797705"/>
              <a:gd name="connsiteX138" fmla="*/ 451300 w 829568"/>
              <a:gd name="connsiteY138" fmla="*/ 624869 h 797705"/>
              <a:gd name="connsiteX139" fmla="*/ 423977 w 829568"/>
              <a:gd name="connsiteY139" fmla="*/ 638506 h 797705"/>
              <a:gd name="connsiteX140" fmla="*/ 414870 w 829568"/>
              <a:gd name="connsiteY140" fmla="*/ 643051 h 797705"/>
              <a:gd name="connsiteX141" fmla="*/ 398931 w 829568"/>
              <a:gd name="connsiteY141" fmla="*/ 645324 h 797705"/>
              <a:gd name="connsiteX142" fmla="*/ 394378 w 829568"/>
              <a:gd name="connsiteY142" fmla="*/ 652142 h 797705"/>
              <a:gd name="connsiteX143" fmla="*/ 373885 w 829568"/>
              <a:gd name="connsiteY143" fmla="*/ 654415 h 797705"/>
              <a:gd name="connsiteX144" fmla="*/ 353393 w 829568"/>
              <a:gd name="connsiteY144" fmla="*/ 661233 h 797705"/>
              <a:gd name="connsiteX145" fmla="*/ 344285 w 829568"/>
              <a:gd name="connsiteY145" fmla="*/ 683960 h 797705"/>
              <a:gd name="connsiteX146" fmla="*/ 346559 w 829568"/>
              <a:gd name="connsiteY146" fmla="*/ 695305 h 797705"/>
              <a:gd name="connsiteX147" fmla="*/ 346890 w 829568"/>
              <a:gd name="connsiteY147" fmla="*/ 695371 h 797705"/>
              <a:gd name="connsiteX148" fmla="*/ 349169 w 829568"/>
              <a:gd name="connsiteY148" fmla="*/ 697639 h 797705"/>
              <a:gd name="connsiteX149" fmla="*/ 349169 w 829568"/>
              <a:gd name="connsiteY149" fmla="*/ 708981 h 797705"/>
              <a:gd name="connsiteX150" fmla="*/ 349169 w 829568"/>
              <a:gd name="connsiteY150" fmla="*/ 713518 h 797705"/>
              <a:gd name="connsiteX151" fmla="*/ 346890 w 829568"/>
              <a:gd name="connsiteY151" fmla="*/ 724861 h 797705"/>
              <a:gd name="connsiteX152" fmla="*/ 340053 w 829568"/>
              <a:gd name="connsiteY152" fmla="*/ 722592 h 797705"/>
              <a:gd name="connsiteX153" fmla="*/ 317264 w 829568"/>
              <a:gd name="connsiteY153" fmla="*/ 720324 h 797705"/>
              <a:gd name="connsiteX154" fmla="*/ 312706 w 829568"/>
              <a:gd name="connsiteY154" fmla="*/ 718055 h 797705"/>
              <a:gd name="connsiteX155" fmla="*/ 303590 w 829568"/>
              <a:gd name="connsiteY155" fmla="*/ 724861 h 797705"/>
              <a:gd name="connsiteX156" fmla="*/ 294474 w 829568"/>
              <a:gd name="connsiteY156" fmla="*/ 731666 h 797705"/>
              <a:gd name="connsiteX157" fmla="*/ 289916 w 829568"/>
              <a:gd name="connsiteY157" fmla="*/ 738471 h 797705"/>
              <a:gd name="connsiteX158" fmla="*/ 289916 w 829568"/>
              <a:gd name="connsiteY158" fmla="*/ 752082 h 797705"/>
              <a:gd name="connsiteX159" fmla="*/ 280800 w 829568"/>
              <a:gd name="connsiteY159" fmla="*/ 740740 h 797705"/>
              <a:gd name="connsiteX160" fmla="*/ 278521 w 829568"/>
              <a:gd name="connsiteY160" fmla="*/ 738471 h 797705"/>
              <a:gd name="connsiteX161" fmla="*/ 278521 w 829568"/>
              <a:gd name="connsiteY161" fmla="*/ 743008 h 797705"/>
              <a:gd name="connsiteX162" fmla="*/ 276242 w 829568"/>
              <a:gd name="connsiteY162" fmla="*/ 749814 h 797705"/>
              <a:gd name="connsiteX163" fmla="*/ 269405 w 829568"/>
              <a:gd name="connsiteY163" fmla="*/ 761156 h 797705"/>
              <a:gd name="connsiteX164" fmla="*/ 232942 w 829568"/>
              <a:gd name="connsiteY164" fmla="*/ 749814 h 797705"/>
              <a:gd name="connsiteX165" fmla="*/ 230663 w 829568"/>
              <a:gd name="connsiteY165" fmla="*/ 754351 h 797705"/>
              <a:gd name="connsiteX166" fmla="*/ 203316 w 829568"/>
              <a:gd name="connsiteY166" fmla="*/ 754351 h 797705"/>
              <a:gd name="connsiteX167" fmla="*/ 180526 w 829568"/>
              <a:gd name="connsiteY167" fmla="*/ 761156 h 797705"/>
              <a:gd name="connsiteX168" fmla="*/ 169131 w 829568"/>
              <a:gd name="connsiteY168" fmla="*/ 767961 h 797705"/>
              <a:gd name="connsiteX169" fmla="*/ 157736 w 829568"/>
              <a:gd name="connsiteY169" fmla="*/ 783841 h 797705"/>
              <a:gd name="connsiteX170" fmla="*/ 137226 w 829568"/>
              <a:gd name="connsiteY170" fmla="*/ 797451 h 797705"/>
              <a:gd name="connsiteX171" fmla="*/ 128110 w 829568"/>
              <a:gd name="connsiteY171" fmla="*/ 786109 h 797705"/>
              <a:gd name="connsiteX172" fmla="*/ 121273 w 829568"/>
              <a:gd name="connsiteY172" fmla="*/ 792914 h 797705"/>
              <a:gd name="connsiteX173" fmla="*/ 93925 w 829568"/>
              <a:gd name="connsiteY173" fmla="*/ 790646 h 797705"/>
              <a:gd name="connsiteX174" fmla="*/ 68857 w 829568"/>
              <a:gd name="connsiteY174" fmla="*/ 790646 h 797705"/>
              <a:gd name="connsiteX175" fmla="*/ 57462 w 829568"/>
              <a:gd name="connsiteY175" fmla="*/ 792914 h 797705"/>
              <a:gd name="connsiteX176" fmla="*/ 46067 w 829568"/>
              <a:gd name="connsiteY176" fmla="*/ 788377 h 797705"/>
              <a:gd name="connsiteX177" fmla="*/ 25556 w 829568"/>
              <a:gd name="connsiteY177" fmla="*/ 786109 h 797705"/>
              <a:gd name="connsiteX178" fmla="*/ 25556 w 829568"/>
              <a:gd name="connsiteY178" fmla="*/ 783841 h 797705"/>
              <a:gd name="connsiteX179" fmla="*/ 27835 w 829568"/>
              <a:gd name="connsiteY179" fmla="*/ 777035 h 797705"/>
              <a:gd name="connsiteX180" fmla="*/ 25556 w 829568"/>
              <a:gd name="connsiteY180" fmla="*/ 774767 h 797705"/>
              <a:gd name="connsiteX181" fmla="*/ 43788 w 829568"/>
              <a:gd name="connsiteY181" fmla="*/ 770230 h 797705"/>
              <a:gd name="connsiteX182" fmla="*/ 48346 w 829568"/>
              <a:gd name="connsiteY182" fmla="*/ 699908 h 797705"/>
              <a:gd name="connsiteX183" fmla="*/ 5046 w 829568"/>
              <a:gd name="connsiteY183" fmla="*/ 670418 h 797705"/>
              <a:gd name="connsiteX184" fmla="*/ 30114 w 829568"/>
              <a:gd name="connsiteY184" fmla="*/ 615975 h 797705"/>
              <a:gd name="connsiteX185" fmla="*/ 41509 w 829568"/>
              <a:gd name="connsiteY185" fmla="*/ 600095 h 797705"/>
              <a:gd name="connsiteX186" fmla="*/ 34672 w 829568"/>
              <a:gd name="connsiteY186" fmla="*/ 581948 h 797705"/>
              <a:gd name="connsiteX187" fmla="*/ 41509 w 829568"/>
              <a:gd name="connsiteY187" fmla="*/ 554726 h 797705"/>
              <a:gd name="connsiteX188" fmla="*/ 16441 w 829568"/>
              <a:gd name="connsiteY188" fmla="*/ 543384 h 797705"/>
              <a:gd name="connsiteX189" fmla="*/ 34672 w 829568"/>
              <a:gd name="connsiteY189" fmla="*/ 541115 h 797705"/>
              <a:gd name="connsiteX190" fmla="*/ 41498 w 829568"/>
              <a:gd name="connsiteY190" fmla="*/ 541115 h 797705"/>
              <a:gd name="connsiteX191" fmla="*/ 39341 w 829568"/>
              <a:gd name="connsiteY191" fmla="*/ 528176 h 797705"/>
              <a:gd name="connsiteX192" fmla="*/ 86966 w 829568"/>
              <a:gd name="connsiteY192" fmla="*/ 494839 h 797705"/>
              <a:gd name="connsiteX193" fmla="*/ 65409 w 829568"/>
              <a:gd name="connsiteY193" fmla="*/ 464300 h 797705"/>
              <a:gd name="connsiteX194" fmla="*/ 62429 w 829568"/>
              <a:gd name="connsiteY194" fmla="*/ 465726 h 797705"/>
              <a:gd name="connsiteX195" fmla="*/ 62429 w 829568"/>
              <a:gd name="connsiteY195" fmla="*/ 467991 h 797705"/>
              <a:gd name="connsiteX196" fmla="*/ 57874 w 829568"/>
              <a:gd name="connsiteY196" fmla="*/ 470256 h 797705"/>
              <a:gd name="connsiteX197" fmla="*/ 48763 w 829568"/>
              <a:gd name="connsiteY197" fmla="*/ 472522 h 797705"/>
              <a:gd name="connsiteX198" fmla="*/ 35096 w 829568"/>
              <a:gd name="connsiteY198" fmla="*/ 467991 h 797705"/>
              <a:gd name="connsiteX199" fmla="*/ 32818 w 829568"/>
              <a:gd name="connsiteY199" fmla="*/ 449871 h 797705"/>
              <a:gd name="connsiteX200" fmla="*/ 55596 w 829568"/>
              <a:gd name="connsiteY200" fmla="*/ 418160 h 797705"/>
              <a:gd name="connsiteX201" fmla="*/ 55596 w 829568"/>
              <a:gd name="connsiteY201" fmla="*/ 404569 h 797705"/>
              <a:gd name="connsiteX202" fmla="*/ 48763 w 829568"/>
              <a:gd name="connsiteY202" fmla="*/ 372858 h 797705"/>
              <a:gd name="connsiteX203" fmla="*/ 41929 w 829568"/>
              <a:gd name="connsiteY203" fmla="*/ 354737 h 797705"/>
              <a:gd name="connsiteX204" fmla="*/ 41929 w 829568"/>
              <a:gd name="connsiteY204" fmla="*/ 320761 h 797705"/>
              <a:gd name="connsiteX205" fmla="*/ 41929 w 829568"/>
              <a:gd name="connsiteY205" fmla="*/ 300375 h 797705"/>
              <a:gd name="connsiteX206" fmla="*/ 44207 w 829568"/>
              <a:gd name="connsiteY206" fmla="*/ 302640 h 797705"/>
              <a:gd name="connsiteX207" fmla="*/ 57934 w 829568"/>
              <a:gd name="connsiteY207" fmla="*/ 312196 h 797705"/>
              <a:gd name="connsiteX208" fmla="*/ 58242 w 829568"/>
              <a:gd name="connsiteY208" fmla="*/ 311394 h 797705"/>
              <a:gd name="connsiteX209" fmla="*/ 56256 w 829568"/>
              <a:gd name="connsiteY209" fmla="*/ 310012 h 797705"/>
              <a:gd name="connsiteX210" fmla="*/ 44300 w 829568"/>
              <a:gd name="connsiteY210" fmla="*/ 302367 h 797705"/>
              <a:gd name="connsiteX211" fmla="*/ 42022 w 829568"/>
              <a:gd name="connsiteY211" fmla="*/ 300102 h 797705"/>
              <a:gd name="connsiteX212" fmla="*/ 44300 w 829568"/>
              <a:gd name="connsiteY212" fmla="*/ 291042 h 797705"/>
              <a:gd name="connsiteX213" fmla="*/ 78462 w 829568"/>
              <a:gd name="connsiteY213" fmla="*/ 259331 h 797705"/>
              <a:gd name="connsiteX214" fmla="*/ 92126 w 829568"/>
              <a:gd name="connsiteY214" fmla="*/ 232149 h 797705"/>
              <a:gd name="connsiteX215" fmla="*/ 114901 w 829568"/>
              <a:gd name="connsiteY215" fmla="*/ 211764 h 797705"/>
              <a:gd name="connsiteX216" fmla="*/ 108638 w 829568"/>
              <a:gd name="connsiteY216" fmla="*/ 204968 h 797705"/>
              <a:gd name="connsiteX217" fmla="*/ 92261 w 829568"/>
              <a:gd name="connsiteY217" fmla="*/ 198228 h 797705"/>
              <a:gd name="connsiteX218" fmla="*/ 91806 w 829568"/>
              <a:gd name="connsiteY218" fmla="*/ 198355 h 797705"/>
              <a:gd name="connsiteX219" fmla="*/ 84968 w 829568"/>
              <a:gd name="connsiteY219" fmla="*/ 193807 h 797705"/>
              <a:gd name="connsiteX220" fmla="*/ 94086 w 829568"/>
              <a:gd name="connsiteY220" fmla="*/ 155145 h 797705"/>
              <a:gd name="connsiteX221" fmla="*/ 135114 w 829568"/>
              <a:gd name="connsiteY221" fmla="*/ 127854 h 797705"/>
              <a:gd name="connsiteX222" fmla="*/ 160186 w 829568"/>
              <a:gd name="connsiteY222" fmla="*/ 134677 h 797705"/>
              <a:gd name="connsiteX223" fmla="*/ 160186 w 829568"/>
              <a:gd name="connsiteY223" fmla="*/ 109660 h 797705"/>
              <a:gd name="connsiteX224" fmla="*/ 187538 w 829568"/>
              <a:gd name="connsiteY224" fmla="*/ 82369 h 797705"/>
              <a:gd name="connsiteX225" fmla="*/ 187538 w 829568"/>
              <a:gd name="connsiteY225" fmla="*/ 48256 h 797705"/>
              <a:gd name="connsiteX226" fmla="*/ 190103 w 829568"/>
              <a:gd name="connsiteY226"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9073 w 829568"/>
              <a:gd name="connsiteY5" fmla="*/ 567935 h 797705"/>
              <a:gd name="connsiteX6" fmla="*/ 505721 w 829568"/>
              <a:gd name="connsiteY6" fmla="*/ 565667 h 797705"/>
              <a:gd name="connsiteX7" fmla="*/ 561350 w 829568"/>
              <a:gd name="connsiteY7" fmla="*/ 243680 h 797705"/>
              <a:gd name="connsiteX8" fmla="*/ 563631 w 829568"/>
              <a:gd name="connsiteY8" fmla="*/ 245950 h 797705"/>
              <a:gd name="connsiteX9" fmla="*/ 563632 w 829568"/>
              <a:gd name="connsiteY9" fmla="*/ 245962 h 797705"/>
              <a:gd name="connsiteX10" fmla="*/ 561350 w 829568"/>
              <a:gd name="connsiteY10" fmla="*/ 243680 h 797705"/>
              <a:gd name="connsiteX11" fmla="*/ 190103 w 829568"/>
              <a:gd name="connsiteY11" fmla="*/ 284 h 797705"/>
              <a:gd name="connsiteX12" fmla="*/ 208052 w 829568"/>
              <a:gd name="connsiteY12" fmla="*/ 7319 h 797705"/>
              <a:gd name="connsiteX13" fmla="*/ 244522 w 829568"/>
              <a:gd name="connsiteY13" fmla="*/ 16416 h 797705"/>
              <a:gd name="connsiteX14" fmla="*/ 269594 w 829568"/>
              <a:gd name="connsiteY14" fmla="*/ 36884 h 797705"/>
              <a:gd name="connsiteX15" fmla="*/ 303784 w 829568"/>
              <a:gd name="connsiteY15" fmla="*/ 59627 h 797705"/>
              <a:gd name="connsiteX16" fmla="*/ 317460 w 829568"/>
              <a:gd name="connsiteY16" fmla="*/ 89192 h 797705"/>
              <a:gd name="connsiteX17" fmla="*/ 353930 w 829568"/>
              <a:gd name="connsiteY17" fmla="*/ 73272 h 797705"/>
              <a:gd name="connsiteX18" fmla="*/ 399516 w 829568"/>
              <a:gd name="connsiteY18" fmla="*/ 82369 h 797705"/>
              <a:gd name="connsiteX19" fmla="*/ 417751 w 829568"/>
              <a:gd name="connsiteY19" fmla="*/ 77821 h 797705"/>
              <a:gd name="connsiteX20" fmla="*/ 438265 w 829568"/>
              <a:gd name="connsiteY20" fmla="*/ 64175 h 797705"/>
              <a:gd name="connsiteX21" fmla="*/ 472455 w 829568"/>
              <a:gd name="connsiteY21" fmla="*/ 73272 h 797705"/>
              <a:gd name="connsiteX22" fmla="*/ 486131 w 829568"/>
              <a:gd name="connsiteY22" fmla="*/ 82369 h 797705"/>
              <a:gd name="connsiteX23" fmla="*/ 490690 w 829568"/>
              <a:gd name="connsiteY23" fmla="*/ 132402 h 797705"/>
              <a:gd name="connsiteX24" fmla="*/ 495248 w 829568"/>
              <a:gd name="connsiteY24" fmla="*/ 196081 h 797705"/>
              <a:gd name="connsiteX25" fmla="*/ 495248 w 829568"/>
              <a:gd name="connsiteY25" fmla="*/ 214275 h 797705"/>
              <a:gd name="connsiteX26" fmla="*/ 495067 w 829568"/>
              <a:gd name="connsiteY26" fmla="*/ 214233 h 797705"/>
              <a:gd name="connsiteX27" fmla="*/ 497146 w 829568"/>
              <a:gd name="connsiteY27" fmla="*/ 220449 h 797705"/>
              <a:gd name="connsiteX28" fmla="*/ 508530 w 829568"/>
              <a:gd name="connsiteY28" fmla="*/ 224986 h 797705"/>
              <a:gd name="connsiteX29" fmla="*/ 524467 w 829568"/>
              <a:gd name="connsiteY29" fmla="*/ 238598 h 797705"/>
              <a:gd name="connsiteX30" fmla="*/ 556340 w 829568"/>
              <a:gd name="connsiteY30" fmla="*/ 234060 h 797705"/>
              <a:gd name="connsiteX31" fmla="*/ 560894 w 829568"/>
              <a:gd name="connsiteY31" fmla="*/ 243135 h 797705"/>
              <a:gd name="connsiteX32" fmla="*/ 563170 w 829568"/>
              <a:gd name="connsiteY32" fmla="*/ 247672 h 797705"/>
              <a:gd name="connsiteX33" fmla="*/ 563684 w 829568"/>
              <a:gd name="connsiteY33" fmla="*/ 246583 h 797705"/>
              <a:gd name="connsiteX34" fmla="*/ 570440 w 829568"/>
              <a:gd name="connsiteY34" fmla="*/ 254988 h 797705"/>
              <a:gd name="connsiteX35" fmla="*/ 570445 w 829568"/>
              <a:gd name="connsiteY35" fmla="*/ 254942 h 797705"/>
              <a:gd name="connsiteX36" fmla="*/ 574113 w 829568"/>
              <a:gd name="connsiteY36" fmla="*/ 256872 h 797705"/>
              <a:gd name="connsiteX37" fmla="*/ 567290 w 829568"/>
              <a:gd name="connsiteY37" fmla="*/ 250109 h 797705"/>
              <a:gd name="connsiteX38" fmla="*/ 563684 w 829568"/>
              <a:gd name="connsiteY38" fmla="*/ 246583 h 797705"/>
              <a:gd name="connsiteX39" fmla="*/ 574458 w 829568"/>
              <a:gd name="connsiteY39" fmla="*/ 256788 h 797705"/>
              <a:gd name="connsiteX40" fmla="*/ 583230 w 829568"/>
              <a:gd name="connsiteY40" fmla="*/ 254659 h 797705"/>
              <a:gd name="connsiteX41" fmla="*/ 595448 w 829568"/>
              <a:gd name="connsiteY41" fmla="*/ 250406 h 797705"/>
              <a:gd name="connsiteX42" fmla="*/ 624997 w 829568"/>
              <a:gd name="connsiteY42" fmla="*/ 282159 h 797705"/>
              <a:gd name="connsiteX43" fmla="*/ 637214 w 829568"/>
              <a:gd name="connsiteY43" fmla="*/ 311928 h 797705"/>
              <a:gd name="connsiteX44" fmla="*/ 636731 w 829568"/>
              <a:gd name="connsiteY44" fmla="*/ 319061 h 797705"/>
              <a:gd name="connsiteX45" fmla="*/ 636185 w 829568"/>
              <a:gd name="connsiteY45" fmla="*/ 327131 h 797705"/>
              <a:gd name="connsiteX46" fmla="*/ 640908 w 829568"/>
              <a:gd name="connsiteY46" fmla="*/ 343397 h 797705"/>
              <a:gd name="connsiteX47" fmla="*/ 656819 w 829568"/>
              <a:gd name="connsiteY47" fmla="*/ 329788 h 797705"/>
              <a:gd name="connsiteX48" fmla="*/ 672730 w 829568"/>
              <a:gd name="connsiteY48" fmla="*/ 347933 h 797705"/>
              <a:gd name="connsiteX49" fmla="*/ 679549 w 829568"/>
              <a:gd name="connsiteY49" fmla="*/ 366077 h 797705"/>
              <a:gd name="connsiteX50" fmla="*/ 686368 w 829568"/>
              <a:gd name="connsiteY50" fmla="*/ 418243 h 797705"/>
              <a:gd name="connsiteX51" fmla="*/ 736375 w 829568"/>
              <a:gd name="connsiteY51" fmla="*/ 413707 h 797705"/>
              <a:gd name="connsiteX52" fmla="*/ 756832 w 829568"/>
              <a:gd name="connsiteY52" fmla="*/ 420511 h 797705"/>
              <a:gd name="connsiteX53" fmla="*/ 765924 w 829568"/>
              <a:gd name="connsiteY53" fmla="*/ 406903 h 797705"/>
              <a:gd name="connsiteX54" fmla="*/ 829568 w 829568"/>
              <a:gd name="connsiteY54" fmla="*/ 397830 h 797705"/>
              <a:gd name="connsiteX55" fmla="*/ 829568 w 829568"/>
              <a:gd name="connsiteY55" fmla="*/ 413707 h 797705"/>
              <a:gd name="connsiteX56" fmla="*/ 827295 w 829568"/>
              <a:gd name="connsiteY56" fmla="*/ 422779 h 797705"/>
              <a:gd name="connsiteX57" fmla="*/ 822749 w 829568"/>
              <a:gd name="connsiteY57" fmla="*/ 427315 h 797705"/>
              <a:gd name="connsiteX58" fmla="*/ 815930 w 829568"/>
              <a:gd name="connsiteY58" fmla="*/ 427315 h 797705"/>
              <a:gd name="connsiteX59" fmla="*/ 809111 w 829568"/>
              <a:gd name="connsiteY59" fmla="*/ 443192 h 797705"/>
              <a:gd name="connsiteX60" fmla="*/ 802292 w 829568"/>
              <a:gd name="connsiteY60" fmla="*/ 452264 h 797705"/>
              <a:gd name="connsiteX61" fmla="*/ 800019 w 829568"/>
              <a:gd name="connsiteY61" fmla="*/ 459068 h 797705"/>
              <a:gd name="connsiteX62" fmla="*/ 800019 w 829568"/>
              <a:gd name="connsiteY62" fmla="*/ 470408 h 797705"/>
              <a:gd name="connsiteX63" fmla="*/ 800019 w 829568"/>
              <a:gd name="connsiteY63" fmla="*/ 481749 h 797705"/>
              <a:gd name="connsiteX64" fmla="*/ 784108 w 829568"/>
              <a:gd name="connsiteY64" fmla="*/ 477212 h 797705"/>
              <a:gd name="connsiteX65" fmla="*/ 777289 w 829568"/>
              <a:gd name="connsiteY65" fmla="*/ 477212 h 797705"/>
              <a:gd name="connsiteX66" fmla="*/ 770470 w 829568"/>
              <a:gd name="connsiteY66" fmla="*/ 481749 h 797705"/>
              <a:gd name="connsiteX67" fmla="*/ 768197 w 829568"/>
              <a:gd name="connsiteY67" fmla="*/ 488553 h 797705"/>
              <a:gd name="connsiteX68" fmla="*/ 750013 w 829568"/>
              <a:gd name="connsiteY68" fmla="*/ 497625 h 797705"/>
              <a:gd name="connsiteX69" fmla="*/ 745467 w 829568"/>
              <a:gd name="connsiteY69" fmla="*/ 490821 h 797705"/>
              <a:gd name="connsiteX70" fmla="*/ 740921 w 829568"/>
              <a:gd name="connsiteY70" fmla="*/ 493089 h 797705"/>
              <a:gd name="connsiteX71" fmla="*/ 738648 w 829568"/>
              <a:gd name="connsiteY71" fmla="*/ 499893 h 797705"/>
              <a:gd name="connsiteX72" fmla="*/ 738648 w 829568"/>
              <a:gd name="connsiteY72" fmla="*/ 502161 h 797705"/>
              <a:gd name="connsiteX73" fmla="*/ 725010 w 829568"/>
              <a:gd name="connsiteY73" fmla="*/ 504429 h 797705"/>
              <a:gd name="connsiteX74" fmla="*/ 715918 w 829568"/>
              <a:gd name="connsiteY74" fmla="*/ 508965 h 797705"/>
              <a:gd name="connsiteX75" fmla="*/ 715918 w 829568"/>
              <a:gd name="connsiteY75" fmla="*/ 520306 h 797705"/>
              <a:gd name="connsiteX76" fmla="*/ 713645 w 829568"/>
              <a:gd name="connsiteY76" fmla="*/ 522574 h 797705"/>
              <a:gd name="connsiteX77" fmla="*/ 693188 w 829568"/>
              <a:gd name="connsiteY77" fmla="*/ 527110 h 797705"/>
              <a:gd name="connsiteX78" fmla="*/ 677276 w 829568"/>
              <a:gd name="connsiteY78" fmla="*/ 531646 h 797705"/>
              <a:gd name="connsiteX79" fmla="*/ 668184 w 829568"/>
              <a:gd name="connsiteY79" fmla="*/ 527110 h 797705"/>
              <a:gd name="connsiteX80" fmla="*/ 665911 w 829568"/>
              <a:gd name="connsiteY80" fmla="*/ 529378 h 797705"/>
              <a:gd name="connsiteX81" fmla="*/ 665911 w 829568"/>
              <a:gd name="connsiteY81" fmla="*/ 538450 h 797705"/>
              <a:gd name="connsiteX82" fmla="*/ 659092 w 829568"/>
              <a:gd name="connsiteY82" fmla="*/ 540718 h 797705"/>
              <a:gd name="connsiteX83" fmla="*/ 659092 w 829568"/>
              <a:gd name="connsiteY83" fmla="*/ 545254 h 797705"/>
              <a:gd name="connsiteX84" fmla="*/ 659092 w 829568"/>
              <a:gd name="connsiteY84" fmla="*/ 556595 h 797705"/>
              <a:gd name="connsiteX85" fmla="*/ 656819 w 829568"/>
              <a:gd name="connsiteY85" fmla="*/ 561131 h 797705"/>
              <a:gd name="connsiteX86" fmla="*/ 652273 w 829568"/>
              <a:gd name="connsiteY86" fmla="*/ 561131 h 797705"/>
              <a:gd name="connsiteX87" fmla="*/ 650000 w 829568"/>
              <a:gd name="connsiteY87" fmla="*/ 561131 h 797705"/>
              <a:gd name="connsiteX88" fmla="*/ 618178 w 829568"/>
              <a:gd name="connsiteY88" fmla="*/ 552058 h 797705"/>
              <a:gd name="connsiteX89" fmla="*/ 618178 w 829568"/>
              <a:gd name="connsiteY89" fmla="*/ 549790 h 797705"/>
              <a:gd name="connsiteX90" fmla="*/ 609086 w 829568"/>
              <a:gd name="connsiteY90" fmla="*/ 542986 h 797705"/>
              <a:gd name="connsiteX91" fmla="*/ 599994 w 829568"/>
              <a:gd name="connsiteY91" fmla="*/ 547522 h 797705"/>
              <a:gd name="connsiteX92" fmla="*/ 590902 w 829568"/>
              <a:gd name="connsiteY92" fmla="*/ 554327 h 797705"/>
              <a:gd name="connsiteX93" fmla="*/ 579537 w 829568"/>
              <a:gd name="connsiteY93" fmla="*/ 563399 h 797705"/>
              <a:gd name="connsiteX94" fmla="*/ 574991 w 829568"/>
              <a:gd name="connsiteY94" fmla="*/ 556595 h 797705"/>
              <a:gd name="connsiteX95" fmla="*/ 570445 w 829568"/>
              <a:gd name="connsiteY95" fmla="*/ 558863 h 797705"/>
              <a:gd name="connsiteX96" fmla="*/ 568172 w 829568"/>
              <a:gd name="connsiteY96" fmla="*/ 563399 h 797705"/>
              <a:gd name="connsiteX97" fmla="*/ 568172 w 829568"/>
              <a:gd name="connsiteY97" fmla="*/ 565667 h 797705"/>
              <a:gd name="connsiteX98" fmla="*/ 568172 w 829568"/>
              <a:gd name="connsiteY98" fmla="*/ 570203 h 797705"/>
              <a:gd name="connsiteX99" fmla="*/ 565899 w 829568"/>
              <a:gd name="connsiteY99" fmla="*/ 572471 h 797705"/>
              <a:gd name="connsiteX100" fmla="*/ 565899 w 829568"/>
              <a:gd name="connsiteY100" fmla="*/ 574739 h 797705"/>
              <a:gd name="connsiteX101" fmla="*/ 581810 w 829568"/>
              <a:gd name="connsiteY101" fmla="*/ 581543 h 797705"/>
              <a:gd name="connsiteX102" fmla="*/ 586356 w 829568"/>
              <a:gd name="connsiteY102" fmla="*/ 586079 h 797705"/>
              <a:gd name="connsiteX103" fmla="*/ 590902 w 829568"/>
              <a:gd name="connsiteY103" fmla="*/ 579275 h 797705"/>
              <a:gd name="connsiteX104" fmla="*/ 597721 w 829568"/>
              <a:gd name="connsiteY104" fmla="*/ 583811 h 797705"/>
              <a:gd name="connsiteX105" fmla="*/ 599994 w 829568"/>
              <a:gd name="connsiteY105" fmla="*/ 579275 h 797705"/>
              <a:gd name="connsiteX106" fmla="*/ 606813 w 829568"/>
              <a:gd name="connsiteY106" fmla="*/ 588347 h 797705"/>
              <a:gd name="connsiteX107" fmla="*/ 606813 w 829568"/>
              <a:gd name="connsiteY107" fmla="*/ 590616 h 797705"/>
              <a:gd name="connsiteX108" fmla="*/ 602267 w 829568"/>
              <a:gd name="connsiteY108" fmla="*/ 601956 h 797705"/>
              <a:gd name="connsiteX109" fmla="*/ 604540 w 829568"/>
              <a:gd name="connsiteY109" fmla="*/ 606492 h 797705"/>
              <a:gd name="connsiteX110" fmla="*/ 609086 w 829568"/>
              <a:gd name="connsiteY110" fmla="*/ 611028 h 797705"/>
              <a:gd name="connsiteX111" fmla="*/ 606813 w 829568"/>
              <a:gd name="connsiteY111" fmla="*/ 613296 h 797705"/>
              <a:gd name="connsiteX112" fmla="*/ 588629 w 829568"/>
              <a:gd name="connsiteY112" fmla="*/ 613296 h 797705"/>
              <a:gd name="connsiteX113" fmla="*/ 572718 w 829568"/>
              <a:gd name="connsiteY113" fmla="*/ 597420 h 797705"/>
              <a:gd name="connsiteX114" fmla="*/ 568172 w 829568"/>
              <a:gd name="connsiteY114" fmla="*/ 606492 h 797705"/>
              <a:gd name="connsiteX115" fmla="*/ 561353 w 829568"/>
              <a:gd name="connsiteY115" fmla="*/ 597420 h 797705"/>
              <a:gd name="connsiteX116" fmla="*/ 556807 w 829568"/>
              <a:gd name="connsiteY116" fmla="*/ 592884 h 797705"/>
              <a:gd name="connsiteX117" fmla="*/ 540896 w 829568"/>
              <a:gd name="connsiteY117" fmla="*/ 570203 h 797705"/>
              <a:gd name="connsiteX118" fmla="*/ 529530 w 829568"/>
              <a:gd name="connsiteY118" fmla="*/ 565667 h 797705"/>
              <a:gd name="connsiteX119" fmla="*/ 518165 w 829568"/>
              <a:gd name="connsiteY119" fmla="*/ 572471 h 797705"/>
              <a:gd name="connsiteX120" fmla="*/ 509073 w 829568"/>
              <a:gd name="connsiteY120" fmla="*/ 577007 h 797705"/>
              <a:gd name="connsiteX121" fmla="*/ 506800 w 829568"/>
              <a:gd name="connsiteY121" fmla="*/ 574739 h 797705"/>
              <a:gd name="connsiteX122" fmla="*/ 504527 w 829568"/>
              <a:gd name="connsiteY122" fmla="*/ 574739 h 797705"/>
              <a:gd name="connsiteX123" fmla="*/ 504527 w 829568"/>
              <a:gd name="connsiteY123" fmla="*/ 570324 h 797705"/>
              <a:gd name="connsiteX124" fmla="*/ 503669 w 829568"/>
              <a:gd name="connsiteY124" fmla="*/ 570324 h 797705"/>
              <a:gd name="connsiteX125" fmla="*/ 503669 w 829568"/>
              <a:gd name="connsiteY125" fmla="*/ 574870 h 797705"/>
              <a:gd name="connsiteX126" fmla="*/ 505946 w 829568"/>
              <a:gd name="connsiteY126" fmla="*/ 577143 h 797705"/>
              <a:gd name="connsiteX127" fmla="*/ 505946 w 829568"/>
              <a:gd name="connsiteY127" fmla="*/ 579415 h 797705"/>
              <a:gd name="connsiteX128" fmla="*/ 505946 w 829568"/>
              <a:gd name="connsiteY128" fmla="*/ 581688 h 797705"/>
              <a:gd name="connsiteX129" fmla="*/ 496839 w 829568"/>
              <a:gd name="connsiteY129" fmla="*/ 590779 h 797705"/>
              <a:gd name="connsiteX130" fmla="*/ 496839 w 829568"/>
              <a:gd name="connsiteY130" fmla="*/ 595324 h 797705"/>
              <a:gd name="connsiteX131" fmla="*/ 501392 w 829568"/>
              <a:gd name="connsiteY131" fmla="*/ 599870 h 797705"/>
              <a:gd name="connsiteX132" fmla="*/ 510500 w 829568"/>
              <a:gd name="connsiteY132" fmla="*/ 608960 h 797705"/>
              <a:gd name="connsiteX133" fmla="*/ 508223 w 829568"/>
              <a:gd name="connsiteY133" fmla="*/ 613506 h 797705"/>
              <a:gd name="connsiteX134" fmla="*/ 508223 w 829568"/>
              <a:gd name="connsiteY134" fmla="*/ 618051 h 797705"/>
              <a:gd name="connsiteX135" fmla="*/ 490008 w 829568"/>
              <a:gd name="connsiteY135" fmla="*/ 640778 h 797705"/>
              <a:gd name="connsiteX136" fmla="*/ 464962 w 829568"/>
              <a:gd name="connsiteY136" fmla="*/ 631687 h 797705"/>
              <a:gd name="connsiteX137" fmla="*/ 451300 w 829568"/>
              <a:gd name="connsiteY137" fmla="*/ 624869 h 797705"/>
              <a:gd name="connsiteX138" fmla="*/ 423977 w 829568"/>
              <a:gd name="connsiteY138" fmla="*/ 638506 h 797705"/>
              <a:gd name="connsiteX139" fmla="*/ 414870 w 829568"/>
              <a:gd name="connsiteY139" fmla="*/ 643051 h 797705"/>
              <a:gd name="connsiteX140" fmla="*/ 398931 w 829568"/>
              <a:gd name="connsiteY140" fmla="*/ 645324 h 797705"/>
              <a:gd name="connsiteX141" fmla="*/ 394378 w 829568"/>
              <a:gd name="connsiteY141" fmla="*/ 652142 h 797705"/>
              <a:gd name="connsiteX142" fmla="*/ 373885 w 829568"/>
              <a:gd name="connsiteY142" fmla="*/ 654415 h 797705"/>
              <a:gd name="connsiteX143" fmla="*/ 353393 w 829568"/>
              <a:gd name="connsiteY143" fmla="*/ 661233 h 797705"/>
              <a:gd name="connsiteX144" fmla="*/ 344285 w 829568"/>
              <a:gd name="connsiteY144" fmla="*/ 683960 h 797705"/>
              <a:gd name="connsiteX145" fmla="*/ 346559 w 829568"/>
              <a:gd name="connsiteY145" fmla="*/ 695305 h 797705"/>
              <a:gd name="connsiteX146" fmla="*/ 346890 w 829568"/>
              <a:gd name="connsiteY146" fmla="*/ 695371 h 797705"/>
              <a:gd name="connsiteX147" fmla="*/ 349169 w 829568"/>
              <a:gd name="connsiteY147" fmla="*/ 697639 h 797705"/>
              <a:gd name="connsiteX148" fmla="*/ 349169 w 829568"/>
              <a:gd name="connsiteY148" fmla="*/ 708981 h 797705"/>
              <a:gd name="connsiteX149" fmla="*/ 349169 w 829568"/>
              <a:gd name="connsiteY149" fmla="*/ 713518 h 797705"/>
              <a:gd name="connsiteX150" fmla="*/ 346890 w 829568"/>
              <a:gd name="connsiteY150" fmla="*/ 724861 h 797705"/>
              <a:gd name="connsiteX151" fmla="*/ 340053 w 829568"/>
              <a:gd name="connsiteY151" fmla="*/ 722592 h 797705"/>
              <a:gd name="connsiteX152" fmla="*/ 317264 w 829568"/>
              <a:gd name="connsiteY152" fmla="*/ 720324 h 797705"/>
              <a:gd name="connsiteX153" fmla="*/ 312706 w 829568"/>
              <a:gd name="connsiteY153" fmla="*/ 718055 h 797705"/>
              <a:gd name="connsiteX154" fmla="*/ 303590 w 829568"/>
              <a:gd name="connsiteY154" fmla="*/ 724861 h 797705"/>
              <a:gd name="connsiteX155" fmla="*/ 294474 w 829568"/>
              <a:gd name="connsiteY155" fmla="*/ 731666 h 797705"/>
              <a:gd name="connsiteX156" fmla="*/ 289916 w 829568"/>
              <a:gd name="connsiteY156" fmla="*/ 738471 h 797705"/>
              <a:gd name="connsiteX157" fmla="*/ 289916 w 829568"/>
              <a:gd name="connsiteY157" fmla="*/ 752082 h 797705"/>
              <a:gd name="connsiteX158" fmla="*/ 280800 w 829568"/>
              <a:gd name="connsiteY158" fmla="*/ 740740 h 797705"/>
              <a:gd name="connsiteX159" fmla="*/ 278521 w 829568"/>
              <a:gd name="connsiteY159" fmla="*/ 738471 h 797705"/>
              <a:gd name="connsiteX160" fmla="*/ 278521 w 829568"/>
              <a:gd name="connsiteY160" fmla="*/ 743008 h 797705"/>
              <a:gd name="connsiteX161" fmla="*/ 276242 w 829568"/>
              <a:gd name="connsiteY161" fmla="*/ 749814 h 797705"/>
              <a:gd name="connsiteX162" fmla="*/ 269405 w 829568"/>
              <a:gd name="connsiteY162" fmla="*/ 761156 h 797705"/>
              <a:gd name="connsiteX163" fmla="*/ 232942 w 829568"/>
              <a:gd name="connsiteY163" fmla="*/ 749814 h 797705"/>
              <a:gd name="connsiteX164" fmla="*/ 230663 w 829568"/>
              <a:gd name="connsiteY164" fmla="*/ 754351 h 797705"/>
              <a:gd name="connsiteX165" fmla="*/ 203316 w 829568"/>
              <a:gd name="connsiteY165" fmla="*/ 754351 h 797705"/>
              <a:gd name="connsiteX166" fmla="*/ 180526 w 829568"/>
              <a:gd name="connsiteY166" fmla="*/ 761156 h 797705"/>
              <a:gd name="connsiteX167" fmla="*/ 169131 w 829568"/>
              <a:gd name="connsiteY167" fmla="*/ 767961 h 797705"/>
              <a:gd name="connsiteX168" fmla="*/ 157736 w 829568"/>
              <a:gd name="connsiteY168" fmla="*/ 783841 h 797705"/>
              <a:gd name="connsiteX169" fmla="*/ 137226 w 829568"/>
              <a:gd name="connsiteY169" fmla="*/ 797451 h 797705"/>
              <a:gd name="connsiteX170" fmla="*/ 128110 w 829568"/>
              <a:gd name="connsiteY170" fmla="*/ 786109 h 797705"/>
              <a:gd name="connsiteX171" fmla="*/ 121273 w 829568"/>
              <a:gd name="connsiteY171" fmla="*/ 792914 h 797705"/>
              <a:gd name="connsiteX172" fmla="*/ 93925 w 829568"/>
              <a:gd name="connsiteY172" fmla="*/ 790646 h 797705"/>
              <a:gd name="connsiteX173" fmla="*/ 68857 w 829568"/>
              <a:gd name="connsiteY173" fmla="*/ 790646 h 797705"/>
              <a:gd name="connsiteX174" fmla="*/ 57462 w 829568"/>
              <a:gd name="connsiteY174" fmla="*/ 792914 h 797705"/>
              <a:gd name="connsiteX175" fmla="*/ 46067 w 829568"/>
              <a:gd name="connsiteY175" fmla="*/ 788377 h 797705"/>
              <a:gd name="connsiteX176" fmla="*/ 25556 w 829568"/>
              <a:gd name="connsiteY176" fmla="*/ 786109 h 797705"/>
              <a:gd name="connsiteX177" fmla="*/ 25556 w 829568"/>
              <a:gd name="connsiteY177" fmla="*/ 783841 h 797705"/>
              <a:gd name="connsiteX178" fmla="*/ 27835 w 829568"/>
              <a:gd name="connsiteY178" fmla="*/ 777035 h 797705"/>
              <a:gd name="connsiteX179" fmla="*/ 25556 w 829568"/>
              <a:gd name="connsiteY179" fmla="*/ 774767 h 797705"/>
              <a:gd name="connsiteX180" fmla="*/ 43788 w 829568"/>
              <a:gd name="connsiteY180" fmla="*/ 770230 h 797705"/>
              <a:gd name="connsiteX181" fmla="*/ 48346 w 829568"/>
              <a:gd name="connsiteY181" fmla="*/ 699908 h 797705"/>
              <a:gd name="connsiteX182" fmla="*/ 5046 w 829568"/>
              <a:gd name="connsiteY182" fmla="*/ 670418 h 797705"/>
              <a:gd name="connsiteX183" fmla="*/ 30114 w 829568"/>
              <a:gd name="connsiteY183" fmla="*/ 615975 h 797705"/>
              <a:gd name="connsiteX184" fmla="*/ 41509 w 829568"/>
              <a:gd name="connsiteY184" fmla="*/ 600095 h 797705"/>
              <a:gd name="connsiteX185" fmla="*/ 34672 w 829568"/>
              <a:gd name="connsiteY185" fmla="*/ 581948 h 797705"/>
              <a:gd name="connsiteX186" fmla="*/ 41509 w 829568"/>
              <a:gd name="connsiteY186" fmla="*/ 554726 h 797705"/>
              <a:gd name="connsiteX187" fmla="*/ 16441 w 829568"/>
              <a:gd name="connsiteY187" fmla="*/ 543384 h 797705"/>
              <a:gd name="connsiteX188" fmla="*/ 34672 w 829568"/>
              <a:gd name="connsiteY188" fmla="*/ 541115 h 797705"/>
              <a:gd name="connsiteX189" fmla="*/ 41498 w 829568"/>
              <a:gd name="connsiteY189" fmla="*/ 541115 h 797705"/>
              <a:gd name="connsiteX190" fmla="*/ 39341 w 829568"/>
              <a:gd name="connsiteY190" fmla="*/ 528176 h 797705"/>
              <a:gd name="connsiteX191" fmla="*/ 86966 w 829568"/>
              <a:gd name="connsiteY191" fmla="*/ 494839 h 797705"/>
              <a:gd name="connsiteX192" fmla="*/ 65409 w 829568"/>
              <a:gd name="connsiteY192" fmla="*/ 464300 h 797705"/>
              <a:gd name="connsiteX193" fmla="*/ 62429 w 829568"/>
              <a:gd name="connsiteY193" fmla="*/ 465726 h 797705"/>
              <a:gd name="connsiteX194" fmla="*/ 62429 w 829568"/>
              <a:gd name="connsiteY194" fmla="*/ 467991 h 797705"/>
              <a:gd name="connsiteX195" fmla="*/ 57874 w 829568"/>
              <a:gd name="connsiteY195" fmla="*/ 470256 h 797705"/>
              <a:gd name="connsiteX196" fmla="*/ 48763 w 829568"/>
              <a:gd name="connsiteY196" fmla="*/ 472522 h 797705"/>
              <a:gd name="connsiteX197" fmla="*/ 35096 w 829568"/>
              <a:gd name="connsiteY197" fmla="*/ 467991 h 797705"/>
              <a:gd name="connsiteX198" fmla="*/ 32818 w 829568"/>
              <a:gd name="connsiteY198" fmla="*/ 449871 h 797705"/>
              <a:gd name="connsiteX199" fmla="*/ 55596 w 829568"/>
              <a:gd name="connsiteY199" fmla="*/ 418160 h 797705"/>
              <a:gd name="connsiteX200" fmla="*/ 55596 w 829568"/>
              <a:gd name="connsiteY200" fmla="*/ 404569 h 797705"/>
              <a:gd name="connsiteX201" fmla="*/ 48763 w 829568"/>
              <a:gd name="connsiteY201" fmla="*/ 372858 h 797705"/>
              <a:gd name="connsiteX202" fmla="*/ 41929 w 829568"/>
              <a:gd name="connsiteY202" fmla="*/ 354737 h 797705"/>
              <a:gd name="connsiteX203" fmla="*/ 41929 w 829568"/>
              <a:gd name="connsiteY203" fmla="*/ 320761 h 797705"/>
              <a:gd name="connsiteX204" fmla="*/ 41929 w 829568"/>
              <a:gd name="connsiteY204" fmla="*/ 300375 h 797705"/>
              <a:gd name="connsiteX205" fmla="*/ 44207 w 829568"/>
              <a:gd name="connsiteY205" fmla="*/ 302640 h 797705"/>
              <a:gd name="connsiteX206" fmla="*/ 57934 w 829568"/>
              <a:gd name="connsiteY206" fmla="*/ 312196 h 797705"/>
              <a:gd name="connsiteX207" fmla="*/ 58242 w 829568"/>
              <a:gd name="connsiteY207" fmla="*/ 311394 h 797705"/>
              <a:gd name="connsiteX208" fmla="*/ 56256 w 829568"/>
              <a:gd name="connsiteY208" fmla="*/ 310012 h 797705"/>
              <a:gd name="connsiteX209" fmla="*/ 44300 w 829568"/>
              <a:gd name="connsiteY209" fmla="*/ 302367 h 797705"/>
              <a:gd name="connsiteX210" fmla="*/ 42022 w 829568"/>
              <a:gd name="connsiteY210" fmla="*/ 300102 h 797705"/>
              <a:gd name="connsiteX211" fmla="*/ 44300 w 829568"/>
              <a:gd name="connsiteY211" fmla="*/ 291042 h 797705"/>
              <a:gd name="connsiteX212" fmla="*/ 78462 w 829568"/>
              <a:gd name="connsiteY212" fmla="*/ 259331 h 797705"/>
              <a:gd name="connsiteX213" fmla="*/ 92126 w 829568"/>
              <a:gd name="connsiteY213" fmla="*/ 232149 h 797705"/>
              <a:gd name="connsiteX214" fmla="*/ 114901 w 829568"/>
              <a:gd name="connsiteY214" fmla="*/ 211764 h 797705"/>
              <a:gd name="connsiteX215" fmla="*/ 108638 w 829568"/>
              <a:gd name="connsiteY215" fmla="*/ 204968 h 797705"/>
              <a:gd name="connsiteX216" fmla="*/ 92261 w 829568"/>
              <a:gd name="connsiteY216" fmla="*/ 198228 h 797705"/>
              <a:gd name="connsiteX217" fmla="*/ 91806 w 829568"/>
              <a:gd name="connsiteY217" fmla="*/ 198355 h 797705"/>
              <a:gd name="connsiteX218" fmla="*/ 84968 w 829568"/>
              <a:gd name="connsiteY218" fmla="*/ 193807 h 797705"/>
              <a:gd name="connsiteX219" fmla="*/ 94086 w 829568"/>
              <a:gd name="connsiteY219" fmla="*/ 155145 h 797705"/>
              <a:gd name="connsiteX220" fmla="*/ 135114 w 829568"/>
              <a:gd name="connsiteY220" fmla="*/ 127854 h 797705"/>
              <a:gd name="connsiteX221" fmla="*/ 160186 w 829568"/>
              <a:gd name="connsiteY221" fmla="*/ 134677 h 797705"/>
              <a:gd name="connsiteX222" fmla="*/ 160186 w 829568"/>
              <a:gd name="connsiteY222" fmla="*/ 109660 h 797705"/>
              <a:gd name="connsiteX223" fmla="*/ 187538 w 829568"/>
              <a:gd name="connsiteY223" fmla="*/ 82369 h 797705"/>
              <a:gd name="connsiteX224" fmla="*/ 187538 w 829568"/>
              <a:gd name="connsiteY224" fmla="*/ 48256 h 797705"/>
              <a:gd name="connsiteX225" fmla="*/ 190103 w 829568"/>
              <a:gd name="connsiteY225" fmla="*/ 284 h 797705"/>
              <a:gd name="connsiteX0" fmla="*/ 505721 w 829568"/>
              <a:gd name="connsiteY0" fmla="*/ 565667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05721 w 829568"/>
              <a:gd name="connsiteY5" fmla="*/ 565667 h 797705"/>
              <a:gd name="connsiteX6" fmla="*/ 561350 w 829568"/>
              <a:gd name="connsiteY6" fmla="*/ 243680 h 797705"/>
              <a:gd name="connsiteX7" fmla="*/ 563631 w 829568"/>
              <a:gd name="connsiteY7" fmla="*/ 245950 h 797705"/>
              <a:gd name="connsiteX8" fmla="*/ 563632 w 829568"/>
              <a:gd name="connsiteY8" fmla="*/ 245962 h 797705"/>
              <a:gd name="connsiteX9" fmla="*/ 561350 w 829568"/>
              <a:gd name="connsiteY9" fmla="*/ 243680 h 797705"/>
              <a:gd name="connsiteX10" fmla="*/ 190103 w 829568"/>
              <a:gd name="connsiteY10" fmla="*/ 284 h 797705"/>
              <a:gd name="connsiteX11" fmla="*/ 208052 w 829568"/>
              <a:gd name="connsiteY11" fmla="*/ 7319 h 797705"/>
              <a:gd name="connsiteX12" fmla="*/ 244522 w 829568"/>
              <a:gd name="connsiteY12" fmla="*/ 16416 h 797705"/>
              <a:gd name="connsiteX13" fmla="*/ 269594 w 829568"/>
              <a:gd name="connsiteY13" fmla="*/ 36884 h 797705"/>
              <a:gd name="connsiteX14" fmla="*/ 303784 w 829568"/>
              <a:gd name="connsiteY14" fmla="*/ 59627 h 797705"/>
              <a:gd name="connsiteX15" fmla="*/ 317460 w 829568"/>
              <a:gd name="connsiteY15" fmla="*/ 89192 h 797705"/>
              <a:gd name="connsiteX16" fmla="*/ 353930 w 829568"/>
              <a:gd name="connsiteY16" fmla="*/ 73272 h 797705"/>
              <a:gd name="connsiteX17" fmla="*/ 399516 w 829568"/>
              <a:gd name="connsiteY17" fmla="*/ 82369 h 797705"/>
              <a:gd name="connsiteX18" fmla="*/ 417751 w 829568"/>
              <a:gd name="connsiteY18" fmla="*/ 77821 h 797705"/>
              <a:gd name="connsiteX19" fmla="*/ 438265 w 829568"/>
              <a:gd name="connsiteY19" fmla="*/ 64175 h 797705"/>
              <a:gd name="connsiteX20" fmla="*/ 472455 w 829568"/>
              <a:gd name="connsiteY20" fmla="*/ 73272 h 797705"/>
              <a:gd name="connsiteX21" fmla="*/ 486131 w 829568"/>
              <a:gd name="connsiteY21" fmla="*/ 82369 h 797705"/>
              <a:gd name="connsiteX22" fmla="*/ 490690 w 829568"/>
              <a:gd name="connsiteY22" fmla="*/ 132402 h 797705"/>
              <a:gd name="connsiteX23" fmla="*/ 495248 w 829568"/>
              <a:gd name="connsiteY23" fmla="*/ 196081 h 797705"/>
              <a:gd name="connsiteX24" fmla="*/ 495248 w 829568"/>
              <a:gd name="connsiteY24" fmla="*/ 214275 h 797705"/>
              <a:gd name="connsiteX25" fmla="*/ 495067 w 829568"/>
              <a:gd name="connsiteY25" fmla="*/ 214233 h 797705"/>
              <a:gd name="connsiteX26" fmla="*/ 497146 w 829568"/>
              <a:gd name="connsiteY26" fmla="*/ 220449 h 797705"/>
              <a:gd name="connsiteX27" fmla="*/ 508530 w 829568"/>
              <a:gd name="connsiteY27" fmla="*/ 224986 h 797705"/>
              <a:gd name="connsiteX28" fmla="*/ 524467 w 829568"/>
              <a:gd name="connsiteY28" fmla="*/ 238598 h 797705"/>
              <a:gd name="connsiteX29" fmla="*/ 556340 w 829568"/>
              <a:gd name="connsiteY29" fmla="*/ 234060 h 797705"/>
              <a:gd name="connsiteX30" fmla="*/ 560894 w 829568"/>
              <a:gd name="connsiteY30" fmla="*/ 243135 h 797705"/>
              <a:gd name="connsiteX31" fmla="*/ 563170 w 829568"/>
              <a:gd name="connsiteY31" fmla="*/ 247672 h 797705"/>
              <a:gd name="connsiteX32" fmla="*/ 563684 w 829568"/>
              <a:gd name="connsiteY32" fmla="*/ 246583 h 797705"/>
              <a:gd name="connsiteX33" fmla="*/ 570440 w 829568"/>
              <a:gd name="connsiteY33" fmla="*/ 254988 h 797705"/>
              <a:gd name="connsiteX34" fmla="*/ 570445 w 829568"/>
              <a:gd name="connsiteY34" fmla="*/ 254942 h 797705"/>
              <a:gd name="connsiteX35" fmla="*/ 574113 w 829568"/>
              <a:gd name="connsiteY35" fmla="*/ 256872 h 797705"/>
              <a:gd name="connsiteX36" fmla="*/ 567290 w 829568"/>
              <a:gd name="connsiteY36" fmla="*/ 250109 h 797705"/>
              <a:gd name="connsiteX37" fmla="*/ 563684 w 829568"/>
              <a:gd name="connsiteY37" fmla="*/ 246583 h 797705"/>
              <a:gd name="connsiteX38" fmla="*/ 574458 w 829568"/>
              <a:gd name="connsiteY38" fmla="*/ 256788 h 797705"/>
              <a:gd name="connsiteX39" fmla="*/ 583230 w 829568"/>
              <a:gd name="connsiteY39" fmla="*/ 254659 h 797705"/>
              <a:gd name="connsiteX40" fmla="*/ 595448 w 829568"/>
              <a:gd name="connsiteY40" fmla="*/ 250406 h 797705"/>
              <a:gd name="connsiteX41" fmla="*/ 624997 w 829568"/>
              <a:gd name="connsiteY41" fmla="*/ 282159 h 797705"/>
              <a:gd name="connsiteX42" fmla="*/ 637214 w 829568"/>
              <a:gd name="connsiteY42" fmla="*/ 311928 h 797705"/>
              <a:gd name="connsiteX43" fmla="*/ 636731 w 829568"/>
              <a:gd name="connsiteY43" fmla="*/ 319061 h 797705"/>
              <a:gd name="connsiteX44" fmla="*/ 636185 w 829568"/>
              <a:gd name="connsiteY44" fmla="*/ 327131 h 797705"/>
              <a:gd name="connsiteX45" fmla="*/ 640908 w 829568"/>
              <a:gd name="connsiteY45" fmla="*/ 343397 h 797705"/>
              <a:gd name="connsiteX46" fmla="*/ 656819 w 829568"/>
              <a:gd name="connsiteY46" fmla="*/ 329788 h 797705"/>
              <a:gd name="connsiteX47" fmla="*/ 672730 w 829568"/>
              <a:gd name="connsiteY47" fmla="*/ 347933 h 797705"/>
              <a:gd name="connsiteX48" fmla="*/ 679549 w 829568"/>
              <a:gd name="connsiteY48" fmla="*/ 366077 h 797705"/>
              <a:gd name="connsiteX49" fmla="*/ 686368 w 829568"/>
              <a:gd name="connsiteY49" fmla="*/ 418243 h 797705"/>
              <a:gd name="connsiteX50" fmla="*/ 736375 w 829568"/>
              <a:gd name="connsiteY50" fmla="*/ 413707 h 797705"/>
              <a:gd name="connsiteX51" fmla="*/ 756832 w 829568"/>
              <a:gd name="connsiteY51" fmla="*/ 420511 h 797705"/>
              <a:gd name="connsiteX52" fmla="*/ 765924 w 829568"/>
              <a:gd name="connsiteY52" fmla="*/ 406903 h 797705"/>
              <a:gd name="connsiteX53" fmla="*/ 829568 w 829568"/>
              <a:gd name="connsiteY53" fmla="*/ 397830 h 797705"/>
              <a:gd name="connsiteX54" fmla="*/ 829568 w 829568"/>
              <a:gd name="connsiteY54" fmla="*/ 413707 h 797705"/>
              <a:gd name="connsiteX55" fmla="*/ 827295 w 829568"/>
              <a:gd name="connsiteY55" fmla="*/ 422779 h 797705"/>
              <a:gd name="connsiteX56" fmla="*/ 822749 w 829568"/>
              <a:gd name="connsiteY56" fmla="*/ 427315 h 797705"/>
              <a:gd name="connsiteX57" fmla="*/ 815930 w 829568"/>
              <a:gd name="connsiteY57" fmla="*/ 427315 h 797705"/>
              <a:gd name="connsiteX58" fmla="*/ 809111 w 829568"/>
              <a:gd name="connsiteY58" fmla="*/ 443192 h 797705"/>
              <a:gd name="connsiteX59" fmla="*/ 802292 w 829568"/>
              <a:gd name="connsiteY59" fmla="*/ 452264 h 797705"/>
              <a:gd name="connsiteX60" fmla="*/ 800019 w 829568"/>
              <a:gd name="connsiteY60" fmla="*/ 459068 h 797705"/>
              <a:gd name="connsiteX61" fmla="*/ 800019 w 829568"/>
              <a:gd name="connsiteY61" fmla="*/ 470408 h 797705"/>
              <a:gd name="connsiteX62" fmla="*/ 800019 w 829568"/>
              <a:gd name="connsiteY62" fmla="*/ 481749 h 797705"/>
              <a:gd name="connsiteX63" fmla="*/ 784108 w 829568"/>
              <a:gd name="connsiteY63" fmla="*/ 477212 h 797705"/>
              <a:gd name="connsiteX64" fmla="*/ 777289 w 829568"/>
              <a:gd name="connsiteY64" fmla="*/ 477212 h 797705"/>
              <a:gd name="connsiteX65" fmla="*/ 770470 w 829568"/>
              <a:gd name="connsiteY65" fmla="*/ 481749 h 797705"/>
              <a:gd name="connsiteX66" fmla="*/ 768197 w 829568"/>
              <a:gd name="connsiteY66" fmla="*/ 488553 h 797705"/>
              <a:gd name="connsiteX67" fmla="*/ 750013 w 829568"/>
              <a:gd name="connsiteY67" fmla="*/ 497625 h 797705"/>
              <a:gd name="connsiteX68" fmla="*/ 745467 w 829568"/>
              <a:gd name="connsiteY68" fmla="*/ 490821 h 797705"/>
              <a:gd name="connsiteX69" fmla="*/ 740921 w 829568"/>
              <a:gd name="connsiteY69" fmla="*/ 493089 h 797705"/>
              <a:gd name="connsiteX70" fmla="*/ 738648 w 829568"/>
              <a:gd name="connsiteY70" fmla="*/ 499893 h 797705"/>
              <a:gd name="connsiteX71" fmla="*/ 738648 w 829568"/>
              <a:gd name="connsiteY71" fmla="*/ 502161 h 797705"/>
              <a:gd name="connsiteX72" fmla="*/ 725010 w 829568"/>
              <a:gd name="connsiteY72" fmla="*/ 504429 h 797705"/>
              <a:gd name="connsiteX73" fmla="*/ 715918 w 829568"/>
              <a:gd name="connsiteY73" fmla="*/ 508965 h 797705"/>
              <a:gd name="connsiteX74" fmla="*/ 715918 w 829568"/>
              <a:gd name="connsiteY74" fmla="*/ 520306 h 797705"/>
              <a:gd name="connsiteX75" fmla="*/ 713645 w 829568"/>
              <a:gd name="connsiteY75" fmla="*/ 522574 h 797705"/>
              <a:gd name="connsiteX76" fmla="*/ 693188 w 829568"/>
              <a:gd name="connsiteY76" fmla="*/ 527110 h 797705"/>
              <a:gd name="connsiteX77" fmla="*/ 677276 w 829568"/>
              <a:gd name="connsiteY77" fmla="*/ 531646 h 797705"/>
              <a:gd name="connsiteX78" fmla="*/ 668184 w 829568"/>
              <a:gd name="connsiteY78" fmla="*/ 527110 h 797705"/>
              <a:gd name="connsiteX79" fmla="*/ 665911 w 829568"/>
              <a:gd name="connsiteY79" fmla="*/ 529378 h 797705"/>
              <a:gd name="connsiteX80" fmla="*/ 665911 w 829568"/>
              <a:gd name="connsiteY80" fmla="*/ 538450 h 797705"/>
              <a:gd name="connsiteX81" fmla="*/ 659092 w 829568"/>
              <a:gd name="connsiteY81" fmla="*/ 540718 h 797705"/>
              <a:gd name="connsiteX82" fmla="*/ 659092 w 829568"/>
              <a:gd name="connsiteY82" fmla="*/ 545254 h 797705"/>
              <a:gd name="connsiteX83" fmla="*/ 659092 w 829568"/>
              <a:gd name="connsiteY83" fmla="*/ 556595 h 797705"/>
              <a:gd name="connsiteX84" fmla="*/ 656819 w 829568"/>
              <a:gd name="connsiteY84" fmla="*/ 561131 h 797705"/>
              <a:gd name="connsiteX85" fmla="*/ 652273 w 829568"/>
              <a:gd name="connsiteY85" fmla="*/ 561131 h 797705"/>
              <a:gd name="connsiteX86" fmla="*/ 650000 w 829568"/>
              <a:gd name="connsiteY86" fmla="*/ 561131 h 797705"/>
              <a:gd name="connsiteX87" fmla="*/ 618178 w 829568"/>
              <a:gd name="connsiteY87" fmla="*/ 552058 h 797705"/>
              <a:gd name="connsiteX88" fmla="*/ 618178 w 829568"/>
              <a:gd name="connsiteY88" fmla="*/ 549790 h 797705"/>
              <a:gd name="connsiteX89" fmla="*/ 609086 w 829568"/>
              <a:gd name="connsiteY89" fmla="*/ 542986 h 797705"/>
              <a:gd name="connsiteX90" fmla="*/ 599994 w 829568"/>
              <a:gd name="connsiteY90" fmla="*/ 547522 h 797705"/>
              <a:gd name="connsiteX91" fmla="*/ 590902 w 829568"/>
              <a:gd name="connsiteY91" fmla="*/ 554327 h 797705"/>
              <a:gd name="connsiteX92" fmla="*/ 579537 w 829568"/>
              <a:gd name="connsiteY92" fmla="*/ 563399 h 797705"/>
              <a:gd name="connsiteX93" fmla="*/ 574991 w 829568"/>
              <a:gd name="connsiteY93" fmla="*/ 556595 h 797705"/>
              <a:gd name="connsiteX94" fmla="*/ 570445 w 829568"/>
              <a:gd name="connsiteY94" fmla="*/ 558863 h 797705"/>
              <a:gd name="connsiteX95" fmla="*/ 568172 w 829568"/>
              <a:gd name="connsiteY95" fmla="*/ 563399 h 797705"/>
              <a:gd name="connsiteX96" fmla="*/ 568172 w 829568"/>
              <a:gd name="connsiteY96" fmla="*/ 565667 h 797705"/>
              <a:gd name="connsiteX97" fmla="*/ 568172 w 829568"/>
              <a:gd name="connsiteY97" fmla="*/ 570203 h 797705"/>
              <a:gd name="connsiteX98" fmla="*/ 565899 w 829568"/>
              <a:gd name="connsiteY98" fmla="*/ 572471 h 797705"/>
              <a:gd name="connsiteX99" fmla="*/ 565899 w 829568"/>
              <a:gd name="connsiteY99" fmla="*/ 574739 h 797705"/>
              <a:gd name="connsiteX100" fmla="*/ 581810 w 829568"/>
              <a:gd name="connsiteY100" fmla="*/ 581543 h 797705"/>
              <a:gd name="connsiteX101" fmla="*/ 586356 w 829568"/>
              <a:gd name="connsiteY101" fmla="*/ 586079 h 797705"/>
              <a:gd name="connsiteX102" fmla="*/ 590902 w 829568"/>
              <a:gd name="connsiteY102" fmla="*/ 579275 h 797705"/>
              <a:gd name="connsiteX103" fmla="*/ 597721 w 829568"/>
              <a:gd name="connsiteY103" fmla="*/ 583811 h 797705"/>
              <a:gd name="connsiteX104" fmla="*/ 599994 w 829568"/>
              <a:gd name="connsiteY104" fmla="*/ 579275 h 797705"/>
              <a:gd name="connsiteX105" fmla="*/ 606813 w 829568"/>
              <a:gd name="connsiteY105" fmla="*/ 588347 h 797705"/>
              <a:gd name="connsiteX106" fmla="*/ 606813 w 829568"/>
              <a:gd name="connsiteY106" fmla="*/ 590616 h 797705"/>
              <a:gd name="connsiteX107" fmla="*/ 602267 w 829568"/>
              <a:gd name="connsiteY107" fmla="*/ 601956 h 797705"/>
              <a:gd name="connsiteX108" fmla="*/ 604540 w 829568"/>
              <a:gd name="connsiteY108" fmla="*/ 606492 h 797705"/>
              <a:gd name="connsiteX109" fmla="*/ 609086 w 829568"/>
              <a:gd name="connsiteY109" fmla="*/ 611028 h 797705"/>
              <a:gd name="connsiteX110" fmla="*/ 606813 w 829568"/>
              <a:gd name="connsiteY110" fmla="*/ 613296 h 797705"/>
              <a:gd name="connsiteX111" fmla="*/ 588629 w 829568"/>
              <a:gd name="connsiteY111" fmla="*/ 613296 h 797705"/>
              <a:gd name="connsiteX112" fmla="*/ 572718 w 829568"/>
              <a:gd name="connsiteY112" fmla="*/ 597420 h 797705"/>
              <a:gd name="connsiteX113" fmla="*/ 568172 w 829568"/>
              <a:gd name="connsiteY113" fmla="*/ 606492 h 797705"/>
              <a:gd name="connsiteX114" fmla="*/ 561353 w 829568"/>
              <a:gd name="connsiteY114" fmla="*/ 597420 h 797705"/>
              <a:gd name="connsiteX115" fmla="*/ 556807 w 829568"/>
              <a:gd name="connsiteY115" fmla="*/ 592884 h 797705"/>
              <a:gd name="connsiteX116" fmla="*/ 540896 w 829568"/>
              <a:gd name="connsiteY116" fmla="*/ 570203 h 797705"/>
              <a:gd name="connsiteX117" fmla="*/ 529530 w 829568"/>
              <a:gd name="connsiteY117" fmla="*/ 565667 h 797705"/>
              <a:gd name="connsiteX118" fmla="*/ 518165 w 829568"/>
              <a:gd name="connsiteY118" fmla="*/ 572471 h 797705"/>
              <a:gd name="connsiteX119" fmla="*/ 509073 w 829568"/>
              <a:gd name="connsiteY119" fmla="*/ 577007 h 797705"/>
              <a:gd name="connsiteX120" fmla="*/ 506800 w 829568"/>
              <a:gd name="connsiteY120" fmla="*/ 574739 h 797705"/>
              <a:gd name="connsiteX121" fmla="*/ 504527 w 829568"/>
              <a:gd name="connsiteY121" fmla="*/ 574739 h 797705"/>
              <a:gd name="connsiteX122" fmla="*/ 504527 w 829568"/>
              <a:gd name="connsiteY122" fmla="*/ 570324 h 797705"/>
              <a:gd name="connsiteX123" fmla="*/ 503669 w 829568"/>
              <a:gd name="connsiteY123" fmla="*/ 570324 h 797705"/>
              <a:gd name="connsiteX124" fmla="*/ 503669 w 829568"/>
              <a:gd name="connsiteY124" fmla="*/ 574870 h 797705"/>
              <a:gd name="connsiteX125" fmla="*/ 505946 w 829568"/>
              <a:gd name="connsiteY125" fmla="*/ 577143 h 797705"/>
              <a:gd name="connsiteX126" fmla="*/ 505946 w 829568"/>
              <a:gd name="connsiteY126" fmla="*/ 579415 h 797705"/>
              <a:gd name="connsiteX127" fmla="*/ 505946 w 829568"/>
              <a:gd name="connsiteY127" fmla="*/ 581688 h 797705"/>
              <a:gd name="connsiteX128" fmla="*/ 496839 w 829568"/>
              <a:gd name="connsiteY128" fmla="*/ 590779 h 797705"/>
              <a:gd name="connsiteX129" fmla="*/ 496839 w 829568"/>
              <a:gd name="connsiteY129" fmla="*/ 595324 h 797705"/>
              <a:gd name="connsiteX130" fmla="*/ 501392 w 829568"/>
              <a:gd name="connsiteY130" fmla="*/ 599870 h 797705"/>
              <a:gd name="connsiteX131" fmla="*/ 510500 w 829568"/>
              <a:gd name="connsiteY131" fmla="*/ 608960 h 797705"/>
              <a:gd name="connsiteX132" fmla="*/ 508223 w 829568"/>
              <a:gd name="connsiteY132" fmla="*/ 613506 h 797705"/>
              <a:gd name="connsiteX133" fmla="*/ 508223 w 829568"/>
              <a:gd name="connsiteY133" fmla="*/ 618051 h 797705"/>
              <a:gd name="connsiteX134" fmla="*/ 490008 w 829568"/>
              <a:gd name="connsiteY134" fmla="*/ 640778 h 797705"/>
              <a:gd name="connsiteX135" fmla="*/ 464962 w 829568"/>
              <a:gd name="connsiteY135" fmla="*/ 631687 h 797705"/>
              <a:gd name="connsiteX136" fmla="*/ 451300 w 829568"/>
              <a:gd name="connsiteY136" fmla="*/ 624869 h 797705"/>
              <a:gd name="connsiteX137" fmla="*/ 423977 w 829568"/>
              <a:gd name="connsiteY137" fmla="*/ 638506 h 797705"/>
              <a:gd name="connsiteX138" fmla="*/ 414870 w 829568"/>
              <a:gd name="connsiteY138" fmla="*/ 643051 h 797705"/>
              <a:gd name="connsiteX139" fmla="*/ 398931 w 829568"/>
              <a:gd name="connsiteY139" fmla="*/ 645324 h 797705"/>
              <a:gd name="connsiteX140" fmla="*/ 394378 w 829568"/>
              <a:gd name="connsiteY140" fmla="*/ 652142 h 797705"/>
              <a:gd name="connsiteX141" fmla="*/ 373885 w 829568"/>
              <a:gd name="connsiteY141" fmla="*/ 654415 h 797705"/>
              <a:gd name="connsiteX142" fmla="*/ 353393 w 829568"/>
              <a:gd name="connsiteY142" fmla="*/ 661233 h 797705"/>
              <a:gd name="connsiteX143" fmla="*/ 344285 w 829568"/>
              <a:gd name="connsiteY143" fmla="*/ 683960 h 797705"/>
              <a:gd name="connsiteX144" fmla="*/ 346559 w 829568"/>
              <a:gd name="connsiteY144" fmla="*/ 695305 h 797705"/>
              <a:gd name="connsiteX145" fmla="*/ 346890 w 829568"/>
              <a:gd name="connsiteY145" fmla="*/ 695371 h 797705"/>
              <a:gd name="connsiteX146" fmla="*/ 349169 w 829568"/>
              <a:gd name="connsiteY146" fmla="*/ 697639 h 797705"/>
              <a:gd name="connsiteX147" fmla="*/ 349169 w 829568"/>
              <a:gd name="connsiteY147" fmla="*/ 708981 h 797705"/>
              <a:gd name="connsiteX148" fmla="*/ 349169 w 829568"/>
              <a:gd name="connsiteY148" fmla="*/ 713518 h 797705"/>
              <a:gd name="connsiteX149" fmla="*/ 346890 w 829568"/>
              <a:gd name="connsiteY149" fmla="*/ 724861 h 797705"/>
              <a:gd name="connsiteX150" fmla="*/ 340053 w 829568"/>
              <a:gd name="connsiteY150" fmla="*/ 722592 h 797705"/>
              <a:gd name="connsiteX151" fmla="*/ 317264 w 829568"/>
              <a:gd name="connsiteY151" fmla="*/ 720324 h 797705"/>
              <a:gd name="connsiteX152" fmla="*/ 312706 w 829568"/>
              <a:gd name="connsiteY152" fmla="*/ 718055 h 797705"/>
              <a:gd name="connsiteX153" fmla="*/ 303590 w 829568"/>
              <a:gd name="connsiteY153" fmla="*/ 724861 h 797705"/>
              <a:gd name="connsiteX154" fmla="*/ 294474 w 829568"/>
              <a:gd name="connsiteY154" fmla="*/ 731666 h 797705"/>
              <a:gd name="connsiteX155" fmla="*/ 289916 w 829568"/>
              <a:gd name="connsiteY155" fmla="*/ 738471 h 797705"/>
              <a:gd name="connsiteX156" fmla="*/ 289916 w 829568"/>
              <a:gd name="connsiteY156" fmla="*/ 752082 h 797705"/>
              <a:gd name="connsiteX157" fmla="*/ 280800 w 829568"/>
              <a:gd name="connsiteY157" fmla="*/ 740740 h 797705"/>
              <a:gd name="connsiteX158" fmla="*/ 278521 w 829568"/>
              <a:gd name="connsiteY158" fmla="*/ 738471 h 797705"/>
              <a:gd name="connsiteX159" fmla="*/ 278521 w 829568"/>
              <a:gd name="connsiteY159" fmla="*/ 743008 h 797705"/>
              <a:gd name="connsiteX160" fmla="*/ 276242 w 829568"/>
              <a:gd name="connsiteY160" fmla="*/ 749814 h 797705"/>
              <a:gd name="connsiteX161" fmla="*/ 269405 w 829568"/>
              <a:gd name="connsiteY161" fmla="*/ 761156 h 797705"/>
              <a:gd name="connsiteX162" fmla="*/ 232942 w 829568"/>
              <a:gd name="connsiteY162" fmla="*/ 749814 h 797705"/>
              <a:gd name="connsiteX163" fmla="*/ 230663 w 829568"/>
              <a:gd name="connsiteY163" fmla="*/ 754351 h 797705"/>
              <a:gd name="connsiteX164" fmla="*/ 203316 w 829568"/>
              <a:gd name="connsiteY164" fmla="*/ 754351 h 797705"/>
              <a:gd name="connsiteX165" fmla="*/ 180526 w 829568"/>
              <a:gd name="connsiteY165" fmla="*/ 761156 h 797705"/>
              <a:gd name="connsiteX166" fmla="*/ 169131 w 829568"/>
              <a:gd name="connsiteY166" fmla="*/ 767961 h 797705"/>
              <a:gd name="connsiteX167" fmla="*/ 157736 w 829568"/>
              <a:gd name="connsiteY167" fmla="*/ 783841 h 797705"/>
              <a:gd name="connsiteX168" fmla="*/ 137226 w 829568"/>
              <a:gd name="connsiteY168" fmla="*/ 797451 h 797705"/>
              <a:gd name="connsiteX169" fmla="*/ 128110 w 829568"/>
              <a:gd name="connsiteY169" fmla="*/ 786109 h 797705"/>
              <a:gd name="connsiteX170" fmla="*/ 121273 w 829568"/>
              <a:gd name="connsiteY170" fmla="*/ 792914 h 797705"/>
              <a:gd name="connsiteX171" fmla="*/ 93925 w 829568"/>
              <a:gd name="connsiteY171" fmla="*/ 790646 h 797705"/>
              <a:gd name="connsiteX172" fmla="*/ 68857 w 829568"/>
              <a:gd name="connsiteY172" fmla="*/ 790646 h 797705"/>
              <a:gd name="connsiteX173" fmla="*/ 57462 w 829568"/>
              <a:gd name="connsiteY173" fmla="*/ 792914 h 797705"/>
              <a:gd name="connsiteX174" fmla="*/ 46067 w 829568"/>
              <a:gd name="connsiteY174" fmla="*/ 788377 h 797705"/>
              <a:gd name="connsiteX175" fmla="*/ 25556 w 829568"/>
              <a:gd name="connsiteY175" fmla="*/ 786109 h 797705"/>
              <a:gd name="connsiteX176" fmla="*/ 25556 w 829568"/>
              <a:gd name="connsiteY176" fmla="*/ 783841 h 797705"/>
              <a:gd name="connsiteX177" fmla="*/ 27835 w 829568"/>
              <a:gd name="connsiteY177" fmla="*/ 777035 h 797705"/>
              <a:gd name="connsiteX178" fmla="*/ 25556 w 829568"/>
              <a:gd name="connsiteY178" fmla="*/ 774767 h 797705"/>
              <a:gd name="connsiteX179" fmla="*/ 43788 w 829568"/>
              <a:gd name="connsiteY179" fmla="*/ 770230 h 797705"/>
              <a:gd name="connsiteX180" fmla="*/ 48346 w 829568"/>
              <a:gd name="connsiteY180" fmla="*/ 699908 h 797705"/>
              <a:gd name="connsiteX181" fmla="*/ 5046 w 829568"/>
              <a:gd name="connsiteY181" fmla="*/ 670418 h 797705"/>
              <a:gd name="connsiteX182" fmla="*/ 30114 w 829568"/>
              <a:gd name="connsiteY182" fmla="*/ 615975 h 797705"/>
              <a:gd name="connsiteX183" fmla="*/ 41509 w 829568"/>
              <a:gd name="connsiteY183" fmla="*/ 600095 h 797705"/>
              <a:gd name="connsiteX184" fmla="*/ 34672 w 829568"/>
              <a:gd name="connsiteY184" fmla="*/ 581948 h 797705"/>
              <a:gd name="connsiteX185" fmla="*/ 41509 w 829568"/>
              <a:gd name="connsiteY185" fmla="*/ 554726 h 797705"/>
              <a:gd name="connsiteX186" fmla="*/ 16441 w 829568"/>
              <a:gd name="connsiteY186" fmla="*/ 543384 h 797705"/>
              <a:gd name="connsiteX187" fmla="*/ 34672 w 829568"/>
              <a:gd name="connsiteY187" fmla="*/ 541115 h 797705"/>
              <a:gd name="connsiteX188" fmla="*/ 41498 w 829568"/>
              <a:gd name="connsiteY188" fmla="*/ 541115 h 797705"/>
              <a:gd name="connsiteX189" fmla="*/ 39341 w 829568"/>
              <a:gd name="connsiteY189" fmla="*/ 528176 h 797705"/>
              <a:gd name="connsiteX190" fmla="*/ 86966 w 829568"/>
              <a:gd name="connsiteY190" fmla="*/ 494839 h 797705"/>
              <a:gd name="connsiteX191" fmla="*/ 65409 w 829568"/>
              <a:gd name="connsiteY191" fmla="*/ 464300 h 797705"/>
              <a:gd name="connsiteX192" fmla="*/ 62429 w 829568"/>
              <a:gd name="connsiteY192" fmla="*/ 465726 h 797705"/>
              <a:gd name="connsiteX193" fmla="*/ 62429 w 829568"/>
              <a:gd name="connsiteY193" fmla="*/ 467991 h 797705"/>
              <a:gd name="connsiteX194" fmla="*/ 57874 w 829568"/>
              <a:gd name="connsiteY194" fmla="*/ 470256 h 797705"/>
              <a:gd name="connsiteX195" fmla="*/ 48763 w 829568"/>
              <a:gd name="connsiteY195" fmla="*/ 472522 h 797705"/>
              <a:gd name="connsiteX196" fmla="*/ 35096 w 829568"/>
              <a:gd name="connsiteY196" fmla="*/ 467991 h 797705"/>
              <a:gd name="connsiteX197" fmla="*/ 32818 w 829568"/>
              <a:gd name="connsiteY197" fmla="*/ 449871 h 797705"/>
              <a:gd name="connsiteX198" fmla="*/ 55596 w 829568"/>
              <a:gd name="connsiteY198" fmla="*/ 418160 h 797705"/>
              <a:gd name="connsiteX199" fmla="*/ 55596 w 829568"/>
              <a:gd name="connsiteY199" fmla="*/ 404569 h 797705"/>
              <a:gd name="connsiteX200" fmla="*/ 48763 w 829568"/>
              <a:gd name="connsiteY200" fmla="*/ 372858 h 797705"/>
              <a:gd name="connsiteX201" fmla="*/ 41929 w 829568"/>
              <a:gd name="connsiteY201" fmla="*/ 354737 h 797705"/>
              <a:gd name="connsiteX202" fmla="*/ 41929 w 829568"/>
              <a:gd name="connsiteY202" fmla="*/ 320761 h 797705"/>
              <a:gd name="connsiteX203" fmla="*/ 41929 w 829568"/>
              <a:gd name="connsiteY203" fmla="*/ 300375 h 797705"/>
              <a:gd name="connsiteX204" fmla="*/ 44207 w 829568"/>
              <a:gd name="connsiteY204" fmla="*/ 302640 h 797705"/>
              <a:gd name="connsiteX205" fmla="*/ 57934 w 829568"/>
              <a:gd name="connsiteY205" fmla="*/ 312196 h 797705"/>
              <a:gd name="connsiteX206" fmla="*/ 58242 w 829568"/>
              <a:gd name="connsiteY206" fmla="*/ 311394 h 797705"/>
              <a:gd name="connsiteX207" fmla="*/ 56256 w 829568"/>
              <a:gd name="connsiteY207" fmla="*/ 310012 h 797705"/>
              <a:gd name="connsiteX208" fmla="*/ 44300 w 829568"/>
              <a:gd name="connsiteY208" fmla="*/ 302367 h 797705"/>
              <a:gd name="connsiteX209" fmla="*/ 42022 w 829568"/>
              <a:gd name="connsiteY209" fmla="*/ 300102 h 797705"/>
              <a:gd name="connsiteX210" fmla="*/ 44300 w 829568"/>
              <a:gd name="connsiteY210" fmla="*/ 291042 h 797705"/>
              <a:gd name="connsiteX211" fmla="*/ 78462 w 829568"/>
              <a:gd name="connsiteY211" fmla="*/ 259331 h 797705"/>
              <a:gd name="connsiteX212" fmla="*/ 92126 w 829568"/>
              <a:gd name="connsiteY212" fmla="*/ 232149 h 797705"/>
              <a:gd name="connsiteX213" fmla="*/ 114901 w 829568"/>
              <a:gd name="connsiteY213" fmla="*/ 211764 h 797705"/>
              <a:gd name="connsiteX214" fmla="*/ 108638 w 829568"/>
              <a:gd name="connsiteY214" fmla="*/ 204968 h 797705"/>
              <a:gd name="connsiteX215" fmla="*/ 92261 w 829568"/>
              <a:gd name="connsiteY215" fmla="*/ 198228 h 797705"/>
              <a:gd name="connsiteX216" fmla="*/ 91806 w 829568"/>
              <a:gd name="connsiteY216" fmla="*/ 198355 h 797705"/>
              <a:gd name="connsiteX217" fmla="*/ 84968 w 829568"/>
              <a:gd name="connsiteY217" fmla="*/ 193807 h 797705"/>
              <a:gd name="connsiteX218" fmla="*/ 94086 w 829568"/>
              <a:gd name="connsiteY218" fmla="*/ 155145 h 797705"/>
              <a:gd name="connsiteX219" fmla="*/ 135114 w 829568"/>
              <a:gd name="connsiteY219" fmla="*/ 127854 h 797705"/>
              <a:gd name="connsiteX220" fmla="*/ 160186 w 829568"/>
              <a:gd name="connsiteY220" fmla="*/ 134677 h 797705"/>
              <a:gd name="connsiteX221" fmla="*/ 160186 w 829568"/>
              <a:gd name="connsiteY221" fmla="*/ 109660 h 797705"/>
              <a:gd name="connsiteX222" fmla="*/ 187538 w 829568"/>
              <a:gd name="connsiteY222" fmla="*/ 82369 h 797705"/>
              <a:gd name="connsiteX223" fmla="*/ 187538 w 829568"/>
              <a:gd name="connsiteY223" fmla="*/ 48256 h 797705"/>
              <a:gd name="connsiteX224" fmla="*/ 190103 w 829568"/>
              <a:gd name="connsiteY224" fmla="*/ 284 h 797705"/>
              <a:gd name="connsiteX0" fmla="*/ 508223 w 829568"/>
              <a:gd name="connsiteY0" fmla="*/ 568783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61350 w 829568"/>
              <a:gd name="connsiteY5" fmla="*/ 243680 h 797705"/>
              <a:gd name="connsiteX6" fmla="*/ 563631 w 829568"/>
              <a:gd name="connsiteY6" fmla="*/ 245950 h 797705"/>
              <a:gd name="connsiteX7" fmla="*/ 563632 w 829568"/>
              <a:gd name="connsiteY7" fmla="*/ 245962 h 797705"/>
              <a:gd name="connsiteX8" fmla="*/ 561350 w 829568"/>
              <a:gd name="connsiteY8" fmla="*/ 243680 h 797705"/>
              <a:gd name="connsiteX9" fmla="*/ 190103 w 829568"/>
              <a:gd name="connsiteY9" fmla="*/ 284 h 797705"/>
              <a:gd name="connsiteX10" fmla="*/ 208052 w 829568"/>
              <a:gd name="connsiteY10" fmla="*/ 7319 h 797705"/>
              <a:gd name="connsiteX11" fmla="*/ 244522 w 829568"/>
              <a:gd name="connsiteY11" fmla="*/ 16416 h 797705"/>
              <a:gd name="connsiteX12" fmla="*/ 269594 w 829568"/>
              <a:gd name="connsiteY12" fmla="*/ 36884 h 797705"/>
              <a:gd name="connsiteX13" fmla="*/ 303784 w 829568"/>
              <a:gd name="connsiteY13" fmla="*/ 59627 h 797705"/>
              <a:gd name="connsiteX14" fmla="*/ 317460 w 829568"/>
              <a:gd name="connsiteY14" fmla="*/ 89192 h 797705"/>
              <a:gd name="connsiteX15" fmla="*/ 353930 w 829568"/>
              <a:gd name="connsiteY15" fmla="*/ 73272 h 797705"/>
              <a:gd name="connsiteX16" fmla="*/ 399516 w 829568"/>
              <a:gd name="connsiteY16" fmla="*/ 82369 h 797705"/>
              <a:gd name="connsiteX17" fmla="*/ 417751 w 829568"/>
              <a:gd name="connsiteY17" fmla="*/ 77821 h 797705"/>
              <a:gd name="connsiteX18" fmla="*/ 438265 w 829568"/>
              <a:gd name="connsiteY18" fmla="*/ 64175 h 797705"/>
              <a:gd name="connsiteX19" fmla="*/ 472455 w 829568"/>
              <a:gd name="connsiteY19" fmla="*/ 73272 h 797705"/>
              <a:gd name="connsiteX20" fmla="*/ 486131 w 829568"/>
              <a:gd name="connsiteY20" fmla="*/ 82369 h 797705"/>
              <a:gd name="connsiteX21" fmla="*/ 490690 w 829568"/>
              <a:gd name="connsiteY21" fmla="*/ 132402 h 797705"/>
              <a:gd name="connsiteX22" fmla="*/ 495248 w 829568"/>
              <a:gd name="connsiteY22" fmla="*/ 196081 h 797705"/>
              <a:gd name="connsiteX23" fmla="*/ 495248 w 829568"/>
              <a:gd name="connsiteY23" fmla="*/ 214275 h 797705"/>
              <a:gd name="connsiteX24" fmla="*/ 495067 w 829568"/>
              <a:gd name="connsiteY24" fmla="*/ 214233 h 797705"/>
              <a:gd name="connsiteX25" fmla="*/ 497146 w 829568"/>
              <a:gd name="connsiteY25" fmla="*/ 220449 h 797705"/>
              <a:gd name="connsiteX26" fmla="*/ 508530 w 829568"/>
              <a:gd name="connsiteY26" fmla="*/ 224986 h 797705"/>
              <a:gd name="connsiteX27" fmla="*/ 524467 w 829568"/>
              <a:gd name="connsiteY27" fmla="*/ 238598 h 797705"/>
              <a:gd name="connsiteX28" fmla="*/ 556340 w 829568"/>
              <a:gd name="connsiteY28" fmla="*/ 234060 h 797705"/>
              <a:gd name="connsiteX29" fmla="*/ 560894 w 829568"/>
              <a:gd name="connsiteY29" fmla="*/ 243135 h 797705"/>
              <a:gd name="connsiteX30" fmla="*/ 563170 w 829568"/>
              <a:gd name="connsiteY30" fmla="*/ 247672 h 797705"/>
              <a:gd name="connsiteX31" fmla="*/ 563684 w 829568"/>
              <a:gd name="connsiteY31" fmla="*/ 246583 h 797705"/>
              <a:gd name="connsiteX32" fmla="*/ 570440 w 829568"/>
              <a:gd name="connsiteY32" fmla="*/ 254988 h 797705"/>
              <a:gd name="connsiteX33" fmla="*/ 570445 w 829568"/>
              <a:gd name="connsiteY33" fmla="*/ 254942 h 797705"/>
              <a:gd name="connsiteX34" fmla="*/ 574113 w 829568"/>
              <a:gd name="connsiteY34" fmla="*/ 256872 h 797705"/>
              <a:gd name="connsiteX35" fmla="*/ 567290 w 829568"/>
              <a:gd name="connsiteY35" fmla="*/ 250109 h 797705"/>
              <a:gd name="connsiteX36" fmla="*/ 563684 w 829568"/>
              <a:gd name="connsiteY36" fmla="*/ 246583 h 797705"/>
              <a:gd name="connsiteX37" fmla="*/ 574458 w 829568"/>
              <a:gd name="connsiteY37" fmla="*/ 256788 h 797705"/>
              <a:gd name="connsiteX38" fmla="*/ 583230 w 829568"/>
              <a:gd name="connsiteY38" fmla="*/ 254659 h 797705"/>
              <a:gd name="connsiteX39" fmla="*/ 595448 w 829568"/>
              <a:gd name="connsiteY39" fmla="*/ 250406 h 797705"/>
              <a:gd name="connsiteX40" fmla="*/ 624997 w 829568"/>
              <a:gd name="connsiteY40" fmla="*/ 282159 h 797705"/>
              <a:gd name="connsiteX41" fmla="*/ 637214 w 829568"/>
              <a:gd name="connsiteY41" fmla="*/ 311928 h 797705"/>
              <a:gd name="connsiteX42" fmla="*/ 636731 w 829568"/>
              <a:gd name="connsiteY42" fmla="*/ 319061 h 797705"/>
              <a:gd name="connsiteX43" fmla="*/ 636185 w 829568"/>
              <a:gd name="connsiteY43" fmla="*/ 327131 h 797705"/>
              <a:gd name="connsiteX44" fmla="*/ 640908 w 829568"/>
              <a:gd name="connsiteY44" fmla="*/ 343397 h 797705"/>
              <a:gd name="connsiteX45" fmla="*/ 656819 w 829568"/>
              <a:gd name="connsiteY45" fmla="*/ 329788 h 797705"/>
              <a:gd name="connsiteX46" fmla="*/ 672730 w 829568"/>
              <a:gd name="connsiteY46" fmla="*/ 347933 h 797705"/>
              <a:gd name="connsiteX47" fmla="*/ 679549 w 829568"/>
              <a:gd name="connsiteY47" fmla="*/ 366077 h 797705"/>
              <a:gd name="connsiteX48" fmla="*/ 686368 w 829568"/>
              <a:gd name="connsiteY48" fmla="*/ 418243 h 797705"/>
              <a:gd name="connsiteX49" fmla="*/ 736375 w 829568"/>
              <a:gd name="connsiteY49" fmla="*/ 413707 h 797705"/>
              <a:gd name="connsiteX50" fmla="*/ 756832 w 829568"/>
              <a:gd name="connsiteY50" fmla="*/ 420511 h 797705"/>
              <a:gd name="connsiteX51" fmla="*/ 765924 w 829568"/>
              <a:gd name="connsiteY51" fmla="*/ 406903 h 797705"/>
              <a:gd name="connsiteX52" fmla="*/ 829568 w 829568"/>
              <a:gd name="connsiteY52" fmla="*/ 397830 h 797705"/>
              <a:gd name="connsiteX53" fmla="*/ 829568 w 829568"/>
              <a:gd name="connsiteY53" fmla="*/ 413707 h 797705"/>
              <a:gd name="connsiteX54" fmla="*/ 827295 w 829568"/>
              <a:gd name="connsiteY54" fmla="*/ 422779 h 797705"/>
              <a:gd name="connsiteX55" fmla="*/ 822749 w 829568"/>
              <a:gd name="connsiteY55" fmla="*/ 427315 h 797705"/>
              <a:gd name="connsiteX56" fmla="*/ 815930 w 829568"/>
              <a:gd name="connsiteY56" fmla="*/ 427315 h 797705"/>
              <a:gd name="connsiteX57" fmla="*/ 809111 w 829568"/>
              <a:gd name="connsiteY57" fmla="*/ 443192 h 797705"/>
              <a:gd name="connsiteX58" fmla="*/ 802292 w 829568"/>
              <a:gd name="connsiteY58" fmla="*/ 452264 h 797705"/>
              <a:gd name="connsiteX59" fmla="*/ 800019 w 829568"/>
              <a:gd name="connsiteY59" fmla="*/ 459068 h 797705"/>
              <a:gd name="connsiteX60" fmla="*/ 800019 w 829568"/>
              <a:gd name="connsiteY60" fmla="*/ 470408 h 797705"/>
              <a:gd name="connsiteX61" fmla="*/ 800019 w 829568"/>
              <a:gd name="connsiteY61" fmla="*/ 481749 h 797705"/>
              <a:gd name="connsiteX62" fmla="*/ 784108 w 829568"/>
              <a:gd name="connsiteY62" fmla="*/ 477212 h 797705"/>
              <a:gd name="connsiteX63" fmla="*/ 777289 w 829568"/>
              <a:gd name="connsiteY63" fmla="*/ 477212 h 797705"/>
              <a:gd name="connsiteX64" fmla="*/ 770470 w 829568"/>
              <a:gd name="connsiteY64" fmla="*/ 481749 h 797705"/>
              <a:gd name="connsiteX65" fmla="*/ 768197 w 829568"/>
              <a:gd name="connsiteY65" fmla="*/ 488553 h 797705"/>
              <a:gd name="connsiteX66" fmla="*/ 750013 w 829568"/>
              <a:gd name="connsiteY66" fmla="*/ 497625 h 797705"/>
              <a:gd name="connsiteX67" fmla="*/ 745467 w 829568"/>
              <a:gd name="connsiteY67" fmla="*/ 490821 h 797705"/>
              <a:gd name="connsiteX68" fmla="*/ 740921 w 829568"/>
              <a:gd name="connsiteY68" fmla="*/ 493089 h 797705"/>
              <a:gd name="connsiteX69" fmla="*/ 738648 w 829568"/>
              <a:gd name="connsiteY69" fmla="*/ 499893 h 797705"/>
              <a:gd name="connsiteX70" fmla="*/ 738648 w 829568"/>
              <a:gd name="connsiteY70" fmla="*/ 502161 h 797705"/>
              <a:gd name="connsiteX71" fmla="*/ 725010 w 829568"/>
              <a:gd name="connsiteY71" fmla="*/ 504429 h 797705"/>
              <a:gd name="connsiteX72" fmla="*/ 715918 w 829568"/>
              <a:gd name="connsiteY72" fmla="*/ 508965 h 797705"/>
              <a:gd name="connsiteX73" fmla="*/ 715918 w 829568"/>
              <a:gd name="connsiteY73" fmla="*/ 520306 h 797705"/>
              <a:gd name="connsiteX74" fmla="*/ 713645 w 829568"/>
              <a:gd name="connsiteY74" fmla="*/ 522574 h 797705"/>
              <a:gd name="connsiteX75" fmla="*/ 693188 w 829568"/>
              <a:gd name="connsiteY75" fmla="*/ 527110 h 797705"/>
              <a:gd name="connsiteX76" fmla="*/ 677276 w 829568"/>
              <a:gd name="connsiteY76" fmla="*/ 531646 h 797705"/>
              <a:gd name="connsiteX77" fmla="*/ 668184 w 829568"/>
              <a:gd name="connsiteY77" fmla="*/ 527110 h 797705"/>
              <a:gd name="connsiteX78" fmla="*/ 665911 w 829568"/>
              <a:gd name="connsiteY78" fmla="*/ 529378 h 797705"/>
              <a:gd name="connsiteX79" fmla="*/ 665911 w 829568"/>
              <a:gd name="connsiteY79" fmla="*/ 538450 h 797705"/>
              <a:gd name="connsiteX80" fmla="*/ 659092 w 829568"/>
              <a:gd name="connsiteY80" fmla="*/ 540718 h 797705"/>
              <a:gd name="connsiteX81" fmla="*/ 659092 w 829568"/>
              <a:gd name="connsiteY81" fmla="*/ 545254 h 797705"/>
              <a:gd name="connsiteX82" fmla="*/ 659092 w 829568"/>
              <a:gd name="connsiteY82" fmla="*/ 556595 h 797705"/>
              <a:gd name="connsiteX83" fmla="*/ 656819 w 829568"/>
              <a:gd name="connsiteY83" fmla="*/ 561131 h 797705"/>
              <a:gd name="connsiteX84" fmla="*/ 652273 w 829568"/>
              <a:gd name="connsiteY84" fmla="*/ 561131 h 797705"/>
              <a:gd name="connsiteX85" fmla="*/ 650000 w 829568"/>
              <a:gd name="connsiteY85" fmla="*/ 561131 h 797705"/>
              <a:gd name="connsiteX86" fmla="*/ 618178 w 829568"/>
              <a:gd name="connsiteY86" fmla="*/ 552058 h 797705"/>
              <a:gd name="connsiteX87" fmla="*/ 618178 w 829568"/>
              <a:gd name="connsiteY87" fmla="*/ 549790 h 797705"/>
              <a:gd name="connsiteX88" fmla="*/ 609086 w 829568"/>
              <a:gd name="connsiteY88" fmla="*/ 542986 h 797705"/>
              <a:gd name="connsiteX89" fmla="*/ 599994 w 829568"/>
              <a:gd name="connsiteY89" fmla="*/ 547522 h 797705"/>
              <a:gd name="connsiteX90" fmla="*/ 590902 w 829568"/>
              <a:gd name="connsiteY90" fmla="*/ 554327 h 797705"/>
              <a:gd name="connsiteX91" fmla="*/ 579537 w 829568"/>
              <a:gd name="connsiteY91" fmla="*/ 563399 h 797705"/>
              <a:gd name="connsiteX92" fmla="*/ 574991 w 829568"/>
              <a:gd name="connsiteY92" fmla="*/ 556595 h 797705"/>
              <a:gd name="connsiteX93" fmla="*/ 570445 w 829568"/>
              <a:gd name="connsiteY93" fmla="*/ 558863 h 797705"/>
              <a:gd name="connsiteX94" fmla="*/ 568172 w 829568"/>
              <a:gd name="connsiteY94" fmla="*/ 563399 h 797705"/>
              <a:gd name="connsiteX95" fmla="*/ 568172 w 829568"/>
              <a:gd name="connsiteY95" fmla="*/ 565667 h 797705"/>
              <a:gd name="connsiteX96" fmla="*/ 568172 w 829568"/>
              <a:gd name="connsiteY96" fmla="*/ 570203 h 797705"/>
              <a:gd name="connsiteX97" fmla="*/ 565899 w 829568"/>
              <a:gd name="connsiteY97" fmla="*/ 572471 h 797705"/>
              <a:gd name="connsiteX98" fmla="*/ 565899 w 829568"/>
              <a:gd name="connsiteY98" fmla="*/ 574739 h 797705"/>
              <a:gd name="connsiteX99" fmla="*/ 581810 w 829568"/>
              <a:gd name="connsiteY99" fmla="*/ 581543 h 797705"/>
              <a:gd name="connsiteX100" fmla="*/ 586356 w 829568"/>
              <a:gd name="connsiteY100" fmla="*/ 586079 h 797705"/>
              <a:gd name="connsiteX101" fmla="*/ 590902 w 829568"/>
              <a:gd name="connsiteY101" fmla="*/ 579275 h 797705"/>
              <a:gd name="connsiteX102" fmla="*/ 597721 w 829568"/>
              <a:gd name="connsiteY102" fmla="*/ 583811 h 797705"/>
              <a:gd name="connsiteX103" fmla="*/ 599994 w 829568"/>
              <a:gd name="connsiteY103" fmla="*/ 579275 h 797705"/>
              <a:gd name="connsiteX104" fmla="*/ 606813 w 829568"/>
              <a:gd name="connsiteY104" fmla="*/ 588347 h 797705"/>
              <a:gd name="connsiteX105" fmla="*/ 606813 w 829568"/>
              <a:gd name="connsiteY105" fmla="*/ 590616 h 797705"/>
              <a:gd name="connsiteX106" fmla="*/ 602267 w 829568"/>
              <a:gd name="connsiteY106" fmla="*/ 601956 h 797705"/>
              <a:gd name="connsiteX107" fmla="*/ 604540 w 829568"/>
              <a:gd name="connsiteY107" fmla="*/ 606492 h 797705"/>
              <a:gd name="connsiteX108" fmla="*/ 609086 w 829568"/>
              <a:gd name="connsiteY108" fmla="*/ 611028 h 797705"/>
              <a:gd name="connsiteX109" fmla="*/ 606813 w 829568"/>
              <a:gd name="connsiteY109" fmla="*/ 613296 h 797705"/>
              <a:gd name="connsiteX110" fmla="*/ 588629 w 829568"/>
              <a:gd name="connsiteY110" fmla="*/ 613296 h 797705"/>
              <a:gd name="connsiteX111" fmla="*/ 572718 w 829568"/>
              <a:gd name="connsiteY111" fmla="*/ 597420 h 797705"/>
              <a:gd name="connsiteX112" fmla="*/ 568172 w 829568"/>
              <a:gd name="connsiteY112" fmla="*/ 606492 h 797705"/>
              <a:gd name="connsiteX113" fmla="*/ 561353 w 829568"/>
              <a:gd name="connsiteY113" fmla="*/ 597420 h 797705"/>
              <a:gd name="connsiteX114" fmla="*/ 556807 w 829568"/>
              <a:gd name="connsiteY114" fmla="*/ 592884 h 797705"/>
              <a:gd name="connsiteX115" fmla="*/ 540896 w 829568"/>
              <a:gd name="connsiteY115" fmla="*/ 570203 h 797705"/>
              <a:gd name="connsiteX116" fmla="*/ 529530 w 829568"/>
              <a:gd name="connsiteY116" fmla="*/ 565667 h 797705"/>
              <a:gd name="connsiteX117" fmla="*/ 518165 w 829568"/>
              <a:gd name="connsiteY117" fmla="*/ 572471 h 797705"/>
              <a:gd name="connsiteX118" fmla="*/ 509073 w 829568"/>
              <a:gd name="connsiteY118" fmla="*/ 577007 h 797705"/>
              <a:gd name="connsiteX119" fmla="*/ 506800 w 829568"/>
              <a:gd name="connsiteY119" fmla="*/ 574739 h 797705"/>
              <a:gd name="connsiteX120" fmla="*/ 504527 w 829568"/>
              <a:gd name="connsiteY120" fmla="*/ 574739 h 797705"/>
              <a:gd name="connsiteX121" fmla="*/ 504527 w 829568"/>
              <a:gd name="connsiteY121" fmla="*/ 570324 h 797705"/>
              <a:gd name="connsiteX122" fmla="*/ 503669 w 829568"/>
              <a:gd name="connsiteY122" fmla="*/ 570324 h 797705"/>
              <a:gd name="connsiteX123" fmla="*/ 503669 w 829568"/>
              <a:gd name="connsiteY123" fmla="*/ 574870 h 797705"/>
              <a:gd name="connsiteX124" fmla="*/ 505946 w 829568"/>
              <a:gd name="connsiteY124" fmla="*/ 577143 h 797705"/>
              <a:gd name="connsiteX125" fmla="*/ 505946 w 829568"/>
              <a:gd name="connsiteY125" fmla="*/ 579415 h 797705"/>
              <a:gd name="connsiteX126" fmla="*/ 505946 w 829568"/>
              <a:gd name="connsiteY126" fmla="*/ 581688 h 797705"/>
              <a:gd name="connsiteX127" fmla="*/ 496839 w 829568"/>
              <a:gd name="connsiteY127" fmla="*/ 590779 h 797705"/>
              <a:gd name="connsiteX128" fmla="*/ 496839 w 829568"/>
              <a:gd name="connsiteY128" fmla="*/ 595324 h 797705"/>
              <a:gd name="connsiteX129" fmla="*/ 501392 w 829568"/>
              <a:gd name="connsiteY129" fmla="*/ 599870 h 797705"/>
              <a:gd name="connsiteX130" fmla="*/ 510500 w 829568"/>
              <a:gd name="connsiteY130" fmla="*/ 608960 h 797705"/>
              <a:gd name="connsiteX131" fmla="*/ 508223 w 829568"/>
              <a:gd name="connsiteY131" fmla="*/ 613506 h 797705"/>
              <a:gd name="connsiteX132" fmla="*/ 508223 w 829568"/>
              <a:gd name="connsiteY132" fmla="*/ 618051 h 797705"/>
              <a:gd name="connsiteX133" fmla="*/ 490008 w 829568"/>
              <a:gd name="connsiteY133" fmla="*/ 640778 h 797705"/>
              <a:gd name="connsiteX134" fmla="*/ 464962 w 829568"/>
              <a:gd name="connsiteY134" fmla="*/ 631687 h 797705"/>
              <a:gd name="connsiteX135" fmla="*/ 451300 w 829568"/>
              <a:gd name="connsiteY135" fmla="*/ 624869 h 797705"/>
              <a:gd name="connsiteX136" fmla="*/ 423977 w 829568"/>
              <a:gd name="connsiteY136" fmla="*/ 638506 h 797705"/>
              <a:gd name="connsiteX137" fmla="*/ 414870 w 829568"/>
              <a:gd name="connsiteY137" fmla="*/ 643051 h 797705"/>
              <a:gd name="connsiteX138" fmla="*/ 398931 w 829568"/>
              <a:gd name="connsiteY138" fmla="*/ 645324 h 797705"/>
              <a:gd name="connsiteX139" fmla="*/ 394378 w 829568"/>
              <a:gd name="connsiteY139" fmla="*/ 652142 h 797705"/>
              <a:gd name="connsiteX140" fmla="*/ 373885 w 829568"/>
              <a:gd name="connsiteY140" fmla="*/ 654415 h 797705"/>
              <a:gd name="connsiteX141" fmla="*/ 353393 w 829568"/>
              <a:gd name="connsiteY141" fmla="*/ 661233 h 797705"/>
              <a:gd name="connsiteX142" fmla="*/ 344285 w 829568"/>
              <a:gd name="connsiteY142" fmla="*/ 683960 h 797705"/>
              <a:gd name="connsiteX143" fmla="*/ 346559 w 829568"/>
              <a:gd name="connsiteY143" fmla="*/ 695305 h 797705"/>
              <a:gd name="connsiteX144" fmla="*/ 346890 w 829568"/>
              <a:gd name="connsiteY144" fmla="*/ 695371 h 797705"/>
              <a:gd name="connsiteX145" fmla="*/ 349169 w 829568"/>
              <a:gd name="connsiteY145" fmla="*/ 697639 h 797705"/>
              <a:gd name="connsiteX146" fmla="*/ 349169 w 829568"/>
              <a:gd name="connsiteY146" fmla="*/ 708981 h 797705"/>
              <a:gd name="connsiteX147" fmla="*/ 349169 w 829568"/>
              <a:gd name="connsiteY147" fmla="*/ 713518 h 797705"/>
              <a:gd name="connsiteX148" fmla="*/ 346890 w 829568"/>
              <a:gd name="connsiteY148" fmla="*/ 724861 h 797705"/>
              <a:gd name="connsiteX149" fmla="*/ 340053 w 829568"/>
              <a:gd name="connsiteY149" fmla="*/ 722592 h 797705"/>
              <a:gd name="connsiteX150" fmla="*/ 317264 w 829568"/>
              <a:gd name="connsiteY150" fmla="*/ 720324 h 797705"/>
              <a:gd name="connsiteX151" fmla="*/ 312706 w 829568"/>
              <a:gd name="connsiteY151" fmla="*/ 718055 h 797705"/>
              <a:gd name="connsiteX152" fmla="*/ 303590 w 829568"/>
              <a:gd name="connsiteY152" fmla="*/ 724861 h 797705"/>
              <a:gd name="connsiteX153" fmla="*/ 294474 w 829568"/>
              <a:gd name="connsiteY153" fmla="*/ 731666 h 797705"/>
              <a:gd name="connsiteX154" fmla="*/ 289916 w 829568"/>
              <a:gd name="connsiteY154" fmla="*/ 738471 h 797705"/>
              <a:gd name="connsiteX155" fmla="*/ 289916 w 829568"/>
              <a:gd name="connsiteY155" fmla="*/ 752082 h 797705"/>
              <a:gd name="connsiteX156" fmla="*/ 280800 w 829568"/>
              <a:gd name="connsiteY156" fmla="*/ 740740 h 797705"/>
              <a:gd name="connsiteX157" fmla="*/ 278521 w 829568"/>
              <a:gd name="connsiteY157" fmla="*/ 738471 h 797705"/>
              <a:gd name="connsiteX158" fmla="*/ 278521 w 829568"/>
              <a:gd name="connsiteY158" fmla="*/ 743008 h 797705"/>
              <a:gd name="connsiteX159" fmla="*/ 276242 w 829568"/>
              <a:gd name="connsiteY159" fmla="*/ 749814 h 797705"/>
              <a:gd name="connsiteX160" fmla="*/ 269405 w 829568"/>
              <a:gd name="connsiteY160" fmla="*/ 761156 h 797705"/>
              <a:gd name="connsiteX161" fmla="*/ 232942 w 829568"/>
              <a:gd name="connsiteY161" fmla="*/ 749814 h 797705"/>
              <a:gd name="connsiteX162" fmla="*/ 230663 w 829568"/>
              <a:gd name="connsiteY162" fmla="*/ 754351 h 797705"/>
              <a:gd name="connsiteX163" fmla="*/ 203316 w 829568"/>
              <a:gd name="connsiteY163" fmla="*/ 754351 h 797705"/>
              <a:gd name="connsiteX164" fmla="*/ 180526 w 829568"/>
              <a:gd name="connsiteY164" fmla="*/ 761156 h 797705"/>
              <a:gd name="connsiteX165" fmla="*/ 169131 w 829568"/>
              <a:gd name="connsiteY165" fmla="*/ 767961 h 797705"/>
              <a:gd name="connsiteX166" fmla="*/ 157736 w 829568"/>
              <a:gd name="connsiteY166" fmla="*/ 783841 h 797705"/>
              <a:gd name="connsiteX167" fmla="*/ 137226 w 829568"/>
              <a:gd name="connsiteY167" fmla="*/ 797451 h 797705"/>
              <a:gd name="connsiteX168" fmla="*/ 128110 w 829568"/>
              <a:gd name="connsiteY168" fmla="*/ 786109 h 797705"/>
              <a:gd name="connsiteX169" fmla="*/ 121273 w 829568"/>
              <a:gd name="connsiteY169" fmla="*/ 792914 h 797705"/>
              <a:gd name="connsiteX170" fmla="*/ 93925 w 829568"/>
              <a:gd name="connsiteY170" fmla="*/ 790646 h 797705"/>
              <a:gd name="connsiteX171" fmla="*/ 68857 w 829568"/>
              <a:gd name="connsiteY171" fmla="*/ 790646 h 797705"/>
              <a:gd name="connsiteX172" fmla="*/ 57462 w 829568"/>
              <a:gd name="connsiteY172" fmla="*/ 792914 h 797705"/>
              <a:gd name="connsiteX173" fmla="*/ 46067 w 829568"/>
              <a:gd name="connsiteY173" fmla="*/ 788377 h 797705"/>
              <a:gd name="connsiteX174" fmla="*/ 25556 w 829568"/>
              <a:gd name="connsiteY174" fmla="*/ 786109 h 797705"/>
              <a:gd name="connsiteX175" fmla="*/ 25556 w 829568"/>
              <a:gd name="connsiteY175" fmla="*/ 783841 h 797705"/>
              <a:gd name="connsiteX176" fmla="*/ 27835 w 829568"/>
              <a:gd name="connsiteY176" fmla="*/ 777035 h 797705"/>
              <a:gd name="connsiteX177" fmla="*/ 25556 w 829568"/>
              <a:gd name="connsiteY177" fmla="*/ 774767 h 797705"/>
              <a:gd name="connsiteX178" fmla="*/ 43788 w 829568"/>
              <a:gd name="connsiteY178" fmla="*/ 770230 h 797705"/>
              <a:gd name="connsiteX179" fmla="*/ 48346 w 829568"/>
              <a:gd name="connsiteY179" fmla="*/ 699908 h 797705"/>
              <a:gd name="connsiteX180" fmla="*/ 5046 w 829568"/>
              <a:gd name="connsiteY180" fmla="*/ 670418 h 797705"/>
              <a:gd name="connsiteX181" fmla="*/ 30114 w 829568"/>
              <a:gd name="connsiteY181" fmla="*/ 615975 h 797705"/>
              <a:gd name="connsiteX182" fmla="*/ 41509 w 829568"/>
              <a:gd name="connsiteY182" fmla="*/ 600095 h 797705"/>
              <a:gd name="connsiteX183" fmla="*/ 34672 w 829568"/>
              <a:gd name="connsiteY183" fmla="*/ 581948 h 797705"/>
              <a:gd name="connsiteX184" fmla="*/ 41509 w 829568"/>
              <a:gd name="connsiteY184" fmla="*/ 554726 h 797705"/>
              <a:gd name="connsiteX185" fmla="*/ 16441 w 829568"/>
              <a:gd name="connsiteY185" fmla="*/ 543384 h 797705"/>
              <a:gd name="connsiteX186" fmla="*/ 34672 w 829568"/>
              <a:gd name="connsiteY186" fmla="*/ 541115 h 797705"/>
              <a:gd name="connsiteX187" fmla="*/ 41498 w 829568"/>
              <a:gd name="connsiteY187" fmla="*/ 541115 h 797705"/>
              <a:gd name="connsiteX188" fmla="*/ 39341 w 829568"/>
              <a:gd name="connsiteY188" fmla="*/ 528176 h 797705"/>
              <a:gd name="connsiteX189" fmla="*/ 86966 w 829568"/>
              <a:gd name="connsiteY189" fmla="*/ 494839 h 797705"/>
              <a:gd name="connsiteX190" fmla="*/ 65409 w 829568"/>
              <a:gd name="connsiteY190" fmla="*/ 464300 h 797705"/>
              <a:gd name="connsiteX191" fmla="*/ 62429 w 829568"/>
              <a:gd name="connsiteY191" fmla="*/ 465726 h 797705"/>
              <a:gd name="connsiteX192" fmla="*/ 62429 w 829568"/>
              <a:gd name="connsiteY192" fmla="*/ 467991 h 797705"/>
              <a:gd name="connsiteX193" fmla="*/ 57874 w 829568"/>
              <a:gd name="connsiteY193" fmla="*/ 470256 h 797705"/>
              <a:gd name="connsiteX194" fmla="*/ 48763 w 829568"/>
              <a:gd name="connsiteY194" fmla="*/ 472522 h 797705"/>
              <a:gd name="connsiteX195" fmla="*/ 35096 w 829568"/>
              <a:gd name="connsiteY195" fmla="*/ 467991 h 797705"/>
              <a:gd name="connsiteX196" fmla="*/ 32818 w 829568"/>
              <a:gd name="connsiteY196" fmla="*/ 449871 h 797705"/>
              <a:gd name="connsiteX197" fmla="*/ 55596 w 829568"/>
              <a:gd name="connsiteY197" fmla="*/ 418160 h 797705"/>
              <a:gd name="connsiteX198" fmla="*/ 55596 w 829568"/>
              <a:gd name="connsiteY198" fmla="*/ 404569 h 797705"/>
              <a:gd name="connsiteX199" fmla="*/ 48763 w 829568"/>
              <a:gd name="connsiteY199" fmla="*/ 372858 h 797705"/>
              <a:gd name="connsiteX200" fmla="*/ 41929 w 829568"/>
              <a:gd name="connsiteY200" fmla="*/ 354737 h 797705"/>
              <a:gd name="connsiteX201" fmla="*/ 41929 w 829568"/>
              <a:gd name="connsiteY201" fmla="*/ 320761 h 797705"/>
              <a:gd name="connsiteX202" fmla="*/ 41929 w 829568"/>
              <a:gd name="connsiteY202" fmla="*/ 300375 h 797705"/>
              <a:gd name="connsiteX203" fmla="*/ 44207 w 829568"/>
              <a:gd name="connsiteY203" fmla="*/ 302640 h 797705"/>
              <a:gd name="connsiteX204" fmla="*/ 57934 w 829568"/>
              <a:gd name="connsiteY204" fmla="*/ 312196 h 797705"/>
              <a:gd name="connsiteX205" fmla="*/ 58242 w 829568"/>
              <a:gd name="connsiteY205" fmla="*/ 311394 h 797705"/>
              <a:gd name="connsiteX206" fmla="*/ 56256 w 829568"/>
              <a:gd name="connsiteY206" fmla="*/ 310012 h 797705"/>
              <a:gd name="connsiteX207" fmla="*/ 44300 w 829568"/>
              <a:gd name="connsiteY207" fmla="*/ 302367 h 797705"/>
              <a:gd name="connsiteX208" fmla="*/ 42022 w 829568"/>
              <a:gd name="connsiteY208" fmla="*/ 300102 h 797705"/>
              <a:gd name="connsiteX209" fmla="*/ 44300 w 829568"/>
              <a:gd name="connsiteY209" fmla="*/ 291042 h 797705"/>
              <a:gd name="connsiteX210" fmla="*/ 78462 w 829568"/>
              <a:gd name="connsiteY210" fmla="*/ 259331 h 797705"/>
              <a:gd name="connsiteX211" fmla="*/ 92126 w 829568"/>
              <a:gd name="connsiteY211" fmla="*/ 232149 h 797705"/>
              <a:gd name="connsiteX212" fmla="*/ 114901 w 829568"/>
              <a:gd name="connsiteY212" fmla="*/ 211764 h 797705"/>
              <a:gd name="connsiteX213" fmla="*/ 108638 w 829568"/>
              <a:gd name="connsiteY213" fmla="*/ 204968 h 797705"/>
              <a:gd name="connsiteX214" fmla="*/ 92261 w 829568"/>
              <a:gd name="connsiteY214" fmla="*/ 198228 h 797705"/>
              <a:gd name="connsiteX215" fmla="*/ 91806 w 829568"/>
              <a:gd name="connsiteY215" fmla="*/ 198355 h 797705"/>
              <a:gd name="connsiteX216" fmla="*/ 84968 w 829568"/>
              <a:gd name="connsiteY216" fmla="*/ 193807 h 797705"/>
              <a:gd name="connsiteX217" fmla="*/ 94086 w 829568"/>
              <a:gd name="connsiteY217" fmla="*/ 155145 h 797705"/>
              <a:gd name="connsiteX218" fmla="*/ 135114 w 829568"/>
              <a:gd name="connsiteY218" fmla="*/ 127854 h 797705"/>
              <a:gd name="connsiteX219" fmla="*/ 160186 w 829568"/>
              <a:gd name="connsiteY219" fmla="*/ 134677 h 797705"/>
              <a:gd name="connsiteX220" fmla="*/ 160186 w 829568"/>
              <a:gd name="connsiteY220" fmla="*/ 109660 h 797705"/>
              <a:gd name="connsiteX221" fmla="*/ 187538 w 829568"/>
              <a:gd name="connsiteY221" fmla="*/ 82369 h 797705"/>
              <a:gd name="connsiteX222" fmla="*/ 187538 w 829568"/>
              <a:gd name="connsiteY222" fmla="*/ 48256 h 797705"/>
              <a:gd name="connsiteX223" fmla="*/ 190103 w 829568"/>
              <a:gd name="connsiteY223" fmla="*/ 284 h 797705"/>
              <a:gd name="connsiteX0" fmla="*/ 508223 w 829568"/>
              <a:gd name="connsiteY0" fmla="*/ 568783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61350 w 829568"/>
              <a:gd name="connsiteY5" fmla="*/ 243680 h 797705"/>
              <a:gd name="connsiteX6" fmla="*/ 563631 w 829568"/>
              <a:gd name="connsiteY6" fmla="*/ 245950 h 797705"/>
              <a:gd name="connsiteX7" fmla="*/ 563632 w 829568"/>
              <a:gd name="connsiteY7" fmla="*/ 245962 h 797705"/>
              <a:gd name="connsiteX8" fmla="*/ 561350 w 829568"/>
              <a:gd name="connsiteY8" fmla="*/ 243680 h 797705"/>
              <a:gd name="connsiteX9" fmla="*/ 190103 w 829568"/>
              <a:gd name="connsiteY9" fmla="*/ 284 h 797705"/>
              <a:gd name="connsiteX10" fmla="*/ 208052 w 829568"/>
              <a:gd name="connsiteY10" fmla="*/ 7319 h 797705"/>
              <a:gd name="connsiteX11" fmla="*/ 244522 w 829568"/>
              <a:gd name="connsiteY11" fmla="*/ 16416 h 797705"/>
              <a:gd name="connsiteX12" fmla="*/ 269594 w 829568"/>
              <a:gd name="connsiteY12" fmla="*/ 36884 h 797705"/>
              <a:gd name="connsiteX13" fmla="*/ 303784 w 829568"/>
              <a:gd name="connsiteY13" fmla="*/ 59627 h 797705"/>
              <a:gd name="connsiteX14" fmla="*/ 317460 w 829568"/>
              <a:gd name="connsiteY14" fmla="*/ 89192 h 797705"/>
              <a:gd name="connsiteX15" fmla="*/ 353930 w 829568"/>
              <a:gd name="connsiteY15" fmla="*/ 73272 h 797705"/>
              <a:gd name="connsiteX16" fmla="*/ 399516 w 829568"/>
              <a:gd name="connsiteY16" fmla="*/ 82369 h 797705"/>
              <a:gd name="connsiteX17" fmla="*/ 417751 w 829568"/>
              <a:gd name="connsiteY17" fmla="*/ 77821 h 797705"/>
              <a:gd name="connsiteX18" fmla="*/ 438265 w 829568"/>
              <a:gd name="connsiteY18" fmla="*/ 64175 h 797705"/>
              <a:gd name="connsiteX19" fmla="*/ 472455 w 829568"/>
              <a:gd name="connsiteY19" fmla="*/ 73272 h 797705"/>
              <a:gd name="connsiteX20" fmla="*/ 486131 w 829568"/>
              <a:gd name="connsiteY20" fmla="*/ 82369 h 797705"/>
              <a:gd name="connsiteX21" fmla="*/ 490690 w 829568"/>
              <a:gd name="connsiteY21" fmla="*/ 132402 h 797705"/>
              <a:gd name="connsiteX22" fmla="*/ 495248 w 829568"/>
              <a:gd name="connsiteY22" fmla="*/ 196081 h 797705"/>
              <a:gd name="connsiteX23" fmla="*/ 495248 w 829568"/>
              <a:gd name="connsiteY23" fmla="*/ 214275 h 797705"/>
              <a:gd name="connsiteX24" fmla="*/ 495067 w 829568"/>
              <a:gd name="connsiteY24" fmla="*/ 214233 h 797705"/>
              <a:gd name="connsiteX25" fmla="*/ 497146 w 829568"/>
              <a:gd name="connsiteY25" fmla="*/ 220449 h 797705"/>
              <a:gd name="connsiteX26" fmla="*/ 508530 w 829568"/>
              <a:gd name="connsiteY26" fmla="*/ 224986 h 797705"/>
              <a:gd name="connsiteX27" fmla="*/ 524467 w 829568"/>
              <a:gd name="connsiteY27" fmla="*/ 238598 h 797705"/>
              <a:gd name="connsiteX28" fmla="*/ 556340 w 829568"/>
              <a:gd name="connsiteY28" fmla="*/ 234060 h 797705"/>
              <a:gd name="connsiteX29" fmla="*/ 560894 w 829568"/>
              <a:gd name="connsiteY29" fmla="*/ 243135 h 797705"/>
              <a:gd name="connsiteX30" fmla="*/ 563170 w 829568"/>
              <a:gd name="connsiteY30" fmla="*/ 247672 h 797705"/>
              <a:gd name="connsiteX31" fmla="*/ 563684 w 829568"/>
              <a:gd name="connsiteY31" fmla="*/ 246583 h 797705"/>
              <a:gd name="connsiteX32" fmla="*/ 570440 w 829568"/>
              <a:gd name="connsiteY32" fmla="*/ 254988 h 797705"/>
              <a:gd name="connsiteX33" fmla="*/ 570445 w 829568"/>
              <a:gd name="connsiteY33" fmla="*/ 254942 h 797705"/>
              <a:gd name="connsiteX34" fmla="*/ 574113 w 829568"/>
              <a:gd name="connsiteY34" fmla="*/ 256872 h 797705"/>
              <a:gd name="connsiteX35" fmla="*/ 567290 w 829568"/>
              <a:gd name="connsiteY35" fmla="*/ 250109 h 797705"/>
              <a:gd name="connsiteX36" fmla="*/ 563684 w 829568"/>
              <a:gd name="connsiteY36" fmla="*/ 246583 h 797705"/>
              <a:gd name="connsiteX37" fmla="*/ 574458 w 829568"/>
              <a:gd name="connsiteY37" fmla="*/ 256788 h 797705"/>
              <a:gd name="connsiteX38" fmla="*/ 583230 w 829568"/>
              <a:gd name="connsiteY38" fmla="*/ 254659 h 797705"/>
              <a:gd name="connsiteX39" fmla="*/ 595448 w 829568"/>
              <a:gd name="connsiteY39" fmla="*/ 250406 h 797705"/>
              <a:gd name="connsiteX40" fmla="*/ 624997 w 829568"/>
              <a:gd name="connsiteY40" fmla="*/ 282159 h 797705"/>
              <a:gd name="connsiteX41" fmla="*/ 637214 w 829568"/>
              <a:gd name="connsiteY41" fmla="*/ 311928 h 797705"/>
              <a:gd name="connsiteX42" fmla="*/ 636731 w 829568"/>
              <a:gd name="connsiteY42" fmla="*/ 319061 h 797705"/>
              <a:gd name="connsiteX43" fmla="*/ 636185 w 829568"/>
              <a:gd name="connsiteY43" fmla="*/ 327131 h 797705"/>
              <a:gd name="connsiteX44" fmla="*/ 640908 w 829568"/>
              <a:gd name="connsiteY44" fmla="*/ 343397 h 797705"/>
              <a:gd name="connsiteX45" fmla="*/ 656819 w 829568"/>
              <a:gd name="connsiteY45" fmla="*/ 329788 h 797705"/>
              <a:gd name="connsiteX46" fmla="*/ 672730 w 829568"/>
              <a:gd name="connsiteY46" fmla="*/ 347933 h 797705"/>
              <a:gd name="connsiteX47" fmla="*/ 679549 w 829568"/>
              <a:gd name="connsiteY47" fmla="*/ 366077 h 797705"/>
              <a:gd name="connsiteX48" fmla="*/ 686368 w 829568"/>
              <a:gd name="connsiteY48" fmla="*/ 418243 h 797705"/>
              <a:gd name="connsiteX49" fmla="*/ 736375 w 829568"/>
              <a:gd name="connsiteY49" fmla="*/ 413707 h 797705"/>
              <a:gd name="connsiteX50" fmla="*/ 756832 w 829568"/>
              <a:gd name="connsiteY50" fmla="*/ 420511 h 797705"/>
              <a:gd name="connsiteX51" fmla="*/ 765924 w 829568"/>
              <a:gd name="connsiteY51" fmla="*/ 406903 h 797705"/>
              <a:gd name="connsiteX52" fmla="*/ 829568 w 829568"/>
              <a:gd name="connsiteY52" fmla="*/ 397830 h 797705"/>
              <a:gd name="connsiteX53" fmla="*/ 829568 w 829568"/>
              <a:gd name="connsiteY53" fmla="*/ 413707 h 797705"/>
              <a:gd name="connsiteX54" fmla="*/ 827295 w 829568"/>
              <a:gd name="connsiteY54" fmla="*/ 422779 h 797705"/>
              <a:gd name="connsiteX55" fmla="*/ 822749 w 829568"/>
              <a:gd name="connsiteY55" fmla="*/ 427315 h 797705"/>
              <a:gd name="connsiteX56" fmla="*/ 815930 w 829568"/>
              <a:gd name="connsiteY56" fmla="*/ 427315 h 797705"/>
              <a:gd name="connsiteX57" fmla="*/ 809111 w 829568"/>
              <a:gd name="connsiteY57" fmla="*/ 443192 h 797705"/>
              <a:gd name="connsiteX58" fmla="*/ 802292 w 829568"/>
              <a:gd name="connsiteY58" fmla="*/ 452264 h 797705"/>
              <a:gd name="connsiteX59" fmla="*/ 800019 w 829568"/>
              <a:gd name="connsiteY59" fmla="*/ 459068 h 797705"/>
              <a:gd name="connsiteX60" fmla="*/ 800019 w 829568"/>
              <a:gd name="connsiteY60" fmla="*/ 470408 h 797705"/>
              <a:gd name="connsiteX61" fmla="*/ 800019 w 829568"/>
              <a:gd name="connsiteY61" fmla="*/ 481749 h 797705"/>
              <a:gd name="connsiteX62" fmla="*/ 784108 w 829568"/>
              <a:gd name="connsiteY62" fmla="*/ 477212 h 797705"/>
              <a:gd name="connsiteX63" fmla="*/ 777289 w 829568"/>
              <a:gd name="connsiteY63" fmla="*/ 477212 h 797705"/>
              <a:gd name="connsiteX64" fmla="*/ 770470 w 829568"/>
              <a:gd name="connsiteY64" fmla="*/ 481749 h 797705"/>
              <a:gd name="connsiteX65" fmla="*/ 768197 w 829568"/>
              <a:gd name="connsiteY65" fmla="*/ 488553 h 797705"/>
              <a:gd name="connsiteX66" fmla="*/ 750013 w 829568"/>
              <a:gd name="connsiteY66" fmla="*/ 497625 h 797705"/>
              <a:gd name="connsiteX67" fmla="*/ 745467 w 829568"/>
              <a:gd name="connsiteY67" fmla="*/ 490821 h 797705"/>
              <a:gd name="connsiteX68" fmla="*/ 740921 w 829568"/>
              <a:gd name="connsiteY68" fmla="*/ 493089 h 797705"/>
              <a:gd name="connsiteX69" fmla="*/ 738648 w 829568"/>
              <a:gd name="connsiteY69" fmla="*/ 499893 h 797705"/>
              <a:gd name="connsiteX70" fmla="*/ 738648 w 829568"/>
              <a:gd name="connsiteY70" fmla="*/ 502161 h 797705"/>
              <a:gd name="connsiteX71" fmla="*/ 725010 w 829568"/>
              <a:gd name="connsiteY71" fmla="*/ 504429 h 797705"/>
              <a:gd name="connsiteX72" fmla="*/ 715918 w 829568"/>
              <a:gd name="connsiteY72" fmla="*/ 508965 h 797705"/>
              <a:gd name="connsiteX73" fmla="*/ 715918 w 829568"/>
              <a:gd name="connsiteY73" fmla="*/ 520306 h 797705"/>
              <a:gd name="connsiteX74" fmla="*/ 713645 w 829568"/>
              <a:gd name="connsiteY74" fmla="*/ 522574 h 797705"/>
              <a:gd name="connsiteX75" fmla="*/ 693188 w 829568"/>
              <a:gd name="connsiteY75" fmla="*/ 527110 h 797705"/>
              <a:gd name="connsiteX76" fmla="*/ 677276 w 829568"/>
              <a:gd name="connsiteY76" fmla="*/ 531646 h 797705"/>
              <a:gd name="connsiteX77" fmla="*/ 668184 w 829568"/>
              <a:gd name="connsiteY77" fmla="*/ 527110 h 797705"/>
              <a:gd name="connsiteX78" fmla="*/ 665911 w 829568"/>
              <a:gd name="connsiteY78" fmla="*/ 529378 h 797705"/>
              <a:gd name="connsiteX79" fmla="*/ 665911 w 829568"/>
              <a:gd name="connsiteY79" fmla="*/ 538450 h 797705"/>
              <a:gd name="connsiteX80" fmla="*/ 659092 w 829568"/>
              <a:gd name="connsiteY80" fmla="*/ 540718 h 797705"/>
              <a:gd name="connsiteX81" fmla="*/ 659092 w 829568"/>
              <a:gd name="connsiteY81" fmla="*/ 545254 h 797705"/>
              <a:gd name="connsiteX82" fmla="*/ 659092 w 829568"/>
              <a:gd name="connsiteY82" fmla="*/ 556595 h 797705"/>
              <a:gd name="connsiteX83" fmla="*/ 656819 w 829568"/>
              <a:gd name="connsiteY83" fmla="*/ 561131 h 797705"/>
              <a:gd name="connsiteX84" fmla="*/ 652273 w 829568"/>
              <a:gd name="connsiteY84" fmla="*/ 561131 h 797705"/>
              <a:gd name="connsiteX85" fmla="*/ 650000 w 829568"/>
              <a:gd name="connsiteY85" fmla="*/ 561131 h 797705"/>
              <a:gd name="connsiteX86" fmla="*/ 618178 w 829568"/>
              <a:gd name="connsiteY86" fmla="*/ 552058 h 797705"/>
              <a:gd name="connsiteX87" fmla="*/ 618178 w 829568"/>
              <a:gd name="connsiteY87" fmla="*/ 549790 h 797705"/>
              <a:gd name="connsiteX88" fmla="*/ 609086 w 829568"/>
              <a:gd name="connsiteY88" fmla="*/ 542986 h 797705"/>
              <a:gd name="connsiteX89" fmla="*/ 599994 w 829568"/>
              <a:gd name="connsiteY89" fmla="*/ 547522 h 797705"/>
              <a:gd name="connsiteX90" fmla="*/ 590902 w 829568"/>
              <a:gd name="connsiteY90" fmla="*/ 554327 h 797705"/>
              <a:gd name="connsiteX91" fmla="*/ 579537 w 829568"/>
              <a:gd name="connsiteY91" fmla="*/ 563399 h 797705"/>
              <a:gd name="connsiteX92" fmla="*/ 574991 w 829568"/>
              <a:gd name="connsiteY92" fmla="*/ 556595 h 797705"/>
              <a:gd name="connsiteX93" fmla="*/ 570445 w 829568"/>
              <a:gd name="connsiteY93" fmla="*/ 558863 h 797705"/>
              <a:gd name="connsiteX94" fmla="*/ 568172 w 829568"/>
              <a:gd name="connsiteY94" fmla="*/ 563399 h 797705"/>
              <a:gd name="connsiteX95" fmla="*/ 568172 w 829568"/>
              <a:gd name="connsiteY95" fmla="*/ 565667 h 797705"/>
              <a:gd name="connsiteX96" fmla="*/ 568172 w 829568"/>
              <a:gd name="connsiteY96" fmla="*/ 570203 h 797705"/>
              <a:gd name="connsiteX97" fmla="*/ 565899 w 829568"/>
              <a:gd name="connsiteY97" fmla="*/ 572471 h 797705"/>
              <a:gd name="connsiteX98" fmla="*/ 565899 w 829568"/>
              <a:gd name="connsiteY98" fmla="*/ 574739 h 797705"/>
              <a:gd name="connsiteX99" fmla="*/ 581810 w 829568"/>
              <a:gd name="connsiteY99" fmla="*/ 581543 h 797705"/>
              <a:gd name="connsiteX100" fmla="*/ 586356 w 829568"/>
              <a:gd name="connsiteY100" fmla="*/ 586079 h 797705"/>
              <a:gd name="connsiteX101" fmla="*/ 590902 w 829568"/>
              <a:gd name="connsiteY101" fmla="*/ 579275 h 797705"/>
              <a:gd name="connsiteX102" fmla="*/ 597721 w 829568"/>
              <a:gd name="connsiteY102" fmla="*/ 583811 h 797705"/>
              <a:gd name="connsiteX103" fmla="*/ 599994 w 829568"/>
              <a:gd name="connsiteY103" fmla="*/ 579275 h 797705"/>
              <a:gd name="connsiteX104" fmla="*/ 606813 w 829568"/>
              <a:gd name="connsiteY104" fmla="*/ 588347 h 797705"/>
              <a:gd name="connsiteX105" fmla="*/ 606813 w 829568"/>
              <a:gd name="connsiteY105" fmla="*/ 590616 h 797705"/>
              <a:gd name="connsiteX106" fmla="*/ 602267 w 829568"/>
              <a:gd name="connsiteY106" fmla="*/ 601956 h 797705"/>
              <a:gd name="connsiteX107" fmla="*/ 604540 w 829568"/>
              <a:gd name="connsiteY107" fmla="*/ 606492 h 797705"/>
              <a:gd name="connsiteX108" fmla="*/ 609086 w 829568"/>
              <a:gd name="connsiteY108" fmla="*/ 611028 h 797705"/>
              <a:gd name="connsiteX109" fmla="*/ 606813 w 829568"/>
              <a:gd name="connsiteY109" fmla="*/ 613296 h 797705"/>
              <a:gd name="connsiteX110" fmla="*/ 588629 w 829568"/>
              <a:gd name="connsiteY110" fmla="*/ 613296 h 797705"/>
              <a:gd name="connsiteX111" fmla="*/ 572718 w 829568"/>
              <a:gd name="connsiteY111" fmla="*/ 597420 h 797705"/>
              <a:gd name="connsiteX112" fmla="*/ 568172 w 829568"/>
              <a:gd name="connsiteY112" fmla="*/ 606492 h 797705"/>
              <a:gd name="connsiteX113" fmla="*/ 561353 w 829568"/>
              <a:gd name="connsiteY113" fmla="*/ 597420 h 797705"/>
              <a:gd name="connsiteX114" fmla="*/ 556807 w 829568"/>
              <a:gd name="connsiteY114" fmla="*/ 592884 h 797705"/>
              <a:gd name="connsiteX115" fmla="*/ 540896 w 829568"/>
              <a:gd name="connsiteY115" fmla="*/ 570203 h 797705"/>
              <a:gd name="connsiteX116" fmla="*/ 529530 w 829568"/>
              <a:gd name="connsiteY116" fmla="*/ 565667 h 797705"/>
              <a:gd name="connsiteX117" fmla="*/ 518165 w 829568"/>
              <a:gd name="connsiteY117" fmla="*/ 572471 h 797705"/>
              <a:gd name="connsiteX118" fmla="*/ 509073 w 829568"/>
              <a:gd name="connsiteY118" fmla="*/ 577007 h 797705"/>
              <a:gd name="connsiteX119" fmla="*/ 506800 w 829568"/>
              <a:gd name="connsiteY119" fmla="*/ 574739 h 797705"/>
              <a:gd name="connsiteX120" fmla="*/ 504527 w 829568"/>
              <a:gd name="connsiteY120" fmla="*/ 574739 h 797705"/>
              <a:gd name="connsiteX121" fmla="*/ 504527 w 829568"/>
              <a:gd name="connsiteY121" fmla="*/ 570324 h 797705"/>
              <a:gd name="connsiteX122" fmla="*/ 503669 w 829568"/>
              <a:gd name="connsiteY122" fmla="*/ 574870 h 797705"/>
              <a:gd name="connsiteX123" fmla="*/ 505946 w 829568"/>
              <a:gd name="connsiteY123" fmla="*/ 577143 h 797705"/>
              <a:gd name="connsiteX124" fmla="*/ 505946 w 829568"/>
              <a:gd name="connsiteY124" fmla="*/ 579415 h 797705"/>
              <a:gd name="connsiteX125" fmla="*/ 505946 w 829568"/>
              <a:gd name="connsiteY125" fmla="*/ 581688 h 797705"/>
              <a:gd name="connsiteX126" fmla="*/ 496839 w 829568"/>
              <a:gd name="connsiteY126" fmla="*/ 590779 h 797705"/>
              <a:gd name="connsiteX127" fmla="*/ 496839 w 829568"/>
              <a:gd name="connsiteY127" fmla="*/ 595324 h 797705"/>
              <a:gd name="connsiteX128" fmla="*/ 501392 w 829568"/>
              <a:gd name="connsiteY128" fmla="*/ 599870 h 797705"/>
              <a:gd name="connsiteX129" fmla="*/ 510500 w 829568"/>
              <a:gd name="connsiteY129" fmla="*/ 608960 h 797705"/>
              <a:gd name="connsiteX130" fmla="*/ 508223 w 829568"/>
              <a:gd name="connsiteY130" fmla="*/ 613506 h 797705"/>
              <a:gd name="connsiteX131" fmla="*/ 508223 w 829568"/>
              <a:gd name="connsiteY131" fmla="*/ 618051 h 797705"/>
              <a:gd name="connsiteX132" fmla="*/ 490008 w 829568"/>
              <a:gd name="connsiteY132" fmla="*/ 640778 h 797705"/>
              <a:gd name="connsiteX133" fmla="*/ 464962 w 829568"/>
              <a:gd name="connsiteY133" fmla="*/ 631687 h 797705"/>
              <a:gd name="connsiteX134" fmla="*/ 451300 w 829568"/>
              <a:gd name="connsiteY134" fmla="*/ 624869 h 797705"/>
              <a:gd name="connsiteX135" fmla="*/ 423977 w 829568"/>
              <a:gd name="connsiteY135" fmla="*/ 638506 h 797705"/>
              <a:gd name="connsiteX136" fmla="*/ 414870 w 829568"/>
              <a:gd name="connsiteY136" fmla="*/ 643051 h 797705"/>
              <a:gd name="connsiteX137" fmla="*/ 398931 w 829568"/>
              <a:gd name="connsiteY137" fmla="*/ 645324 h 797705"/>
              <a:gd name="connsiteX138" fmla="*/ 394378 w 829568"/>
              <a:gd name="connsiteY138" fmla="*/ 652142 h 797705"/>
              <a:gd name="connsiteX139" fmla="*/ 373885 w 829568"/>
              <a:gd name="connsiteY139" fmla="*/ 654415 h 797705"/>
              <a:gd name="connsiteX140" fmla="*/ 353393 w 829568"/>
              <a:gd name="connsiteY140" fmla="*/ 661233 h 797705"/>
              <a:gd name="connsiteX141" fmla="*/ 344285 w 829568"/>
              <a:gd name="connsiteY141" fmla="*/ 683960 h 797705"/>
              <a:gd name="connsiteX142" fmla="*/ 346559 w 829568"/>
              <a:gd name="connsiteY142" fmla="*/ 695305 h 797705"/>
              <a:gd name="connsiteX143" fmla="*/ 346890 w 829568"/>
              <a:gd name="connsiteY143" fmla="*/ 695371 h 797705"/>
              <a:gd name="connsiteX144" fmla="*/ 349169 w 829568"/>
              <a:gd name="connsiteY144" fmla="*/ 697639 h 797705"/>
              <a:gd name="connsiteX145" fmla="*/ 349169 w 829568"/>
              <a:gd name="connsiteY145" fmla="*/ 708981 h 797705"/>
              <a:gd name="connsiteX146" fmla="*/ 349169 w 829568"/>
              <a:gd name="connsiteY146" fmla="*/ 713518 h 797705"/>
              <a:gd name="connsiteX147" fmla="*/ 346890 w 829568"/>
              <a:gd name="connsiteY147" fmla="*/ 724861 h 797705"/>
              <a:gd name="connsiteX148" fmla="*/ 340053 w 829568"/>
              <a:gd name="connsiteY148" fmla="*/ 722592 h 797705"/>
              <a:gd name="connsiteX149" fmla="*/ 317264 w 829568"/>
              <a:gd name="connsiteY149" fmla="*/ 720324 h 797705"/>
              <a:gd name="connsiteX150" fmla="*/ 312706 w 829568"/>
              <a:gd name="connsiteY150" fmla="*/ 718055 h 797705"/>
              <a:gd name="connsiteX151" fmla="*/ 303590 w 829568"/>
              <a:gd name="connsiteY151" fmla="*/ 724861 h 797705"/>
              <a:gd name="connsiteX152" fmla="*/ 294474 w 829568"/>
              <a:gd name="connsiteY152" fmla="*/ 731666 h 797705"/>
              <a:gd name="connsiteX153" fmla="*/ 289916 w 829568"/>
              <a:gd name="connsiteY153" fmla="*/ 738471 h 797705"/>
              <a:gd name="connsiteX154" fmla="*/ 289916 w 829568"/>
              <a:gd name="connsiteY154" fmla="*/ 752082 h 797705"/>
              <a:gd name="connsiteX155" fmla="*/ 280800 w 829568"/>
              <a:gd name="connsiteY155" fmla="*/ 740740 h 797705"/>
              <a:gd name="connsiteX156" fmla="*/ 278521 w 829568"/>
              <a:gd name="connsiteY156" fmla="*/ 738471 h 797705"/>
              <a:gd name="connsiteX157" fmla="*/ 278521 w 829568"/>
              <a:gd name="connsiteY157" fmla="*/ 743008 h 797705"/>
              <a:gd name="connsiteX158" fmla="*/ 276242 w 829568"/>
              <a:gd name="connsiteY158" fmla="*/ 749814 h 797705"/>
              <a:gd name="connsiteX159" fmla="*/ 269405 w 829568"/>
              <a:gd name="connsiteY159" fmla="*/ 761156 h 797705"/>
              <a:gd name="connsiteX160" fmla="*/ 232942 w 829568"/>
              <a:gd name="connsiteY160" fmla="*/ 749814 h 797705"/>
              <a:gd name="connsiteX161" fmla="*/ 230663 w 829568"/>
              <a:gd name="connsiteY161" fmla="*/ 754351 h 797705"/>
              <a:gd name="connsiteX162" fmla="*/ 203316 w 829568"/>
              <a:gd name="connsiteY162" fmla="*/ 754351 h 797705"/>
              <a:gd name="connsiteX163" fmla="*/ 180526 w 829568"/>
              <a:gd name="connsiteY163" fmla="*/ 761156 h 797705"/>
              <a:gd name="connsiteX164" fmla="*/ 169131 w 829568"/>
              <a:gd name="connsiteY164" fmla="*/ 767961 h 797705"/>
              <a:gd name="connsiteX165" fmla="*/ 157736 w 829568"/>
              <a:gd name="connsiteY165" fmla="*/ 783841 h 797705"/>
              <a:gd name="connsiteX166" fmla="*/ 137226 w 829568"/>
              <a:gd name="connsiteY166" fmla="*/ 797451 h 797705"/>
              <a:gd name="connsiteX167" fmla="*/ 128110 w 829568"/>
              <a:gd name="connsiteY167" fmla="*/ 786109 h 797705"/>
              <a:gd name="connsiteX168" fmla="*/ 121273 w 829568"/>
              <a:gd name="connsiteY168" fmla="*/ 792914 h 797705"/>
              <a:gd name="connsiteX169" fmla="*/ 93925 w 829568"/>
              <a:gd name="connsiteY169" fmla="*/ 790646 h 797705"/>
              <a:gd name="connsiteX170" fmla="*/ 68857 w 829568"/>
              <a:gd name="connsiteY170" fmla="*/ 790646 h 797705"/>
              <a:gd name="connsiteX171" fmla="*/ 57462 w 829568"/>
              <a:gd name="connsiteY171" fmla="*/ 792914 h 797705"/>
              <a:gd name="connsiteX172" fmla="*/ 46067 w 829568"/>
              <a:gd name="connsiteY172" fmla="*/ 788377 h 797705"/>
              <a:gd name="connsiteX173" fmla="*/ 25556 w 829568"/>
              <a:gd name="connsiteY173" fmla="*/ 786109 h 797705"/>
              <a:gd name="connsiteX174" fmla="*/ 25556 w 829568"/>
              <a:gd name="connsiteY174" fmla="*/ 783841 h 797705"/>
              <a:gd name="connsiteX175" fmla="*/ 27835 w 829568"/>
              <a:gd name="connsiteY175" fmla="*/ 777035 h 797705"/>
              <a:gd name="connsiteX176" fmla="*/ 25556 w 829568"/>
              <a:gd name="connsiteY176" fmla="*/ 774767 h 797705"/>
              <a:gd name="connsiteX177" fmla="*/ 43788 w 829568"/>
              <a:gd name="connsiteY177" fmla="*/ 770230 h 797705"/>
              <a:gd name="connsiteX178" fmla="*/ 48346 w 829568"/>
              <a:gd name="connsiteY178" fmla="*/ 699908 h 797705"/>
              <a:gd name="connsiteX179" fmla="*/ 5046 w 829568"/>
              <a:gd name="connsiteY179" fmla="*/ 670418 h 797705"/>
              <a:gd name="connsiteX180" fmla="*/ 30114 w 829568"/>
              <a:gd name="connsiteY180" fmla="*/ 615975 h 797705"/>
              <a:gd name="connsiteX181" fmla="*/ 41509 w 829568"/>
              <a:gd name="connsiteY181" fmla="*/ 600095 h 797705"/>
              <a:gd name="connsiteX182" fmla="*/ 34672 w 829568"/>
              <a:gd name="connsiteY182" fmla="*/ 581948 h 797705"/>
              <a:gd name="connsiteX183" fmla="*/ 41509 w 829568"/>
              <a:gd name="connsiteY183" fmla="*/ 554726 h 797705"/>
              <a:gd name="connsiteX184" fmla="*/ 16441 w 829568"/>
              <a:gd name="connsiteY184" fmla="*/ 543384 h 797705"/>
              <a:gd name="connsiteX185" fmla="*/ 34672 w 829568"/>
              <a:gd name="connsiteY185" fmla="*/ 541115 h 797705"/>
              <a:gd name="connsiteX186" fmla="*/ 41498 w 829568"/>
              <a:gd name="connsiteY186" fmla="*/ 541115 h 797705"/>
              <a:gd name="connsiteX187" fmla="*/ 39341 w 829568"/>
              <a:gd name="connsiteY187" fmla="*/ 528176 h 797705"/>
              <a:gd name="connsiteX188" fmla="*/ 86966 w 829568"/>
              <a:gd name="connsiteY188" fmla="*/ 494839 h 797705"/>
              <a:gd name="connsiteX189" fmla="*/ 65409 w 829568"/>
              <a:gd name="connsiteY189" fmla="*/ 464300 h 797705"/>
              <a:gd name="connsiteX190" fmla="*/ 62429 w 829568"/>
              <a:gd name="connsiteY190" fmla="*/ 465726 h 797705"/>
              <a:gd name="connsiteX191" fmla="*/ 62429 w 829568"/>
              <a:gd name="connsiteY191" fmla="*/ 467991 h 797705"/>
              <a:gd name="connsiteX192" fmla="*/ 57874 w 829568"/>
              <a:gd name="connsiteY192" fmla="*/ 470256 h 797705"/>
              <a:gd name="connsiteX193" fmla="*/ 48763 w 829568"/>
              <a:gd name="connsiteY193" fmla="*/ 472522 h 797705"/>
              <a:gd name="connsiteX194" fmla="*/ 35096 w 829568"/>
              <a:gd name="connsiteY194" fmla="*/ 467991 h 797705"/>
              <a:gd name="connsiteX195" fmla="*/ 32818 w 829568"/>
              <a:gd name="connsiteY195" fmla="*/ 449871 h 797705"/>
              <a:gd name="connsiteX196" fmla="*/ 55596 w 829568"/>
              <a:gd name="connsiteY196" fmla="*/ 418160 h 797705"/>
              <a:gd name="connsiteX197" fmla="*/ 55596 w 829568"/>
              <a:gd name="connsiteY197" fmla="*/ 404569 h 797705"/>
              <a:gd name="connsiteX198" fmla="*/ 48763 w 829568"/>
              <a:gd name="connsiteY198" fmla="*/ 372858 h 797705"/>
              <a:gd name="connsiteX199" fmla="*/ 41929 w 829568"/>
              <a:gd name="connsiteY199" fmla="*/ 354737 h 797705"/>
              <a:gd name="connsiteX200" fmla="*/ 41929 w 829568"/>
              <a:gd name="connsiteY200" fmla="*/ 320761 h 797705"/>
              <a:gd name="connsiteX201" fmla="*/ 41929 w 829568"/>
              <a:gd name="connsiteY201" fmla="*/ 300375 h 797705"/>
              <a:gd name="connsiteX202" fmla="*/ 44207 w 829568"/>
              <a:gd name="connsiteY202" fmla="*/ 302640 h 797705"/>
              <a:gd name="connsiteX203" fmla="*/ 57934 w 829568"/>
              <a:gd name="connsiteY203" fmla="*/ 312196 h 797705"/>
              <a:gd name="connsiteX204" fmla="*/ 58242 w 829568"/>
              <a:gd name="connsiteY204" fmla="*/ 311394 h 797705"/>
              <a:gd name="connsiteX205" fmla="*/ 56256 w 829568"/>
              <a:gd name="connsiteY205" fmla="*/ 310012 h 797705"/>
              <a:gd name="connsiteX206" fmla="*/ 44300 w 829568"/>
              <a:gd name="connsiteY206" fmla="*/ 302367 h 797705"/>
              <a:gd name="connsiteX207" fmla="*/ 42022 w 829568"/>
              <a:gd name="connsiteY207" fmla="*/ 300102 h 797705"/>
              <a:gd name="connsiteX208" fmla="*/ 44300 w 829568"/>
              <a:gd name="connsiteY208" fmla="*/ 291042 h 797705"/>
              <a:gd name="connsiteX209" fmla="*/ 78462 w 829568"/>
              <a:gd name="connsiteY209" fmla="*/ 259331 h 797705"/>
              <a:gd name="connsiteX210" fmla="*/ 92126 w 829568"/>
              <a:gd name="connsiteY210" fmla="*/ 232149 h 797705"/>
              <a:gd name="connsiteX211" fmla="*/ 114901 w 829568"/>
              <a:gd name="connsiteY211" fmla="*/ 211764 h 797705"/>
              <a:gd name="connsiteX212" fmla="*/ 108638 w 829568"/>
              <a:gd name="connsiteY212" fmla="*/ 204968 h 797705"/>
              <a:gd name="connsiteX213" fmla="*/ 92261 w 829568"/>
              <a:gd name="connsiteY213" fmla="*/ 198228 h 797705"/>
              <a:gd name="connsiteX214" fmla="*/ 91806 w 829568"/>
              <a:gd name="connsiteY214" fmla="*/ 198355 h 797705"/>
              <a:gd name="connsiteX215" fmla="*/ 84968 w 829568"/>
              <a:gd name="connsiteY215" fmla="*/ 193807 h 797705"/>
              <a:gd name="connsiteX216" fmla="*/ 94086 w 829568"/>
              <a:gd name="connsiteY216" fmla="*/ 155145 h 797705"/>
              <a:gd name="connsiteX217" fmla="*/ 135114 w 829568"/>
              <a:gd name="connsiteY217" fmla="*/ 127854 h 797705"/>
              <a:gd name="connsiteX218" fmla="*/ 160186 w 829568"/>
              <a:gd name="connsiteY218" fmla="*/ 134677 h 797705"/>
              <a:gd name="connsiteX219" fmla="*/ 160186 w 829568"/>
              <a:gd name="connsiteY219" fmla="*/ 109660 h 797705"/>
              <a:gd name="connsiteX220" fmla="*/ 187538 w 829568"/>
              <a:gd name="connsiteY220" fmla="*/ 82369 h 797705"/>
              <a:gd name="connsiteX221" fmla="*/ 187538 w 829568"/>
              <a:gd name="connsiteY221" fmla="*/ 48256 h 797705"/>
              <a:gd name="connsiteX222" fmla="*/ 190103 w 829568"/>
              <a:gd name="connsiteY222" fmla="*/ 284 h 797705"/>
              <a:gd name="connsiteX0" fmla="*/ 508223 w 829568"/>
              <a:gd name="connsiteY0" fmla="*/ 568783 h 797705"/>
              <a:gd name="connsiteX1" fmla="*/ 505511 w 829568"/>
              <a:gd name="connsiteY1" fmla="*/ 565779 h 797705"/>
              <a:gd name="connsiteX2" fmla="*/ 508223 w 829568"/>
              <a:gd name="connsiteY2" fmla="*/ 565779 h 797705"/>
              <a:gd name="connsiteX3" fmla="*/ 508223 w 829568"/>
              <a:gd name="connsiteY3" fmla="*/ 568052 h 797705"/>
              <a:gd name="connsiteX4" fmla="*/ 508223 w 829568"/>
              <a:gd name="connsiteY4" fmla="*/ 568783 h 797705"/>
              <a:gd name="connsiteX5" fmla="*/ 561350 w 829568"/>
              <a:gd name="connsiteY5" fmla="*/ 243680 h 797705"/>
              <a:gd name="connsiteX6" fmla="*/ 563631 w 829568"/>
              <a:gd name="connsiteY6" fmla="*/ 245950 h 797705"/>
              <a:gd name="connsiteX7" fmla="*/ 563632 w 829568"/>
              <a:gd name="connsiteY7" fmla="*/ 245962 h 797705"/>
              <a:gd name="connsiteX8" fmla="*/ 561350 w 829568"/>
              <a:gd name="connsiteY8" fmla="*/ 243680 h 797705"/>
              <a:gd name="connsiteX9" fmla="*/ 190103 w 829568"/>
              <a:gd name="connsiteY9" fmla="*/ 284 h 797705"/>
              <a:gd name="connsiteX10" fmla="*/ 208052 w 829568"/>
              <a:gd name="connsiteY10" fmla="*/ 7319 h 797705"/>
              <a:gd name="connsiteX11" fmla="*/ 244522 w 829568"/>
              <a:gd name="connsiteY11" fmla="*/ 16416 h 797705"/>
              <a:gd name="connsiteX12" fmla="*/ 269594 w 829568"/>
              <a:gd name="connsiteY12" fmla="*/ 36884 h 797705"/>
              <a:gd name="connsiteX13" fmla="*/ 303784 w 829568"/>
              <a:gd name="connsiteY13" fmla="*/ 59627 h 797705"/>
              <a:gd name="connsiteX14" fmla="*/ 317460 w 829568"/>
              <a:gd name="connsiteY14" fmla="*/ 89192 h 797705"/>
              <a:gd name="connsiteX15" fmla="*/ 353930 w 829568"/>
              <a:gd name="connsiteY15" fmla="*/ 73272 h 797705"/>
              <a:gd name="connsiteX16" fmla="*/ 399516 w 829568"/>
              <a:gd name="connsiteY16" fmla="*/ 82369 h 797705"/>
              <a:gd name="connsiteX17" fmla="*/ 417751 w 829568"/>
              <a:gd name="connsiteY17" fmla="*/ 77821 h 797705"/>
              <a:gd name="connsiteX18" fmla="*/ 438265 w 829568"/>
              <a:gd name="connsiteY18" fmla="*/ 64175 h 797705"/>
              <a:gd name="connsiteX19" fmla="*/ 472455 w 829568"/>
              <a:gd name="connsiteY19" fmla="*/ 73272 h 797705"/>
              <a:gd name="connsiteX20" fmla="*/ 486131 w 829568"/>
              <a:gd name="connsiteY20" fmla="*/ 82369 h 797705"/>
              <a:gd name="connsiteX21" fmla="*/ 490690 w 829568"/>
              <a:gd name="connsiteY21" fmla="*/ 132402 h 797705"/>
              <a:gd name="connsiteX22" fmla="*/ 495248 w 829568"/>
              <a:gd name="connsiteY22" fmla="*/ 196081 h 797705"/>
              <a:gd name="connsiteX23" fmla="*/ 495248 w 829568"/>
              <a:gd name="connsiteY23" fmla="*/ 214275 h 797705"/>
              <a:gd name="connsiteX24" fmla="*/ 495067 w 829568"/>
              <a:gd name="connsiteY24" fmla="*/ 214233 h 797705"/>
              <a:gd name="connsiteX25" fmla="*/ 497146 w 829568"/>
              <a:gd name="connsiteY25" fmla="*/ 220449 h 797705"/>
              <a:gd name="connsiteX26" fmla="*/ 508530 w 829568"/>
              <a:gd name="connsiteY26" fmla="*/ 224986 h 797705"/>
              <a:gd name="connsiteX27" fmla="*/ 524467 w 829568"/>
              <a:gd name="connsiteY27" fmla="*/ 238598 h 797705"/>
              <a:gd name="connsiteX28" fmla="*/ 556340 w 829568"/>
              <a:gd name="connsiteY28" fmla="*/ 234060 h 797705"/>
              <a:gd name="connsiteX29" fmla="*/ 560894 w 829568"/>
              <a:gd name="connsiteY29" fmla="*/ 243135 h 797705"/>
              <a:gd name="connsiteX30" fmla="*/ 563170 w 829568"/>
              <a:gd name="connsiteY30" fmla="*/ 247672 h 797705"/>
              <a:gd name="connsiteX31" fmla="*/ 563684 w 829568"/>
              <a:gd name="connsiteY31" fmla="*/ 246583 h 797705"/>
              <a:gd name="connsiteX32" fmla="*/ 570440 w 829568"/>
              <a:gd name="connsiteY32" fmla="*/ 254988 h 797705"/>
              <a:gd name="connsiteX33" fmla="*/ 570445 w 829568"/>
              <a:gd name="connsiteY33" fmla="*/ 254942 h 797705"/>
              <a:gd name="connsiteX34" fmla="*/ 574113 w 829568"/>
              <a:gd name="connsiteY34" fmla="*/ 256872 h 797705"/>
              <a:gd name="connsiteX35" fmla="*/ 567290 w 829568"/>
              <a:gd name="connsiteY35" fmla="*/ 250109 h 797705"/>
              <a:gd name="connsiteX36" fmla="*/ 563684 w 829568"/>
              <a:gd name="connsiteY36" fmla="*/ 246583 h 797705"/>
              <a:gd name="connsiteX37" fmla="*/ 574458 w 829568"/>
              <a:gd name="connsiteY37" fmla="*/ 256788 h 797705"/>
              <a:gd name="connsiteX38" fmla="*/ 583230 w 829568"/>
              <a:gd name="connsiteY38" fmla="*/ 254659 h 797705"/>
              <a:gd name="connsiteX39" fmla="*/ 595448 w 829568"/>
              <a:gd name="connsiteY39" fmla="*/ 250406 h 797705"/>
              <a:gd name="connsiteX40" fmla="*/ 624997 w 829568"/>
              <a:gd name="connsiteY40" fmla="*/ 282159 h 797705"/>
              <a:gd name="connsiteX41" fmla="*/ 637214 w 829568"/>
              <a:gd name="connsiteY41" fmla="*/ 311928 h 797705"/>
              <a:gd name="connsiteX42" fmla="*/ 636731 w 829568"/>
              <a:gd name="connsiteY42" fmla="*/ 319061 h 797705"/>
              <a:gd name="connsiteX43" fmla="*/ 636185 w 829568"/>
              <a:gd name="connsiteY43" fmla="*/ 327131 h 797705"/>
              <a:gd name="connsiteX44" fmla="*/ 640908 w 829568"/>
              <a:gd name="connsiteY44" fmla="*/ 343397 h 797705"/>
              <a:gd name="connsiteX45" fmla="*/ 656819 w 829568"/>
              <a:gd name="connsiteY45" fmla="*/ 329788 h 797705"/>
              <a:gd name="connsiteX46" fmla="*/ 672730 w 829568"/>
              <a:gd name="connsiteY46" fmla="*/ 347933 h 797705"/>
              <a:gd name="connsiteX47" fmla="*/ 679549 w 829568"/>
              <a:gd name="connsiteY47" fmla="*/ 366077 h 797705"/>
              <a:gd name="connsiteX48" fmla="*/ 686368 w 829568"/>
              <a:gd name="connsiteY48" fmla="*/ 418243 h 797705"/>
              <a:gd name="connsiteX49" fmla="*/ 736375 w 829568"/>
              <a:gd name="connsiteY49" fmla="*/ 413707 h 797705"/>
              <a:gd name="connsiteX50" fmla="*/ 756832 w 829568"/>
              <a:gd name="connsiteY50" fmla="*/ 420511 h 797705"/>
              <a:gd name="connsiteX51" fmla="*/ 765924 w 829568"/>
              <a:gd name="connsiteY51" fmla="*/ 406903 h 797705"/>
              <a:gd name="connsiteX52" fmla="*/ 829568 w 829568"/>
              <a:gd name="connsiteY52" fmla="*/ 397830 h 797705"/>
              <a:gd name="connsiteX53" fmla="*/ 829568 w 829568"/>
              <a:gd name="connsiteY53" fmla="*/ 413707 h 797705"/>
              <a:gd name="connsiteX54" fmla="*/ 827295 w 829568"/>
              <a:gd name="connsiteY54" fmla="*/ 422779 h 797705"/>
              <a:gd name="connsiteX55" fmla="*/ 822749 w 829568"/>
              <a:gd name="connsiteY55" fmla="*/ 427315 h 797705"/>
              <a:gd name="connsiteX56" fmla="*/ 815930 w 829568"/>
              <a:gd name="connsiteY56" fmla="*/ 427315 h 797705"/>
              <a:gd name="connsiteX57" fmla="*/ 809111 w 829568"/>
              <a:gd name="connsiteY57" fmla="*/ 443192 h 797705"/>
              <a:gd name="connsiteX58" fmla="*/ 802292 w 829568"/>
              <a:gd name="connsiteY58" fmla="*/ 452264 h 797705"/>
              <a:gd name="connsiteX59" fmla="*/ 800019 w 829568"/>
              <a:gd name="connsiteY59" fmla="*/ 459068 h 797705"/>
              <a:gd name="connsiteX60" fmla="*/ 800019 w 829568"/>
              <a:gd name="connsiteY60" fmla="*/ 470408 h 797705"/>
              <a:gd name="connsiteX61" fmla="*/ 800019 w 829568"/>
              <a:gd name="connsiteY61" fmla="*/ 481749 h 797705"/>
              <a:gd name="connsiteX62" fmla="*/ 784108 w 829568"/>
              <a:gd name="connsiteY62" fmla="*/ 477212 h 797705"/>
              <a:gd name="connsiteX63" fmla="*/ 777289 w 829568"/>
              <a:gd name="connsiteY63" fmla="*/ 477212 h 797705"/>
              <a:gd name="connsiteX64" fmla="*/ 770470 w 829568"/>
              <a:gd name="connsiteY64" fmla="*/ 481749 h 797705"/>
              <a:gd name="connsiteX65" fmla="*/ 768197 w 829568"/>
              <a:gd name="connsiteY65" fmla="*/ 488553 h 797705"/>
              <a:gd name="connsiteX66" fmla="*/ 750013 w 829568"/>
              <a:gd name="connsiteY66" fmla="*/ 497625 h 797705"/>
              <a:gd name="connsiteX67" fmla="*/ 745467 w 829568"/>
              <a:gd name="connsiteY67" fmla="*/ 490821 h 797705"/>
              <a:gd name="connsiteX68" fmla="*/ 740921 w 829568"/>
              <a:gd name="connsiteY68" fmla="*/ 493089 h 797705"/>
              <a:gd name="connsiteX69" fmla="*/ 738648 w 829568"/>
              <a:gd name="connsiteY69" fmla="*/ 499893 h 797705"/>
              <a:gd name="connsiteX70" fmla="*/ 738648 w 829568"/>
              <a:gd name="connsiteY70" fmla="*/ 502161 h 797705"/>
              <a:gd name="connsiteX71" fmla="*/ 725010 w 829568"/>
              <a:gd name="connsiteY71" fmla="*/ 504429 h 797705"/>
              <a:gd name="connsiteX72" fmla="*/ 715918 w 829568"/>
              <a:gd name="connsiteY72" fmla="*/ 508965 h 797705"/>
              <a:gd name="connsiteX73" fmla="*/ 715918 w 829568"/>
              <a:gd name="connsiteY73" fmla="*/ 520306 h 797705"/>
              <a:gd name="connsiteX74" fmla="*/ 713645 w 829568"/>
              <a:gd name="connsiteY74" fmla="*/ 522574 h 797705"/>
              <a:gd name="connsiteX75" fmla="*/ 693188 w 829568"/>
              <a:gd name="connsiteY75" fmla="*/ 527110 h 797705"/>
              <a:gd name="connsiteX76" fmla="*/ 677276 w 829568"/>
              <a:gd name="connsiteY76" fmla="*/ 531646 h 797705"/>
              <a:gd name="connsiteX77" fmla="*/ 668184 w 829568"/>
              <a:gd name="connsiteY77" fmla="*/ 527110 h 797705"/>
              <a:gd name="connsiteX78" fmla="*/ 665911 w 829568"/>
              <a:gd name="connsiteY78" fmla="*/ 529378 h 797705"/>
              <a:gd name="connsiteX79" fmla="*/ 665911 w 829568"/>
              <a:gd name="connsiteY79" fmla="*/ 538450 h 797705"/>
              <a:gd name="connsiteX80" fmla="*/ 659092 w 829568"/>
              <a:gd name="connsiteY80" fmla="*/ 540718 h 797705"/>
              <a:gd name="connsiteX81" fmla="*/ 659092 w 829568"/>
              <a:gd name="connsiteY81" fmla="*/ 545254 h 797705"/>
              <a:gd name="connsiteX82" fmla="*/ 659092 w 829568"/>
              <a:gd name="connsiteY82" fmla="*/ 556595 h 797705"/>
              <a:gd name="connsiteX83" fmla="*/ 656819 w 829568"/>
              <a:gd name="connsiteY83" fmla="*/ 561131 h 797705"/>
              <a:gd name="connsiteX84" fmla="*/ 652273 w 829568"/>
              <a:gd name="connsiteY84" fmla="*/ 561131 h 797705"/>
              <a:gd name="connsiteX85" fmla="*/ 650000 w 829568"/>
              <a:gd name="connsiteY85" fmla="*/ 561131 h 797705"/>
              <a:gd name="connsiteX86" fmla="*/ 618178 w 829568"/>
              <a:gd name="connsiteY86" fmla="*/ 552058 h 797705"/>
              <a:gd name="connsiteX87" fmla="*/ 618178 w 829568"/>
              <a:gd name="connsiteY87" fmla="*/ 549790 h 797705"/>
              <a:gd name="connsiteX88" fmla="*/ 609086 w 829568"/>
              <a:gd name="connsiteY88" fmla="*/ 542986 h 797705"/>
              <a:gd name="connsiteX89" fmla="*/ 599994 w 829568"/>
              <a:gd name="connsiteY89" fmla="*/ 547522 h 797705"/>
              <a:gd name="connsiteX90" fmla="*/ 590902 w 829568"/>
              <a:gd name="connsiteY90" fmla="*/ 554327 h 797705"/>
              <a:gd name="connsiteX91" fmla="*/ 579537 w 829568"/>
              <a:gd name="connsiteY91" fmla="*/ 563399 h 797705"/>
              <a:gd name="connsiteX92" fmla="*/ 574991 w 829568"/>
              <a:gd name="connsiteY92" fmla="*/ 556595 h 797705"/>
              <a:gd name="connsiteX93" fmla="*/ 570445 w 829568"/>
              <a:gd name="connsiteY93" fmla="*/ 558863 h 797705"/>
              <a:gd name="connsiteX94" fmla="*/ 568172 w 829568"/>
              <a:gd name="connsiteY94" fmla="*/ 563399 h 797705"/>
              <a:gd name="connsiteX95" fmla="*/ 568172 w 829568"/>
              <a:gd name="connsiteY95" fmla="*/ 565667 h 797705"/>
              <a:gd name="connsiteX96" fmla="*/ 568172 w 829568"/>
              <a:gd name="connsiteY96" fmla="*/ 570203 h 797705"/>
              <a:gd name="connsiteX97" fmla="*/ 565899 w 829568"/>
              <a:gd name="connsiteY97" fmla="*/ 572471 h 797705"/>
              <a:gd name="connsiteX98" fmla="*/ 565899 w 829568"/>
              <a:gd name="connsiteY98" fmla="*/ 574739 h 797705"/>
              <a:gd name="connsiteX99" fmla="*/ 581810 w 829568"/>
              <a:gd name="connsiteY99" fmla="*/ 581543 h 797705"/>
              <a:gd name="connsiteX100" fmla="*/ 586356 w 829568"/>
              <a:gd name="connsiteY100" fmla="*/ 586079 h 797705"/>
              <a:gd name="connsiteX101" fmla="*/ 590902 w 829568"/>
              <a:gd name="connsiteY101" fmla="*/ 579275 h 797705"/>
              <a:gd name="connsiteX102" fmla="*/ 597721 w 829568"/>
              <a:gd name="connsiteY102" fmla="*/ 583811 h 797705"/>
              <a:gd name="connsiteX103" fmla="*/ 599994 w 829568"/>
              <a:gd name="connsiteY103" fmla="*/ 579275 h 797705"/>
              <a:gd name="connsiteX104" fmla="*/ 606813 w 829568"/>
              <a:gd name="connsiteY104" fmla="*/ 588347 h 797705"/>
              <a:gd name="connsiteX105" fmla="*/ 606813 w 829568"/>
              <a:gd name="connsiteY105" fmla="*/ 590616 h 797705"/>
              <a:gd name="connsiteX106" fmla="*/ 602267 w 829568"/>
              <a:gd name="connsiteY106" fmla="*/ 601956 h 797705"/>
              <a:gd name="connsiteX107" fmla="*/ 604540 w 829568"/>
              <a:gd name="connsiteY107" fmla="*/ 606492 h 797705"/>
              <a:gd name="connsiteX108" fmla="*/ 609086 w 829568"/>
              <a:gd name="connsiteY108" fmla="*/ 611028 h 797705"/>
              <a:gd name="connsiteX109" fmla="*/ 606813 w 829568"/>
              <a:gd name="connsiteY109" fmla="*/ 613296 h 797705"/>
              <a:gd name="connsiteX110" fmla="*/ 588629 w 829568"/>
              <a:gd name="connsiteY110" fmla="*/ 613296 h 797705"/>
              <a:gd name="connsiteX111" fmla="*/ 572718 w 829568"/>
              <a:gd name="connsiteY111" fmla="*/ 597420 h 797705"/>
              <a:gd name="connsiteX112" fmla="*/ 568172 w 829568"/>
              <a:gd name="connsiteY112" fmla="*/ 606492 h 797705"/>
              <a:gd name="connsiteX113" fmla="*/ 561353 w 829568"/>
              <a:gd name="connsiteY113" fmla="*/ 597420 h 797705"/>
              <a:gd name="connsiteX114" fmla="*/ 556807 w 829568"/>
              <a:gd name="connsiteY114" fmla="*/ 592884 h 797705"/>
              <a:gd name="connsiteX115" fmla="*/ 540896 w 829568"/>
              <a:gd name="connsiteY115" fmla="*/ 570203 h 797705"/>
              <a:gd name="connsiteX116" fmla="*/ 529530 w 829568"/>
              <a:gd name="connsiteY116" fmla="*/ 565667 h 797705"/>
              <a:gd name="connsiteX117" fmla="*/ 518165 w 829568"/>
              <a:gd name="connsiteY117" fmla="*/ 572471 h 797705"/>
              <a:gd name="connsiteX118" fmla="*/ 509073 w 829568"/>
              <a:gd name="connsiteY118" fmla="*/ 577007 h 797705"/>
              <a:gd name="connsiteX119" fmla="*/ 506800 w 829568"/>
              <a:gd name="connsiteY119" fmla="*/ 574739 h 797705"/>
              <a:gd name="connsiteX120" fmla="*/ 504527 w 829568"/>
              <a:gd name="connsiteY120" fmla="*/ 574739 h 797705"/>
              <a:gd name="connsiteX121" fmla="*/ 503669 w 829568"/>
              <a:gd name="connsiteY121" fmla="*/ 574870 h 797705"/>
              <a:gd name="connsiteX122" fmla="*/ 505946 w 829568"/>
              <a:gd name="connsiteY122" fmla="*/ 577143 h 797705"/>
              <a:gd name="connsiteX123" fmla="*/ 505946 w 829568"/>
              <a:gd name="connsiteY123" fmla="*/ 579415 h 797705"/>
              <a:gd name="connsiteX124" fmla="*/ 505946 w 829568"/>
              <a:gd name="connsiteY124" fmla="*/ 581688 h 797705"/>
              <a:gd name="connsiteX125" fmla="*/ 496839 w 829568"/>
              <a:gd name="connsiteY125" fmla="*/ 590779 h 797705"/>
              <a:gd name="connsiteX126" fmla="*/ 496839 w 829568"/>
              <a:gd name="connsiteY126" fmla="*/ 595324 h 797705"/>
              <a:gd name="connsiteX127" fmla="*/ 501392 w 829568"/>
              <a:gd name="connsiteY127" fmla="*/ 599870 h 797705"/>
              <a:gd name="connsiteX128" fmla="*/ 510500 w 829568"/>
              <a:gd name="connsiteY128" fmla="*/ 608960 h 797705"/>
              <a:gd name="connsiteX129" fmla="*/ 508223 w 829568"/>
              <a:gd name="connsiteY129" fmla="*/ 613506 h 797705"/>
              <a:gd name="connsiteX130" fmla="*/ 508223 w 829568"/>
              <a:gd name="connsiteY130" fmla="*/ 618051 h 797705"/>
              <a:gd name="connsiteX131" fmla="*/ 490008 w 829568"/>
              <a:gd name="connsiteY131" fmla="*/ 640778 h 797705"/>
              <a:gd name="connsiteX132" fmla="*/ 464962 w 829568"/>
              <a:gd name="connsiteY132" fmla="*/ 631687 h 797705"/>
              <a:gd name="connsiteX133" fmla="*/ 451300 w 829568"/>
              <a:gd name="connsiteY133" fmla="*/ 624869 h 797705"/>
              <a:gd name="connsiteX134" fmla="*/ 423977 w 829568"/>
              <a:gd name="connsiteY134" fmla="*/ 638506 h 797705"/>
              <a:gd name="connsiteX135" fmla="*/ 414870 w 829568"/>
              <a:gd name="connsiteY135" fmla="*/ 643051 h 797705"/>
              <a:gd name="connsiteX136" fmla="*/ 398931 w 829568"/>
              <a:gd name="connsiteY136" fmla="*/ 645324 h 797705"/>
              <a:gd name="connsiteX137" fmla="*/ 394378 w 829568"/>
              <a:gd name="connsiteY137" fmla="*/ 652142 h 797705"/>
              <a:gd name="connsiteX138" fmla="*/ 373885 w 829568"/>
              <a:gd name="connsiteY138" fmla="*/ 654415 h 797705"/>
              <a:gd name="connsiteX139" fmla="*/ 353393 w 829568"/>
              <a:gd name="connsiteY139" fmla="*/ 661233 h 797705"/>
              <a:gd name="connsiteX140" fmla="*/ 344285 w 829568"/>
              <a:gd name="connsiteY140" fmla="*/ 683960 h 797705"/>
              <a:gd name="connsiteX141" fmla="*/ 346559 w 829568"/>
              <a:gd name="connsiteY141" fmla="*/ 695305 h 797705"/>
              <a:gd name="connsiteX142" fmla="*/ 346890 w 829568"/>
              <a:gd name="connsiteY142" fmla="*/ 695371 h 797705"/>
              <a:gd name="connsiteX143" fmla="*/ 349169 w 829568"/>
              <a:gd name="connsiteY143" fmla="*/ 697639 h 797705"/>
              <a:gd name="connsiteX144" fmla="*/ 349169 w 829568"/>
              <a:gd name="connsiteY144" fmla="*/ 708981 h 797705"/>
              <a:gd name="connsiteX145" fmla="*/ 349169 w 829568"/>
              <a:gd name="connsiteY145" fmla="*/ 713518 h 797705"/>
              <a:gd name="connsiteX146" fmla="*/ 346890 w 829568"/>
              <a:gd name="connsiteY146" fmla="*/ 724861 h 797705"/>
              <a:gd name="connsiteX147" fmla="*/ 340053 w 829568"/>
              <a:gd name="connsiteY147" fmla="*/ 722592 h 797705"/>
              <a:gd name="connsiteX148" fmla="*/ 317264 w 829568"/>
              <a:gd name="connsiteY148" fmla="*/ 720324 h 797705"/>
              <a:gd name="connsiteX149" fmla="*/ 312706 w 829568"/>
              <a:gd name="connsiteY149" fmla="*/ 718055 h 797705"/>
              <a:gd name="connsiteX150" fmla="*/ 303590 w 829568"/>
              <a:gd name="connsiteY150" fmla="*/ 724861 h 797705"/>
              <a:gd name="connsiteX151" fmla="*/ 294474 w 829568"/>
              <a:gd name="connsiteY151" fmla="*/ 731666 h 797705"/>
              <a:gd name="connsiteX152" fmla="*/ 289916 w 829568"/>
              <a:gd name="connsiteY152" fmla="*/ 738471 h 797705"/>
              <a:gd name="connsiteX153" fmla="*/ 289916 w 829568"/>
              <a:gd name="connsiteY153" fmla="*/ 752082 h 797705"/>
              <a:gd name="connsiteX154" fmla="*/ 280800 w 829568"/>
              <a:gd name="connsiteY154" fmla="*/ 740740 h 797705"/>
              <a:gd name="connsiteX155" fmla="*/ 278521 w 829568"/>
              <a:gd name="connsiteY155" fmla="*/ 738471 h 797705"/>
              <a:gd name="connsiteX156" fmla="*/ 278521 w 829568"/>
              <a:gd name="connsiteY156" fmla="*/ 743008 h 797705"/>
              <a:gd name="connsiteX157" fmla="*/ 276242 w 829568"/>
              <a:gd name="connsiteY157" fmla="*/ 749814 h 797705"/>
              <a:gd name="connsiteX158" fmla="*/ 269405 w 829568"/>
              <a:gd name="connsiteY158" fmla="*/ 761156 h 797705"/>
              <a:gd name="connsiteX159" fmla="*/ 232942 w 829568"/>
              <a:gd name="connsiteY159" fmla="*/ 749814 h 797705"/>
              <a:gd name="connsiteX160" fmla="*/ 230663 w 829568"/>
              <a:gd name="connsiteY160" fmla="*/ 754351 h 797705"/>
              <a:gd name="connsiteX161" fmla="*/ 203316 w 829568"/>
              <a:gd name="connsiteY161" fmla="*/ 754351 h 797705"/>
              <a:gd name="connsiteX162" fmla="*/ 180526 w 829568"/>
              <a:gd name="connsiteY162" fmla="*/ 761156 h 797705"/>
              <a:gd name="connsiteX163" fmla="*/ 169131 w 829568"/>
              <a:gd name="connsiteY163" fmla="*/ 767961 h 797705"/>
              <a:gd name="connsiteX164" fmla="*/ 157736 w 829568"/>
              <a:gd name="connsiteY164" fmla="*/ 783841 h 797705"/>
              <a:gd name="connsiteX165" fmla="*/ 137226 w 829568"/>
              <a:gd name="connsiteY165" fmla="*/ 797451 h 797705"/>
              <a:gd name="connsiteX166" fmla="*/ 128110 w 829568"/>
              <a:gd name="connsiteY166" fmla="*/ 786109 h 797705"/>
              <a:gd name="connsiteX167" fmla="*/ 121273 w 829568"/>
              <a:gd name="connsiteY167" fmla="*/ 792914 h 797705"/>
              <a:gd name="connsiteX168" fmla="*/ 93925 w 829568"/>
              <a:gd name="connsiteY168" fmla="*/ 790646 h 797705"/>
              <a:gd name="connsiteX169" fmla="*/ 68857 w 829568"/>
              <a:gd name="connsiteY169" fmla="*/ 790646 h 797705"/>
              <a:gd name="connsiteX170" fmla="*/ 57462 w 829568"/>
              <a:gd name="connsiteY170" fmla="*/ 792914 h 797705"/>
              <a:gd name="connsiteX171" fmla="*/ 46067 w 829568"/>
              <a:gd name="connsiteY171" fmla="*/ 788377 h 797705"/>
              <a:gd name="connsiteX172" fmla="*/ 25556 w 829568"/>
              <a:gd name="connsiteY172" fmla="*/ 786109 h 797705"/>
              <a:gd name="connsiteX173" fmla="*/ 25556 w 829568"/>
              <a:gd name="connsiteY173" fmla="*/ 783841 h 797705"/>
              <a:gd name="connsiteX174" fmla="*/ 27835 w 829568"/>
              <a:gd name="connsiteY174" fmla="*/ 777035 h 797705"/>
              <a:gd name="connsiteX175" fmla="*/ 25556 w 829568"/>
              <a:gd name="connsiteY175" fmla="*/ 774767 h 797705"/>
              <a:gd name="connsiteX176" fmla="*/ 43788 w 829568"/>
              <a:gd name="connsiteY176" fmla="*/ 770230 h 797705"/>
              <a:gd name="connsiteX177" fmla="*/ 48346 w 829568"/>
              <a:gd name="connsiteY177" fmla="*/ 699908 h 797705"/>
              <a:gd name="connsiteX178" fmla="*/ 5046 w 829568"/>
              <a:gd name="connsiteY178" fmla="*/ 670418 h 797705"/>
              <a:gd name="connsiteX179" fmla="*/ 30114 w 829568"/>
              <a:gd name="connsiteY179" fmla="*/ 615975 h 797705"/>
              <a:gd name="connsiteX180" fmla="*/ 41509 w 829568"/>
              <a:gd name="connsiteY180" fmla="*/ 600095 h 797705"/>
              <a:gd name="connsiteX181" fmla="*/ 34672 w 829568"/>
              <a:gd name="connsiteY181" fmla="*/ 581948 h 797705"/>
              <a:gd name="connsiteX182" fmla="*/ 41509 w 829568"/>
              <a:gd name="connsiteY182" fmla="*/ 554726 h 797705"/>
              <a:gd name="connsiteX183" fmla="*/ 16441 w 829568"/>
              <a:gd name="connsiteY183" fmla="*/ 543384 h 797705"/>
              <a:gd name="connsiteX184" fmla="*/ 34672 w 829568"/>
              <a:gd name="connsiteY184" fmla="*/ 541115 h 797705"/>
              <a:gd name="connsiteX185" fmla="*/ 41498 w 829568"/>
              <a:gd name="connsiteY185" fmla="*/ 541115 h 797705"/>
              <a:gd name="connsiteX186" fmla="*/ 39341 w 829568"/>
              <a:gd name="connsiteY186" fmla="*/ 528176 h 797705"/>
              <a:gd name="connsiteX187" fmla="*/ 86966 w 829568"/>
              <a:gd name="connsiteY187" fmla="*/ 494839 h 797705"/>
              <a:gd name="connsiteX188" fmla="*/ 65409 w 829568"/>
              <a:gd name="connsiteY188" fmla="*/ 464300 h 797705"/>
              <a:gd name="connsiteX189" fmla="*/ 62429 w 829568"/>
              <a:gd name="connsiteY189" fmla="*/ 465726 h 797705"/>
              <a:gd name="connsiteX190" fmla="*/ 62429 w 829568"/>
              <a:gd name="connsiteY190" fmla="*/ 467991 h 797705"/>
              <a:gd name="connsiteX191" fmla="*/ 57874 w 829568"/>
              <a:gd name="connsiteY191" fmla="*/ 470256 h 797705"/>
              <a:gd name="connsiteX192" fmla="*/ 48763 w 829568"/>
              <a:gd name="connsiteY192" fmla="*/ 472522 h 797705"/>
              <a:gd name="connsiteX193" fmla="*/ 35096 w 829568"/>
              <a:gd name="connsiteY193" fmla="*/ 467991 h 797705"/>
              <a:gd name="connsiteX194" fmla="*/ 32818 w 829568"/>
              <a:gd name="connsiteY194" fmla="*/ 449871 h 797705"/>
              <a:gd name="connsiteX195" fmla="*/ 55596 w 829568"/>
              <a:gd name="connsiteY195" fmla="*/ 418160 h 797705"/>
              <a:gd name="connsiteX196" fmla="*/ 55596 w 829568"/>
              <a:gd name="connsiteY196" fmla="*/ 404569 h 797705"/>
              <a:gd name="connsiteX197" fmla="*/ 48763 w 829568"/>
              <a:gd name="connsiteY197" fmla="*/ 372858 h 797705"/>
              <a:gd name="connsiteX198" fmla="*/ 41929 w 829568"/>
              <a:gd name="connsiteY198" fmla="*/ 354737 h 797705"/>
              <a:gd name="connsiteX199" fmla="*/ 41929 w 829568"/>
              <a:gd name="connsiteY199" fmla="*/ 320761 h 797705"/>
              <a:gd name="connsiteX200" fmla="*/ 41929 w 829568"/>
              <a:gd name="connsiteY200" fmla="*/ 300375 h 797705"/>
              <a:gd name="connsiteX201" fmla="*/ 44207 w 829568"/>
              <a:gd name="connsiteY201" fmla="*/ 302640 h 797705"/>
              <a:gd name="connsiteX202" fmla="*/ 57934 w 829568"/>
              <a:gd name="connsiteY202" fmla="*/ 312196 h 797705"/>
              <a:gd name="connsiteX203" fmla="*/ 58242 w 829568"/>
              <a:gd name="connsiteY203" fmla="*/ 311394 h 797705"/>
              <a:gd name="connsiteX204" fmla="*/ 56256 w 829568"/>
              <a:gd name="connsiteY204" fmla="*/ 310012 h 797705"/>
              <a:gd name="connsiteX205" fmla="*/ 44300 w 829568"/>
              <a:gd name="connsiteY205" fmla="*/ 302367 h 797705"/>
              <a:gd name="connsiteX206" fmla="*/ 42022 w 829568"/>
              <a:gd name="connsiteY206" fmla="*/ 300102 h 797705"/>
              <a:gd name="connsiteX207" fmla="*/ 44300 w 829568"/>
              <a:gd name="connsiteY207" fmla="*/ 291042 h 797705"/>
              <a:gd name="connsiteX208" fmla="*/ 78462 w 829568"/>
              <a:gd name="connsiteY208" fmla="*/ 259331 h 797705"/>
              <a:gd name="connsiteX209" fmla="*/ 92126 w 829568"/>
              <a:gd name="connsiteY209" fmla="*/ 232149 h 797705"/>
              <a:gd name="connsiteX210" fmla="*/ 114901 w 829568"/>
              <a:gd name="connsiteY210" fmla="*/ 211764 h 797705"/>
              <a:gd name="connsiteX211" fmla="*/ 108638 w 829568"/>
              <a:gd name="connsiteY211" fmla="*/ 204968 h 797705"/>
              <a:gd name="connsiteX212" fmla="*/ 92261 w 829568"/>
              <a:gd name="connsiteY212" fmla="*/ 198228 h 797705"/>
              <a:gd name="connsiteX213" fmla="*/ 91806 w 829568"/>
              <a:gd name="connsiteY213" fmla="*/ 198355 h 797705"/>
              <a:gd name="connsiteX214" fmla="*/ 84968 w 829568"/>
              <a:gd name="connsiteY214" fmla="*/ 193807 h 797705"/>
              <a:gd name="connsiteX215" fmla="*/ 94086 w 829568"/>
              <a:gd name="connsiteY215" fmla="*/ 155145 h 797705"/>
              <a:gd name="connsiteX216" fmla="*/ 135114 w 829568"/>
              <a:gd name="connsiteY216" fmla="*/ 127854 h 797705"/>
              <a:gd name="connsiteX217" fmla="*/ 160186 w 829568"/>
              <a:gd name="connsiteY217" fmla="*/ 134677 h 797705"/>
              <a:gd name="connsiteX218" fmla="*/ 160186 w 829568"/>
              <a:gd name="connsiteY218" fmla="*/ 109660 h 797705"/>
              <a:gd name="connsiteX219" fmla="*/ 187538 w 829568"/>
              <a:gd name="connsiteY219" fmla="*/ 82369 h 797705"/>
              <a:gd name="connsiteX220" fmla="*/ 187538 w 829568"/>
              <a:gd name="connsiteY220" fmla="*/ 48256 h 797705"/>
              <a:gd name="connsiteX221" fmla="*/ 190103 w 829568"/>
              <a:gd name="connsiteY221" fmla="*/ 284 h 797705"/>
              <a:gd name="connsiteX0" fmla="*/ 508223 w 829568"/>
              <a:gd name="connsiteY0" fmla="*/ 568052 h 797705"/>
              <a:gd name="connsiteX1" fmla="*/ 505511 w 829568"/>
              <a:gd name="connsiteY1" fmla="*/ 565779 h 797705"/>
              <a:gd name="connsiteX2" fmla="*/ 508223 w 829568"/>
              <a:gd name="connsiteY2" fmla="*/ 565779 h 797705"/>
              <a:gd name="connsiteX3" fmla="*/ 508223 w 829568"/>
              <a:gd name="connsiteY3" fmla="*/ 568052 h 797705"/>
              <a:gd name="connsiteX4" fmla="*/ 561350 w 829568"/>
              <a:gd name="connsiteY4" fmla="*/ 243680 h 797705"/>
              <a:gd name="connsiteX5" fmla="*/ 563631 w 829568"/>
              <a:gd name="connsiteY5" fmla="*/ 245950 h 797705"/>
              <a:gd name="connsiteX6" fmla="*/ 563632 w 829568"/>
              <a:gd name="connsiteY6" fmla="*/ 245962 h 797705"/>
              <a:gd name="connsiteX7" fmla="*/ 561350 w 829568"/>
              <a:gd name="connsiteY7" fmla="*/ 243680 h 797705"/>
              <a:gd name="connsiteX8" fmla="*/ 190103 w 829568"/>
              <a:gd name="connsiteY8" fmla="*/ 284 h 797705"/>
              <a:gd name="connsiteX9" fmla="*/ 208052 w 829568"/>
              <a:gd name="connsiteY9" fmla="*/ 7319 h 797705"/>
              <a:gd name="connsiteX10" fmla="*/ 244522 w 829568"/>
              <a:gd name="connsiteY10" fmla="*/ 16416 h 797705"/>
              <a:gd name="connsiteX11" fmla="*/ 269594 w 829568"/>
              <a:gd name="connsiteY11" fmla="*/ 36884 h 797705"/>
              <a:gd name="connsiteX12" fmla="*/ 303784 w 829568"/>
              <a:gd name="connsiteY12" fmla="*/ 59627 h 797705"/>
              <a:gd name="connsiteX13" fmla="*/ 317460 w 829568"/>
              <a:gd name="connsiteY13" fmla="*/ 89192 h 797705"/>
              <a:gd name="connsiteX14" fmla="*/ 353930 w 829568"/>
              <a:gd name="connsiteY14" fmla="*/ 73272 h 797705"/>
              <a:gd name="connsiteX15" fmla="*/ 399516 w 829568"/>
              <a:gd name="connsiteY15" fmla="*/ 82369 h 797705"/>
              <a:gd name="connsiteX16" fmla="*/ 417751 w 829568"/>
              <a:gd name="connsiteY16" fmla="*/ 77821 h 797705"/>
              <a:gd name="connsiteX17" fmla="*/ 438265 w 829568"/>
              <a:gd name="connsiteY17" fmla="*/ 64175 h 797705"/>
              <a:gd name="connsiteX18" fmla="*/ 472455 w 829568"/>
              <a:gd name="connsiteY18" fmla="*/ 73272 h 797705"/>
              <a:gd name="connsiteX19" fmla="*/ 486131 w 829568"/>
              <a:gd name="connsiteY19" fmla="*/ 82369 h 797705"/>
              <a:gd name="connsiteX20" fmla="*/ 490690 w 829568"/>
              <a:gd name="connsiteY20" fmla="*/ 132402 h 797705"/>
              <a:gd name="connsiteX21" fmla="*/ 495248 w 829568"/>
              <a:gd name="connsiteY21" fmla="*/ 196081 h 797705"/>
              <a:gd name="connsiteX22" fmla="*/ 495248 w 829568"/>
              <a:gd name="connsiteY22" fmla="*/ 214275 h 797705"/>
              <a:gd name="connsiteX23" fmla="*/ 495067 w 829568"/>
              <a:gd name="connsiteY23" fmla="*/ 214233 h 797705"/>
              <a:gd name="connsiteX24" fmla="*/ 497146 w 829568"/>
              <a:gd name="connsiteY24" fmla="*/ 220449 h 797705"/>
              <a:gd name="connsiteX25" fmla="*/ 508530 w 829568"/>
              <a:gd name="connsiteY25" fmla="*/ 224986 h 797705"/>
              <a:gd name="connsiteX26" fmla="*/ 524467 w 829568"/>
              <a:gd name="connsiteY26" fmla="*/ 238598 h 797705"/>
              <a:gd name="connsiteX27" fmla="*/ 556340 w 829568"/>
              <a:gd name="connsiteY27" fmla="*/ 234060 h 797705"/>
              <a:gd name="connsiteX28" fmla="*/ 560894 w 829568"/>
              <a:gd name="connsiteY28" fmla="*/ 243135 h 797705"/>
              <a:gd name="connsiteX29" fmla="*/ 563170 w 829568"/>
              <a:gd name="connsiteY29" fmla="*/ 247672 h 797705"/>
              <a:gd name="connsiteX30" fmla="*/ 563684 w 829568"/>
              <a:gd name="connsiteY30" fmla="*/ 246583 h 797705"/>
              <a:gd name="connsiteX31" fmla="*/ 570440 w 829568"/>
              <a:gd name="connsiteY31" fmla="*/ 254988 h 797705"/>
              <a:gd name="connsiteX32" fmla="*/ 570445 w 829568"/>
              <a:gd name="connsiteY32" fmla="*/ 254942 h 797705"/>
              <a:gd name="connsiteX33" fmla="*/ 574113 w 829568"/>
              <a:gd name="connsiteY33" fmla="*/ 256872 h 797705"/>
              <a:gd name="connsiteX34" fmla="*/ 567290 w 829568"/>
              <a:gd name="connsiteY34" fmla="*/ 250109 h 797705"/>
              <a:gd name="connsiteX35" fmla="*/ 563684 w 829568"/>
              <a:gd name="connsiteY35" fmla="*/ 246583 h 797705"/>
              <a:gd name="connsiteX36" fmla="*/ 574458 w 829568"/>
              <a:gd name="connsiteY36" fmla="*/ 256788 h 797705"/>
              <a:gd name="connsiteX37" fmla="*/ 583230 w 829568"/>
              <a:gd name="connsiteY37" fmla="*/ 254659 h 797705"/>
              <a:gd name="connsiteX38" fmla="*/ 595448 w 829568"/>
              <a:gd name="connsiteY38" fmla="*/ 250406 h 797705"/>
              <a:gd name="connsiteX39" fmla="*/ 624997 w 829568"/>
              <a:gd name="connsiteY39" fmla="*/ 282159 h 797705"/>
              <a:gd name="connsiteX40" fmla="*/ 637214 w 829568"/>
              <a:gd name="connsiteY40" fmla="*/ 311928 h 797705"/>
              <a:gd name="connsiteX41" fmla="*/ 636731 w 829568"/>
              <a:gd name="connsiteY41" fmla="*/ 319061 h 797705"/>
              <a:gd name="connsiteX42" fmla="*/ 636185 w 829568"/>
              <a:gd name="connsiteY42" fmla="*/ 327131 h 797705"/>
              <a:gd name="connsiteX43" fmla="*/ 640908 w 829568"/>
              <a:gd name="connsiteY43" fmla="*/ 343397 h 797705"/>
              <a:gd name="connsiteX44" fmla="*/ 656819 w 829568"/>
              <a:gd name="connsiteY44" fmla="*/ 329788 h 797705"/>
              <a:gd name="connsiteX45" fmla="*/ 672730 w 829568"/>
              <a:gd name="connsiteY45" fmla="*/ 347933 h 797705"/>
              <a:gd name="connsiteX46" fmla="*/ 679549 w 829568"/>
              <a:gd name="connsiteY46" fmla="*/ 366077 h 797705"/>
              <a:gd name="connsiteX47" fmla="*/ 686368 w 829568"/>
              <a:gd name="connsiteY47" fmla="*/ 418243 h 797705"/>
              <a:gd name="connsiteX48" fmla="*/ 736375 w 829568"/>
              <a:gd name="connsiteY48" fmla="*/ 413707 h 797705"/>
              <a:gd name="connsiteX49" fmla="*/ 756832 w 829568"/>
              <a:gd name="connsiteY49" fmla="*/ 420511 h 797705"/>
              <a:gd name="connsiteX50" fmla="*/ 765924 w 829568"/>
              <a:gd name="connsiteY50" fmla="*/ 406903 h 797705"/>
              <a:gd name="connsiteX51" fmla="*/ 829568 w 829568"/>
              <a:gd name="connsiteY51" fmla="*/ 397830 h 797705"/>
              <a:gd name="connsiteX52" fmla="*/ 829568 w 829568"/>
              <a:gd name="connsiteY52" fmla="*/ 413707 h 797705"/>
              <a:gd name="connsiteX53" fmla="*/ 827295 w 829568"/>
              <a:gd name="connsiteY53" fmla="*/ 422779 h 797705"/>
              <a:gd name="connsiteX54" fmla="*/ 822749 w 829568"/>
              <a:gd name="connsiteY54" fmla="*/ 427315 h 797705"/>
              <a:gd name="connsiteX55" fmla="*/ 815930 w 829568"/>
              <a:gd name="connsiteY55" fmla="*/ 427315 h 797705"/>
              <a:gd name="connsiteX56" fmla="*/ 809111 w 829568"/>
              <a:gd name="connsiteY56" fmla="*/ 443192 h 797705"/>
              <a:gd name="connsiteX57" fmla="*/ 802292 w 829568"/>
              <a:gd name="connsiteY57" fmla="*/ 452264 h 797705"/>
              <a:gd name="connsiteX58" fmla="*/ 800019 w 829568"/>
              <a:gd name="connsiteY58" fmla="*/ 459068 h 797705"/>
              <a:gd name="connsiteX59" fmla="*/ 800019 w 829568"/>
              <a:gd name="connsiteY59" fmla="*/ 470408 h 797705"/>
              <a:gd name="connsiteX60" fmla="*/ 800019 w 829568"/>
              <a:gd name="connsiteY60" fmla="*/ 481749 h 797705"/>
              <a:gd name="connsiteX61" fmla="*/ 784108 w 829568"/>
              <a:gd name="connsiteY61" fmla="*/ 477212 h 797705"/>
              <a:gd name="connsiteX62" fmla="*/ 777289 w 829568"/>
              <a:gd name="connsiteY62" fmla="*/ 477212 h 797705"/>
              <a:gd name="connsiteX63" fmla="*/ 770470 w 829568"/>
              <a:gd name="connsiteY63" fmla="*/ 481749 h 797705"/>
              <a:gd name="connsiteX64" fmla="*/ 768197 w 829568"/>
              <a:gd name="connsiteY64" fmla="*/ 488553 h 797705"/>
              <a:gd name="connsiteX65" fmla="*/ 750013 w 829568"/>
              <a:gd name="connsiteY65" fmla="*/ 497625 h 797705"/>
              <a:gd name="connsiteX66" fmla="*/ 745467 w 829568"/>
              <a:gd name="connsiteY66" fmla="*/ 490821 h 797705"/>
              <a:gd name="connsiteX67" fmla="*/ 740921 w 829568"/>
              <a:gd name="connsiteY67" fmla="*/ 493089 h 797705"/>
              <a:gd name="connsiteX68" fmla="*/ 738648 w 829568"/>
              <a:gd name="connsiteY68" fmla="*/ 499893 h 797705"/>
              <a:gd name="connsiteX69" fmla="*/ 738648 w 829568"/>
              <a:gd name="connsiteY69" fmla="*/ 502161 h 797705"/>
              <a:gd name="connsiteX70" fmla="*/ 725010 w 829568"/>
              <a:gd name="connsiteY70" fmla="*/ 504429 h 797705"/>
              <a:gd name="connsiteX71" fmla="*/ 715918 w 829568"/>
              <a:gd name="connsiteY71" fmla="*/ 508965 h 797705"/>
              <a:gd name="connsiteX72" fmla="*/ 715918 w 829568"/>
              <a:gd name="connsiteY72" fmla="*/ 520306 h 797705"/>
              <a:gd name="connsiteX73" fmla="*/ 713645 w 829568"/>
              <a:gd name="connsiteY73" fmla="*/ 522574 h 797705"/>
              <a:gd name="connsiteX74" fmla="*/ 693188 w 829568"/>
              <a:gd name="connsiteY74" fmla="*/ 527110 h 797705"/>
              <a:gd name="connsiteX75" fmla="*/ 677276 w 829568"/>
              <a:gd name="connsiteY75" fmla="*/ 531646 h 797705"/>
              <a:gd name="connsiteX76" fmla="*/ 668184 w 829568"/>
              <a:gd name="connsiteY76" fmla="*/ 527110 h 797705"/>
              <a:gd name="connsiteX77" fmla="*/ 665911 w 829568"/>
              <a:gd name="connsiteY77" fmla="*/ 529378 h 797705"/>
              <a:gd name="connsiteX78" fmla="*/ 665911 w 829568"/>
              <a:gd name="connsiteY78" fmla="*/ 538450 h 797705"/>
              <a:gd name="connsiteX79" fmla="*/ 659092 w 829568"/>
              <a:gd name="connsiteY79" fmla="*/ 540718 h 797705"/>
              <a:gd name="connsiteX80" fmla="*/ 659092 w 829568"/>
              <a:gd name="connsiteY80" fmla="*/ 545254 h 797705"/>
              <a:gd name="connsiteX81" fmla="*/ 659092 w 829568"/>
              <a:gd name="connsiteY81" fmla="*/ 556595 h 797705"/>
              <a:gd name="connsiteX82" fmla="*/ 656819 w 829568"/>
              <a:gd name="connsiteY82" fmla="*/ 561131 h 797705"/>
              <a:gd name="connsiteX83" fmla="*/ 652273 w 829568"/>
              <a:gd name="connsiteY83" fmla="*/ 561131 h 797705"/>
              <a:gd name="connsiteX84" fmla="*/ 650000 w 829568"/>
              <a:gd name="connsiteY84" fmla="*/ 561131 h 797705"/>
              <a:gd name="connsiteX85" fmla="*/ 618178 w 829568"/>
              <a:gd name="connsiteY85" fmla="*/ 552058 h 797705"/>
              <a:gd name="connsiteX86" fmla="*/ 618178 w 829568"/>
              <a:gd name="connsiteY86" fmla="*/ 549790 h 797705"/>
              <a:gd name="connsiteX87" fmla="*/ 609086 w 829568"/>
              <a:gd name="connsiteY87" fmla="*/ 542986 h 797705"/>
              <a:gd name="connsiteX88" fmla="*/ 599994 w 829568"/>
              <a:gd name="connsiteY88" fmla="*/ 547522 h 797705"/>
              <a:gd name="connsiteX89" fmla="*/ 590902 w 829568"/>
              <a:gd name="connsiteY89" fmla="*/ 554327 h 797705"/>
              <a:gd name="connsiteX90" fmla="*/ 579537 w 829568"/>
              <a:gd name="connsiteY90" fmla="*/ 563399 h 797705"/>
              <a:gd name="connsiteX91" fmla="*/ 574991 w 829568"/>
              <a:gd name="connsiteY91" fmla="*/ 556595 h 797705"/>
              <a:gd name="connsiteX92" fmla="*/ 570445 w 829568"/>
              <a:gd name="connsiteY92" fmla="*/ 558863 h 797705"/>
              <a:gd name="connsiteX93" fmla="*/ 568172 w 829568"/>
              <a:gd name="connsiteY93" fmla="*/ 563399 h 797705"/>
              <a:gd name="connsiteX94" fmla="*/ 568172 w 829568"/>
              <a:gd name="connsiteY94" fmla="*/ 565667 h 797705"/>
              <a:gd name="connsiteX95" fmla="*/ 568172 w 829568"/>
              <a:gd name="connsiteY95" fmla="*/ 570203 h 797705"/>
              <a:gd name="connsiteX96" fmla="*/ 565899 w 829568"/>
              <a:gd name="connsiteY96" fmla="*/ 572471 h 797705"/>
              <a:gd name="connsiteX97" fmla="*/ 565899 w 829568"/>
              <a:gd name="connsiteY97" fmla="*/ 574739 h 797705"/>
              <a:gd name="connsiteX98" fmla="*/ 581810 w 829568"/>
              <a:gd name="connsiteY98" fmla="*/ 581543 h 797705"/>
              <a:gd name="connsiteX99" fmla="*/ 586356 w 829568"/>
              <a:gd name="connsiteY99" fmla="*/ 586079 h 797705"/>
              <a:gd name="connsiteX100" fmla="*/ 590902 w 829568"/>
              <a:gd name="connsiteY100" fmla="*/ 579275 h 797705"/>
              <a:gd name="connsiteX101" fmla="*/ 597721 w 829568"/>
              <a:gd name="connsiteY101" fmla="*/ 583811 h 797705"/>
              <a:gd name="connsiteX102" fmla="*/ 599994 w 829568"/>
              <a:gd name="connsiteY102" fmla="*/ 579275 h 797705"/>
              <a:gd name="connsiteX103" fmla="*/ 606813 w 829568"/>
              <a:gd name="connsiteY103" fmla="*/ 588347 h 797705"/>
              <a:gd name="connsiteX104" fmla="*/ 606813 w 829568"/>
              <a:gd name="connsiteY104" fmla="*/ 590616 h 797705"/>
              <a:gd name="connsiteX105" fmla="*/ 602267 w 829568"/>
              <a:gd name="connsiteY105" fmla="*/ 601956 h 797705"/>
              <a:gd name="connsiteX106" fmla="*/ 604540 w 829568"/>
              <a:gd name="connsiteY106" fmla="*/ 606492 h 797705"/>
              <a:gd name="connsiteX107" fmla="*/ 609086 w 829568"/>
              <a:gd name="connsiteY107" fmla="*/ 611028 h 797705"/>
              <a:gd name="connsiteX108" fmla="*/ 606813 w 829568"/>
              <a:gd name="connsiteY108" fmla="*/ 613296 h 797705"/>
              <a:gd name="connsiteX109" fmla="*/ 588629 w 829568"/>
              <a:gd name="connsiteY109" fmla="*/ 613296 h 797705"/>
              <a:gd name="connsiteX110" fmla="*/ 572718 w 829568"/>
              <a:gd name="connsiteY110" fmla="*/ 597420 h 797705"/>
              <a:gd name="connsiteX111" fmla="*/ 568172 w 829568"/>
              <a:gd name="connsiteY111" fmla="*/ 606492 h 797705"/>
              <a:gd name="connsiteX112" fmla="*/ 561353 w 829568"/>
              <a:gd name="connsiteY112" fmla="*/ 597420 h 797705"/>
              <a:gd name="connsiteX113" fmla="*/ 556807 w 829568"/>
              <a:gd name="connsiteY113" fmla="*/ 592884 h 797705"/>
              <a:gd name="connsiteX114" fmla="*/ 540896 w 829568"/>
              <a:gd name="connsiteY114" fmla="*/ 570203 h 797705"/>
              <a:gd name="connsiteX115" fmla="*/ 529530 w 829568"/>
              <a:gd name="connsiteY115" fmla="*/ 565667 h 797705"/>
              <a:gd name="connsiteX116" fmla="*/ 518165 w 829568"/>
              <a:gd name="connsiteY116" fmla="*/ 572471 h 797705"/>
              <a:gd name="connsiteX117" fmla="*/ 509073 w 829568"/>
              <a:gd name="connsiteY117" fmla="*/ 577007 h 797705"/>
              <a:gd name="connsiteX118" fmla="*/ 506800 w 829568"/>
              <a:gd name="connsiteY118" fmla="*/ 574739 h 797705"/>
              <a:gd name="connsiteX119" fmla="*/ 504527 w 829568"/>
              <a:gd name="connsiteY119" fmla="*/ 574739 h 797705"/>
              <a:gd name="connsiteX120" fmla="*/ 503669 w 829568"/>
              <a:gd name="connsiteY120" fmla="*/ 574870 h 797705"/>
              <a:gd name="connsiteX121" fmla="*/ 505946 w 829568"/>
              <a:gd name="connsiteY121" fmla="*/ 577143 h 797705"/>
              <a:gd name="connsiteX122" fmla="*/ 505946 w 829568"/>
              <a:gd name="connsiteY122" fmla="*/ 579415 h 797705"/>
              <a:gd name="connsiteX123" fmla="*/ 505946 w 829568"/>
              <a:gd name="connsiteY123" fmla="*/ 581688 h 797705"/>
              <a:gd name="connsiteX124" fmla="*/ 496839 w 829568"/>
              <a:gd name="connsiteY124" fmla="*/ 590779 h 797705"/>
              <a:gd name="connsiteX125" fmla="*/ 496839 w 829568"/>
              <a:gd name="connsiteY125" fmla="*/ 595324 h 797705"/>
              <a:gd name="connsiteX126" fmla="*/ 501392 w 829568"/>
              <a:gd name="connsiteY126" fmla="*/ 599870 h 797705"/>
              <a:gd name="connsiteX127" fmla="*/ 510500 w 829568"/>
              <a:gd name="connsiteY127" fmla="*/ 608960 h 797705"/>
              <a:gd name="connsiteX128" fmla="*/ 508223 w 829568"/>
              <a:gd name="connsiteY128" fmla="*/ 613506 h 797705"/>
              <a:gd name="connsiteX129" fmla="*/ 508223 w 829568"/>
              <a:gd name="connsiteY129" fmla="*/ 618051 h 797705"/>
              <a:gd name="connsiteX130" fmla="*/ 490008 w 829568"/>
              <a:gd name="connsiteY130" fmla="*/ 640778 h 797705"/>
              <a:gd name="connsiteX131" fmla="*/ 464962 w 829568"/>
              <a:gd name="connsiteY131" fmla="*/ 631687 h 797705"/>
              <a:gd name="connsiteX132" fmla="*/ 451300 w 829568"/>
              <a:gd name="connsiteY132" fmla="*/ 624869 h 797705"/>
              <a:gd name="connsiteX133" fmla="*/ 423977 w 829568"/>
              <a:gd name="connsiteY133" fmla="*/ 638506 h 797705"/>
              <a:gd name="connsiteX134" fmla="*/ 414870 w 829568"/>
              <a:gd name="connsiteY134" fmla="*/ 643051 h 797705"/>
              <a:gd name="connsiteX135" fmla="*/ 398931 w 829568"/>
              <a:gd name="connsiteY135" fmla="*/ 645324 h 797705"/>
              <a:gd name="connsiteX136" fmla="*/ 394378 w 829568"/>
              <a:gd name="connsiteY136" fmla="*/ 652142 h 797705"/>
              <a:gd name="connsiteX137" fmla="*/ 373885 w 829568"/>
              <a:gd name="connsiteY137" fmla="*/ 654415 h 797705"/>
              <a:gd name="connsiteX138" fmla="*/ 353393 w 829568"/>
              <a:gd name="connsiteY138" fmla="*/ 661233 h 797705"/>
              <a:gd name="connsiteX139" fmla="*/ 344285 w 829568"/>
              <a:gd name="connsiteY139" fmla="*/ 683960 h 797705"/>
              <a:gd name="connsiteX140" fmla="*/ 346559 w 829568"/>
              <a:gd name="connsiteY140" fmla="*/ 695305 h 797705"/>
              <a:gd name="connsiteX141" fmla="*/ 346890 w 829568"/>
              <a:gd name="connsiteY141" fmla="*/ 695371 h 797705"/>
              <a:gd name="connsiteX142" fmla="*/ 349169 w 829568"/>
              <a:gd name="connsiteY142" fmla="*/ 697639 h 797705"/>
              <a:gd name="connsiteX143" fmla="*/ 349169 w 829568"/>
              <a:gd name="connsiteY143" fmla="*/ 708981 h 797705"/>
              <a:gd name="connsiteX144" fmla="*/ 349169 w 829568"/>
              <a:gd name="connsiteY144" fmla="*/ 713518 h 797705"/>
              <a:gd name="connsiteX145" fmla="*/ 346890 w 829568"/>
              <a:gd name="connsiteY145" fmla="*/ 724861 h 797705"/>
              <a:gd name="connsiteX146" fmla="*/ 340053 w 829568"/>
              <a:gd name="connsiteY146" fmla="*/ 722592 h 797705"/>
              <a:gd name="connsiteX147" fmla="*/ 317264 w 829568"/>
              <a:gd name="connsiteY147" fmla="*/ 720324 h 797705"/>
              <a:gd name="connsiteX148" fmla="*/ 312706 w 829568"/>
              <a:gd name="connsiteY148" fmla="*/ 718055 h 797705"/>
              <a:gd name="connsiteX149" fmla="*/ 303590 w 829568"/>
              <a:gd name="connsiteY149" fmla="*/ 724861 h 797705"/>
              <a:gd name="connsiteX150" fmla="*/ 294474 w 829568"/>
              <a:gd name="connsiteY150" fmla="*/ 731666 h 797705"/>
              <a:gd name="connsiteX151" fmla="*/ 289916 w 829568"/>
              <a:gd name="connsiteY151" fmla="*/ 738471 h 797705"/>
              <a:gd name="connsiteX152" fmla="*/ 289916 w 829568"/>
              <a:gd name="connsiteY152" fmla="*/ 752082 h 797705"/>
              <a:gd name="connsiteX153" fmla="*/ 280800 w 829568"/>
              <a:gd name="connsiteY153" fmla="*/ 740740 h 797705"/>
              <a:gd name="connsiteX154" fmla="*/ 278521 w 829568"/>
              <a:gd name="connsiteY154" fmla="*/ 738471 h 797705"/>
              <a:gd name="connsiteX155" fmla="*/ 278521 w 829568"/>
              <a:gd name="connsiteY155" fmla="*/ 743008 h 797705"/>
              <a:gd name="connsiteX156" fmla="*/ 276242 w 829568"/>
              <a:gd name="connsiteY156" fmla="*/ 749814 h 797705"/>
              <a:gd name="connsiteX157" fmla="*/ 269405 w 829568"/>
              <a:gd name="connsiteY157" fmla="*/ 761156 h 797705"/>
              <a:gd name="connsiteX158" fmla="*/ 232942 w 829568"/>
              <a:gd name="connsiteY158" fmla="*/ 749814 h 797705"/>
              <a:gd name="connsiteX159" fmla="*/ 230663 w 829568"/>
              <a:gd name="connsiteY159" fmla="*/ 754351 h 797705"/>
              <a:gd name="connsiteX160" fmla="*/ 203316 w 829568"/>
              <a:gd name="connsiteY160" fmla="*/ 754351 h 797705"/>
              <a:gd name="connsiteX161" fmla="*/ 180526 w 829568"/>
              <a:gd name="connsiteY161" fmla="*/ 761156 h 797705"/>
              <a:gd name="connsiteX162" fmla="*/ 169131 w 829568"/>
              <a:gd name="connsiteY162" fmla="*/ 767961 h 797705"/>
              <a:gd name="connsiteX163" fmla="*/ 157736 w 829568"/>
              <a:gd name="connsiteY163" fmla="*/ 783841 h 797705"/>
              <a:gd name="connsiteX164" fmla="*/ 137226 w 829568"/>
              <a:gd name="connsiteY164" fmla="*/ 797451 h 797705"/>
              <a:gd name="connsiteX165" fmla="*/ 128110 w 829568"/>
              <a:gd name="connsiteY165" fmla="*/ 786109 h 797705"/>
              <a:gd name="connsiteX166" fmla="*/ 121273 w 829568"/>
              <a:gd name="connsiteY166" fmla="*/ 792914 h 797705"/>
              <a:gd name="connsiteX167" fmla="*/ 93925 w 829568"/>
              <a:gd name="connsiteY167" fmla="*/ 790646 h 797705"/>
              <a:gd name="connsiteX168" fmla="*/ 68857 w 829568"/>
              <a:gd name="connsiteY168" fmla="*/ 790646 h 797705"/>
              <a:gd name="connsiteX169" fmla="*/ 57462 w 829568"/>
              <a:gd name="connsiteY169" fmla="*/ 792914 h 797705"/>
              <a:gd name="connsiteX170" fmla="*/ 46067 w 829568"/>
              <a:gd name="connsiteY170" fmla="*/ 788377 h 797705"/>
              <a:gd name="connsiteX171" fmla="*/ 25556 w 829568"/>
              <a:gd name="connsiteY171" fmla="*/ 786109 h 797705"/>
              <a:gd name="connsiteX172" fmla="*/ 25556 w 829568"/>
              <a:gd name="connsiteY172" fmla="*/ 783841 h 797705"/>
              <a:gd name="connsiteX173" fmla="*/ 27835 w 829568"/>
              <a:gd name="connsiteY173" fmla="*/ 777035 h 797705"/>
              <a:gd name="connsiteX174" fmla="*/ 25556 w 829568"/>
              <a:gd name="connsiteY174" fmla="*/ 774767 h 797705"/>
              <a:gd name="connsiteX175" fmla="*/ 43788 w 829568"/>
              <a:gd name="connsiteY175" fmla="*/ 770230 h 797705"/>
              <a:gd name="connsiteX176" fmla="*/ 48346 w 829568"/>
              <a:gd name="connsiteY176" fmla="*/ 699908 h 797705"/>
              <a:gd name="connsiteX177" fmla="*/ 5046 w 829568"/>
              <a:gd name="connsiteY177" fmla="*/ 670418 h 797705"/>
              <a:gd name="connsiteX178" fmla="*/ 30114 w 829568"/>
              <a:gd name="connsiteY178" fmla="*/ 615975 h 797705"/>
              <a:gd name="connsiteX179" fmla="*/ 41509 w 829568"/>
              <a:gd name="connsiteY179" fmla="*/ 600095 h 797705"/>
              <a:gd name="connsiteX180" fmla="*/ 34672 w 829568"/>
              <a:gd name="connsiteY180" fmla="*/ 581948 h 797705"/>
              <a:gd name="connsiteX181" fmla="*/ 41509 w 829568"/>
              <a:gd name="connsiteY181" fmla="*/ 554726 h 797705"/>
              <a:gd name="connsiteX182" fmla="*/ 16441 w 829568"/>
              <a:gd name="connsiteY182" fmla="*/ 543384 h 797705"/>
              <a:gd name="connsiteX183" fmla="*/ 34672 w 829568"/>
              <a:gd name="connsiteY183" fmla="*/ 541115 h 797705"/>
              <a:gd name="connsiteX184" fmla="*/ 41498 w 829568"/>
              <a:gd name="connsiteY184" fmla="*/ 541115 h 797705"/>
              <a:gd name="connsiteX185" fmla="*/ 39341 w 829568"/>
              <a:gd name="connsiteY185" fmla="*/ 528176 h 797705"/>
              <a:gd name="connsiteX186" fmla="*/ 86966 w 829568"/>
              <a:gd name="connsiteY186" fmla="*/ 494839 h 797705"/>
              <a:gd name="connsiteX187" fmla="*/ 65409 w 829568"/>
              <a:gd name="connsiteY187" fmla="*/ 464300 h 797705"/>
              <a:gd name="connsiteX188" fmla="*/ 62429 w 829568"/>
              <a:gd name="connsiteY188" fmla="*/ 465726 h 797705"/>
              <a:gd name="connsiteX189" fmla="*/ 62429 w 829568"/>
              <a:gd name="connsiteY189" fmla="*/ 467991 h 797705"/>
              <a:gd name="connsiteX190" fmla="*/ 57874 w 829568"/>
              <a:gd name="connsiteY190" fmla="*/ 470256 h 797705"/>
              <a:gd name="connsiteX191" fmla="*/ 48763 w 829568"/>
              <a:gd name="connsiteY191" fmla="*/ 472522 h 797705"/>
              <a:gd name="connsiteX192" fmla="*/ 35096 w 829568"/>
              <a:gd name="connsiteY192" fmla="*/ 467991 h 797705"/>
              <a:gd name="connsiteX193" fmla="*/ 32818 w 829568"/>
              <a:gd name="connsiteY193" fmla="*/ 449871 h 797705"/>
              <a:gd name="connsiteX194" fmla="*/ 55596 w 829568"/>
              <a:gd name="connsiteY194" fmla="*/ 418160 h 797705"/>
              <a:gd name="connsiteX195" fmla="*/ 55596 w 829568"/>
              <a:gd name="connsiteY195" fmla="*/ 404569 h 797705"/>
              <a:gd name="connsiteX196" fmla="*/ 48763 w 829568"/>
              <a:gd name="connsiteY196" fmla="*/ 372858 h 797705"/>
              <a:gd name="connsiteX197" fmla="*/ 41929 w 829568"/>
              <a:gd name="connsiteY197" fmla="*/ 354737 h 797705"/>
              <a:gd name="connsiteX198" fmla="*/ 41929 w 829568"/>
              <a:gd name="connsiteY198" fmla="*/ 320761 h 797705"/>
              <a:gd name="connsiteX199" fmla="*/ 41929 w 829568"/>
              <a:gd name="connsiteY199" fmla="*/ 300375 h 797705"/>
              <a:gd name="connsiteX200" fmla="*/ 44207 w 829568"/>
              <a:gd name="connsiteY200" fmla="*/ 302640 h 797705"/>
              <a:gd name="connsiteX201" fmla="*/ 57934 w 829568"/>
              <a:gd name="connsiteY201" fmla="*/ 312196 h 797705"/>
              <a:gd name="connsiteX202" fmla="*/ 58242 w 829568"/>
              <a:gd name="connsiteY202" fmla="*/ 311394 h 797705"/>
              <a:gd name="connsiteX203" fmla="*/ 56256 w 829568"/>
              <a:gd name="connsiteY203" fmla="*/ 310012 h 797705"/>
              <a:gd name="connsiteX204" fmla="*/ 44300 w 829568"/>
              <a:gd name="connsiteY204" fmla="*/ 302367 h 797705"/>
              <a:gd name="connsiteX205" fmla="*/ 42022 w 829568"/>
              <a:gd name="connsiteY205" fmla="*/ 300102 h 797705"/>
              <a:gd name="connsiteX206" fmla="*/ 44300 w 829568"/>
              <a:gd name="connsiteY206" fmla="*/ 291042 h 797705"/>
              <a:gd name="connsiteX207" fmla="*/ 78462 w 829568"/>
              <a:gd name="connsiteY207" fmla="*/ 259331 h 797705"/>
              <a:gd name="connsiteX208" fmla="*/ 92126 w 829568"/>
              <a:gd name="connsiteY208" fmla="*/ 232149 h 797705"/>
              <a:gd name="connsiteX209" fmla="*/ 114901 w 829568"/>
              <a:gd name="connsiteY209" fmla="*/ 211764 h 797705"/>
              <a:gd name="connsiteX210" fmla="*/ 108638 w 829568"/>
              <a:gd name="connsiteY210" fmla="*/ 204968 h 797705"/>
              <a:gd name="connsiteX211" fmla="*/ 92261 w 829568"/>
              <a:gd name="connsiteY211" fmla="*/ 198228 h 797705"/>
              <a:gd name="connsiteX212" fmla="*/ 91806 w 829568"/>
              <a:gd name="connsiteY212" fmla="*/ 198355 h 797705"/>
              <a:gd name="connsiteX213" fmla="*/ 84968 w 829568"/>
              <a:gd name="connsiteY213" fmla="*/ 193807 h 797705"/>
              <a:gd name="connsiteX214" fmla="*/ 94086 w 829568"/>
              <a:gd name="connsiteY214" fmla="*/ 155145 h 797705"/>
              <a:gd name="connsiteX215" fmla="*/ 135114 w 829568"/>
              <a:gd name="connsiteY215" fmla="*/ 127854 h 797705"/>
              <a:gd name="connsiteX216" fmla="*/ 160186 w 829568"/>
              <a:gd name="connsiteY216" fmla="*/ 134677 h 797705"/>
              <a:gd name="connsiteX217" fmla="*/ 160186 w 829568"/>
              <a:gd name="connsiteY217" fmla="*/ 109660 h 797705"/>
              <a:gd name="connsiteX218" fmla="*/ 187538 w 829568"/>
              <a:gd name="connsiteY218" fmla="*/ 82369 h 797705"/>
              <a:gd name="connsiteX219" fmla="*/ 187538 w 829568"/>
              <a:gd name="connsiteY219" fmla="*/ 48256 h 797705"/>
              <a:gd name="connsiteX220" fmla="*/ 190103 w 829568"/>
              <a:gd name="connsiteY220" fmla="*/ 284 h 797705"/>
              <a:gd name="connsiteX0" fmla="*/ 508223 w 829568"/>
              <a:gd name="connsiteY0" fmla="*/ 565779 h 797705"/>
              <a:gd name="connsiteX1" fmla="*/ 505511 w 829568"/>
              <a:gd name="connsiteY1" fmla="*/ 565779 h 797705"/>
              <a:gd name="connsiteX2" fmla="*/ 508223 w 829568"/>
              <a:gd name="connsiteY2" fmla="*/ 565779 h 797705"/>
              <a:gd name="connsiteX3" fmla="*/ 561350 w 829568"/>
              <a:gd name="connsiteY3" fmla="*/ 243680 h 797705"/>
              <a:gd name="connsiteX4" fmla="*/ 563631 w 829568"/>
              <a:gd name="connsiteY4" fmla="*/ 245950 h 797705"/>
              <a:gd name="connsiteX5" fmla="*/ 563632 w 829568"/>
              <a:gd name="connsiteY5" fmla="*/ 245962 h 797705"/>
              <a:gd name="connsiteX6" fmla="*/ 561350 w 829568"/>
              <a:gd name="connsiteY6" fmla="*/ 243680 h 797705"/>
              <a:gd name="connsiteX7" fmla="*/ 190103 w 829568"/>
              <a:gd name="connsiteY7" fmla="*/ 284 h 797705"/>
              <a:gd name="connsiteX8" fmla="*/ 208052 w 829568"/>
              <a:gd name="connsiteY8" fmla="*/ 7319 h 797705"/>
              <a:gd name="connsiteX9" fmla="*/ 244522 w 829568"/>
              <a:gd name="connsiteY9" fmla="*/ 16416 h 797705"/>
              <a:gd name="connsiteX10" fmla="*/ 269594 w 829568"/>
              <a:gd name="connsiteY10" fmla="*/ 36884 h 797705"/>
              <a:gd name="connsiteX11" fmla="*/ 303784 w 829568"/>
              <a:gd name="connsiteY11" fmla="*/ 59627 h 797705"/>
              <a:gd name="connsiteX12" fmla="*/ 317460 w 829568"/>
              <a:gd name="connsiteY12" fmla="*/ 89192 h 797705"/>
              <a:gd name="connsiteX13" fmla="*/ 353930 w 829568"/>
              <a:gd name="connsiteY13" fmla="*/ 73272 h 797705"/>
              <a:gd name="connsiteX14" fmla="*/ 399516 w 829568"/>
              <a:gd name="connsiteY14" fmla="*/ 82369 h 797705"/>
              <a:gd name="connsiteX15" fmla="*/ 417751 w 829568"/>
              <a:gd name="connsiteY15" fmla="*/ 77821 h 797705"/>
              <a:gd name="connsiteX16" fmla="*/ 438265 w 829568"/>
              <a:gd name="connsiteY16" fmla="*/ 64175 h 797705"/>
              <a:gd name="connsiteX17" fmla="*/ 472455 w 829568"/>
              <a:gd name="connsiteY17" fmla="*/ 73272 h 797705"/>
              <a:gd name="connsiteX18" fmla="*/ 486131 w 829568"/>
              <a:gd name="connsiteY18" fmla="*/ 82369 h 797705"/>
              <a:gd name="connsiteX19" fmla="*/ 490690 w 829568"/>
              <a:gd name="connsiteY19" fmla="*/ 132402 h 797705"/>
              <a:gd name="connsiteX20" fmla="*/ 495248 w 829568"/>
              <a:gd name="connsiteY20" fmla="*/ 196081 h 797705"/>
              <a:gd name="connsiteX21" fmla="*/ 495248 w 829568"/>
              <a:gd name="connsiteY21" fmla="*/ 214275 h 797705"/>
              <a:gd name="connsiteX22" fmla="*/ 495067 w 829568"/>
              <a:gd name="connsiteY22" fmla="*/ 214233 h 797705"/>
              <a:gd name="connsiteX23" fmla="*/ 497146 w 829568"/>
              <a:gd name="connsiteY23" fmla="*/ 220449 h 797705"/>
              <a:gd name="connsiteX24" fmla="*/ 508530 w 829568"/>
              <a:gd name="connsiteY24" fmla="*/ 224986 h 797705"/>
              <a:gd name="connsiteX25" fmla="*/ 524467 w 829568"/>
              <a:gd name="connsiteY25" fmla="*/ 238598 h 797705"/>
              <a:gd name="connsiteX26" fmla="*/ 556340 w 829568"/>
              <a:gd name="connsiteY26" fmla="*/ 234060 h 797705"/>
              <a:gd name="connsiteX27" fmla="*/ 560894 w 829568"/>
              <a:gd name="connsiteY27" fmla="*/ 243135 h 797705"/>
              <a:gd name="connsiteX28" fmla="*/ 563170 w 829568"/>
              <a:gd name="connsiteY28" fmla="*/ 247672 h 797705"/>
              <a:gd name="connsiteX29" fmla="*/ 563684 w 829568"/>
              <a:gd name="connsiteY29" fmla="*/ 246583 h 797705"/>
              <a:gd name="connsiteX30" fmla="*/ 570440 w 829568"/>
              <a:gd name="connsiteY30" fmla="*/ 254988 h 797705"/>
              <a:gd name="connsiteX31" fmla="*/ 570445 w 829568"/>
              <a:gd name="connsiteY31" fmla="*/ 254942 h 797705"/>
              <a:gd name="connsiteX32" fmla="*/ 574113 w 829568"/>
              <a:gd name="connsiteY32" fmla="*/ 256872 h 797705"/>
              <a:gd name="connsiteX33" fmla="*/ 567290 w 829568"/>
              <a:gd name="connsiteY33" fmla="*/ 250109 h 797705"/>
              <a:gd name="connsiteX34" fmla="*/ 563684 w 829568"/>
              <a:gd name="connsiteY34" fmla="*/ 246583 h 797705"/>
              <a:gd name="connsiteX35" fmla="*/ 574458 w 829568"/>
              <a:gd name="connsiteY35" fmla="*/ 256788 h 797705"/>
              <a:gd name="connsiteX36" fmla="*/ 583230 w 829568"/>
              <a:gd name="connsiteY36" fmla="*/ 254659 h 797705"/>
              <a:gd name="connsiteX37" fmla="*/ 595448 w 829568"/>
              <a:gd name="connsiteY37" fmla="*/ 250406 h 797705"/>
              <a:gd name="connsiteX38" fmla="*/ 624997 w 829568"/>
              <a:gd name="connsiteY38" fmla="*/ 282159 h 797705"/>
              <a:gd name="connsiteX39" fmla="*/ 637214 w 829568"/>
              <a:gd name="connsiteY39" fmla="*/ 311928 h 797705"/>
              <a:gd name="connsiteX40" fmla="*/ 636731 w 829568"/>
              <a:gd name="connsiteY40" fmla="*/ 319061 h 797705"/>
              <a:gd name="connsiteX41" fmla="*/ 636185 w 829568"/>
              <a:gd name="connsiteY41" fmla="*/ 327131 h 797705"/>
              <a:gd name="connsiteX42" fmla="*/ 640908 w 829568"/>
              <a:gd name="connsiteY42" fmla="*/ 343397 h 797705"/>
              <a:gd name="connsiteX43" fmla="*/ 656819 w 829568"/>
              <a:gd name="connsiteY43" fmla="*/ 329788 h 797705"/>
              <a:gd name="connsiteX44" fmla="*/ 672730 w 829568"/>
              <a:gd name="connsiteY44" fmla="*/ 347933 h 797705"/>
              <a:gd name="connsiteX45" fmla="*/ 679549 w 829568"/>
              <a:gd name="connsiteY45" fmla="*/ 366077 h 797705"/>
              <a:gd name="connsiteX46" fmla="*/ 686368 w 829568"/>
              <a:gd name="connsiteY46" fmla="*/ 418243 h 797705"/>
              <a:gd name="connsiteX47" fmla="*/ 736375 w 829568"/>
              <a:gd name="connsiteY47" fmla="*/ 413707 h 797705"/>
              <a:gd name="connsiteX48" fmla="*/ 756832 w 829568"/>
              <a:gd name="connsiteY48" fmla="*/ 420511 h 797705"/>
              <a:gd name="connsiteX49" fmla="*/ 765924 w 829568"/>
              <a:gd name="connsiteY49" fmla="*/ 406903 h 797705"/>
              <a:gd name="connsiteX50" fmla="*/ 829568 w 829568"/>
              <a:gd name="connsiteY50" fmla="*/ 397830 h 797705"/>
              <a:gd name="connsiteX51" fmla="*/ 829568 w 829568"/>
              <a:gd name="connsiteY51" fmla="*/ 413707 h 797705"/>
              <a:gd name="connsiteX52" fmla="*/ 827295 w 829568"/>
              <a:gd name="connsiteY52" fmla="*/ 422779 h 797705"/>
              <a:gd name="connsiteX53" fmla="*/ 822749 w 829568"/>
              <a:gd name="connsiteY53" fmla="*/ 427315 h 797705"/>
              <a:gd name="connsiteX54" fmla="*/ 815930 w 829568"/>
              <a:gd name="connsiteY54" fmla="*/ 427315 h 797705"/>
              <a:gd name="connsiteX55" fmla="*/ 809111 w 829568"/>
              <a:gd name="connsiteY55" fmla="*/ 443192 h 797705"/>
              <a:gd name="connsiteX56" fmla="*/ 802292 w 829568"/>
              <a:gd name="connsiteY56" fmla="*/ 452264 h 797705"/>
              <a:gd name="connsiteX57" fmla="*/ 800019 w 829568"/>
              <a:gd name="connsiteY57" fmla="*/ 459068 h 797705"/>
              <a:gd name="connsiteX58" fmla="*/ 800019 w 829568"/>
              <a:gd name="connsiteY58" fmla="*/ 470408 h 797705"/>
              <a:gd name="connsiteX59" fmla="*/ 800019 w 829568"/>
              <a:gd name="connsiteY59" fmla="*/ 481749 h 797705"/>
              <a:gd name="connsiteX60" fmla="*/ 784108 w 829568"/>
              <a:gd name="connsiteY60" fmla="*/ 477212 h 797705"/>
              <a:gd name="connsiteX61" fmla="*/ 777289 w 829568"/>
              <a:gd name="connsiteY61" fmla="*/ 477212 h 797705"/>
              <a:gd name="connsiteX62" fmla="*/ 770470 w 829568"/>
              <a:gd name="connsiteY62" fmla="*/ 481749 h 797705"/>
              <a:gd name="connsiteX63" fmla="*/ 768197 w 829568"/>
              <a:gd name="connsiteY63" fmla="*/ 488553 h 797705"/>
              <a:gd name="connsiteX64" fmla="*/ 750013 w 829568"/>
              <a:gd name="connsiteY64" fmla="*/ 497625 h 797705"/>
              <a:gd name="connsiteX65" fmla="*/ 745467 w 829568"/>
              <a:gd name="connsiteY65" fmla="*/ 490821 h 797705"/>
              <a:gd name="connsiteX66" fmla="*/ 740921 w 829568"/>
              <a:gd name="connsiteY66" fmla="*/ 493089 h 797705"/>
              <a:gd name="connsiteX67" fmla="*/ 738648 w 829568"/>
              <a:gd name="connsiteY67" fmla="*/ 499893 h 797705"/>
              <a:gd name="connsiteX68" fmla="*/ 738648 w 829568"/>
              <a:gd name="connsiteY68" fmla="*/ 502161 h 797705"/>
              <a:gd name="connsiteX69" fmla="*/ 725010 w 829568"/>
              <a:gd name="connsiteY69" fmla="*/ 504429 h 797705"/>
              <a:gd name="connsiteX70" fmla="*/ 715918 w 829568"/>
              <a:gd name="connsiteY70" fmla="*/ 508965 h 797705"/>
              <a:gd name="connsiteX71" fmla="*/ 715918 w 829568"/>
              <a:gd name="connsiteY71" fmla="*/ 520306 h 797705"/>
              <a:gd name="connsiteX72" fmla="*/ 713645 w 829568"/>
              <a:gd name="connsiteY72" fmla="*/ 522574 h 797705"/>
              <a:gd name="connsiteX73" fmla="*/ 693188 w 829568"/>
              <a:gd name="connsiteY73" fmla="*/ 527110 h 797705"/>
              <a:gd name="connsiteX74" fmla="*/ 677276 w 829568"/>
              <a:gd name="connsiteY74" fmla="*/ 531646 h 797705"/>
              <a:gd name="connsiteX75" fmla="*/ 668184 w 829568"/>
              <a:gd name="connsiteY75" fmla="*/ 527110 h 797705"/>
              <a:gd name="connsiteX76" fmla="*/ 665911 w 829568"/>
              <a:gd name="connsiteY76" fmla="*/ 529378 h 797705"/>
              <a:gd name="connsiteX77" fmla="*/ 665911 w 829568"/>
              <a:gd name="connsiteY77" fmla="*/ 538450 h 797705"/>
              <a:gd name="connsiteX78" fmla="*/ 659092 w 829568"/>
              <a:gd name="connsiteY78" fmla="*/ 540718 h 797705"/>
              <a:gd name="connsiteX79" fmla="*/ 659092 w 829568"/>
              <a:gd name="connsiteY79" fmla="*/ 545254 h 797705"/>
              <a:gd name="connsiteX80" fmla="*/ 659092 w 829568"/>
              <a:gd name="connsiteY80" fmla="*/ 556595 h 797705"/>
              <a:gd name="connsiteX81" fmla="*/ 656819 w 829568"/>
              <a:gd name="connsiteY81" fmla="*/ 561131 h 797705"/>
              <a:gd name="connsiteX82" fmla="*/ 652273 w 829568"/>
              <a:gd name="connsiteY82" fmla="*/ 561131 h 797705"/>
              <a:gd name="connsiteX83" fmla="*/ 650000 w 829568"/>
              <a:gd name="connsiteY83" fmla="*/ 561131 h 797705"/>
              <a:gd name="connsiteX84" fmla="*/ 618178 w 829568"/>
              <a:gd name="connsiteY84" fmla="*/ 552058 h 797705"/>
              <a:gd name="connsiteX85" fmla="*/ 618178 w 829568"/>
              <a:gd name="connsiteY85" fmla="*/ 549790 h 797705"/>
              <a:gd name="connsiteX86" fmla="*/ 609086 w 829568"/>
              <a:gd name="connsiteY86" fmla="*/ 542986 h 797705"/>
              <a:gd name="connsiteX87" fmla="*/ 599994 w 829568"/>
              <a:gd name="connsiteY87" fmla="*/ 547522 h 797705"/>
              <a:gd name="connsiteX88" fmla="*/ 590902 w 829568"/>
              <a:gd name="connsiteY88" fmla="*/ 554327 h 797705"/>
              <a:gd name="connsiteX89" fmla="*/ 579537 w 829568"/>
              <a:gd name="connsiteY89" fmla="*/ 563399 h 797705"/>
              <a:gd name="connsiteX90" fmla="*/ 574991 w 829568"/>
              <a:gd name="connsiteY90" fmla="*/ 556595 h 797705"/>
              <a:gd name="connsiteX91" fmla="*/ 570445 w 829568"/>
              <a:gd name="connsiteY91" fmla="*/ 558863 h 797705"/>
              <a:gd name="connsiteX92" fmla="*/ 568172 w 829568"/>
              <a:gd name="connsiteY92" fmla="*/ 563399 h 797705"/>
              <a:gd name="connsiteX93" fmla="*/ 568172 w 829568"/>
              <a:gd name="connsiteY93" fmla="*/ 565667 h 797705"/>
              <a:gd name="connsiteX94" fmla="*/ 568172 w 829568"/>
              <a:gd name="connsiteY94" fmla="*/ 570203 h 797705"/>
              <a:gd name="connsiteX95" fmla="*/ 565899 w 829568"/>
              <a:gd name="connsiteY95" fmla="*/ 572471 h 797705"/>
              <a:gd name="connsiteX96" fmla="*/ 565899 w 829568"/>
              <a:gd name="connsiteY96" fmla="*/ 574739 h 797705"/>
              <a:gd name="connsiteX97" fmla="*/ 581810 w 829568"/>
              <a:gd name="connsiteY97" fmla="*/ 581543 h 797705"/>
              <a:gd name="connsiteX98" fmla="*/ 586356 w 829568"/>
              <a:gd name="connsiteY98" fmla="*/ 586079 h 797705"/>
              <a:gd name="connsiteX99" fmla="*/ 590902 w 829568"/>
              <a:gd name="connsiteY99" fmla="*/ 579275 h 797705"/>
              <a:gd name="connsiteX100" fmla="*/ 597721 w 829568"/>
              <a:gd name="connsiteY100" fmla="*/ 583811 h 797705"/>
              <a:gd name="connsiteX101" fmla="*/ 599994 w 829568"/>
              <a:gd name="connsiteY101" fmla="*/ 579275 h 797705"/>
              <a:gd name="connsiteX102" fmla="*/ 606813 w 829568"/>
              <a:gd name="connsiteY102" fmla="*/ 588347 h 797705"/>
              <a:gd name="connsiteX103" fmla="*/ 606813 w 829568"/>
              <a:gd name="connsiteY103" fmla="*/ 590616 h 797705"/>
              <a:gd name="connsiteX104" fmla="*/ 602267 w 829568"/>
              <a:gd name="connsiteY104" fmla="*/ 601956 h 797705"/>
              <a:gd name="connsiteX105" fmla="*/ 604540 w 829568"/>
              <a:gd name="connsiteY105" fmla="*/ 606492 h 797705"/>
              <a:gd name="connsiteX106" fmla="*/ 609086 w 829568"/>
              <a:gd name="connsiteY106" fmla="*/ 611028 h 797705"/>
              <a:gd name="connsiteX107" fmla="*/ 606813 w 829568"/>
              <a:gd name="connsiteY107" fmla="*/ 613296 h 797705"/>
              <a:gd name="connsiteX108" fmla="*/ 588629 w 829568"/>
              <a:gd name="connsiteY108" fmla="*/ 613296 h 797705"/>
              <a:gd name="connsiteX109" fmla="*/ 572718 w 829568"/>
              <a:gd name="connsiteY109" fmla="*/ 597420 h 797705"/>
              <a:gd name="connsiteX110" fmla="*/ 568172 w 829568"/>
              <a:gd name="connsiteY110" fmla="*/ 606492 h 797705"/>
              <a:gd name="connsiteX111" fmla="*/ 561353 w 829568"/>
              <a:gd name="connsiteY111" fmla="*/ 597420 h 797705"/>
              <a:gd name="connsiteX112" fmla="*/ 556807 w 829568"/>
              <a:gd name="connsiteY112" fmla="*/ 592884 h 797705"/>
              <a:gd name="connsiteX113" fmla="*/ 540896 w 829568"/>
              <a:gd name="connsiteY113" fmla="*/ 570203 h 797705"/>
              <a:gd name="connsiteX114" fmla="*/ 529530 w 829568"/>
              <a:gd name="connsiteY114" fmla="*/ 565667 h 797705"/>
              <a:gd name="connsiteX115" fmla="*/ 518165 w 829568"/>
              <a:gd name="connsiteY115" fmla="*/ 572471 h 797705"/>
              <a:gd name="connsiteX116" fmla="*/ 509073 w 829568"/>
              <a:gd name="connsiteY116" fmla="*/ 577007 h 797705"/>
              <a:gd name="connsiteX117" fmla="*/ 506800 w 829568"/>
              <a:gd name="connsiteY117" fmla="*/ 574739 h 797705"/>
              <a:gd name="connsiteX118" fmla="*/ 504527 w 829568"/>
              <a:gd name="connsiteY118" fmla="*/ 574739 h 797705"/>
              <a:gd name="connsiteX119" fmla="*/ 503669 w 829568"/>
              <a:gd name="connsiteY119" fmla="*/ 574870 h 797705"/>
              <a:gd name="connsiteX120" fmla="*/ 505946 w 829568"/>
              <a:gd name="connsiteY120" fmla="*/ 577143 h 797705"/>
              <a:gd name="connsiteX121" fmla="*/ 505946 w 829568"/>
              <a:gd name="connsiteY121" fmla="*/ 579415 h 797705"/>
              <a:gd name="connsiteX122" fmla="*/ 505946 w 829568"/>
              <a:gd name="connsiteY122" fmla="*/ 581688 h 797705"/>
              <a:gd name="connsiteX123" fmla="*/ 496839 w 829568"/>
              <a:gd name="connsiteY123" fmla="*/ 590779 h 797705"/>
              <a:gd name="connsiteX124" fmla="*/ 496839 w 829568"/>
              <a:gd name="connsiteY124" fmla="*/ 595324 h 797705"/>
              <a:gd name="connsiteX125" fmla="*/ 501392 w 829568"/>
              <a:gd name="connsiteY125" fmla="*/ 599870 h 797705"/>
              <a:gd name="connsiteX126" fmla="*/ 510500 w 829568"/>
              <a:gd name="connsiteY126" fmla="*/ 608960 h 797705"/>
              <a:gd name="connsiteX127" fmla="*/ 508223 w 829568"/>
              <a:gd name="connsiteY127" fmla="*/ 613506 h 797705"/>
              <a:gd name="connsiteX128" fmla="*/ 508223 w 829568"/>
              <a:gd name="connsiteY128" fmla="*/ 618051 h 797705"/>
              <a:gd name="connsiteX129" fmla="*/ 490008 w 829568"/>
              <a:gd name="connsiteY129" fmla="*/ 640778 h 797705"/>
              <a:gd name="connsiteX130" fmla="*/ 464962 w 829568"/>
              <a:gd name="connsiteY130" fmla="*/ 631687 h 797705"/>
              <a:gd name="connsiteX131" fmla="*/ 451300 w 829568"/>
              <a:gd name="connsiteY131" fmla="*/ 624869 h 797705"/>
              <a:gd name="connsiteX132" fmla="*/ 423977 w 829568"/>
              <a:gd name="connsiteY132" fmla="*/ 638506 h 797705"/>
              <a:gd name="connsiteX133" fmla="*/ 414870 w 829568"/>
              <a:gd name="connsiteY133" fmla="*/ 643051 h 797705"/>
              <a:gd name="connsiteX134" fmla="*/ 398931 w 829568"/>
              <a:gd name="connsiteY134" fmla="*/ 645324 h 797705"/>
              <a:gd name="connsiteX135" fmla="*/ 394378 w 829568"/>
              <a:gd name="connsiteY135" fmla="*/ 652142 h 797705"/>
              <a:gd name="connsiteX136" fmla="*/ 373885 w 829568"/>
              <a:gd name="connsiteY136" fmla="*/ 654415 h 797705"/>
              <a:gd name="connsiteX137" fmla="*/ 353393 w 829568"/>
              <a:gd name="connsiteY137" fmla="*/ 661233 h 797705"/>
              <a:gd name="connsiteX138" fmla="*/ 344285 w 829568"/>
              <a:gd name="connsiteY138" fmla="*/ 683960 h 797705"/>
              <a:gd name="connsiteX139" fmla="*/ 346559 w 829568"/>
              <a:gd name="connsiteY139" fmla="*/ 695305 h 797705"/>
              <a:gd name="connsiteX140" fmla="*/ 346890 w 829568"/>
              <a:gd name="connsiteY140" fmla="*/ 695371 h 797705"/>
              <a:gd name="connsiteX141" fmla="*/ 349169 w 829568"/>
              <a:gd name="connsiteY141" fmla="*/ 697639 h 797705"/>
              <a:gd name="connsiteX142" fmla="*/ 349169 w 829568"/>
              <a:gd name="connsiteY142" fmla="*/ 708981 h 797705"/>
              <a:gd name="connsiteX143" fmla="*/ 349169 w 829568"/>
              <a:gd name="connsiteY143" fmla="*/ 713518 h 797705"/>
              <a:gd name="connsiteX144" fmla="*/ 346890 w 829568"/>
              <a:gd name="connsiteY144" fmla="*/ 724861 h 797705"/>
              <a:gd name="connsiteX145" fmla="*/ 340053 w 829568"/>
              <a:gd name="connsiteY145" fmla="*/ 722592 h 797705"/>
              <a:gd name="connsiteX146" fmla="*/ 317264 w 829568"/>
              <a:gd name="connsiteY146" fmla="*/ 720324 h 797705"/>
              <a:gd name="connsiteX147" fmla="*/ 312706 w 829568"/>
              <a:gd name="connsiteY147" fmla="*/ 718055 h 797705"/>
              <a:gd name="connsiteX148" fmla="*/ 303590 w 829568"/>
              <a:gd name="connsiteY148" fmla="*/ 724861 h 797705"/>
              <a:gd name="connsiteX149" fmla="*/ 294474 w 829568"/>
              <a:gd name="connsiteY149" fmla="*/ 731666 h 797705"/>
              <a:gd name="connsiteX150" fmla="*/ 289916 w 829568"/>
              <a:gd name="connsiteY150" fmla="*/ 738471 h 797705"/>
              <a:gd name="connsiteX151" fmla="*/ 289916 w 829568"/>
              <a:gd name="connsiteY151" fmla="*/ 752082 h 797705"/>
              <a:gd name="connsiteX152" fmla="*/ 280800 w 829568"/>
              <a:gd name="connsiteY152" fmla="*/ 740740 h 797705"/>
              <a:gd name="connsiteX153" fmla="*/ 278521 w 829568"/>
              <a:gd name="connsiteY153" fmla="*/ 738471 h 797705"/>
              <a:gd name="connsiteX154" fmla="*/ 278521 w 829568"/>
              <a:gd name="connsiteY154" fmla="*/ 743008 h 797705"/>
              <a:gd name="connsiteX155" fmla="*/ 276242 w 829568"/>
              <a:gd name="connsiteY155" fmla="*/ 749814 h 797705"/>
              <a:gd name="connsiteX156" fmla="*/ 269405 w 829568"/>
              <a:gd name="connsiteY156" fmla="*/ 761156 h 797705"/>
              <a:gd name="connsiteX157" fmla="*/ 232942 w 829568"/>
              <a:gd name="connsiteY157" fmla="*/ 749814 h 797705"/>
              <a:gd name="connsiteX158" fmla="*/ 230663 w 829568"/>
              <a:gd name="connsiteY158" fmla="*/ 754351 h 797705"/>
              <a:gd name="connsiteX159" fmla="*/ 203316 w 829568"/>
              <a:gd name="connsiteY159" fmla="*/ 754351 h 797705"/>
              <a:gd name="connsiteX160" fmla="*/ 180526 w 829568"/>
              <a:gd name="connsiteY160" fmla="*/ 761156 h 797705"/>
              <a:gd name="connsiteX161" fmla="*/ 169131 w 829568"/>
              <a:gd name="connsiteY161" fmla="*/ 767961 h 797705"/>
              <a:gd name="connsiteX162" fmla="*/ 157736 w 829568"/>
              <a:gd name="connsiteY162" fmla="*/ 783841 h 797705"/>
              <a:gd name="connsiteX163" fmla="*/ 137226 w 829568"/>
              <a:gd name="connsiteY163" fmla="*/ 797451 h 797705"/>
              <a:gd name="connsiteX164" fmla="*/ 128110 w 829568"/>
              <a:gd name="connsiteY164" fmla="*/ 786109 h 797705"/>
              <a:gd name="connsiteX165" fmla="*/ 121273 w 829568"/>
              <a:gd name="connsiteY165" fmla="*/ 792914 h 797705"/>
              <a:gd name="connsiteX166" fmla="*/ 93925 w 829568"/>
              <a:gd name="connsiteY166" fmla="*/ 790646 h 797705"/>
              <a:gd name="connsiteX167" fmla="*/ 68857 w 829568"/>
              <a:gd name="connsiteY167" fmla="*/ 790646 h 797705"/>
              <a:gd name="connsiteX168" fmla="*/ 57462 w 829568"/>
              <a:gd name="connsiteY168" fmla="*/ 792914 h 797705"/>
              <a:gd name="connsiteX169" fmla="*/ 46067 w 829568"/>
              <a:gd name="connsiteY169" fmla="*/ 788377 h 797705"/>
              <a:gd name="connsiteX170" fmla="*/ 25556 w 829568"/>
              <a:gd name="connsiteY170" fmla="*/ 786109 h 797705"/>
              <a:gd name="connsiteX171" fmla="*/ 25556 w 829568"/>
              <a:gd name="connsiteY171" fmla="*/ 783841 h 797705"/>
              <a:gd name="connsiteX172" fmla="*/ 27835 w 829568"/>
              <a:gd name="connsiteY172" fmla="*/ 777035 h 797705"/>
              <a:gd name="connsiteX173" fmla="*/ 25556 w 829568"/>
              <a:gd name="connsiteY173" fmla="*/ 774767 h 797705"/>
              <a:gd name="connsiteX174" fmla="*/ 43788 w 829568"/>
              <a:gd name="connsiteY174" fmla="*/ 770230 h 797705"/>
              <a:gd name="connsiteX175" fmla="*/ 48346 w 829568"/>
              <a:gd name="connsiteY175" fmla="*/ 699908 h 797705"/>
              <a:gd name="connsiteX176" fmla="*/ 5046 w 829568"/>
              <a:gd name="connsiteY176" fmla="*/ 670418 h 797705"/>
              <a:gd name="connsiteX177" fmla="*/ 30114 w 829568"/>
              <a:gd name="connsiteY177" fmla="*/ 615975 h 797705"/>
              <a:gd name="connsiteX178" fmla="*/ 41509 w 829568"/>
              <a:gd name="connsiteY178" fmla="*/ 600095 h 797705"/>
              <a:gd name="connsiteX179" fmla="*/ 34672 w 829568"/>
              <a:gd name="connsiteY179" fmla="*/ 581948 h 797705"/>
              <a:gd name="connsiteX180" fmla="*/ 41509 w 829568"/>
              <a:gd name="connsiteY180" fmla="*/ 554726 h 797705"/>
              <a:gd name="connsiteX181" fmla="*/ 16441 w 829568"/>
              <a:gd name="connsiteY181" fmla="*/ 543384 h 797705"/>
              <a:gd name="connsiteX182" fmla="*/ 34672 w 829568"/>
              <a:gd name="connsiteY182" fmla="*/ 541115 h 797705"/>
              <a:gd name="connsiteX183" fmla="*/ 41498 w 829568"/>
              <a:gd name="connsiteY183" fmla="*/ 541115 h 797705"/>
              <a:gd name="connsiteX184" fmla="*/ 39341 w 829568"/>
              <a:gd name="connsiteY184" fmla="*/ 528176 h 797705"/>
              <a:gd name="connsiteX185" fmla="*/ 86966 w 829568"/>
              <a:gd name="connsiteY185" fmla="*/ 494839 h 797705"/>
              <a:gd name="connsiteX186" fmla="*/ 65409 w 829568"/>
              <a:gd name="connsiteY186" fmla="*/ 464300 h 797705"/>
              <a:gd name="connsiteX187" fmla="*/ 62429 w 829568"/>
              <a:gd name="connsiteY187" fmla="*/ 465726 h 797705"/>
              <a:gd name="connsiteX188" fmla="*/ 62429 w 829568"/>
              <a:gd name="connsiteY188" fmla="*/ 467991 h 797705"/>
              <a:gd name="connsiteX189" fmla="*/ 57874 w 829568"/>
              <a:gd name="connsiteY189" fmla="*/ 470256 h 797705"/>
              <a:gd name="connsiteX190" fmla="*/ 48763 w 829568"/>
              <a:gd name="connsiteY190" fmla="*/ 472522 h 797705"/>
              <a:gd name="connsiteX191" fmla="*/ 35096 w 829568"/>
              <a:gd name="connsiteY191" fmla="*/ 467991 h 797705"/>
              <a:gd name="connsiteX192" fmla="*/ 32818 w 829568"/>
              <a:gd name="connsiteY192" fmla="*/ 449871 h 797705"/>
              <a:gd name="connsiteX193" fmla="*/ 55596 w 829568"/>
              <a:gd name="connsiteY193" fmla="*/ 418160 h 797705"/>
              <a:gd name="connsiteX194" fmla="*/ 55596 w 829568"/>
              <a:gd name="connsiteY194" fmla="*/ 404569 h 797705"/>
              <a:gd name="connsiteX195" fmla="*/ 48763 w 829568"/>
              <a:gd name="connsiteY195" fmla="*/ 372858 h 797705"/>
              <a:gd name="connsiteX196" fmla="*/ 41929 w 829568"/>
              <a:gd name="connsiteY196" fmla="*/ 354737 h 797705"/>
              <a:gd name="connsiteX197" fmla="*/ 41929 w 829568"/>
              <a:gd name="connsiteY197" fmla="*/ 320761 h 797705"/>
              <a:gd name="connsiteX198" fmla="*/ 41929 w 829568"/>
              <a:gd name="connsiteY198" fmla="*/ 300375 h 797705"/>
              <a:gd name="connsiteX199" fmla="*/ 44207 w 829568"/>
              <a:gd name="connsiteY199" fmla="*/ 302640 h 797705"/>
              <a:gd name="connsiteX200" fmla="*/ 57934 w 829568"/>
              <a:gd name="connsiteY200" fmla="*/ 312196 h 797705"/>
              <a:gd name="connsiteX201" fmla="*/ 58242 w 829568"/>
              <a:gd name="connsiteY201" fmla="*/ 311394 h 797705"/>
              <a:gd name="connsiteX202" fmla="*/ 56256 w 829568"/>
              <a:gd name="connsiteY202" fmla="*/ 310012 h 797705"/>
              <a:gd name="connsiteX203" fmla="*/ 44300 w 829568"/>
              <a:gd name="connsiteY203" fmla="*/ 302367 h 797705"/>
              <a:gd name="connsiteX204" fmla="*/ 42022 w 829568"/>
              <a:gd name="connsiteY204" fmla="*/ 300102 h 797705"/>
              <a:gd name="connsiteX205" fmla="*/ 44300 w 829568"/>
              <a:gd name="connsiteY205" fmla="*/ 291042 h 797705"/>
              <a:gd name="connsiteX206" fmla="*/ 78462 w 829568"/>
              <a:gd name="connsiteY206" fmla="*/ 259331 h 797705"/>
              <a:gd name="connsiteX207" fmla="*/ 92126 w 829568"/>
              <a:gd name="connsiteY207" fmla="*/ 232149 h 797705"/>
              <a:gd name="connsiteX208" fmla="*/ 114901 w 829568"/>
              <a:gd name="connsiteY208" fmla="*/ 211764 h 797705"/>
              <a:gd name="connsiteX209" fmla="*/ 108638 w 829568"/>
              <a:gd name="connsiteY209" fmla="*/ 204968 h 797705"/>
              <a:gd name="connsiteX210" fmla="*/ 92261 w 829568"/>
              <a:gd name="connsiteY210" fmla="*/ 198228 h 797705"/>
              <a:gd name="connsiteX211" fmla="*/ 91806 w 829568"/>
              <a:gd name="connsiteY211" fmla="*/ 198355 h 797705"/>
              <a:gd name="connsiteX212" fmla="*/ 84968 w 829568"/>
              <a:gd name="connsiteY212" fmla="*/ 193807 h 797705"/>
              <a:gd name="connsiteX213" fmla="*/ 94086 w 829568"/>
              <a:gd name="connsiteY213" fmla="*/ 155145 h 797705"/>
              <a:gd name="connsiteX214" fmla="*/ 135114 w 829568"/>
              <a:gd name="connsiteY214" fmla="*/ 127854 h 797705"/>
              <a:gd name="connsiteX215" fmla="*/ 160186 w 829568"/>
              <a:gd name="connsiteY215" fmla="*/ 134677 h 797705"/>
              <a:gd name="connsiteX216" fmla="*/ 160186 w 829568"/>
              <a:gd name="connsiteY216" fmla="*/ 109660 h 797705"/>
              <a:gd name="connsiteX217" fmla="*/ 187538 w 829568"/>
              <a:gd name="connsiteY217" fmla="*/ 82369 h 797705"/>
              <a:gd name="connsiteX218" fmla="*/ 187538 w 829568"/>
              <a:gd name="connsiteY218" fmla="*/ 48256 h 797705"/>
              <a:gd name="connsiteX219" fmla="*/ 190103 w 829568"/>
              <a:gd name="connsiteY219" fmla="*/ 284 h 797705"/>
              <a:gd name="connsiteX0" fmla="*/ 561350 w 829568"/>
              <a:gd name="connsiteY0" fmla="*/ 243680 h 797705"/>
              <a:gd name="connsiteX1" fmla="*/ 563631 w 829568"/>
              <a:gd name="connsiteY1" fmla="*/ 245950 h 797705"/>
              <a:gd name="connsiteX2" fmla="*/ 563632 w 829568"/>
              <a:gd name="connsiteY2" fmla="*/ 245962 h 797705"/>
              <a:gd name="connsiteX3" fmla="*/ 561350 w 829568"/>
              <a:gd name="connsiteY3" fmla="*/ 243680 h 797705"/>
              <a:gd name="connsiteX4" fmla="*/ 190103 w 829568"/>
              <a:gd name="connsiteY4" fmla="*/ 284 h 797705"/>
              <a:gd name="connsiteX5" fmla="*/ 208052 w 829568"/>
              <a:gd name="connsiteY5" fmla="*/ 7319 h 797705"/>
              <a:gd name="connsiteX6" fmla="*/ 244522 w 829568"/>
              <a:gd name="connsiteY6" fmla="*/ 16416 h 797705"/>
              <a:gd name="connsiteX7" fmla="*/ 269594 w 829568"/>
              <a:gd name="connsiteY7" fmla="*/ 36884 h 797705"/>
              <a:gd name="connsiteX8" fmla="*/ 303784 w 829568"/>
              <a:gd name="connsiteY8" fmla="*/ 59627 h 797705"/>
              <a:gd name="connsiteX9" fmla="*/ 317460 w 829568"/>
              <a:gd name="connsiteY9" fmla="*/ 89192 h 797705"/>
              <a:gd name="connsiteX10" fmla="*/ 353930 w 829568"/>
              <a:gd name="connsiteY10" fmla="*/ 73272 h 797705"/>
              <a:gd name="connsiteX11" fmla="*/ 399516 w 829568"/>
              <a:gd name="connsiteY11" fmla="*/ 82369 h 797705"/>
              <a:gd name="connsiteX12" fmla="*/ 417751 w 829568"/>
              <a:gd name="connsiteY12" fmla="*/ 77821 h 797705"/>
              <a:gd name="connsiteX13" fmla="*/ 438265 w 829568"/>
              <a:gd name="connsiteY13" fmla="*/ 64175 h 797705"/>
              <a:gd name="connsiteX14" fmla="*/ 472455 w 829568"/>
              <a:gd name="connsiteY14" fmla="*/ 73272 h 797705"/>
              <a:gd name="connsiteX15" fmla="*/ 486131 w 829568"/>
              <a:gd name="connsiteY15" fmla="*/ 82369 h 797705"/>
              <a:gd name="connsiteX16" fmla="*/ 490690 w 829568"/>
              <a:gd name="connsiteY16" fmla="*/ 132402 h 797705"/>
              <a:gd name="connsiteX17" fmla="*/ 495248 w 829568"/>
              <a:gd name="connsiteY17" fmla="*/ 196081 h 797705"/>
              <a:gd name="connsiteX18" fmla="*/ 495248 w 829568"/>
              <a:gd name="connsiteY18" fmla="*/ 214275 h 797705"/>
              <a:gd name="connsiteX19" fmla="*/ 495067 w 829568"/>
              <a:gd name="connsiteY19" fmla="*/ 214233 h 797705"/>
              <a:gd name="connsiteX20" fmla="*/ 497146 w 829568"/>
              <a:gd name="connsiteY20" fmla="*/ 220449 h 797705"/>
              <a:gd name="connsiteX21" fmla="*/ 508530 w 829568"/>
              <a:gd name="connsiteY21" fmla="*/ 224986 h 797705"/>
              <a:gd name="connsiteX22" fmla="*/ 524467 w 829568"/>
              <a:gd name="connsiteY22" fmla="*/ 238598 h 797705"/>
              <a:gd name="connsiteX23" fmla="*/ 556340 w 829568"/>
              <a:gd name="connsiteY23" fmla="*/ 234060 h 797705"/>
              <a:gd name="connsiteX24" fmla="*/ 560894 w 829568"/>
              <a:gd name="connsiteY24" fmla="*/ 243135 h 797705"/>
              <a:gd name="connsiteX25" fmla="*/ 563170 w 829568"/>
              <a:gd name="connsiteY25" fmla="*/ 247672 h 797705"/>
              <a:gd name="connsiteX26" fmla="*/ 563684 w 829568"/>
              <a:gd name="connsiteY26" fmla="*/ 246583 h 797705"/>
              <a:gd name="connsiteX27" fmla="*/ 570440 w 829568"/>
              <a:gd name="connsiteY27" fmla="*/ 254988 h 797705"/>
              <a:gd name="connsiteX28" fmla="*/ 570445 w 829568"/>
              <a:gd name="connsiteY28" fmla="*/ 254942 h 797705"/>
              <a:gd name="connsiteX29" fmla="*/ 574113 w 829568"/>
              <a:gd name="connsiteY29" fmla="*/ 256872 h 797705"/>
              <a:gd name="connsiteX30" fmla="*/ 567290 w 829568"/>
              <a:gd name="connsiteY30" fmla="*/ 250109 h 797705"/>
              <a:gd name="connsiteX31" fmla="*/ 563684 w 829568"/>
              <a:gd name="connsiteY31" fmla="*/ 246583 h 797705"/>
              <a:gd name="connsiteX32" fmla="*/ 574458 w 829568"/>
              <a:gd name="connsiteY32" fmla="*/ 256788 h 797705"/>
              <a:gd name="connsiteX33" fmla="*/ 583230 w 829568"/>
              <a:gd name="connsiteY33" fmla="*/ 254659 h 797705"/>
              <a:gd name="connsiteX34" fmla="*/ 595448 w 829568"/>
              <a:gd name="connsiteY34" fmla="*/ 250406 h 797705"/>
              <a:gd name="connsiteX35" fmla="*/ 624997 w 829568"/>
              <a:gd name="connsiteY35" fmla="*/ 282159 h 797705"/>
              <a:gd name="connsiteX36" fmla="*/ 637214 w 829568"/>
              <a:gd name="connsiteY36" fmla="*/ 311928 h 797705"/>
              <a:gd name="connsiteX37" fmla="*/ 636731 w 829568"/>
              <a:gd name="connsiteY37" fmla="*/ 319061 h 797705"/>
              <a:gd name="connsiteX38" fmla="*/ 636185 w 829568"/>
              <a:gd name="connsiteY38" fmla="*/ 327131 h 797705"/>
              <a:gd name="connsiteX39" fmla="*/ 640908 w 829568"/>
              <a:gd name="connsiteY39" fmla="*/ 343397 h 797705"/>
              <a:gd name="connsiteX40" fmla="*/ 656819 w 829568"/>
              <a:gd name="connsiteY40" fmla="*/ 329788 h 797705"/>
              <a:gd name="connsiteX41" fmla="*/ 672730 w 829568"/>
              <a:gd name="connsiteY41" fmla="*/ 347933 h 797705"/>
              <a:gd name="connsiteX42" fmla="*/ 679549 w 829568"/>
              <a:gd name="connsiteY42" fmla="*/ 366077 h 797705"/>
              <a:gd name="connsiteX43" fmla="*/ 686368 w 829568"/>
              <a:gd name="connsiteY43" fmla="*/ 418243 h 797705"/>
              <a:gd name="connsiteX44" fmla="*/ 736375 w 829568"/>
              <a:gd name="connsiteY44" fmla="*/ 413707 h 797705"/>
              <a:gd name="connsiteX45" fmla="*/ 756832 w 829568"/>
              <a:gd name="connsiteY45" fmla="*/ 420511 h 797705"/>
              <a:gd name="connsiteX46" fmla="*/ 765924 w 829568"/>
              <a:gd name="connsiteY46" fmla="*/ 406903 h 797705"/>
              <a:gd name="connsiteX47" fmla="*/ 829568 w 829568"/>
              <a:gd name="connsiteY47" fmla="*/ 397830 h 797705"/>
              <a:gd name="connsiteX48" fmla="*/ 829568 w 829568"/>
              <a:gd name="connsiteY48" fmla="*/ 413707 h 797705"/>
              <a:gd name="connsiteX49" fmla="*/ 827295 w 829568"/>
              <a:gd name="connsiteY49" fmla="*/ 422779 h 797705"/>
              <a:gd name="connsiteX50" fmla="*/ 822749 w 829568"/>
              <a:gd name="connsiteY50" fmla="*/ 427315 h 797705"/>
              <a:gd name="connsiteX51" fmla="*/ 815930 w 829568"/>
              <a:gd name="connsiteY51" fmla="*/ 427315 h 797705"/>
              <a:gd name="connsiteX52" fmla="*/ 809111 w 829568"/>
              <a:gd name="connsiteY52" fmla="*/ 443192 h 797705"/>
              <a:gd name="connsiteX53" fmla="*/ 802292 w 829568"/>
              <a:gd name="connsiteY53" fmla="*/ 452264 h 797705"/>
              <a:gd name="connsiteX54" fmla="*/ 800019 w 829568"/>
              <a:gd name="connsiteY54" fmla="*/ 459068 h 797705"/>
              <a:gd name="connsiteX55" fmla="*/ 800019 w 829568"/>
              <a:gd name="connsiteY55" fmla="*/ 470408 h 797705"/>
              <a:gd name="connsiteX56" fmla="*/ 800019 w 829568"/>
              <a:gd name="connsiteY56" fmla="*/ 481749 h 797705"/>
              <a:gd name="connsiteX57" fmla="*/ 784108 w 829568"/>
              <a:gd name="connsiteY57" fmla="*/ 477212 h 797705"/>
              <a:gd name="connsiteX58" fmla="*/ 777289 w 829568"/>
              <a:gd name="connsiteY58" fmla="*/ 477212 h 797705"/>
              <a:gd name="connsiteX59" fmla="*/ 770470 w 829568"/>
              <a:gd name="connsiteY59" fmla="*/ 481749 h 797705"/>
              <a:gd name="connsiteX60" fmla="*/ 768197 w 829568"/>
              <a:gd name="connsiteY60" fmla="*/ 488553 h 797705"/>
              <a:gd name="connsiteX61" fmla="*/ 750013 w 829568"/>
              <a:gd name="connsiteY61" fmla="*/ 497625 h 797705"/>
              <a:gd name="connsiteX62" fmla="*/ 745467 w 829568"/>
              <a:gd name="connsiteY62" fmla="*/ 490821 h 797705"/>
              <a:gd name="connsiteX63" fmla="*/ 740921 w 829568"/>
              <a:gd name="connsiteY63" fmla="*/ 493089 h 797705"/>
              <a:gd name="connsiteX64" fmla="*/ 738648 w 829568"/>
              <a:gd name="connsiteY64" fmla="*/ 499893 h 797705"/>
              <a:gd name="connsiteX65" fmla="*/ 738648 w 829568"/>
              <a:gd name="connsiteY65" fmla="*/ 502161 h 797705"/>
              <a:gd name="connsiteX66" fmla="*/ 725010 w 829568"/>
              <a:gd name="connsiteY66" fmla="*/ 504429 h 797705"/>
              <a:gd name="connsiteX67" fmla="*/ 715918 w 829568"/>
              <a:gd name="connsiteY67" fmla="*/ 508965 h 797705"/>
              <a:gd name="connsiteX68" fmla="*/ 715918 w 829568"/>
              <a:gd name="connsiteY68" fmla="*/ 520306 h 797705"/>
              <a:gd name="connsiteX69" fmla="*/ 713645 w 829568"/>
              <a:gd name="connsiteY69" fmla="*/ 522574 h 797705"/>
              <a:gd name="connsiteX70" fmla="*/ 693188 w 829568"/>
              <a:gd name="connsiteY70" fmla="*/ 527110 h 797705"/>
              <a:gd name="connsiteX71" fmla="*/ 677276 w 829568"/>
              <a:gd name="connsiteY71" fmla="*/ 531646 h 797705"/>
              <a:gd name="connsiteX72" fmla="*/ 668184 w 829568"/>
              <a:gd name="connsiteY72" fmla="*/ 527110 h 797705"/>
              <a:gd name="connsiteX73" fmla="*/ 665911 w 829568"/>
              <a:gd name="connsiteY73" fmla="*/ 529378 h 797705"/>
              <a:gd name="connsiteX74" fmla="*/ 665911 w 829568"/>
              <a:gd name="connsiteY74" fmla="*/ 538450 h 797705"/>
              <a:gd name="connsiteX75" fmla="*/ 659092 w 829568"/>
              <a:gd name="connsiteY75" fmla="*/ 540718 h 797705"/>
              <a:gd name="connsiteX76" fmla="*/ 659092 w 829568"/>
              <a:gd name="connsiteY76" fmla="*/ 545254 h 797705"/>
              <a:gd name="connsiteX77" fmla="*/ 659092 w 829568"/>
              <a:gd name="connsiteY77" fmla="*/ 556595 h 797705"/>
              <a:gd name="connsiteX78" fmla="*/ 656819 w 829568"/>
              <a:gd name="connsiteY78" fmla="*/ 561131 h 797705"/>
              <a:gd name="connsiteX79" fmla="*/ 652273 w 829568"/>
              <a:gd name="connsiteY79" fmla="*/ 561131 h 797705"/>
              <a:gd name="connsiteX80" fmla="*/ 650000 w 829568"/>
              <a:gd name="connsiteY80" fmla="*/ 561131 h 797705"/>
              <a:gd name="connsiteX81" fmla="*/ 618178 w 829568"/>
              <a:gd name="connsiteY81" fmla="*/ 552058 h 797705"/>
              <a:gd name="connsiteX82" fmla="*/ 618178 w 829568"/>
              <a:gd name="connsiteY82" fmla="*/ 549790 h 797705"/>
              <a:gd name="connsiteX83" fmla="*/ 609086 w 829568"/>
              <a:gd name="connsiteY83" fmla="*/ 542986 h 797705"/>
              <a:gd name="connsiteX84" fmla="*/ 599994 w 829568"/>
              <a:gd name="connsiteY84" fmla="*/ 547522 h 797705"/>
              <a:gd name="connsiteX85" fmla="*/ 590902 w 829568"/>
              <a:gd name="connsiteY85" fmla="*/ 554327 h 797705"/>
              <a:gd name="connsiteX86" fmla="*/ 579537 w 829568"/>
              <a:gd name="connsiteY86" fmla="*/ 563399 h 797705"/>
              <a:gd name="connsiteX87" fmla="*/ 574991 w 829568"/>
              <a:gd name="connsiteY87" fmla="*/ 556595 h 797705"/>
              <a:gd name="connsiteX88" fmla="*/ 570445 w 829568"/>
              <a:gd name="connsiteY88" fmla="*/ 558863 h 797705"/>
              <a:gd name="connsiteX89" fmla="*/ 568172 w 829568"/>
              <a:gd name="connsiteY89" fmla="*/ 563399 h 797705"/>
              <a:gd name="connsiteX90" fmla="*/ 568172 w 829568"/>
              <a:gd name="connsiteY90" fmla="*/ 565667 h 797705"/>
              <a:gd name="connsiteX91" fmla="*/ 568172 w 829568"/>
              <a:gd name="connsiteY91" fmla="*/ 570203 h 797705"/>
              <a:gd name="connsiteX92" fmla="*/ 565899 w 829568"/>
              <a:gd name="connsiteY92" fmla="*/ 572471 h 797705"/>
              <a:gd name="connsiteX93" fmla="*/ 565899 w 829568"/>
              <a:gd name="connsiteY93" fmla="*/ 574739 h 797705"/>
              <a:gd name="connsiteX94" fmla="*/ 581810 w 829568"/>
              <a:gd name="connsiteY94" fmla="*/ 581543 h 797705"/>
              <a:gd name="connsiteX95" fmla="*/ 586356 w 829568"/>
              <a:gd name="connsiteY95" fmla="*/ 586079 h 797705"/>
              <a:gd name="connsiteX96" fmla="*/ 590902 w 829568"/>
              <a:gd name="connsiteY96" fmla="*/ 579275 h 797705"/>
              <a:gd name="connsiteX97" fmla="*/ 597721 w 829568"/>
              <a:gd name="connsiteY97" fmla="*/ 583811 h 797705"/>
              <a:gd name="connsiteX98" fmla="*/ 599994 w 829568"/>
              <a:gd name="connsiteY98" fmla="*/ 579275 h 797705"/>
              <a:gd name="connsiteX99" fmla="*/ 606813 w 829568"/>
              <a:gd name="connsiteY99" fmla="*/ 588347 h 797705"/>
              <a:gd name="connsiteX100" fmla="*/ 606813 w 829568"/>
              <a:gd name="connsiteY100" fmla="*/ 590616 h 797705"/>
              <a:gd name="connsiteX101" fmla="*/ 602267 w 829568"/>
              <a:gd name="connsiteY101" fmla="*/ 601956 h 797705"/>
              <a:gd name="connsiteX102" fmla="*/ 604540 w 829568"/>
              <a:gd name="connsiteY102" fmla="*/ 606492 h 797705"/>
              <a:gd name="connsiteX103" fmla="*/ 609086 w 829568"/>
              <a:gd name="connsiteY103" fmla="*/ 611028 h 797705"/>
              <a:gd name="connsiteX104" fmla="*/ 606813 w 829568"/>
              <a:gd name="connsiteY104" fmla="*/ 613296 h 797705"/>
              <a:gd name="connsiteX105" fmla="*/ 588629 w 829568"/>
              <a:gd name="connsiteY105" fmla="*/ 613296 h 797705"/>
              <a:gd name="connsiteX106" fmla="*/ 572718 w 829568"/>
              <a:gd name="connsiteY106" fmla="*/ 597420 h 797705"/>
              <a:gd name="connsiteX107" fmla="*/ 568172 w 829568"/>
              <a:gd name="connsiteY107" fmla="*/ 606492 h 797705"/>
              <a:gd name="connsiteX108" fmla="*/ 561353 w 829568"/>
              <a:gd name="connsiteY108" fmla="*/ 597420 h 797705"/>
              <a:gd name="connsiteX109" fmla="*/ 556807 w 829568"/>
              <a:gd name="connsiteY109" fmla="*/ 592884 h 797705"/>
              <a:gd name="connsiteX110" fmla="*/ 540896 w 829568"/>
              <a:gd name="connsiteY110" fmla="*/ 570203 h 797705"/>
              <a:gd name="connsiteX111" fmla="*/ 529530 w 829568"/>
              <a:gd name="connsiteY111" fmla="*/ 565667 h 797705"/>
              <a:gd name="connsiteX112" fmla="*/ 518165 w 829568"/>
              <a:gd name="connsiteY112" fmla="*/ 572471 h 797705"/>
              <a:gd name="connsiteX113" fmla="*/ 509073 w 829568"/>
              <a:gd name="connsiteY113" fmla="*/ 577007 h 797705"/>
              <a:gd name="connsiteX114" fmla="*/ 506800 w 829568"/>
              <a:gd name="connsiteY114" fmla="*/ 574739 h 797705"/>
              <a:gd name="connsiteX115" fmla="*/ 504527 w 829568"/>
              <a:gd name="connsiteY115" fmla="*/ 574739 h 797705"/>
              <a:gd name="connsiteX116" fmla="*/ 503669 w 829568"/>
              <a:gd name="connsiteY116" fmla="*/ 574870 h 797705"/>
              <a:gd name="connsiteX117" fmla="*/ 505946 w 829568"/>
              <a:gd name="connsiteY117" fmla="*/ 577143 h 797705"/>
              <a:gd name="connsiteX118" fmla="*/ 505946 w 829568"/>
              <a:gd name="connsiteY118" fmla="*/ 579415 h 797705"/>
              <a:gd name="connsiteX119" fmla="*/ 505946 w 829568"/>
              <a:gd name="connsiteY119" fmla="*/ 581688 h 797705"/>
              <a:gd name="connsiteX120" fmla="*/ 496839 w 829568"/>
              <a:gd name="connsiteY120" fmla="*/ 590779 h 797705"/>
              <a:gd name="connsiteX121" fmla="*/ 496839 w 829568"/>
              <a:gd name="connsiteY121" fmla="*/ 595324 h 797705"/>
              <a:gd name="connsiteX122" fmla="*/ 501392 w 829568"/>
              <a:gd name="connsiteY122" fmla="*/ 599870 h 797705"/>
              <a:gd name="connsiteX123" fmla="*/ 510500 w 829568"/>
              <a:gd name="connsiteY123" fmla="*/ 608960 h 797705"/>
              <a:gd name="connsiteX124" fmla="*/ 508223 w 829568"/>
              <a:gd name="connsiteY124" fmla="*/ 613506 h 797705"/>
              <a:gd name="connsiteX125" fmla="*/ 508223 w 829568"/>
              <a:gd name="connsiteY125" fmla="*/ 618051 h 797705"/>
              <a:gd name="connsiteX126" fmla="*/ 490008 w 829568"/>
              <a:gd name="connsiteY126" fmla="*/ 640778 h 797705"/>
              <a:gd name="connsiteX127" fmla="*/ 464962 w 829568"/>
              <a:gd name="connsiteY127" fmla="*/ 631687 h 797705"/>
              <a:gd name="connsiteX128" fmla="*/ 451300 w 829568"/>
              <a:gd name="connsiteY128" fmla="*/ 624869 h 797705"/>
              <a:gd name="connsiteX129" fmla="*/ 423977 w 829568"/>
              <a:gd name="connsiteY129" fmla="*/ 638506 h 797705"/>
              <a:gd name="connsiteX130" fmla="*/ 414870 w 829568"/>
              <a:gd name="connsiteY130" fmla="*/ 643051 h 797705"/>
              <a:gd name="connsiteX131" fmla="*/ 398931 w 829568"/>
              <a:gd name="connsiteY131" fmla="*/ 645324 h 797705"/>
              <a:gd name="connsiteX132" fmla="*/ 394378 w 829568"/>
              <a:gd name="connsiteY132" fmla="*/ 652142 h 797705"/>
              <a:gd name="connsiteX133" fmla="*/ 373885 w 829568"/>
              <a:gd name="connsiteY133" fmla="*/ 654415 h 797705"/>
              <a:gd name="connsiteX134" fmla="*/ 353393 w 829568"/>
              <a:gd name="connsiteY134" fmla="*/ 661233 h 797705"/>
              <a:gd name="connsiteX135" fmla="*/ 344285 w 829568"/>
              <a:gd name="connsiteY135" fmla="*/ 683960 h 797705"/>
              <a:gd name="connsiteX136" fmla="*/ 346559 w 829568"/>
              <a:gd name="connsiteY136" fmla="*/ 695305 h 797705"/>
              <a:gd name="connsiteX137" fmla="*/ 346890 w 829568"/>
              <a:gd name="connsiteY137" fmla="*/ 695371 h 797705"/>
              <a:gd name="connsiteX138" fmla="*/ 349169 w 829568"/>
              <a:gd name="connsiteY138" fmla="*/ 697639 h 797705"/>
              <a:gd name="connsiteX139" fmla="*/ 349169 w 829568"/>
              <a:gd name="connsiteY139" fmla="*/ 708981 h 797705"/>
              <a:gd name="connsiteX140" fmla="*/ 349169 w 829568"/>
              <a:gd name="connsiteY140" fmla="*/ 713518 h 797705"/>
              <a:gd name="connsiteX141" fmla="*/ 346890 w 829568"/>
              <a:gd name="connsiteY141" fmla="*/ 724861 h 797705"/>
              <a:gd name="connsiteX142" fmla="*/ 340053 w 829568"/>
              <a:gd name="connsiteY142" fmla="*/ 722592 h 797705"/>
              <a:gd name="connsiteX143" fmla="*/ 317264 w 829568"/>
              <a:gd name="connsiteY143" fmla="*/ 720324 h 797705"/>
              <a:gd name="connsiteX144" fmla="*/ 312706 w 829568"/>
              <a:gd name="connsiteY144" fmla="*/ 718055 h 797705"/>
              <a:gd name="connsiteX145" fmla="*/ 303590 w 829568"/>
              <a:gd name="connsiteY145" fmla="*/ 724861 h 797705"/>
              <a:gd name="connsiteX146" fmla="*/ 294474 w 829568"/>
              <a:gd name="connsiteY146" fmla="*/ 731666 h 797705"/>
              <a:gd name="connsiteX147" fmla="*/ 289916 w 829568"/>
              <a:gd name="connsiteY147" fmla="*/ 738471 h 797705"/>
              <a:gd name="connsiteX148" fmla="*/ 289916 w 829568"/>
              <a:gd name="connsiteY148" fmla="*/ 752082 h 797705"/>
              <a:gd name="connsiteX149" fmla="*/ 280800 w 829568"/>
              <a:gd name="connsiteY149" fmla="*/ 740740 h 797705"/>
              <a:gd name="connsiteX150" fmla="*/ 278521 w 829568"/>
              <a:gd name="connsiteY150" fmla="*/ 738471 h 797705"/>
              <a:gd name="connsiteX151" fmla="*/ 278521 w 829568"/>
              <a:gd name="connsiteY151" fmla="*/ 743008 h 797705"/>
              <a:gd name="connsiteX152" fmla="*/ 276242 w 829568"/>
              <a:gd name="connsiteY152" fmla="*/ 749814 h 797705"/>
              <a:gd name="connsiteX153" fmla="*/ 269405 w 829568"/>
              <a:gd name="connsiteY153" fmla="*/ 761156 h 797705"/>
              <a:gd name="connsiteX154" fmla="*/ 232942 w 829568"/>
              <a:gd name="connsiteY154" fmla="*/ 749814 h 797705"/>
              <a:gd name="connsiteX155" fmla="*/ 230663 w 829568"/>
              <a:gd name="connsiteY155" fmla="*/ 754351 h 797705"/>
              <a:gd name="connsiteX156" fmla="*/ 203316 w 829568"/>
              <a:gd name="connsiteY156" fmla="*/ 754351 h 797705"/>
              <a:gd name="connsiteX157" fmla="*/ 180526 w 829568"/>
              <a:gd name="connsiteY157" fmla="*/ 761156 h 797705"/>
              <a:gd name="connsiteX158" fmla="*/ 169131 w 829568"/>
              <a:gd name="connsiteY158" fmla="*/ 767961 h 797705"/>
              <a:gd name="connsiteX159" fmla="*/ 157736 w 829568"/>
              <a:gd name="connsiteY159" fmla="*/ 783841 h 797705"/>
              <a:gd name="connsiteX160" fmla="*/ 137226 w 829568"/>
              <a:gd name="connsiteY160" fmla="*/ 797451 h 797705"/>
              <a:gd name="connsiteX161" fmla="*/ 128110 w 829568"/>
              <a:gd name="connsiteY161" fmla="*/ 786109 h 797705"/>
              <a:gd name="connsiteX162" fmla="*/ 121273 w 829568"/>
              <a:gd name="connsiteY162" fmla="*/ 792914 h 797705"/>
              <a:gd name="connsiteX163" fmla="*/ 93925 w 829568"/>
              <a:gd name="connsiteY163" fmla="*/ 790646 h 797705"/>
              <a:gd name="connsiteX164" fmla="*/ 68857 w 829568"/>
              <a:gd name="connsiteY164" fmla="*/ 790646 h 797705"/>
              <a:gd name="connsiteX165" fmla="*/ 57462 w 829568"/>
              <a:gd name="connsiteY165" fmla="*/ 792914 h 797705"/>
              <a:gd name="connsiteX166" fmla="*/ 46067 w 829568"/>
              <a:gd name="connsiteY166" fmla="*/ 788377 h 797705"/>
              <a:gd name="connsiteX167" fmla="*/ 25556 w 829568"/>
              <a:gd name="connsiteY167" fmla="*/ 786109 h 797705"/>
              <a:gd name="connsiteX168" fmla="*/ 25556 w 829568"/>
              <a:gd name="connsiteY168" fmla="*/ 783841 h 797705"/>
              <a:gd name="connsiteX169" fmla="*/ 27835 w 829568"/>
              <a:gd name="connsiteY169" fmla="*/ 777035 h 797705"/>
              <a:gd name="connsiteX170" fmla="*/ 25556 w 829568"/>
              <a:gd name="connsiteY170" fmla="*/ 774767 h 797705"/>
              <a:gd name="connsiteX171" fmla="*/ 43788 w 829568"/>
              <a:gd name="connsiteY171" fmla="*/ 770230 h 797705"/>
              <a:gd name="connsiteX172" fmla="*/ 48346 w 829568"/>
              <a:gd name="connsiteY172" fmla="*/ 699908 h 797705"/>
              <a:gd name="connsiteX173" fmla="*/ 5046 w 829568"/>
              <a:gd name="connsiteY173" fmla="*/ 670418 h 797705"/>
              <a:gd name="connsiteX174" fmla="*/ 30114 w 829568"/>
              <a:gd name="connsiteY174" fmla="*/ 615975 h 797705"/>
              <a:gd name="connsiteX175" fmla="*/ 41509 w 829568"/>
              <a:gd name="connsiteY175" fmla="*/ 600095 h 797705"/>
              <a:gd name="connsiteX176" fmla="*/ 34672 w 829568"/>
              <a:gd name="connsiteY176" fmla="*/ 581948 h 797705"/>
              <a:gd name="connsiteX177" fmla="*/ 41509 w 829568"/>
              <a:gd name="connsiteY177" fmla="*/ 554726 h 797705"/>
              <a:gd name="connsiteX178" fmla="*/ 16441 w 829568"/>
              <a:gd name="connsiteY178" fmla="*/ 543384 h 797705"/>
              <a:gd name="connsiteX179" fmla="*/ 34672 w 829568"/>
              <a:gd name="connsiteY179" fmla="*/ 541115 h 797705"/>
              <a:gd name="connsiteX180" fmla="*/ 41498 w 829568"/>
              <a:gd name="connsiteY180" fmla="*/ 541115 h 797705"/>
              <a:gd name="connsiteX181" fmla="*/ 39341 w 829568"/>
              <a:gd name="connsiteY181" fmla="*/ 528176 h 797705"/>
              <a:gd name="connsiteX182" fmla="*/ 86966 w 829568"/>
              <a:gd name="connsiteY182" fmla="*/ 494839 h 797705"/>
              <a:gd name="connsiteX183" fmla="*/ 65409 w 829568"/>
              <a:gd name="connsiteY183" fmla="*/ 464300 h 797705"/>
              <a:gd name="connsiteX184" fmla="*/ 62429 w 829568"/>
              <a:gd name="connsiteY184" fmla="*/ 465726 h 797705"/>
              <a:gd name="connsiteX185" fmla="*/ 62429 w 829568"/>
              <a:gd name="connsiteY185" fmla="*/ 467991 h 797705"/>
              <a:gd name="connsiteX186" fmla="*/ 57874 w 829568"/>
              <a:gd name="connsiteY186" fmla="*/ 470256 h 797705"/>
              <a:gd name="connsiteX187" fmla="*/ 48763 w 829568"/>
              <a:gd name="connsiteY187" fmla="*/ 472522 h 797705"/>
              <a:gd name="connsiteX188" fmla="*/ 35096 w 829568"/>
              <a:gd name="connsiteY188" fmla="*/ 467991 h 797705"/>
              <a:gd name="connsiteX189" fmla="*/ 32818 w 829568"/>
              <a:gd name="connsiteY189" fmla="*/ 449871 h 797705"/>
              <a:gd name="connsiteX190" fmla="*/ 55596 w 829568"/>
              <a:gd name="connsiteY190" fmla="*/ 418160 h 797705"/>
              <a:gd name="connsiteX191" fmla="*/ 55596 w 829568"/>
              <a:gd name="connsiteY191" fmla="*/ 404569 h 797705"/>
              <a:gd name="connsiteX192" fmla="*/ 48763 w 829568"/>
              <a:gd name="connsiteY192" fmla="*/ 372858 h 797705"/>
              <a:gd name="connsiteX193" fmla="*/ 41929 w 829568"/>
              <a:gd name="connsiteY193" fmla="*/ 354737 h 797705"/>
              <a:gd name="connsiteX194" fmla="*/ 41929 w 829568"/>
              <a:gd name="connsiteY194" fmla="*/ 320761 h 797705"/>
              <a:gd name="connsiteX195" fmla="*/ 41929 w 829568"/>
              <a:gd name="connsiteY195" fmla="*/ 300375 h 797705"/>
              <a:gd name="connsiteX196" fmla="*/ 44207 w 829568"/>
              <a:gd name="connsiteY196" fmla="*/ 302640 h 797705"/>
              <a:gd name="connsiteX197" fmla="*/ 57934 w 829568"/>
              <a:gd name="connsiteY197" fmla="*/ 312196 h 797705"/>
              <a:gd name="connsiteX198" fmla="*/ 58242 w 829568"/>
              <a:gd name="connsiteY198" fmla="*/ 311394 h 797705"/>
              <a:gd name="connsiteX199" fmla="*/ 56256 w 829568"/>
              <a:gd name="connsiteY199" fmla="*/ 310012 h 797705"/>
              <a:gd name="connsiteX200" fmla="*/ 44300 w 829568"/>
              <a:gd name="connsiteY200" fmla="*/ 302367 h 797705"/>
              <a:gd name="connsiteX201" fmla="*/ 42022 w 829568"/>
              <a:gd name="connsiteY201" fmla="*/ 300102 h 797705"/>
              <a:gd name="connsiteX202" fmla="*/ 44300 w 829568"/>
              <a:gd name="connsiteY202" fmla="*/ 291042 h 797705"/>
              <a:gd name="connsiteX203" fmla="*/ 78462 w 829568"/>
              <a:gd name="connsiteY203" fmla="*/ 259331 h 797705"/>
              <a:gd name="connsiteX204" fmla="*/ 92126 w 829568"/>
              <a:gd name="connsiteY204" fmla="*/ 232149 h 797705"/>
              <a:gd name="connsiteX205" fmla="*/ 114901 w 829568"/>
              <a:gd name="connsiteY205" fmla="*/ 211764 h 797705"/>
              <a:gd name="connsiteX206" fmla="*/ 108638 w 829568"/>
              <a:gd name="connsiteY206" fmla="*/ 204968 h 797705"/>
              <a:gd name="connsiteX207" fmla="*/ 92261 w 829568"/>
              <a:gd name="connsiteY207" fmla="*/ 198228 h 797705"/>
              <a:gd name="connsiteX208" fmla="*/ 91806 w 829568"/>
              <a:gd name="connsiteY208" fmla="*/ 198355 h 797705"/>
              <a:gd name="connsiteX209" fmla="*/ 84968 w 829568"/>
              <a:gd name="connsiteY209" fmla="*/ 193807 h 797705"/>
              <a:gd name="connsiteX210" fmla="*/ 94086 w 829568"/>
              <a:gd name="connsiteY210" fmla="*/ 155145 h 797705"/>
              <a:gd name="connsiteX211" fmla="*/ 135114 w 829568"/>
              <a:gd name="connsiteY211" fmla="*/ 127854 h 797705"/>
              <a:gd name="connsiteX212" fmla="*/ 160186 w 829568"/>
              <a:gd name="connsiteY212" fmla="*/ 134677 h 797705"/>
              <a:gd name="connsiteX213" fmla="*/ 160186 w 829568"/>
              <a:gd name="connsiteY213" fmla="*/ 109660 h 797705"/>
              <a:gd name="connsiteX214" fmla="*/ 187538 w 829568"/>
              <a:gd name="connsiteY214" fmla="*/ 82369 h 797705"/>
              <a:gd name="connsiteX215" fmla="*/ 187538 w 829568"/>
              <a:gd name="connsiteY215" fmla="*/ 48256 h 797705"/>
              <a:gd name="connsiteX216" fmla="*/ 190103 w 829568"/>
              <a:gd name="connsiteY216" fmla="*/ 284 h 797705"/>
              <a:gd name="connsiteX0" fmla="*/ 561350 w 829568"/>
              <a:gd name="connsiteY0" fmla="*/ 243680 h 797705"/>
              <a:gd name="connsiteX1" fmla="*/ 563631 w 829568"/>
              <a:gd name="connsiteY1" fmla="*/ 245950 h 797705"/>
              <a:gd name="connsiteX2" fmla="*/ 563632 w 829568"/>
              <a:gd name="connsiteY2" fmla="*/ 245962 h 797705"/>
              <a:gd name="connsiteX3" fmla="*/ 561350 w 829568"/>
              <a:gd name="connsiteY3" fmla="*/ 243680 h 797705"/>
              <a:gd name="connsiteX4" fmla="*/ 190103 w 829568"/>
              <a:gd name="connsiteY4" fmla="*/ 284 h 797705"/>
              <a:gd name="connsiteX5" fmla="*/ 208052 w 829568"/>
              <a:gd name="connsiteY5" fmla="*/ 7319 h 797705"/>
              <a:gd name="connsiteX6" fmla="*/ 244522 w 829568"/>
              <a:gd name="connsiteY6" fmla="*/ 16416 h 797705"/>
              <a:gd name="connsiteX7" fmla="*/ 269594 w 829568"/>
              <a:gd name="connsiteY7" fmla="*/ 36884 h 797705"/>
              <a:gd name="connsiteX8" fmla="*/ 303784 w 829568"/>
              <a:gd name="connsiteY8" fmla="*/ 59627 h 797705"/>
              <a:gd name="connsiteX9" fmla="*/ 317460 w 829568"/>
              <a:gd name="connsiteY9" fmla="*/ 89192 h 797705"/>
              <a:gd name="connsiteX10" fmla="*/ 353930 w 829568"/>
              <a:gd name="connsiteY10" fmla="*/ 73272 h 797705"/>
              <a:gd name="connsiteX11" fmla="*/ 399516 w 829568"/>
              <a:gd name="connsiteY11" fmla="*/ 82369 h 797705"/>
              <a:gd name="connsiteX12" fmla="*/ 417751 w 829568"/>
              <a:gd name="connsiteY12" fmla="*/ 77821 h 797705"/>
              <a:gd name="connsiteX13" fmla="*/ 438265 w 829568"/>
              <a:gd name="connsiteY13" fmla="*/ 64175 h 797705"/>
              <a:gd name="connsiteX14" fmla="*/ 472455 w 829568"/>
              <a:gd name="connsiteY14" fmla="*/ 73272 h 797705"/>
              <a:gd name="connsiteX15" fmla="*/ 486131 w 829568"/>
              <a:gd name="connsiteY15" fmla="*/ 82369 h 797705"/>
              <a:gd name="connsiteX16" fmla="*/ 490690 w 829568"/>
              <a:gd name="connsiteY16" fmla="*/ 132402 h 797705"/>
              <a:gd name="connsiteX17" fmla="*/ 495248 w 829568"/>
              <a:gd name="connsiteY17" fmla="*/ 196081 h 797705"/>
              <a:gd name="connsiteX18" fmla="*/ 495248 w 829568"/>
              <a:gd name="connsiteY18" fmla="*/ 214275 h 797705"/>
              <a:gd name="connsiteX19" fmla="*/ 495067 w 829568"/>
              <a:gd name="connsiteY19" fmla="*/ 214233 h 797705"/>
              <a:gd name="connsiteX20" fmla="*/ 497146 w 829568"/>
              <a:gd name="connsiteY20" fmla="*/ 220449 h 797705"/>
              <a:gd name="connsiteX21" fmla="*/ 508530 w 829568"/>
              <a:gd name="connsiteY21" fmla="*/ 224986 h 797705"/>
              <a:gd name="connsiteX22" fmla="*/ 524467 w 829568"/>
              <a:gd name="connsiteY22" fmla="*/ 238598 h 797705"/>
              <a:gd name="connsiteX23" fmla="*/ 556340 w 829568"/>
              <a:gd name="connsiteY23" fmla="*/ 234060 h 797705"/>
              <a:gd name="connsiteX24" fmla="*/ 560894 w 829568"/>
              <a:gd name="connsiteY24" fmla="*/ 243135 h 797705"/>
              <a:gd name="connsiteX25" fmla="*/ 563170 w 829568"/>
              <a:gd name="connsiteY25" fmla="*/ 247672 h 797705"/>
              <a:gd name="connsiteX26" fmla="*/ 563684 w 829568"/>
              <a:gd name="connsiteY26" fmla="*/ 246583 h 797705"/>
              <a:gd name="connsiteX27" fmla="*/ 570440 w 829568"/>
              <a:gd name="connsiteY27" fmla="*/ 254988 h 797705"/>
              <a:gd name="connsiteX28" fmla="*/ 570445 w 829568"/>
              <a:gd name="connsiteY28" fmla="*/ 254942 h 797705"/>
              <a:gd name="connsiteX29" fmla="*/ 574113 w 829568"/>
              <a:gd name="connsiteY29" fmla="*/ 256872 h 797705"/>
              <a:gd name="connsiteX30" fmla="*/ 567290 w 829568"/>
              <a:gd name="connsiteY30" fmla="*/ 250109 h 797705"/>
              <a:gd name="connsiteX31" fmla="*/ 563684 w 829568"/>
              <a:gd name="connsiteY31" fmla="*/ 246583 h 797705"/>
              <a:gd name="connsiteX32" fmla="*/ 574458 w 829568"/>
              <a:gd name="connsiteY32" fmla="*/ 256788 h 797705"/>
              <a:gd name="connsiteX33" fmla="*/ 583230 w 829568"/>
              <a:gd name="connsiteY33" fmla="*/ 254659 h 797705"/>
              <a:gd name="connsiteX34" fmla="*/ 595448 w 829568"/>
              <a:gd name="connsiteY34" fmla="*/ 250406 h 797705"/>
              <a:gd name="connsiteX35" fmla="*/ 624997 w 829568"/>
              <a:gd name="connsiteY35" fmla="*/ 282159 h 797705"/>
              <a:gd name="connsiteX36" fmla="*/ 637214 w 829568"/>
              <a:gd name="connsiteY36" fmla="*/ 311928 h 797705"/>
              <a:gd name="connsiteX37" fmla="*/ 636731 w 829568"/>
              <a:gd name="connsiteY37" fmla="*/ 319061 h 797705"/>
              <a:gd name="connsiteX38" fmla="*/ 636185 w 829568"/>
              <a:gd name="connsiteY38" fmla="*/ 327131 h 797705"/>
              <a:gd name="connsiteX39" fmla="*/ 640908 w 829568"/>
              <a:gd name="connsiteY39" fmla="*/ 343397 h 797705"/>
              <a:gd name="connsiteX40" fmla="*/ 656819 w 829568"/>
              <a:gd name="connsiteY40" fmla="*/ 329788 h 797705"/>
              <a:gd name="connsiteX41" fmla="*/ 672730 w 829568"/>
              <a:gd name="connsiteY41" fmla="*/ 347933 h 797705"/>
              <a:gd name="connsiteX42" fmla="*/ 679549 w 829568"/>
              <a:gd name="connsiteY42" fmla="*/ 366077 h 797705"/>
              <a:gd name="connsiteX43" fmla="*/ 686368 w 829568"/>
              <a:gd name="connsiteY43" fmla="*/ 418243 h 797705"/>
              <a:gd name="connsiteX44" fmla="*/ 736375 w 829568"/>
              <a:gd name="connsiteY44" fmla="*/ 413707 h 797705"/>
              <a:gd name="connsiteX45" fmla="*/ 756832 w 829568"/>
              <a:gd name="connsiteY45" fmla="*/ 420511 h 797705"/>
              <a:gd name="connsiteX46" fmla="*/ 765924 w 829568"/>
              <a:gd name="connsiteY46" fmla="*/ 406903 h 797705"/>
              <a:gd name="connsiteX47" fmla="*/ 829568 w 829568"/>
              <a:gd name="connsiteY47" fmla="*/ 397830 h 797705"/>
              <a:gd name="connsiteX48" fmla="*/ 829568 w 829568"/>
              <a:gd name="connsiteY48" fmla="*/ 413707 h 797705"/>
              <a:gd name="connsiteX49" fmla="*/ 827295 w 829568"/>
              <a:gd name="connsiteY49" fmla="*/ 422779 h 797705"/>
              <a:gd name="connsiteX50" fmla="*/ 822749 w 829568"/>
              <a:gd name="connsiteY50" fmla="*/ 427315 h 797705"/>
              <a:gd name="connsiteX51" fmla="*/ 815930 w 829568"/>
              <a:gd name="connsiteY51" fmla="*/ 427315 h 797705"/>
              <a:gd name="connsiteX52" fmla="*/ 809111 w 829568"/>
              <a:gd name="connsiteY52" fmla="*/ 443192 h 797705"/>
              <a:gd name="connsiteX53" fmla="*/ 802292 w 829568"/>
              <a:gd name="connsiteY53" fmla="*/ 452264 h 797705"/>
              <a:gd name="connsiteX54" fmla="*/ 800019 w 829568"/>
              <a:gd name="connsiteY54" fmla="*/ 459068 h 797705"/>
              <a:gd name="connsiteX55" fmla="*/ 800019 w 829568"/>
              <a:gd name="connsiteY55" fmla="*/ 470408 h 797705"/>
              <a:gd name="connsiteX56" fmla="*/ 800019 w 829568"/>
              <a:gd name="connsiteY56" fmla="*/ 481749 h 797705"/>
              <a:gd name="connsiteX57" fmla="*/ 784108 w 829568"/>
              <a:gd name="connsiteY57" fmla="*/ 477212 h 797705"/>
              <a:gd name="connsiteX58" fmla="*/ 777289 w 829568"/>
              <a:gd name="connsiteY58" fmla="*/ 477212 h 797705"/>
              <a:gd name="connsiteX59" fmla="*/ 770470 w 829568"/>
              <a:gd name="connsiteY59" fmla="*/ 481749 h 797705"/>
              <a:gd name="connsiteX60" fmla="*/ 768197 w 829568"/>
              <a:gd name="connsiteY60" fmla="*/ 488553 h 797705"/>
              <a:gd name="connsiteX61" fmla="*/ 750013 w 829568"/>
              <a:gd name="connsiteY61" fmla="*/ 497625 h 797705"/>
              <a:gd name="connsiteX62" fmla="*/ 745467 w 829568"/>
              <a:gd name="connsiteY62" fmla="*/ 490821 h 797705"/>
              <a:gd name="connsiteX63" fmla="*/ 740921 w 829568"/>
              <a:gd name="connsiteY63" fmla="*/ 493089 h 797705"/>
              <a:gd name="connsiteX64" fmla="*/ 738648 w 829568"/>
              <a:gd name="connsiteY64" fmla="*/ 499893 h 797705"/>
              <a:gd name="connsiteX65" fmla="*/ 738648 w 829568"/>
              <a:gd name="connsiteY65" fmla="*/ 502161 h 797705"/>
              <a:gd name="connsiteX66" fmla="*/ 725010 w 829568"/>
              <a:gd name="connsiteY66" fmla="*/ 504429 h 797705"/>
              <a:gd name="connsiteX67" fmla="*/ 715918 w 829568"/>
              <a:gd name="connsiteY67" fmla="*/ 508965 h 797705"/>
              <a:gd name="connsiteX68" fmla="*/ 715918 w 829568"/>
              <a:gd name="connsiteY68" fmla="*/ 520306 h 797705"/>
              <a:gd name="connsiteX69" fmla="*/ 713645 w 829568"/>
              <a:gd name="connsiteY69" fmla="*/ 522574 h 797705"/>
              <a:gd name="connsiteX70" fmla="*/ 693188 w 829568"/>
              <a:gd name="connsiteY70" fmla="*/ 527110 h 797705"/>
              <a:gd name="connsiteX71" fmla="*/ 677276 w 829568"/>
              <a:gd name="connsiteY71" fmla="*/ 531646 h 797705"/>
              <a:gd name="connsiteX72" fmla="*/ 668184 w 829568"/>
              <a:gd name="connsiteY72" fmla="*/ 527110 h 797705"/>
              <a:gd name="connsiteX73" fmla="*/ 665911 w 829568"/>
              <a:gd name="connsiteY73" fmla="*/ 529378 h 797705"/>
              <a:gd name="connsiteX74" fmla="*/ 665911 w 829568"/>
              <a:gd name="connsiteY74" fmla="*/ 538450 h 797705"/>
              <a:gd name="connsiteX75" fmla="*/ 659092 w 829568"/>
              <a:gd name="connsiteY75" fmla="*/ 540718 h 797705"/>
              <a:gd name="connsiteX76" fmla="*/ 659092 w 829568"/>
              <a:gd name="connsiteY76" fmla="*/ 545254 h 797705"/>
              <a:gd name="connsiteX77" fmla="*/ 659092 w 829568"/>
              <a:gd name="connsiteY77" fmla="*/ 556595 h 797705"/>
              <a:gd name="connsiteX78" fmla="*/ 656819 w 829568"/>
              <a:gd name="connsiteY78" fmla="*/ 561131 h 797705"/>
              <a:gd name="connsiteX79" fmla="*/ 652273 w 829568"/>
              <a:gd name="connsiteY79" fmla="*/ 561131 h 797705"/>
              <a:gd name="connsiteX80" fmla="*/ 650000 w 829568"/>
              <a:gd name="connsiteY80" fmla="*/ 561131 h 797705"/>
              <a:gd name="connsiteX81" fmla="*/ 618178 w 829568"/>
              <a:gd name="connsiteY81" fmla="*/ 552058 h 797705"/>
              <a:gd name="connsiteX82" fmla="*/ 618178 w 829568"/>
              <a:gd name="connsiteY82" fmla="*/ 549790 h 797705"/>
              <a:gd name="connsiteX83" fmla="*/ 609086 w 829568"/>
              <a:gd name="connsiteY83" fmla="*/ 542986 h 797705"/>
              <a:gd name="connsiteX84" fmla="*/ 599994 w 829568"/>
              <a:gd name="connsiteY84" fmla="*/ 547522 h 797705"/>
              <a:gd name="connsiteX85" fmla="*/ 590902 w 829568"/>
              <a:gd name="connsiteY85" fmla="*/ 554327 h 797705"/>
              <a:gd name="connsiteX86" fmla="*/ 579537 w 829568"/>
              <a:gd name="connsiteY86" fmla="*/ 563399 h 797705"/>
              <a:gd name="connsiteX87" fmla="*/ 574991 w 829568"/>
              <a:gd name="connsiteY87" fmla="*/ 556595 h 797705"/>
              <a:gd name="connsiteX88" fmla="*/ 570445 w 829568"/>
              <a:gd name="connsiteY88" fmla="*/ 558863 h 797705"/>
              <a:gd name="connsiteX89" fmla="*/ 568172 w 829568"/>
              <a:gd name="connsiteY89" fmla="*/ 563399 h 797705"/>
              <a:gd name="connsiteX90" fmla="*/ 568172 w 829568"/>
              <a:gd name="connsiteY90" fmla="*/ 565667 h 797705"/>
              <a:gd name="connsiteX91" fmla="*/ 568172 w 829568"/>
              <a:gd name="connsiteY91" fmla="*/ 570203 h 797705"/>
              <a:gd name="connsiteX92" fmla="*/ 565899 w 829568"/>
              <a:gd name="connsiteY92" fmla="*/ 572471 h 797705"/>
              <a:gd name="connsiteX93" fmla="*/ 565899 w 829568"/>
              <a:gd name="connsiteY93" fmla="*/ 574739 h 797705"/>
              <a:gd name="connsiteX94" fmla="*/ 581810 w 829568"/>
              <a:gd name="connsiteY94" fmla="*/ 581543 h 797705"/>
              <a:gd name="connsiteX95" fmla="*/ 586356 w 829568"/>
              <a:gd name="connsiteY95" fmla="*/ 586079 h 797705"/>
              <a:gd name="connsiteX96" fmla="*/ 590902 w 829568"/>
              <a:gd name="connsiteY96" fmla="*/ 579275 h 797705"/>
              <a:gd name="connsiteX97" fmla="*/ 597721 w 829568"/>
              <a:gd name="connsiteY97" fmla="*/ 583811 h 797705"/>
              <a:gd name="connsiteX98" fmla="*/ 599994 w 829568"/>
              <a:gd name="connsiteY98" fmla="*/ 579275 h 797705"/>
              <a:gd name="connsiteX99" fmla="*/ 606813 w 829568"/>
              <a:gd name="connsiteY99" fmla="*/ 588347 h 797705"/>
              <a:gd name="connsiteX100" fmla="*/ 606813 w 829568"/>
              <a:gd name="connsiteY100" fmla="*/ 590616 h 797705"/>
              <a:gd name="connsiteX101" fmla="*/ 602267 w 829568"/>
              <a:gd name="connsiteY101" fmla="*/ 601956 h 797705"/>
              <a:gd name="connsiteX102" fmla="*/ 604540 w 829568"/>
              <a:gd name="connsiteY102" fmla="*/ 606492 h 797705"/>
              <a:gd name="connsiteX103" fmla="*/ 609086 w 829568"/>
              <a:gd name="connsiteY103" fmla="*/ 611028 h 797705"/>
              <a:gd name="connsiteX104" fmla="*/ 606813 w 829568"/>
              <a:gd name="connsiteY104" fmla="*/ 613296 h 797705"/>
              <a:gd name="connsiteX105" fmla="*/ 588629 w 829568"/>
              <a:gd name="connsiteY105" fmla="*/ 613296 h 797705"/>
              <a:gd name="connsiteX106" fmla="*/ 572718 w 829568"/>
              <a:gd name="connsiteY106" fmla="*/ 597420 h 797705"/>
              <a:gd name="connsiteX107" fmla="*/ 568172 w 829568"/>
              <a:gd name="connsiteY107" fmla="*/ 606492 h 797705"/>
              <a:gd name="connsiteX108" fmla="*/ 561353 w 829568"/>
              <a:gd name="connsiteY108" fmla="*/ 597420 h 797705"/>
              <a:gd name="connsiteX109" fmla="*/ 556807 w 829568"/>
              <a:gd name="connsiteY109" fmla="*/ 592884 h 797705"/>
              <a:gd name="connsiteX110" fmla="*/ 540896 w 829568"/>
              <a:gd name="connsiteY110" fmla="*/ 570203 h 797705"/>
              <a:gd name="connsiteX111" fmla="*/ 529530 w 829568"/>
              <a:gd name="connsiteY111" fmla="*/ 565667 h 797705"/>
              <a:gd name="connsiteX112" fmla="*/ 518165 w 829568"/>
              <a:gd name="connsiteY112" fmla="*/ 572471 h 797705"/>
              <a:gd name="connsiteX113" fmla="*/ 509073 w 829568"/>
              <a:gd name="connsiteY113" fmla="*/ 577007 h 797705"/>
              <a:gd name="connsiteX114" fmla="*/ 506800 w 829568"/>
              <a:gd name="connsiteY114" fmla="*/ 574739 h 797705"/>
              <a:gd name="connsiteX115" fmla="*/ 504527 w 829568"/>
              <a:gd name="connsiteY115" fmla="*/ 574739 h 797705"/>
              <a:gd name="connsiteX116" fmla="*/ 503669 w 829568"/>
              <a:gd name="connsiteY116" fmla="*/ 574870 h 797705"/>
              <a:gd name="connsiteX117" fmla="*/ 505946 w 829568"/>
              <a:gd name="connsiteY117" fmla="*/ 579415 h 797705"/>
              <a:gd name="connsiteX118" fmla="*/ 505946 w 829568"/>
              <a:gd name="connsiteY118" fmla="*/ 581688 h 797705"/>
              <a:gd name="connsiteX119" fmla="*/ 496839 w 829568"/>
              <a:gd name="connsiteY119" fmla="*/ 590779 h 797705"/>
              <a:gd name="connsiteX120" fmla="*/ 496839 w 829568"/>
              <a:gd name="connsiteY120" fmla="*/ 595324 h 797705"/>
              <a:gd name="connsiteX121" fmla="*/ 501392 w 829568"/>
              <a:gd name="connsiteY121" fmla="*/ 599870 h 797705"/>
              <a:gd name="connsiteX122" fmla="*/ 510500 w 829568"/>
              <a:gd name="connsiteY122" fmla="*/ 608960 h 797705"/>
              <a:gd name="connsiteX123" fmla="*/ 508223 w 829568"/>
              <a:gd name="connsiteY123" fmla="*/ 613506 h 797705"/>
              <a:gd name="connsiteX124" fmla="*/ 508223 w 829568"/>
              <a:gd name="connsiteY124" fmla="*/ 618051 h 797705"/>
              <a:gd name="connsiteX125" fmla="*/ 490008 w 829568"/>
              <a:gd name="connsiteY125" fmla="*/ 640778 h 797705"/>
              <a:gd name="connsiteX126" fmla="*/ 464962 w 829568"/>
              <a:gd name="connsiteY126" fmla="*/ 631687 h 797705"/>
              <a:gd name="connsiteX127" fmla="*/ 451300 w 829568"/>
              <a:gd name="connsiteY127" fmla="*/ 624869 h 797705"/>
              <a:gd name="connsiteX128" fmla="*/ 423977 w 829568"/>
              <a:gd name="connsiteY128" fmla="*/ 638506 h 797705"/>
              <a:gd name="connsiteX129" fmla="*/ 414870 w 829568"/>
              <a:gd name="connsiteY129" fmla="*/ 643051 h 797705"/>
              <a:gd name="connsiteX130" fmla="*/ 398931 w 829568"/>
              <a:gd name="connsiteY130" fmla="*/ 645324 h 797705"/>
              <a:gd name="connsiteX131" fmla="*/ 394378 w 829568"/>
              <a:gd name="connsiteY131" fmla="*/ 652142 h 797705"/>
              <a:gd name="connsiteX132" fmla="*/ 373885 w 829568"/>
              <a:gd name="connsiteY132" fmla="*/ 654415 h 797705"/>
              <a:gd name="connsiteX133" fmla="*/ 353393 w 829568"/>
              <a:gd name="connsiteY133" fmla="*/ 661233 h 797705"/>
              <a:gd name="connsiteX134" fmla="*/ 344285 w 829568"/>
              <a:gd name="connsiteY134" fmla="*/ 683960 h 797705"/>
              <a:gd name="connsiteX135" fmla="*/ 346559 w 829568"/>
              <a:gd name="connsiteY135" fmla="*/ 695305 h 797705"/>
              <a:gd name="connsiteX136" fmla="*/ 346890 w 829568"/>
              <a:gd name="connsiteY136" fmla="*/ 695371 h 797705"/>
              <a:gd name="connsiteX137" fmla="*/ 349169 w 829568"/>
              <a:gd name="connsiteY137" fmla="*/ 697639 h 797705"/>
              <a:gd name="connsiteX138" fmla="*/ 349169 w 829568"/>
              <a:gd name="connsiteY138" fmla="*/ 708981 h 797705"/>
              <a:gd name="connsiteX139" fmla="*/ 349169 w 829568"/>
              <a:gd name="connsiteY139" fmla="*/ 713518 h 797705"/>
              <a:gd name="connsiteX140" fmla="*/ 346890 w 829568"/>
              <a:gd name="connsiteY140" fmla="*/ 724861 h 797705"/>
              <a:gd name="connsiteX141" fmla="*/ 340053 w 829568"/>
              <a:gd name="connsiteY141" fmla="*/ 722592 h 797705"/>
              <a:gd name="connsiteX142" fmla="*/ 317264 w 829568"/>
              <a:gd name="connsiteY142" fmla="*/ 720324 h 797705"/>
              <a:gd name="connsiteX143" fmla="*/ 312706 w 829568"/>
              <a:gd name="connsiteY143" fmla="*/ 718055 h 797705"/>
              <a:gd name="connsiteX144" fmla="*/ 303590 w 829568"/>
              <a:gd name="connsiteY144" fmla="*/ 724861 h 797705"/>
              <a:gd name="connsiteX145" fmla="*/ 294474 w 829568"/>
              <a:gd name="connsiteY145" fmla="*/ 731666 h 797705"/>
              <a:gd name="connsiteX146" fmla="*/ 289916 w 829568"/>
              <a:gd name="connsiteY146" fmla="*/ 738471 h 797705"/>
              <a:gd name="connsiteX147" fmla="*/ 289916 w 829568"/>
              <a:gd name="connsiteY147" fmla="*/ 752082 h 797705"/>
              <a:gd name="connsiteX148" fmla="*/ 280800 w 829568"/>
              <a:gd name="connsiteY148" fmla="*/ 740740 h 797705"/>
              <a:gd name="connsiteX149" fmla="*/ 278521 w 829568"/>
              <a:gd name="connsiteY149" fmla="*/ 738471 h 797705"/>
              <a:gd name="connsiteX150" fmla="*/ 278521 w 829568"/>
              <a:gd name="connsiteY150" fmla="*/ 743008 h 797705"/>
              <a:gd name="connsiteX151" fmla="*/ 276242 w 829568"/>
              <a:gd name="connsiteY151" fmla="*/ 749814 h 797705"/>
              <a:gd name="connsiteX152" fmla="*/ 269405 w 829568"/>
              <a:gd name="connsiteY152" fmla="*/ 761156 h 797705"/>
              <a:gd name="connsiteX153" fmla="*/ 232942 w 829568"/>
              <a:gd name="connsiteY153" fmla="*/ 749814 h 797705"/>
              <a:gd name="connsiteX154" fmla="*/ 230663 w 829568"/>
              <a:gd name="connsiteY154" fmla="*/ 754351 h 797705"/>
              <a:gd name="connsiteX155" fmla="*/ 203316 w 829568"/>
              <a:gd name="connsiteY155" fmla="*/ 754351 h 797705"/>
              <a:gd name="connsiteX156" fmla="*/ 180526 w 829568"/>
              <a:gd name="connsiteY156" fmla="*/ 761156 h 797705"/>
              <a:gd name="connsiteX157" fmla="*/ 169131 w 829568"/>
              <a:gd name="connsiteY157" fmla="*/ 767961 h 797705"/>
              <a:gd name="connsiteX158" fmla="*/ 157736 w 829568"/>
              <a:gd name="connsiteY158" fmla="*/ 783841 h 797705"/>
              <a:gd name="connsiteX159" fmla="*/ 137226 w 829568"/>
              <a:gd name="connsiteY159" fmla="*/ 797451 h 797705"/>
              <a:gd name="connsiteX160" fmla="*/ 128110 w 829568"/>
              <a:gd name="connsiteY160" fmla="*/ 786109 h 797705"/>
              <a:gd name="connsiteX161" fmla="*/ 121273 w 829568"/>
              <a:gd name="connsiteY161" fmla="*/ 792914 h 797705"/>
              <a:gd name="connsiteX162" fmla="*/ 93925 w 829568"/>
              <a:gd name="connsiteY162" fmla="*/ 790646 h 797705"/>
              <a:gd name="connsiteX163" fmla="*/ 68857 w 829568"/>
              <a:gd name="connsiteY163" fmla="*/ 790646 h 797705"/>
              <a:gd name="connsiteX164" fmla="*/ 57462 w 829568"/>
              <a:gd name="connsiteY164" fmla="*/ 792914 h 797705"/>
              <a:gd name="connsiteX165" fmla="*/ 46067 w 829568"/>
              <a:gd name="connsiteY165" fmla="*/ 788377 h 797705"/>
              <a:gd name="connsiteX166" fmla="*/ 25556 w 829568"/>
              <a:gd name="connsiteY166" fmla="*/ 786109 h 797705"/>
              <a:gd name="connsiteX167" fmla="*/ 25556 w 829568"/>
              <a:gd name="connsiteY167" fmla="*/ 783841 h 797705"/>
              <a:gd name="connsiteX168" fmla="*/ 27835 w 829568"/>
              <a:gd name="connsiteY168" fmla="*/ 777035 h 797705"/>
              <a:gd name="connsiteX169" fmla="*/ 25556 w 829568"/>
              <a:gd name="connsiteY169" fmla="*/ 774767 h 797705"/>
              <a:gd name="connsiteX170" fmla="*/ 43788 w 829568"/>
              <a:gd name="connsiteY170" fmla="*/ 770230 h 797705"/>
              <a:gd name="connsiteX171" fmla="*/ 48346 w 829568"/>
              <a:gd name="connsiteY171" fmla="*/ 699908 h 797705"/>
              <a:gd name="connsiteX172" fmla="*/ 5046 w 829568"/>
              <a:gd name="connsiteY172" fmla="*/ 670418 h 797705"/>
              <a:gd name="connsiteX173" fmla="*/ 30114 w 829568"/>
              <a:gd name="connsiteY173" fmla="*/ 615975 h 797705"/>
              <a:gd name="connsiteX174" fmla="*/ 41509 w 829568"/>
              <a:gd name="connsiteY174" fmla="*/ 600095 h 797705"/>
              <a:gd name="connsiteX175" fmla="*/ 34672 w 829568"/>
              <a:gd name="connsiteY175" fmla="*/ 581948 h 797705"/>
              <a:gd name="connsiteX176" fmla="*/ 41509 w 829568"/>
              <a:gd name="connsiteY176" fmla="*/ 554726 h 797705"/>
              <a:gd name="connsiteX177" fmla="*/ 16441 w 829568"/>
              <a:gd name="connsiteY177" fmla="*/ 543384 h 797705"/>
              <a:gd name="connsiteX178" fmla="*/ 34672 w 829568"/>
              <a:gd name="connsiteY178" fmla="*/ 541115 h 797705"/>
              <a:gd name="connsiteX179" fmla="*/ 41498 w 829568"/>
              <a:gd name="connsiteY179" fmla="*/ 541115 h 797705"/>
              <a:gd name="connsiteX180" fmla="*/ 39341 w 829568"/>
              <a:gd name="connsiteY180" fmla="*/ 528176 h 797705"/>
              <a:gd name="connsiteX181" fmla="*/ 86966 w 829568"/>
              <a:gd name="connsiteY181" fmla="*/ 494839 h 797705"/>
              <a:gd name="connsiteX182" fmla="*/ 65409 w 829568"/>
              <a:gd name="connsiteY182" fmla="*/ 464300 h 797705"/>
              <a:gd name="connsiteX183" fmla="*/ 62429 w 829568"/>
              <a:gd name="connsiteY183" fmla="*/ 465726 h 797705"/>
              <a:gd name="connsiteX184" fmla="*/ 62429 w 829568"/>
              <a:gd name="connsiteY184" fmla="*/ 467991 h 797705"/>
              <a:gd name="connsiteX185" fmla="*/ 57874 w 829568"/>
              <a:gd name="connsiteY185" fmla="*/ 470256 h 797705"/>
              <a:gd name="connsiteX186" fmla="*/ 48763 w 829568"/>
              <a:gd name="connsiteY186" fmla="*/ 472522 h 797705"/>
              <a:gd name="connsiteX187" fmla="*/ 35096 w 829568"/>
              <a:gd name="connsiteY187" fmla="*/ 467991 h 797705"/>
              <a:gd name="connsiteX188" fmla="*/ 32818 w 829568"/>
              <a:gd name="connsiteY188" fmla="*/ 449871 h 797705"/>
              <a:gd name="connsiteX189" fmla="*/ 55596 w 829568"/>
              <a:gd name="connsiteY189" fmla="*/ 418160 h 797705"/>
              <a:gd name="connsiteX190" fmla="*/ 55596 w 829568"/>
              <a:gd name="connsiteY190" fmla="*/ 404569 h 797705"/>
              <a:gd name="connsiteX191" fmla="*/ 48763 w 829568"/>
              <a:gd name="connsiteY191" fmla="*/ 372858 h 797705"/>
              <a:gd name="connsiteX192" fmla="*/ 41929 w 829568"/>
              <a:gd name="connsiteY192" fmla="*/ 354737 h 797705"/>
              <a:gd name="connsiteX193" fmla="*/ 41929 w 829568"/>
              <a:gd name="connsiteY193" fmla="*/ 320761 h 797705"/>
              <a:gd name="connsiteX194" fmla="*/ 41929 w 829568"/>
              <a:gd name="connsiteY194" fmla="*/ 300375 h 797705"/>
              <a:gd name="connsiteX195" fmla="*/ 44207 w 829568"/>
              <a:gd name="connsiteY195" fmla="*/ 302640 h 797705"/>
              <a:gd name="connsiteX196" fmla="*/ 57934 w 829568"/>
              <a:gd name="connsiteY196" fmla="*/ 312196 h 797705"/>
              <a:gd name="connsiteX197" fmla="*/ 58242 w 829568"/>
              <a:gd name="connsiteY197" fmla="*/ 311394 h 797705"/>
              <a:gd name="connsiteX198" fmla="*/ 56256 w 829568"/>
              <a:gd name="connsiteY198" fmla="*/ 310012 h 797705"/>
              <a:gd name="connsiteX199" fmla="*/ 44300 w 829568"/>
              <a:gd name="connsiteY199" fmla="*/ 302367 h 797705"/>
              <a:gd name="connsiteX200" fmla="*/ 42022 w 829568"/>
              <a:gd name="connsiteY200" fmla="*/ 300102 h 797705"/>
              <a:gd name="connsiteX201" fmla="*/ 44300 w 829568"/>
              <a:gd name="connsiteY201" fmla="*/ 291042 h 797705"/>
              <a:gd name="connsiteX202" fmla="*/ 78462 w 829568"/>
              <a:gd name="connsiteY202" fmla="*/ 259331 h 797705"/>
              <a:gd name="connsiteX203" fmla="*/ 92126 w 829568"/>
              <a:gd name="connsiteY203" fmla="*/ 232149 h 797705"/>
              <a:gd name="connsiteX204" fmla="*/ 114901 w 829568"/>
              <a:gd name="connsiteY204" fmla="*/ 211764 h 797705"/>
              <a:gd name="connsiteX205" fmla="*/ 108638 w 829568"/>
              <a:gd name="connsiteY205" fmla="*/ 204968 h 797705"/>
              <a:gd name="connsiteX206" fmla="*/ 92261 w 829568"/>
              <a:gd name="connsiteY206" fmla="*/ 198228 h 797705"/>
              <a:gd name="connsiteX207" fmla="*/ 91806 w 829568"/>
              <a:gd name="connsiteY207" fmla="*/ 198355 h 797705"/>
              <a:gd name="connsiteX208" fmla="*/ 84968 w 829568"/>
              <a:gd name="connsiteY208" fmla="*/ 193807 h 797705"/>
              <a:gd name="connsiteX209" fmla="*/ 94086 w 829568"/>
              <a:gd name="connsiteY209" fmla="*/ 155145 h 797705"/>
              <a:gd name="connsiteX210" fmla="*/ 135114 w 829568"/>
              <a:gd name="connsiteY210" fmla="*/ 127854 h 797705"/>
              <a:gd name="connsiteX211" fmla="*/ 160186 w 829568"/>
              <a:gd name="connsiteY211" fmla="*/ 134677 h 797705"/>
              <a:gd name="connsiteX212" fmla="*/ 160186 w 829568"/>
              <a:gd name="connsiteY212" fmla="*/ 109660 h 797705"/>
              <a:gd name="connsiteX213" fmla="*/ 187538 w 829568"/>
              <a:gd name="connsiteY213" fmla="*/ 82369 h 797705"/>
              <a:gd name="connsiteX214" fmla="*/ 187538 w 829568"/>
              <a:gd name="connsiteY214" fmla="*/ 48256 h 797705"/>
              <a:gd name="connsiteX215" fmla="*/ 190103 w 829568"/>
              <a:gd name="connsiteY215" fmla="*/ 284 h 797705"/>
              <a:gd name="connsiteX0" fmla="*/ 561350 w 829568"/>
              <a:gd name="connsiteY0" fmla="*/ 243680 h 797705"/>
              <a:gd name="connsiteX1" fmla="*/ 563631 w 829568"/>
              <a:gd name="connsiteY1" fmla="*/ 245950 h 797705"/>
              <a:gd name="connsiteX2" fmla="*/ 563632 w 829568"/>
              <a:gd name="connsiteY2" fmla="*/ 245962 h 797705"/>
              <a:gd name="connsiteX3" fmla="*/ 561350 w 829568"/>
              <a:gd name="connsiteY3" fmla="*/ 243680 h 797705"/>
              <a:gd name="connsiteX4" fmla="*/ 190103 w 829568"/>
              <a:gd name="connsiteY4" fmla="*/ 284 h 797705"/>
              <a:gd name="connsiteX5" fmla="*/ 208052 w 829568"/>
              <a:gd name="connsiteY5" fmla="*/ 7319 h 797705"/>
              <a:gd name="connsiteX6" fmla="*/ 244522 w 829568"/>
              <a:gd name="connsiteY6" fmla="*/ 16416 h 797705"/>
              <a:gd name="connsiteX7" fmla="*/ 269594 w 829568"/>
              <a:gd name="connsiteY7" fmla="*/ 36884 h 797705"/>
              <a:gd name="connsiteX8" fmla="*/ 303784 w 829568"/>
              <a:gd name="connsiteY8" fmla="*/ 59627 h 797705"/>
              <a:gd name="connsiteX9" fmla="*/ 317460 w 829568"/>
              <a:gd name="connsiteY9" fmla="*/ 89192 h 797705"/>
              <a:gd name="connsiteX10" fmla="*/ 353930 w 829568"/>
              <a:gd name="connsiteY10" fmla="*/ 73272 h 797705"/>
              <a:gd name="connsiteX11" fmla="*/ 399516 w 829568"/>
              <a:gd name="connsiteY11" fmla="*/ 82369 h 797705"/>
              <a:gd name="connsiteX12" fmla="*/ 417751 w 829568"/>
              <a:gd name="connsiteY12" fmla="*/ 77821 h 797705"/>
              <a:gd name="connsiteX13" fmla="*/ 438265 w 829568"/>
              <a:gd name="connsiteY13" fmla="*/ 64175 h 797705"/>
              <a:gd name="connsiteX14" fmla="*/ 472455 w 829568"/>
              <a:gd name="connsiteY14" fmla="*/ 73272 h 797705"/>
              <a:gd name="connsiteX15" fmla="*/ 486131 w 829568"/>
              <a:gd name="connsiteY15" fmla="*/ 82369 h 797705"/>
              <a:gd name="connsiteX16" fmla="*/ 490690 w 829568"/>
              <a:gd name="connsiteY16" fmla="*/ 132402 h 797705"/>
              <a:gd name="connsiteX17" fmla="*/ 495248 w 829568"/>
              <a:gd name="connsiteY17" fmla="*/ 196081 h 797705"/>
              <a:gd name="connsiteX18" fmla="*/ 495248 w 829568"/>
              <a:gd name="connsiteY18" fmla="*/ 214275 h 797705"/>
              <a:gd name="connsiteX19" fmla="*/ 495067 w 829568"/>
              <a:gd name="connsiteY19" fmla="*/ 214233 h 797705"/>
              <a:gd name="connsiteX20" fmla="*/ 497146 w 829568"/>
              <a:gd name="connsiteY20" fmla="*/ 220449 h 797705"/>
              <a:gd name="connsiteX21" fmla="*/ 508530 w 829568"/>
              <a:gd name="connsiteY21" fmla="*/ 224986 h 797705"/>
              <a:gd name="connsiteX22" fmla="*/ 524467 w 829568"/>
              <a:gd name="connsiteY22" fmla="*/ 238598 h 797705"/>
              <a:gd name="connsiteX23" fmla="*/ 556340 w 829568"/>
              <a:gd name="connsiteY23" fmla="*/ 234060 h 797705"/>
              <a:gd name="connsiteX24" fmla="*/ 560894 w 829568"/>
              <a:gd name="connsiteY24" fmla="*/ 243135 h 797705"/>
              <a:gd name="connsiteX25" fmla="*/ 563170 w 829568"/>
              <a:gd name="connsiteY25" fmla="*/ 247672 h 797705"/>
              <a:gd name="connsiteX26" fmla="*/ 563684 w 829568"/>
              <a:gd name="connsiteY26" fmla="*/ 246583 h 797705"/>
              <a:gd name="connsiteX27" fmla="*/ 570440 w 829568"/>
              <a:gd name="connsiteY27" fmla="*/ 254988 h 797705"/>
              <a:gd name="connsiteX28" fmla="*/ 570445 w 829568"/>
              <a:gd name="connsiteY28" fmla="*/ 254942 h 797705"/>
              <a:gd name="connsiteX29" fmla="*/ 574113 w 829568"/>
              <a:gd name="connsiteY29" fmla="*/ 256872 h 797705"/>
              <a:gd name="connsiteX30" fmla="*/ 567290 w 829568"/>
              <a:gd name="connsiteY30" fmla="*/ 250109 h 797705"/>
              <a:gd name="connsiteX31" fmla="*/ 563684 w 829568"/>
              <a:gd name="connsiteY31" fmla="*/ 246583 h 797705"/>
              <a:gd name="connsiteX32" fmla="*/ 574458 w 829568"/>
              <a:gd name="connsiteY32" fmla="*/ 256788 h 797705"/>
              <a:gd name="connsiteX33" fmla="*/ 583230 w 829568"/>
              <a:gd name="connsiteY33" fmla="*/ 254659 h 797705"/>
              <a:gd name="connsiteX34" fmla="*/ 595448 w 829568"/>
              <a:gd name="connsiteY34" fmla="*/ 250406 h 797705"/>
              <a:gd name="connsiteX35" fmla="*/ 624997 w 829568"/>
              <a:gd name="connsiteY35" fmla="*/ 282159 h 797705"/>
              <a:gd name="connsiteX36" fmla="*/ 637214 w 829568"/>
              <a:gd name="connsiteY36" fmla="*/ 311928 h 797705"/>
              <a:gd name="connsiteX37" fmla="*/ 636731 w 829568"/>
              <a:gd name="connsiteY37" fmla="*/ 319061 h 797705"/>
              <a:gd name="connsiteX38" fmla="*/ 636185 w 829568"/>
              <a:gd name="connsiteY38" fmla="*/ 327131 h 797705"/>
              <a:gd name="connsiteX39" fmla="*/ 640908 w 829568"/>
              <a:gd name="connsiteY39" fmla="*/ 343397 h 797705"/>
              <a:gd name="connsiteX40" fmla="*/ 656819 w 829568"/>
              <a:gd name="connsiteY40" fmla="*/ 329788 h 797705"/>
              <a:gd name="connsiteX41" fmla="*/ 672730 w 829568"/>
              <a:gd name="connsiteY41" fmla="*/ 347933 h 797705"/>
              <a:gd name="connsiteX42" fmla="*/ 679549 w 829568"/>
              <a:gd name="connsiteY42" fmla="*/ 366077 h 797705"/>
              <a:gd name="connsiteX43" fmla="*/ 686368 w 829568"/>
              <a:gd name="connsiteY43" fmla="*/ 418243 h 797705"/>
              <a:gd name="connsiteX44" fmla="*/ 736375 w 829568"/>
              <a:gd name="connsiteY44" fmla="*/ 413707 h 797705"/>
              <a:gd name="connsiteX45" fmla="*/ 756832 w 829568"/>
              <a:gd name="connsiteY45" fmla="*/ 420511 h 797705"/>
              <a:gd name="connsiteX46" fmla="*/ 765924 w 829568"/>
              <a:gd name="connsiteY46" fmla="*/ 406903 h 797705"/>
              <a:gd name="connsiteX47" fmla="*/ 829568 w 829568"/>
              <a:gd name="connsiteY47" fmla="*/ 397830 h 797705"/>
              <a:gd name="connsiteX48" fmla="*/ 829568 w 829568"/>
              <a:gd name="connsiteY48" fmla="*/ 413707 h 797705"/>
              <a:gd name="connsiteX49" fmla="*/ 827295 w 829568"/>
              <a:gd name="connsiteY49" fmla="*/ 422779 h 797705"/>
              <a:gd name="connsiteX50" fmla="*/ 822749 w 829568"/>
              <a:gd name="connsiteY50" fmla="*/ 427315 h 797705"/>
              <a:gd name="connsiteX51" fmla="*/ 815930 w 829568"/>
              <a:gd name="connsiteY51" fmla="*/ 427315 h 797705"/>
              <a:gd name="connsiteX52" fmla="*/ 809111 w 829568"/>
              <a:gd name="connsiteY52" fmla="*/ 443192 h 797705"/>
              <a:gd name="connsiteX53" fmla="*/ 802292 w 829568"/>
              <a:gd name="connsiteY53" fmla="*/ 452264 h 797705"/>
              <a:gd name="connsiteX54" fmla="*/ 800019 w 829568"/>
              <a:gd name="connsiteY54" fmla="*/ 459068 h 797705"/>
              <a:gd name="connsiteX55" fmla="*/ 800019 w 829568"/>
              <a:gd name="connsiteY55" fmla="*/ 470408 h 797705"/>
              <a:gd name="connsiteX56" fmla="*/ 800019 w 829568"/>
              <a:gd name="connsiteY56" fmla="*/ 481749 h 797705"/>
              <a:gd name="connsiteX57" fmla="*/ 784108 w 829568"/>
              <a:gd name="connsiteY57" fmla="*/ 477212 h 797705"/>
              <a:gd name="connsiteX58" fmla="*/ 777289 w 829568"/>
              <a:gd name="connsiteY58" fmla="*/ 477212 h 797705"/>
              <a:gd name="connsiteX59" fmla="*/ 770470 w 829568"/>
              <a:gd name="connsiteY59" fmla="*/ 481749 h 797705"/>
              <a:gd name="connsiteX60" fmla="*/ 768197 w 829568"/>
              <a:gd name="connsiteY60" fmla="*/ 488553 h 797705"/>
              <a:gd name="connsiteX61" fmla="*/ 750013 w 829568"/>
              <a:gd name="connsiteY61" fmla="*/ 497625 h 797705"/>
              <a:gd name="connsiteX62" fmla="*/ 745467 w 829568"/>
              <a:gd name="connsiteY62" fmla="*/ 490821 h 797705"/>
              <a:gd name="connsiteX63" fmla="*/ 740921 w 829568"/>
              <a:gd name="connsiteY63" fmla="*/ 493089 h 797705"/>
              <a:gd name="connsiteX64" fmla="*/ 738648 w 829568"/>
              <a:gd name="connsiteY64" fmla="*/ 499893 h 797705"/>
              <a:gd name="connsiteX65" fmla="*/ 738648 w 829568"/>
              <a:gd name="connsiteY65" fmla="*/ 502161 h 797705"/>
              <a:gd name="connsiteX66" fmla="*/ 725010 w 829568"/>
              <a:gd name="connsiteY66" fmla="*/ 504429 h 797705"/>
              <a:gd name="connsiteX67" fmla="*/ 715918 w 829568"/>
              <a:gd name="connsiteY67" fmla="*/ 508965 h 797705"/>
              <a:gd name="connsiteX68" fmla="*/ 715918 w 829568"/>
              <a:gd name="connsiteY68" fmla="*/ 520306 h 797705"/>
              <a:gd name="connsiteX69" fmla="*/ 713645 w 829568"/>
              <a:gd name="connsiteY69" fmla="*/ 522574 h 797705"/>
              <a:gd name="connsiteX70" fmla="*/ 693188 w 829568"/>
              <a:gd name="connsiteY70" fmla="*/ 527110 h 797705"/>
              <a:gd name="connsiteX71" fmla="*/ 677276 w 829568"/>
              <a:gd name="connsiteY71" fmla="*/ 531646 h 797705"/>
              <a:gd name="connsiteX72" fmla="*/ 668184 w 829568"/>
              <a:gd name="connsiteY72" fmla="*/ 527110 h 797705"/>
              <a:gd name="connsiteX73" fmla="*/ 665911 w 829568"/>
              <a:gd name="connsiteY73" fmla="*/ 529378 h 797705"/>
              <a:gd name="connsiteX74" fmla="*/ 665911 w 829568"/>
              <a:gd name="connsiteY74" fmla="*/ 538450 h 797705"/>
              <a:gd name="connsiteX75" fmla="*/ 659092 w 829568"/>
              <a:gd name="connsiteY75" fmla="*/ 540718 h 797705"/>
              <a:gd name="connsiteX76" fmla="*/ 659092 w 829568"/>
              <a:gd name="connsiteY76" fmla="*/ 545254 h 797705"/>
              <a:gd name="connsiteX77" fmla="*/ 659092 w 829568"/>
              <a:gd name="connsiteY77" fmla="*/ 556595 h 797705"/>
              <a:gd name="connsiteX78" fmla="*/ 656819 w 829568"/>
              <a:gd name="connsiteY78" fmla="*/ 561131 h 797705"/>
              <a:gd name="connsiteX79" fmla="*/ 652273 w 829568"/>
              <a:gd name="connsiteY79" fmla="*/ 561131 h 797705"/>
              <a:gd name="connsiteX80" fmla="*/ 650000 w 829568"/>
              <a:gd name="connsiteY80" fmla="*/ 561131 h 797705"/>
              <a:gd name="connsiteX81" fmla="*/ 618178 w 829568"/>
              <a:gd name="connsiteY81" fmla="*/ 552058 h 797705"/>
              <a:gd name="connsiteX82" fmla="*/ 618178 w 829568"/>
              <a:gd name="connsiteY82" fmla="*/ 549790 h 797705"/>
              <a:gd name="connsiteX83" fmla="*/ 609086 w 829568"/>
              <a:gd name="connsiteY83" fmla="*/ 542986 h 797705"/>
              <a:gd name="connsiteX84" fmla="*/ 599994 w 829568"/>
              <a:gd name="connsiteY84" fmla="*/ 547522 h 797705"/>
              <a:gd name="connsiteX85" fmla="*/ 590902 w 829568"/>
              <a:gd name="connsiteY85" fmla="*/ 554327 h 797705"/>
              <a:gd name="connsiteX86" fmla="*/ 579537 w 829568"/>
              <a:gd name="connsiteY86" fmla="*/ 563399 h 797705"/>
              <a:gd name="connsiteX87" fmla="*/ 574991 w 829568"/>
              <a:gd name="connsiteY87" fmla="*/ 556595 h 797705"/>
              <a:gd name="connsiteX88" fmla="*/ 570445 w 829568"/>
              <a:gd name="connsiteY88" fmla="*/ 558863 h 797705"/>
              <a:gd name="connsiteX89" fmla="*/ 568172 w 829568"/>
              <a:gd name="connsiteY89" fmla="*/ 563399 h 797705"/>
              <a:gd name="connsiteX90" fmla="*/ 568172 w 829568"/>
              <a:gd name="connsiteY90" fmla="*/ 565667 h 797705"/>
              <a:gd name="connsiteX91" fmla="*/ 568172 w 829568"/>
              <a:gd name="connsiteY91" fmla="*/ 570203 h 797705"/>
              <a:gd name="connsiteX92" fmla="*/ 565899 w 829568"/>
              <a:gd name="connsiteY92" fmla="*/ 572471 h 797705"/>
              <a:gd name="connsiteX93" fmla="*/ 565899 w 829568"/>
              <a:gd name="connsiteY93" fmla="*/ 574739 h 797705"/>
              <a:gd name="connsiteX94" fmla="*/ 581810 w 829568"/>
              <a:gd name="connsiteY94" fmla="*/ 581543 h 797705"/>
              <a:gd name="connsiteX95" fmla="*/ 586356 w 829568"/>
              <a:gd name="connsiteY95" fmla="*/ 586079 h 797705"/>
              <a:gd name="connsiteX96" fmla="*/ 590902 w 829568"/>
              <a:gd name="connsiteY96" fmla="*/ 579275 h 797705"/>
              <a:gd name="connsiteX97" fmla="*/ 597721 w 829568"/>
              <a:gd name="connsiteY97" fmla="*/ 583811 h 797705"/>
              <a:gd name="connsiteX98" fmla="*/ 599994 w 829568"/>
              <a:gd name="connsiteY98" fmla="*/ 579275 h 797705"/>
              <a:gd name="connsiteX99" fmla="*/ 606813 w 829568"/>
              <a:gd name="connsiteY99" fmla="*/ 588347 h 797705"/>
              <a:gd name="connsiteX100" fmla="*/ 606813 w 829568"/>
              <a:gd name="connsiteY100" fmla="*/ 590616 h 797705"/>
              <a:gd name="connsiteX101" fmla="*/ 602267 w 829568"/>
              <a:gd name="connsiteY101" fmla="*/ 601956 h 797705"/>
              <a:gd name="connsiteX102" fmla="*/ 604540 w 829568"/>
              <a:gd name="connsiteY102" fmla="*/ 606492 h 797705"/>
              <a:gd name="connsiteX103" fmla="*/ 609086 w 829568"/>
              <a:gd name="connsiteY103" fmla="*/ 611028 h 797705"/>
              <a:gd name="connsiteX104" fmla="*/ 606813 w 829568"/>
              <a:gd name="connsiteY104" fmla="*/ 613296 h 797705"/>
              <a:gd name="connsiteX105" fmla="*/ 588629 w 829568"/>
              <a:gd name="connsiteY105" fmla="*/ 613296 h 797705"/>
              <a:gd name="connsiteX106" fmla="*/ 572718 w 829568"/>
              <a:gd name="connsiteY106" fmla="*/ 597420 h 797705"/>
              <a:gd name="connsiteX107" fmla="*/ 568172 w 829568"/>
              <a:gd name="connsiteY107" fmla="*/ 606492 h 797705"/>
              <a:gd name="connsiteX108" fmla="*/ 561353 w 829568"/>
              <a:gd name="connsiteY108" fmla="*/ 597420 h 797705"/>
              <a:gd name="connsiteX109" fmla="*/ 556807 w 829568"/>
              <a:gd name="connsiteY109" fmla="*/ 592884 h 797705"/>
              <a:gd name="connsiteX110" fmla="*/ 540896 w 829568"/>
              <a:gd name="connsiteY110" fmla="*/ 570203 h 797705"/>
              <a:gd name="connsiteX111" fmla="*/ 529530 w 829568"/>
              <a:gd name="connsiteY111" fmla="*/ 565667 h 797705"/>
              <a:gd name="connsiteX112" fmla="*/ 518165 w 829568"/>
              <a:gd name="connsiteY112" fmla="*/ 572471 h 797705"/>
              <a:gd name="connsiteX113" fmla="*/ 509073 w 829568"/>
              <a:gd name="connsiteY113" fmla="*/ 577007 h 797705"/>
              <a:gd name="connsiteX114" fmla="*/ 506800 w 829568"/>
              <a:gd name="connsiteY114" fmla="*/ 574739 h 797705"/>
              <a:gd name="connsiteX115" fmla="*/ 504527 w 829568"/>
              <a:gd name="connsiteY115" fmla="*/ 574739 h 797705"/>
              <a:gd name="connsiteX116" fmla="*/ 505946 w 829568"/>
              <a:gd name="connsiteY116" fmla="*/ 579415 h 797705"/>
              <a:gd name="connsiteX117" fmla="*/ 505946 w 829568"/>
              <a:gd name="connsiteY117" fmla="*/ 581688 h 797705"/>
              <a:gd name="connsiteX118" fmla="*/ 496839 w 829568"/>
              <a:gd name="connsiteY118" fmla="*/ 590779 h 797705"/>
              <a:gd name="connsiteX119" fmla="*/ 496839 w 829568"/>
              <a:gd name="connsiteY119" fmla="*/ 595324 h 797705"/>
              <a:gd name="connsiteX120" fmla="*/ 501392 w 829568"/>
              <a:gd name="connsiteY120" fmla="*/ 599870 h 797705"/>
              <a:gd name="connsiteX121" fmla="*/ 510500 w 829568"/>
              <a:gd name="connsiteY121" fmla="*/ 608960 h 797705"/>
              <a:gd name="connsiteX122" fmla="*/ 508223 w 829568"/>
              <a:gd name="connsiteY122" fmla="*/ 613506 h 797705"/>
              <a:gd name="connsiteX123" fmla="*/ 508223 w 829568"/>
              <a:gd name="connsiteY123" fmla="*/ 618051 h 797705"/>
              <a:gd name="connsiteX124" fmla="*/ 490008 w 829568"/>
              <a:gd name="connsiteY124" fmla="*/ 640778 h 797705"/>
              <a:gd name="connsiteX125" fmla="*/ 464962 w 829568"/>
              <a:gd name="connsiteY125" fmla="*/ 631687 h 797705"/>
              <a:gd name="connsiteX126" fmla="*/ 451300 w 829568"/>
              <a:gd name="connsiteY126" fmla="*/ 624869 h 797705"/>
              <a:gd name="connsiteX127" fmla="*/ 423977 w 829568"/>
              <a:gd name="connsiteY127" fmla="*/ 638506 h 797705"/>
              <a:gd name="connsiteX128" fmla="*/ 414870 w 829568"/>
              <a:gd name="connsiteY128" fmla="*/ 643051 h 797705"/>
              <a:gd name="connsiteX129" fmla="*/ 398931 w 829568"/>
              <a:gd name="connsiteY129" fmla="*/ 645324 h 797705"/>
              <a:gd name="connsiteX130" fmla="*/ 394378 w 829568"/>
              <a:gd name="connsiteY130" fmla="*/ 652142 h 797705"/>
              <a:gd name="connsiteX131" fmla="*/ 373885 w 829568"/>
              <a:gd name="connsiteY131" fmla="*/ 654415 h 797705"/>
              <a:gd name="connsiteX132" fmla="*/ 353393 w 829568"/>
              <a:gd name="connsiteY132" fmla="*/ 661233 h 797705"/>
              <a:gd name="connsiteX133" fmla="*/ 344285 w 829568"/>
              <a:gd name="connsiteY133" fmla="*/ 683960 h 797705"/>
              <a:gd name="connsiteX134" fmla="*/ 346559 w 829568"/>
              <a:gd name="connsiteY134" fmla="*/ 695305 h 797705"/>
              <a:gd name="connsiteX135" fmla="*/ 346890 w 829568"/>
              <a:gd name="connsiteY135" fmla="*/ 695371 h 797705"/>
              <a:gd name="connsiteX136" fmla="*/ 349169 w 829568"/>
              <a:gd name="connsiteY136" fmla="*/ 697639 h 797705"/>
              <a:gd name="connsiteX137" fmla="*/ 349169 w 829568"/>
              <a:gd name="connsiteY137" fmla="*/ 708981 h 797705"/>
              <a:gd name="connsiteX138" fmla="*/ 349169 w 829568"/>
              <a:gd name="connsiteY138" fmla="*/ 713518 h 797705"/>
              <a:gd name="connsiteX139" fmla="*/ 346890 w 829568"/>
              <a:gd name="connsiteY139" fmla="*/ 724861 h 797705"/>
              <a:gd name="connsiteX140" fmla="*/ 340053 w 829568"/>
              <a:gd name="connsiteY140" fmla="*/ 722592 h 797705"/>
              <a:gd name="connsiteX141" fmla="*/ 317264 w 829568"/>
              <a:gd name="connsiteY141" fmla="*/ 720324 h 797705"/>
              <a:gd name="connsiteX142" fmla="*/ 312706 w 829568"/>
              <a:gd name="connsiteY142" fmla="*/ 718055 h 797705"/>
              <a:gd name="connsiteX143" fmla="*/ 303590 w 829568"/>
              <a:gd name="connsiteY143" fmla="*/ 724861 h 797705"/>
              <a:gd name="connsiteX144" fmla="*/ 294474 w 829568"/>
              <a:gd name="connsiteY144" fmla="*/ 731666 h 797705"/>
              <a:gd name="connsiteX145" fmla="*/ 289916 w 829568"/>
              <a:gd name="connsiteY145" fmla="*/ 738471 h 797705"/>
              <a:gd name="connsiteX146" fmla="*/ 289916 w 829568"/>
              <a:gd name="connsiteY146" fmla="*/ 752082 h 797705"/>
              <a:gd name="connsiteX147" fmla="*/ 280800 w 829568"/>
              <a:gd name="connsiteY147" fmla="*/ 740740 h 797705"/>
              <a:gd name="connsiteX148" fmla="*/ 278521 w 829568"/>
              <a:gd name="connsiteY148" fmla="*/ 738471 h 797705"/>
              <a:gd name="connsiteX149" fmla="*/ 278521 w 829568"/>
              <a:gd name="connsiteY149" fmla="*/ 743008 h 797705"/>
              <a:gd name="connsiteX150" fmla="*/ 276242 w 829568"/>
              <a:gd name="connsiteY150" fmla="*/ 749814 h 797705"/>
              <a:gd name="connsiteX151" fmla="*/ 269405 w 829568"/>
              <a:gd name="connsiteY151" fmla="*/ 761156 h 797705"/>
              <a:gd name="connsiteX152" fmla="*/ 232942 w 829568"/>
              <a:gd name="connsiteY152" fmla="*/ 749814 h 797705"/>
              <a:gd name="connsiteX153" fmla="*/ 230663 w 829568"/>
              <a:gd name="connsiteY153" fmla="*/ 754351 h 797705"/>
              <a:gd name="connsiteX154" fmla="*/ 203316 w 829568"/>
              <a:gd name="connsiteY154" fmla="*/ 754351 h 797705"/>
              <a:gd name="connsiteX155" fmla="*/ 180526 w 829568"/>
              <a:gd name="connsiteY155" fmla="*/ 761156 h 797705"/>
              <a:gd name="connsiteX156" fmla="*/ 169131 w 829568"/>
              <a:gd name="connsiteY156" fmla="*/ 767961 h 797705"/>
              <a:gd name="connsiteX157" fmla="*/ 157736 w 829568"/>
              <a:gd name="connsiteY157" fmla="*/ 783841 h 797705"/>
              <a:gd name="connsiteX158" fmla="*/ 137226 w 829568"/>
              <a:gd name="connsiteY158" fmla="*/ 797451 h 797705"/>
              <a:gd name="connsiteX159" fmla="*/ 128110 w 829568"/>
              <a:gd name="connsiteY159" fmla="*/ 786109 h 797705"/>
              <a:gd name="connsiteX160" fmla="*/ 121273 w 829568"/>
              <a:gd name="connsiteY160" fmla="*/ 792914 h 797705"/>
              <a:gd name="connsiteX161" fmla="*/ 93925 w 829568"/>
              <a:gd name="connsiteY161" fmla="*/ 790646 h 797705"/>
              <a:gd name="connsiteX162" fmla="*/ 68857 w 829568"/>
              <a:gd name="connsiteY162" fmla="*/ 790646 h 797705"/>
              <a:gd name="connsiteX163" fmla="*/ 57462 w 829568"/>
              <a:gd name="connsiteY163" fmla="*/ 792914 h 797705"/>
              <a:gd name="connsiteX164" fmla="*/ 46067 w 829568"/>
              <a:gd name="connsiteY164" fmla="*/ 788377 h 797705"/>
              <a:gd name="connsiteX165" fmla="*/ 25556 w 829568"/>
              <a:gd name="connsiteY165" fmla="*/ 786109 h 797705"/>
              <a:gd name="connsiteX166" fmla="*/ 25556 w 829568"/>
              <a:gd name="connsiteY166" fmla="*/ 783841 h 797705"/>
              <a:gd name="connsiteX167" fmla="*/ 27835 w 829568"/>
              <a:gd name="connsiteY167" fmla="*/ 777035 h 797705"/>
              <a:gd name="connsiteX168" fmla="*/ 25556 w 829568"/>
              <a:gd name="connsiteY168" fmla="*/ 774767 h 797705"/>
              <a:gd name="connsiteX169" fmla="*/ 43788 w 829568"/>
              <a:gd name="connsiteY169" fmla="*/ 770230 h 797705"/>
              <a:gd name="connsiteX170" fmla="*/ 48346 w 829568"/>
              <a:gd name="connsiteY170" fmla="*/ 699908 h 797705"/>
              <a:gd name="connsiteX171" fmla="*/ 5046 w 829568"/>
              <a:gd name="connsiteY171" fmla="*/ 670418 h 797705"/>
              <a:gd name="connsiteX172" fmla="*/ 30114 w 829568"/>
              <a:gd name="connsiteY172" fmla="*/ 615975 h 797705"/>
              <a:gd name="connsiteX173" fmla="*/ 41509 w 829568"/>
              <a:gd name="connsiteY173" fmla="*/ 600095 h 797705"/>
              <a:gd name="connsiteX174" fmla="*/ 34672 w 829568"/>
              <a:gd name="connsiteY174" fmla="*/ 581948 h 797705"/>
              <a:gd name="connsiteX175" fmla="*/ 41509 w 829568"/>
              <a:gd name="connsiteY175" fmla="*/ 554726 h 797705"/>
              <a:gd name="connsiteX176" fmla="*/ 16441 w 829568"/>
              <a:gd name="connsiteY176" fmla="*/ 543384 h 797705"/>
              <a:gd name="connsiteX177" fmla="*/ 34672 w 829568"/>
              <a:gd name="connsiteY177" fmla="*/ 541115 h 797705"/>
              <a:gd name="connsiteX178" fmla="*/ 41498 w 829568"/>
              <a:gd name="connsiteY178" fmla="*/ 541115 h 797705"/>
              <a:gd name="connsiteX179" fmla="*/ 39341 w 829568"/>
              <a:gd name="connsiteY179" fmla="*/ 528176 h 797705"/>
              <a:gd name="connsiteX180" fmla="*/ 86966 w 829568"/>
              <a:gd name="connsiteY180" fmla="*/ 494839 h 797705"/>
              <a:gd name="connsiteX181" fmla="*/ 65409 w 829568"/>
              <a:gd name="connsiteY181" fmla="*/ 464300 h 797705"/>
              <a:gd name="connsiteX182" fmla="*/ 62429 w 829568"/>
              <a:gd name="connsiteY182" fmla="*/ 465726 h 797705"/>
              <a:gd name="connsiteX183" fmla="*/ 62429 w 829568"/>
              <a:gd name="connsiteY183" fmla="*/ 467991 h 797705"/>
              <a:gd name="connsiteX184" fmla="*/ 57874 w 829568"/>
              <a:gd name="connsiteY184" fmla="*/ 470256 h 797705"/>
              <a:gd name="connsiteX185" fmla="*/ 48763 w 829568"/>
              <a:gd name="connsiteY185" fmla="*/ 472522 h 797705"/>
              <a:gd name="connsiteX186" fmla="*/ 35096 w 829568"/>
              <a:gd name="connsiteY186" fmla="*/ 467991 h 797705"/>
              <a:gd name="connsiteX187" fmla="*/ 32818 w 829568"/>
              <a:gd name="connsiteY187" fmla="*/ 449871 h 797705"/>
              <a:gd name="connsiteX188" fmla="*/ 55596 w 829568"/>
              <a:gd name="connsiteY188" fmla="*/ 418160 h 797705"/>
              <a:gd name="connsiteX189" fmla="*/ 55596 w 829568"/>
              <a:gd name="connsiteY189" fmla="*/ 404569 h 797705"/>
              <a:gd name="connsiteX190" fmla="*/ 48763 w 829568"/>
              <a:gd name="connsiteY190" fmla="*/ 372858 h 797705"/>
              <a:gd name="connsiteX191" fmla="*/ 41929 w 829568"/>
              <a:gd name="connsiteY191" fmla="*/ 354737 h 797705"/>
              <a:gd name="connsiteX192" fmla="*/ 41929 w 829568"/>
              <a:gd name="connsiteY192" fmla="*/ 320761 h 797705"/>
              <a:gd name="connsiteX193" fmla="*/ 41929 w 829568"/>
              <a:gd name="connsiteY193" fmla="*/ 300375 h 797705"/>
              <a:gd name="connsiteX194" fmla="*/ 44207 w 829568"/>
              <a:gd name="connsiteY194" fmla="*/ 302640 h 797705"/>
              <a:gd name="connsiteX195" fmla="*/ 57934 w 829568"/>
              <a:gd name="connsiteY195" fmla="*/ 312196 h 797705"/>
              <a:gd name="connsiteX196" fmla="*/ 58242 w 829568"/>
              <a:gd name="connsiteY196" fmla="*/ 311394 h 797705"/>
              <a:gd name="connsiteX197" fmla="*/ 56256 w 829568"/>
              <a:gd name="connsiteY197" fmla="*/ 310012 h 797705"/>
              <a:gd name="connsiteX198" fmla="*/ 44300 w 829568"/>
              <a:gd name="connsiteY198" fmla="*/ 302367 h 797705"/>
              <a:gd name="connsiteX199" fmla="*/ 42022 w 829568"/>
              <a:gd name="connsiteY199" fmla="*/ 300102 h 797705"/>
              <a:gd name="connsiteX200" fmla="*/ 44300 w 829568"/>
              <a:gd name="connsiteY200" fmla="*/ 291042 h 797705"/>
              <a:gd name="connsiteX201" fmla="*/ 78462 w 829568"/>
              <a:gd name="connsiteY201" fmla="*/ 259331 h 797705"/>
              <a:gd name="connsiteX202" fmla="*/ 92126 w 829568"/>
              <a:gd name="connsiteY202" fmla="*/ 232149 h 797705"/>
              <a:gd name="connsiteX203" fmla="*/ 114901 w 829568"/>
              <a:gd name="connsiteY203" fmla="*/ 211764 h 797705"/>
              <a:gd name="connsiteX204" fmla="*/ 108638 w 829568"/>
              <a:gd name="connsiteY204" fmla="*/ 204968 h 797705"/>
              <a:gd name="connsiteX205" fmla="*/ 92261 w 829568"/>
              <a:gd name="connsiteY205" fmla="*/ 198228 h 797705"/>
              <a:gd name="connsiteX206" fmla="*/ 91806 w 829568"/>
              <a:gd name="connsiteY206" fmla="*/ 198355 h 797705"/>
              <a:gd name="connsiteX207" fmla="*/ 84968 w 829568"/>
              <a:gd name="connsiteY207" fmla="*/ 193807 h 797705"/>
              <a:gd name="connsiteX208" fmla="*/ 94086 w 829568"/>
              <a:gd name="connsiteY208" fmla="*/ 155145 h 797705"/>
              <a:gd name="connsiteX209" fmla="*/ 135114 w 829568"/>
              <a:gd name="connsiteY209" fmla="*/ 127854 h 797705"/>
              <a:gd name="connsiteX210" fmla="*/ 160186 w 829568"/>
              <a:gd name="connsiteY210" fmla="*/ 134677 h 797705"/>
              <a:gd name="connsiteX211" fmla="*/ 160186 w 829568"/>
              <a:gd name="connsiteY211" fmla="*/ 109660 h 797705"/>
              <a:gd name="connsiteX212" fmla="*/ 187538 w 829568"/>
              <a:gd name="connsiteY212" fmla="*/ 82369 h 797705"/>
              <a:gd name="connsiteX213" fmla="*/ 187538 w 829568"/>
              <a:gd name="connsiteY213" fmla="*/ 48256 h 797705"/>
              <a:gd name="connsiteX214" fmla="*/ 190103 w 829568"/>
              <a:gd name="connsiteY214" fmla="*/ 284 h 797705"/>
              <a:gd name="connsiteX0" fmla="*/ 561350 w 829568"/>
              <a:gd name="connsiteY0" fmla="*/ 243680 h 797705"/>
              <a:gd name="connsiteX1" fmla="*/ 563631 w 829568"/>
              <a:gd name="connsiteY1" fmla="*/ 245950 h 797705"/>
              <a:gd name="connsiteX2" fmla="*/ 563632 w 829568"/>
              <a:gd name="connsiteY2" fmla="*/ 245962 h 797705"/>
              <a:gd name="connsiteX3" fmla="*/ 561350 w 829568"/>
              <a:gd name="connsiteY3" fmla="*/ 243680 h 797705"/>
              <a:gd name="connsiteX4" fmla="*/ 190103 w 829568"/>
              <a:gd name="connsiteY4" fmla="*/ 284 h 797705"/>
              <a:gd name="connsiteX5" fmla="*/ 208052 w 829568"/>
              <a:gd name="connsiteY5" fmla="*/ 7319 h 797705"/>
              <a:gd name="connsiteX6" fmla="*/ 244522 w 829568"/>
              <a:gd name="connsiteY6" fmla="*/ 16416 h 797705"/>
              <a:gd name="connsiteX7" fmla="*/ 269594 w 829568"/>
              <a:gd name="connsiteY7" fmla="*/ 36884 h 797705"/>
              <a:gd name="connsiteX8" fmla="*/ 303784 w 829568"/>
              <a:gd name="connsiteY8" fmla="*/ 59627 h 797705"/>
              <a:gd name="connsiteX9" fmla="*/ 317460 w 829568"/>
              <a:gd name="connsiteY9" fmla="*/ 89192 h 797705"/>
              <a:gd name="connsiteX10" fmla="*/ 353930 w 829568"/>
              <a:gd name="connsiteY10" fmla="*/ 73272 h 797705"/>
              <a:gd name="connsiteX11" fmla="*/ 399516 w 829568"/>
              <a:gd name="connsiteY11" fmla="*/ 82369 h 797705"/>
              <a:gd name="connsiteX12" fmla="*/ 417751 w 829568"/>
              <a:gd name="connsiteY12" fmla="*/ 77821 h 797705"/>
              <a:gd name="connsiteX13" fmla="*/ 438265 w 829568"/>
              <a:gd name="connsiteY13" fmla="*/ 64175 h 797705"/>
              <a:gd name="connsiteX14" fmla="*/ 472455 w 829568"/>
              <a:gd name="connsiteY14" fmla="*/ 73272 h 797705"/>
              <a:gd name="connsiteX15" fmla="*/ 486131 w 829568"/>
              <a:gd name="connsiteY15" fmla="*/ 82369 h 797705"/>
              <a:gd name="connsiteX16" fmla="*/ 490690 w 829568"/>
              <a:gd name="connsiteY16" fmla="*/ 132402 h 797705"/>
              <a:gd name="connsiteX17" fmla="*/ 495248 w 829568"/>
              <a:gd name="connsiteY17" fmla="*/ 196081 h 797705"/>
              <a:gd name="connsiteX18" fmla="*/ 495248 w 829568"/>
              <a:gd name="connsiteY18" fmla="*/ 214275 h 797705"/>
              <a:gd name="connsiteX19" fmla="*/ 495067 w 829568"/>
              <a:gd name="connsiteY19" fmla="*/ 214233 h 797705"/>
              <a:gd name="connsiteX20" fmla="*/ 497146 w 829568"/>
              <a:gd name="connsiteY20" fmla="*/ 220449 h 797705"/>
              <a:gd name="connsiteX21" fmla="*/ 508530 w 829568"/>
              <a:gd name="connsiteY21" fmla="*/ 224986 h 797705"/>
              <a:gd name="connsiteX22" fmla="*/ 524467 w 829568"/>
              <a:gd name="connsiteY22" fmla="*/ 238598 h 797705"/>
              <a:gd name="connsiteX23" fmla="*/ 556340 w 829568"/>
              <a:gd name="connsiteY23" fmla="*/ 234060 h 797705"/>
              <a:gd name="connsiteX24" fmla="*/ 560894 w 829568"/>
              <a:gd name="connsiteY24" fmla="*/ 243135 h 797705"/>
              <a:gd name="connsiteX25" fmla="*/ 563170 w 829568"/>
              <a:gd name="connsiteY25" fmla="*/ 247672 h 797705"/>
              <a:gd name="connsiteX26" fmla="*/ 563684 w 829568"/>
              <a:gd name="connsiteY26" fmla="*/ 246583 h 797705"/>
              <a:gd name="connsiteX27" fmla="*/ 570440 w 829568"/>
              <a:gd name="connsiteY27" fmla="*/ 254988 h 797705"/>
              <a:gd name="connsiteX28" fmla="*/ 570445 w 829568"/>
              <a:gd name="connsiteY28" fmla="*/ 254942 h 797705"/>
              <a:gd name="connsiteX29" fmla="*/ 574113 w 829568"/>
              <a:gd name="connsiteY29" fmla="*/ 256872 h 797705"/>
              <a:gd name="connsiteX30" fmla="*/ 567290 w 829568"/>
              <a:gd name="connsiteY30" fmla="*/ 250109 h 797705"/>
              <a:gd name="connsiteX31" fmla="*/ 563684 w 829568"/>
              <a:gd name="connsiteY31" fmla="*/ 246583 h 797705"/>
              <a:gd name="connsiteX32" fmla="*/ 574458 w 829568"/>
              <a:gd name="connsiteY32" fmla="*/ 256788 h 797705"/>
              <a:gd name="connsiteX33" fmla="*/ 583230 w 829568"/>
              <a:gd name="connsiteY33" fmla="*/ 254659 h 797705"/>
              <a:gd name="connsiteX34" fmla="*/ 595448 w 829568"/>
              <a:gd name="connsiteY34" fmla="*/ 250406 h 797705"/>
              <a:gd name="connsiteX35" fmla="*/ 624997 w 829568"/>
              <a:gd name="connsiteY35" fmla="*/ 282159 h 797705"/>
              <a:gd name="connsiteX36" fmla="*/ 637214 w 829568"/>
              <a:gd name="connsiteY36" fmla="*/ 311928 h 797705"/>
              <a:gd name="connsiteX37" fmla="*/ 636731 w 829568"/>
              <a:gd name="connsiteY37" fmla="*/ 319061 h 797705"/>
              <a:gd name="connsiteX38" fmla="*/ 636185 w 829568"/>
              <a:gd name="connsiteY38" fmla="*/ 327131 h 797705"/>
              <a:gd name="connsiteX39" fmla="*/ 640908 w 829568"/>
              <a:gd name="connsiteY39" fmla="*/ 343397 h 797705"/>
              <a:gd name="connsiteX40" fmla="*/ 656819 w 829568"/>
              <a:gd name="connsiteY40" fmla="*/ 329788 h 797705"/>
              <a:gd name="connsiteX41" fmla="*/ 672730 w 829568"/>
              <a:gd name="connsiteY41" fmla="*/ 347933 h 797705"/>
              <a:gd name="connsiteX42" fmla="*/ 679549 w 829568"/>
              <a:gd name="connsiteY42" fmla="*/ 366077 h 797705"/>
              <a:gd name="connsiteX43" fmla="*/ 686368 w 829568"/>
              <a:gd name="connsiteY43" fmla="*/ 418243 h 797705"/>
              <a:gd name="connsiteX44" fmla="*/ 736375 w 829568"/>
              <a:gd name="connsiteY44" fmla="*/ 413707 h 797705"/>
              <a:gd name="connsiteX45" fmla="*/ 756832 w 829568"/>
              <a:gd name="connsiteY45" fmla="*/ 420511 h 797705"/>
              <a:gd name="connsiteX46" fmla="*/ 765924 w 829568"/>
              <a:gd name="connsiteY46" fmla="*/ 406903 h 797705"/>
              <a:gd name="connsiteX47" fmla="*/ 829568 w 829568"/>
              <a:gd name="connsiteY47" fmla="*/ 397830 h 797705"/>
              <a:gd name="connsiteX48" fmla="*/ 829568 w 829568"/>
              <a:gd name="connsiteY48" fmla="*/ 413707 h 797705"/>
              <a:gd name="connsiteX49" fmla="*/ 827295 w 829568"/>
              <a:gd name="connsiteY49" fmla="*/ 422779 h 797705"/>
              <a:gd name="connsiteX50" fmla="*/ 822749 w 829568"/>
              <a:gd name="connsiteY50" fmla="*/ 427315 h 797705"/>
              <a:gd name="connsiteX51" fmla="*/ 815930 w 829568"/>
              <a:gd name="connsiteY51" fmla="*/ 427315 h 797705"/>
              <a:gd name="connsiteX52" fmla="*/ 809111 w 829568"/>
              <a:gd name="connsiteY52" fmla="*/ 443192 h 797705"/>
              <a:gd name="connsiteX53" fmla="*/ 802292 w 829568"/>
              <a:gd name="connsiteY53" fmla="*/ 452264 h 797705"/>
              <a:gd name="connsiteX54" fmla="*/ 800019 w 829568"/>
              <a:gd name="connsiteY54" fmla="*/ 459068 h 797705"/>
              <a:gd name="connsiteX55" fmla="*/ 800019 w 829568"/>
              <a:gd name="connsiteY55" fmla="*/ 470408 h 797705"/>
              <a:gd name="connsiteX56" fmla="*/ 800019 w 829568"/>
              <a:gd name="connsiteY56" fmla="*/ 481749 h 797705"/>
              <a:gd name="connsiteX57" fmla="*/ 784108 w 829568"/>
              <a:gd name="connsiteY57" fmla="*/ 477212 h 797705"/>
              <a:gd name="connsiteX58" fmla="*/ 777289 w 829568"/>
              <a:gd name="connsiteY58" fmla="*/ 477212 h 797705"/>
              <a:gd name="connsiteX59" fmla="*/ 770470 w 829568"/>
              <a:gd name="connsiteY59" fmla="*/ 481749 h 797705"/>
              <a:gd name="connsiteX60" fmla="*/ 768197 w 829568"/>
              <a:gd name="connsiteY60" fmla="*/ 488553 h 797705"/>
              <a:gd name="connsiteX61" fmla="*/ 750013 w 829568"/>
              <a:gd name="connsiteY61" fmla="*/ 497625 h 797705"/>
              <a:gd name="connsiteX62" fmla="*/ 745467 w 829568"/>
              <a:gd name="connsiteY62" fmla="*/ 490821 h 797705"/>
              <a:gd name="connsiteX63" fmla="*/ 740921 w 829568"/>
              <a:gd name="connsiteY63" fmla="*/ 493089 h 797705"/>
              <a:gd name="connsiteX64" fmla="*/ 738648 w 829568"/>
              <a:gd name="connsiteY64" fmla="*/ 499893 h 797705"/>
              <a:gd name="connsiteX65" fmla="*/ 738648 w 829568"/>
              <a:gd name="connsiteY65" fmla="*/ 502161 h 797705"/>
              <a:gd name="connsiteX66" fmla="*/ 725010 w 829568"/>
              <a:gd name="connsiteY66" fmla="*/ 504429 h 797705"/>
              <a:gd name="connsiteX67" fmla="*/ 715918 w 829568"/>
              <a:gd name="connsiteY67" fmla="*/ 508965 h 797705"/>
              <a:gd name="connsiteX68" fmla="*/ 715918 w 829568"/>
              <a:gd name="connsiteY68" fmla="*/ 520306 h 797705"/>
              <a:gd name="connsiteX69" fmla="*/ 713645 w 829568"/>
              <a:gd name="connsiteY69" fmla="*/ 522574 h 797705"/>
              <a:gd name="connsiteX70" fmla="*/ 693188 w 829568"/>
              <a:gd name="connsiteY70" fmla="*/ 527110 h 797705"/>
              <a:gd name="connsiteX71" fmla="*/ 677276 w 829568"/>
              <a:gd name="connsiteY71" fmla="*/ 531646 h 797705"/>
              <a:gd name="connsiteX72" fmla="*/ 668184 w 829568"/>
              <a:gd name="connsiteY72" fmla="*/ 527110 h 797705"/>
              <a:gd name="connsiteX73" fmla="*/ 665911 w 829568"/>
              <a:gd name="connsiteY73" fmla="*/ 529378 h 797705"/>
              <a:gd name="connsiteX74" fmla="*/ 665911 w 829568"/>
              <a:gd name="connsiteY74" fmla="*/ 538450 h 797705"/>
              <a:gd name="connsiteX75" fmla="*/ 659092 w 829568"/>
              <a:gd name="connsiteY75" fmla="*/ 540718 h 797705"/>
              <a:gd name="connsiteX76" fmla="*/ 659092 w 829568"/>
              <a:gd name="connsiteY76" fmla="*/ 545254 h 797705"/>
              <a:gd name="connsiteX77" fmla="*/ 659092 w 829568"/>
              <a:gd name="connsiteY77" fmla="*/ 556595 h 797705"/>
              <a:gd name="connsiteX78" fmla="*/ 656819 w 829568"/>
              <a:gd name="connsiteY78" fmla="*/ 561131 h 797705"/>
              <a:gd name="connsiteX79" fmla="*/ 652273 w 829568"/>
              <a:gd name="connsiteY79" fmla="*/ 561131 h 797705"/>
              <a:gd name="connsiteX80" fmla="*/ 650000 w 829568"/>
              <a:gd name="connsiteY80" fmla="*/ 561131 h 797705"/>
              <a:gd name="connsiteX81" fmla="*/ 618178 w 829568"/>
              <a:gd name="connsiteY81" fmla="*/ 552058 h 797705"/>
              <a:gd name="connsiteX82" fmla="*/ 618178 w 829568"/>
              <a:gd name="connsiteY82" fmla="*/ 549790 h 797705"/>
              <a:gd name="connsiteX83" fmla="*/ 609086 w 829568"/>
              <a:gd name="connsiteY83" fmla="*/ 542986 h 797705"/>
              <a:gd name="connsiteX84" fmla="*/ 599994 w 829568"/>
              <a:gd name="connsiteY84" fmla="*/ 547522 h 797705"/>
              <a:gd name="connsiteX85" fmla="*/ 590902 w 829568"/>
              <a:gd name="connsiteY85" fmla="*/ 554327 h 797705"/>
              <a:gd name="connsiteX86" fmla="*/ 579537 w 829568"/>
              <a:gd name="connsiteY86" fmla="*/ 563399 h 797705"/>
              <a:gd name="connsiteX87" fmla="*/ 574991 w 829568"/>
              <a:gd name="connsiteY87" fmla="*/ 556595 h 797705"/>
              <a:gd name="connsiteX88" fmla="*/ 570445 w 829568"/>
              <a:gd name="connsiteY88" fmla="*/ 558863 h 797705"/>
              <a:gd name="connsiteX89" fmla="*/ 568172 w 829568"/>
              <a:gd name="connsiteY89" fmla="*/ 563399 h 797705"/>
              <a:gd name="connsiteX90" fmla="*/ 568172 w 829568"/>
              <a:gd name="connsiteY90" fmla="*/ 565667 h 797705"/>
              <a:gd name="connsiteX91" fmla="*/ 568172 w 829568"/>
              <a:gd name="connsiteY91" fmla="*/ 570203 h 797705"/>
              <a:gd name="connsiteX92" fmla="*/ 565899 w 829568"/>
              <a:gd name="connsiteY92" fmla="*/ 572471 h 797705"/>
              <a:gd name="connsiteX93" fmla="*/ 565899 w 829568"/>
              <a:gd name="connsiteY93" fmla="*/ 574739 h 797705"/>
              <a:gd name="connsiteX94" fmla="*/ 581810 w 829568"/>
              <a:gd name="connsiteY94" fmla="*/ 581543 h 797705"/>
              <a:gd name="connsiteX95" fmla="*/ 586356 w 829568"/>
              <a:gd name="connsiteY95" fmla="*/ 586079 h 797705"/>
              <a:gd name="connsiteX96" fmla="*/ 590902 w 829568"/>
              <a:gd name="connsiteY96" fmla="*/ 579275 h 797705"/>
              <a:gd name="connsiteX97" fmla="*/ 597721 w 829568"/>
              <a:gd name="connsiteY97" fmla="*/ 583811 h 797705"/>
              <a:gd name="connsiteX98" fmla="*/ 599994 w 829568"/>
              <a:gd name="connsiteY98" fmla="*/ 579275 h 797705"/>
              <a:gd name="connsiteX99" fmla="*/ 606813 w 829568"/>
              <a:gd name="connsiteY99" fmla="*/ 588347 h 797705"/>
              <a:gd name="connsiteX100" fmla="*/ 606813 w 829568"/>
              <a:gd name="connsiteY100" fmla="*/ 590616 h 797705"/>
              <a:gd name="connsiteX101" fmla="*/ 602267 w 829568"/>
              <a:gd name="connsiteY101" fmla="*/ 601956 h 797705"/>
              <a:gd name="connsiteX102" fmla="*/ 604540 w 829568"/>
              <a:gd name="connsiteY102" fmla="*/ 606492 h 797705"/>
              <a:gd name="connsiteX103" fmla="*/ 609086 w 829568"/>
              <a:gd name="connsiteY103" fmla="*/ 611028 h 797705"/>
              <a:gd name="connsiteX104" fmla="*/ 606813 w 829568"/>
              <a:gd name="connsiteY104" fmla="*/ 613296 h 797705"/>
              <a:gd name="connsiteX105" fmla="*/ 588629 w 829568"/>
              <a:gd name="connsiteY105" fmla="*/ 613296 h 797705"/>
              <a:gd name="connsiteX106" fmla="*/ 572718 w 829568"/>
              <a:gd name="connsiteY106" fmla="*/ 597420 h 797705"/>
              <a:gd name="connsiteX107" fmla="*/ 568172 w 829568"/>
              <a:gd name="connsiteY107" fmla="*/ 606492 h 797705"/>
              <a:gd name="connsiteX108" fmla="*/ 561353 w 829568"/>
              <a:gd name="connsiteY108" fmla="*/ 597420 h 797705"/>
              <a:gd name="connsiteX109" fmla="*/ 556807 w 829568"/>
              <a:gd name="connsiteY109" fmla="*/ 592884 h 797705"/>
              <a:gd name="connsiteX110" fmla="*/ 540896 w 829568"/>
              <a:gd name="connsiteY110" fmla="*/ 570203 h 797705"/>
              <a:gd name="connsiteX111" fmla="*/ 529530 w 829568"/>
              <a:gd name="connsiteY111" fmla="*/ 565667 h 797705"/>
              <a:gd name="connsiteX112" fmla="*/ 518165 w 829568"/>
              <a:gd name="connsiteY112" fmla="*/ 572471 h 797705"/>
              <a:gd name="connsiteX113" fmla="*/ 509073 w 829568"/>
              <a:gd name="connsiteY113" fmla="*/ 577007 h 797705"/>
              <a:gd name="connsiteX114" fmla="*/ 506800 w 829568"/>
              <a:gd name="connsiteY114" fmla="*/ 574739 h 797705"/>
              <a:gd name="connsiteX115" fmla="*/ 505946 w 829568"/>
              <a:gd name="connsiteY115" fmla="*/ 579415 h 797705"/>
              <a:gd name="connsiteX116" fmla="*/ 505946 w 829568"/>
              <a:gd name="connsiteY116" fmla="*/ 581688 h 797705"/>
              <a:gd name="connsiteX117" fmla="*/ 496839 w 829568"/>
              <a:gd name="connsiteY117" fmla="*/ 590779 h 797705"/>
              <a:gd name="connsiteX118" fmla="*/ 496839 w 829568"/>
              <a:gd name="connsiteY118" fmla="*/ 595324 h 797705"/>
              <a:gd name="connsiteX119" fmla="*/ 501392 w 829568"/>
              <a:gd name="connsiteY119" fmla="*/ 599870 h 797705"/>
              <a:gd name="connsiteX120" fmla="*/ 510500 w 829568"/>
              <a:gd name="connsiteY120" fmla="*/ 608960 h 797705"/>
              <a:gd name="connsiteX121" fmla="*/ 508223 w 829568"/>
              <a:gd name="connsiteY121" fmla="*/ 613506 h 797705"/>
              <a:gd name="connsiteX122" fmla="*/ 508223 w 829568"/>
              <a:gd name="connsiteY122" fmla="*/ 618051 h 797705"/>
              <a:gd name="connsiteX123" fmla="*/ 490008 w 829568"/>
              <a:gd name="connsiteY123" fmla="*/ 640778 h 797705"/>
              <a:gd name="connsiteX124" fmla="*/ 464962 w 829568"/>
              <a:gd name="connsiteY124" fmla="*/ 631687 h 797705"/>
              <a:gd name="connsiteX125" fmla="*/ 451300 w 829568"/>
              <a:gd name="connsiteY125" fmla="*/ 624869 h 797705"/>
              <a:gd name="connsiteX126" fmla="*/ 423977 w 829568"/>
              <a:gd name="connsiteY126" fmla="*/ 638506 h 797705"/>
              <a:gd name="connsiteX127" fmla="*/ 414870 w 829568"/>
              <a:gd name="connsiteY127" fmla="*/ 643051 h 797705"/>
              <a:gd name="connsiteX128" fmla="*/ 398931 w 829568"/>
              <a:gd name="connsiteY128" fmla="*/ 645324 h 797705"/>
              <a:gd name="connsiteX129" fmla="*/ 394378 w 829568"/>
              <a:gd name="connsiteY129" fmla="*/ 652142 h 797705"/>
              <a:gd name="connsiteX130" fmla="*/ 373885 w 829568"/>
              <a:gd name="connsiteY130" fmla="*/ 654415 h 797705"/>
              <a:gd name="connsiteX131" fmla="*/ 353393 w 829568"/>
              <a:gd name="connsiteY131" fmla="*/ 661233 h 797705"/>
              <a:gd name="connsiteX132" fmla="*/ 344285 w 829568"/>
              <a:gd name="connsiteY132" fmla="*/ 683960 h 797705"/>
              <a:gd name="connsiteX133" fmla="*/ 346559 w 829568"/>
              <a:gd name="connsiteY133" fmla="*/ 695305 h 797705"/>
              <a:gd name="connsiteX134" fmla="*/ 346890 w 829568"/>
              <a:gd name="connsiteY134" fmla="*/ 695371 h 797705"/>
              <a:gd name="connsiteX135" fmla="*/ 349169 w 829568"/>
              <a:gd name="connsiteY135" fmla="*/ 697639 h 797705"/>
              <a:gd name="connsiteX136" fmla="*/ 349169 w 829568"/>
              <a:gd name="connsiteY136" fmla="*/ 708981 h 797705"/>
              <a:gd name="connsiteX137" fmla="*/ 349169 w 829568"/>
              <a:gd name="connsiteY137" fmla="*/ 713518 h 797705"/>
              <a:gd name="connsiteX138" fmla="*/ 346890 w 829568"/>
              <a:gd name="connsiteY138" fmla="*/ 724861 h 797705"/>
              <a:gd name="connsiteX139" fmla="*/ 340053 w 829568"/>
              <a:gd name="connsiteY139" fmla="*/ 722592 h 797705"/>
              <a:gd name="connsiteX140" fmla="*/ 317264 w 829568"/>
              <a:gd name="connsiteY140" fmla="*/ 720324 h 797705"/>
              <a:gd name="connsiteX141" fmla="*/ 312706 w 829568"/>
              <a:gd name="connsiteY141" fmla="*/ 718055 h 797705"/>
              <a:gd name="connsiteX142" fmla="*/ 303590 w 829568"/>
              <a:gd name="connsiteY142" fmla="*/ 724861 h 797705"/>
              <a:gd name="connsiteX143" fmla="*/ 294474 w 829568"/>
              <a:gd name="connsiteY143" fmla="*/ 731666 h 797705"/>
              <a:gd name="connsiteX144" fmla="*/ 289916 w 829568"/>
              <a:gd name="connsiteY144" fmla="*/ 738471 h 797705"/>
              <a:gd name="connsiteX145" fmla="*/ 289916 w 829568"/>
              <a:gd name="connsiteY145" fmla="*/ 752082 h 797705"/>
              <a:gd name="connsiteX146" fmla="*/ 280800 w 829568"/>
              <a:gd name="connsiteY146" fmla="*/ 740740 h 797705"/>
              <a:gd name="connsiteX147" fmla="*/ 278521 w 829568"/>
              <a:gd name="connsiteY147" fmla="*/ 738471 h 797705"/>
              <a:gd name="connsiteX148" fmla="*/ 278521 w 829568"/>
              <a:gd name="connsiteY148" fmla="*/ 743008 h 797705"/>
              <a:gd name="connsiteX149" fmla="*/ 276242 w 829568"/>
              <a:gd name="connsiteY149" fmla="*/ 749814 h 797705"/>
              <a:gd name="connsiteX150" fmla="*/ 269405 w 829568"/>
              <a:gd name="connsiteY150" fmla="*/ 761156 h 797705"/>
              <a:gd name="connsiteX151" fmla="*/ 232942 w 829568"/>
              <a:gd name="connsiteY151" fmla="*/ 749814 h 797705"/>
              <a:gd name="connsiteX152" fmla="*/ 230663 w 829568"/>
              <a:gd name="connsiteY152" fmla="*/ 754351 h 797705"/>
              <a:gd name="connsiteX153" fmla="*/ 203316 w 829568"/>
              <a:gd name="connsiteY153" fmla="*/ 754351 h 797705"/>
              <a:gd name="connsiteX154" fmla="*/ 180526 w 829568"/>
              <a:gd name="connsiteY154" fmla="*/ 761156 h 797705"/>
              <a:gd name="connsiteX155" fmla="*/ 169131 w 829568"/>
              <a:gd name="connsiteY155" fmla="*/ 767961 h 797705"/>
              <a:gd name="connsiteX156" fmla="*/ 157736 w 829568"/>
              <a:gd name="connsiteY156" fmla="*/ 783841 h 797705"/>
              <a:gd name="connsiteX157" fmla="*/ 137226 w 829568"/>
              <a:gd name="connsiteY157" fmla="*/ 797451 h 797705"/>
              <a:gd name="connsiteX158" fmla="*/ 128110 w 829568"/>
              <a:gd name="connsiteY158" fmla="*/ 786109 h 797705"/>
              <a:gd name="connsiteX159" fmla="*/ 121273 w 829568"/>
              <a:gd name="connsiteY159" fmla="*/ 792914 h 797705"/>
              <a:gd name="connsiteX160" fmla="*/ 93925 w 829568"/>
              <a:gd name="connsiteY160" fmla="*/ 790646 h 797705"/>
              <a:gd name="connsiteX161" fmla="*/ 68857 w 829568"/>
              <a:gd name="connsiteY161" fmla="*/ 790646 h 797705"/>
              <a:gd name="connsiteX162" fmla="*/ 57462 w 829568"/>
              <a:gd name="connsiteY162" fmla="*/ 792914 h 797705"/>
              <a:gd name="connsiteX163" fmla="*/ 46067 w 829568"/>
              <a:gd name="connsiteY163" fmla="*/ 788377 h 797705"/>
              <a:gd name="connsiteX164" fmla="*/ 25556 w 829568"/>
              <a:gd name="connsiteY164" fmla="*/ 786109 h 797705"/>
              <a:gd name="connsiteX165" fmla="*/ 25556 w 829568"/>
              <a:gd name="connsiteY165" fmla="*/ 783841 h 797705"/>
              <a:gd name="connsiteX166" fmla="*/ 27835 w 829568"/>
              <a:gd name="connsiteY166" fmla="*/ 777035 h 797705"/>
              <a:gd name="connsiteX167" fmla="*/ 25556 w 829568"/>
              <a:gd name="connsiteY167" fmla="*/ 774767 h 797705"/>
              <a:gd name="connsiteX168" fmla="*/ 43788 w 829568"/>
              <a:gd name="connsiteY168" fmla="*/ 770230 h 797705"/>
              <a:gd name="connsiteX169" fmla="*/ 48346 w 829568"/>
              <a:gd name="connsiteY169" fmla="*/ 699908 h 797705"/>
              <a:gd name="connsiteX170" fmla="*/ 5046 w 829568"/>
              <a:gd name="connsiteY170" fmla="*/ 670418 h 797705"/>
              <a:gd name="connsiteX171" fmla="*/ 30114 w 829568"/>
              <a:gd name="connsiteY171" fmla="*/ 615975 h 797705"/>
              <a:gd name="connsiteX172" fmla="*/ 41509 w 829568"/>
              <a:gd name="connsiteY172" fmla="*/ 600095 h 797705"/>
              <a:gd name="connsiteX173" fmla="*/ 34672 w 829568"/>
              <a:gd name="connsiteY173" fmla="*/ 581948 h 797705"/>
              <a:gd name="connsiteX174" fmla="*/ 41509 w 829568"/>
              <a:gd name="connsiteY174" fmla="*/ 554726 h 797705"/>
              <a:gd name="connsiteX175" fmla="*/ 16441 w 829568"/>
              <a:gd name="connsiteY175" fmla="*/ 543384 h 797705"/>
              <a:gd name="connsiteX176" fmla="*/ 34672 w 829568"/>
              <a:gd name="connsiteY176" fmla="*/ 541115 h 797705"/>
              <a:gd name="connsiteX177" fmla="*/ 41498 w 829568"/>
              <a:gd name="connsiteY177" fmla="*/ 541115 h 797705"/>
              <a:gd name="connsiteX178" fmla="*/ 39341 w 829568"/>
              <a:gd name="connsiteY178" fmla="*/ 528176 h 797705"/>
              <a:gd name="connsiteX179" fmla="*/ 86966 w 829568"/>
              <a:gd name="connsiteY179" fmla="*/ 494839 h 797705"/>
              <a:gd name="connsiteX180" fmla="*/ 65409 w 829568"/>
              <a:gd name="connsiteY180" fmla="*/ 464300 h 797705"/>
              <a:gd name="connsiteX181" fmla="*/ 62429 w 829568"/>
              <a:gd name="connsiteY181" fmla="*/ 465726 h 797705"/>
              <a:gd name="connsiteX182" fmla="*/ 62429 w 829568"/>
              <a:gd name="connsiteY182" fmla="*/ 467991 h 797705"/>
              <a:gd name="connsiteX183" fmla="*/ 57874 w 829568"/>
              <a:gd name="connsiteY183" fmla="*/ 470256 h 797705"/>
              <a:gd name="connsiteX184" fmla="*/ 48763 w 829568"/>
              <a:gd name="connsiteY184" fmla="*/ 472522 h 797705"/>
              <a:gd name="connsiteX185" fmla="*/ 35096 w 829568"/>
              <a:gd name="connsiteY185" fmla="*/ 467991 h 797705"/>
              <a:gd name="connsiteX186" fmla="*/ 32818 w 829568"/>
              <a:gd name="connsiteY186" fmla="*/ 449871 h 797705"/>
              <a:gd name="connsiteX187" fmla="*/ 55596 w 829568"/>
              <a:gd name="connsiteY187" fmla="*/ 418160 h 797705"/>
              <a:gd name="connsiteX188" fmla="*/ 55596 w 829568"/>
              <a:gd name="connsiteY188" fmla="*/ 404569 h 797705"/>
              <a:gd name="connsiteX189" fmla="*/ 48763 w 829568"/>
              <a:gd name="connsiteY189" fmla="*/ 372858 h 797705"/>
              <a:gd name="connsiteX190" fmla="*/ 41929 w 829568"/>
              <a:gd name="connsiteY190" fmla="*/ 354737 h 797705"/>
              <a:gd name="connsiteX191" fmla="*/ 41929 w 829568"/>
              <a:gd name="connsiteY191" fmla="*/ 320761 h 797705"/>
              <a:gd name="connsiteX192" fmla="*/ 41929 w 829568"/>
              <a:gd name="connsiteY192" fmla="*/ 300375 h 797705"/>
              <a:gd name="connsiteX193" fmla="*/ 44207 w 829568"/>
              <a:gd name="connsiteY193" fmla="*/ 302640 h 797705"/>
              <a:gd name="connsiteX194" fmla="*/ 57934 w 829568"/>
              <a:gd name="connsiteY194" fmla="*/ 312196 h 797705"/>
              <a:gd name="connsiteX195" fmla="*/ 58242 w 829568"/>
              <a:gd name="connsiteY195" fmla="*/ 311394 h 797705"/>
              <a:gd name="connsiteX196" fmla="*/ 56256 w 829568"/>
              <a:gd name="connsiteY196" fmla="*/ 310012 h 797705"/>
              <a:gd name="connsiteX197" fmla="*/ 44300 w 829568"/>
              <a:gd name="connsiteY197" fmla="*/ 302367 h 797705"/>
              <a:gd name="connsiteX198" fmla="*/ 42022 w 829568"/>
              <a:gd name="connsiteY198" fmla="*/ 300102 h 797705"/>
              <a:gd name="connsiteX199" fmla="*/ 44300 w 829568"/>
              <a:gd name="connsiteY199" fmla="*/ 291042 h 797705"/>
              <a:gd name="connsiteX200" fmla="*/ 78462 w 829568"/>
              <a:gd name="connsiteY200" fmla="*/ 259331 h 797705"/>
              <a:gd name="connsiteX201" fmla="*/ 92126 w 829568"/>
              <a:gd name="connsiteY201" fmla="*/ 232149 h 797705"/>
              <a:gd name="connsiteX202" fmla="*/ 114901 w 829568"/>
              <a:gd name="connsiteY202" fmla="*/ 211764 h 797705"/>
              <a:gd name="connsiteX203" fmla="*/ 108638 w 829568"/>
              <a:gd name="connsiteY203" fmla="*/ 204968 h 797705"/>
              <a:gd name="connsiteX204" fmla="*/ 92261 w 829568"/>
              <a:gd name="connsiteY204" fmla="*/ 198228 h 797705"/>
              <a:gd name="connsiteX205" fmla="*/ 91806 w 829568"/>
              <a:gd name="connsiteY205" fmla="*/ 198355 h 797705"/>
              <a:gd name="connsiteX206" fmla="*/ 84968 w 829568"/>
              <a:gd name="connsiteY206" fmla="*/ 193807 h 797705"/>
              <a:gd name="connsiteX207" fmla="*/ 94086 w 829568"/>
              <a:gd name="connsiteY207" fmla="*/ 155145 h 797705"/>
              <a:gd name="connsiteX208" fmla="*/ 135114 w 829568"/>
              <a:gd name="connsiteY208" fmla="*/ 127854 h 797705"/>
              <a:gd name="connsiteX209" fmla="*/ 160186 w 829568"/>
              <a:gd name="connsiteY209" fmla="*/ 134677 h 797705"/>
              <a:gd name="connsiteX210" fmla="*/ 160186 w 829568"/>
              <a:gd name="connsiteY210" fmla="*/ 109660 h 797705"/>
              <a:gd name="connsiteX211" fmla="*/ 187538 w 829568"/>
              <a:gd name="connsiteY211" fmla="*/ 82369 h 797705"/>
              <a:gd name="connsiteX212" fmla="*/ 187538 w 829568"/>
              <a:gd name="connsiteY212" fmla="*/ 48256 h 797705"/>
              <a:gd name="connsiteX213" fmla="*/ 190103 w 829568"/>
              <a:gd name="connsiteY213" fmla="*/ 284 h 797705"/>
              <a:gd name="connsiteX0" fmla="*/ 561350 w 829568"/>
              <a:gd name="connsiteY0" fmla="*/ 243680 h 797705"/>
              <a:gd name="connsiteX1" fmla="*/ 563631 w 829568"/>
              <a:gd name="connsiteY1" fmla="*/ 245950 h 797705"/>
              <a:gd name="connsiteX2" fmla="*/ 563632 w 829568"/>
              <a:gd name="connsiteY2" fmla="*/ 245962 h 797705"/>
              <a:gd name="connsiteX3" fmla="*/ 561350 w 829568"/>
              <a:gd name="connsiteY3" fmla="*/ 243680 h 797705"/>
              <a:gd name="connsiteX4" fmla="*/ 190103 w 829568"/>
              <a:gd name="connsiteY4" fmla="*/ 284 h 797705"/>
              <a:gd name="connsiteX5" fmla="*/ 208052 w 829568"/>
              <a:gd name="connsiteY5" fmla="*/ 7319 h 797705"/>
              <a:gd name="connsiteX6" fmla="*/ 244522 w 829568"/>
              <a:gd name="connsiteY6" fmla="*/ 16416 h 797705"/>
              <a:gd name="connsiteX7" fmla="*/ 269594 w 829568"/>
              <a:gd name="connsiteY7" fmla="*/ 36884 h 797705"/>
              <a:gd name="connsiteX8" fmla="*/ 303784 w 829568"/>
              <a:gd name="connsiteY8" fmla="*/ 59627 h 797705"/>
              <a:gd name="connsiteX9" fmla="*/ 317460 w 829568"/>
              <a:gd name="connsiteY9" fmla="*/ 89192 h 797705"/>
              <a:gd name="connsiteX10" fmla="*/ 353930 w 829568"/>
              <a:gd name="connsiteY10" fmla="*/ 73272 h 797705"/>
              <a:gd name="connsiteX11" fmla="*/ 399516 w 829568"/>
              <a:gd name="connsiteY11" fmla="*/ 82369 h 797705"/>
              <a:gd name="connsiteX12" fmla="*/ 417751 w 829568"/>
              <a:gd name="connsiteY12" fmla="*/ 77821 h 797705"/>
              <a:gd name="connsiteX13" fmla="*/ 438265 w 829568"/>
              <a:gd name="connsiteY13" fmla="*/ 64175 h 797705"/>
              <a:gd name="connsiteX14" fmla="*/ 472455 w 829568"/>
              <a:gd name="connsiteY14" fmla="*/ 73272 h 797705"/>
              <a:gd name="connsiteX15" fmla="*/ 486131 w 829568"/>
              <a:gd name="connsiteY15" fmla="*/ 82369 h 797705"/>
              <a:gd name="connsiteX16" fmla="*/ 490690 w 829568"/>
              <a:gd name="connsiteY16" fmla="*/ 132402 h 797705"/>
              <a:gd name="connsiteX17" fmla="*/ 495248 w 829568"/>
              <a:gd name="connsiteY17" fmla="*/ 196081 h 797705"/>
              <a:gd name="connsiteX18" fmla="*/ 495248 w 829568"/>
              <a:gd name="connsiteY18" fmla="*/ 214275 h 797705"/>
              <a:gd name="connsiteX19" fmla="*/ 495067 w 829568"/>
              <a:gd name="connsiteY19" fmla="*/ 214233 h 797705"/>
              <a:gd name="connsiteX20" fmla="*/ 497146 w 829568"/>
              <a:gd name="connsiteY20" fmla="*/ 220449 h 797705"/>
              <a:gd name="connsiteX21" fmla="*/ 508530 w 829568"/>
              <a:gd name="connsiteY21" fmla="*/ 224986 h 797705"/>
              <a:gd name="connsiteX22" fmla="*/ 524467 w 829568"/>
              <a:gd name="connsiteY22" fmla="*/ 238598 h 797705"/>
              <a:gd name="connsiteX23" fmla="*/ 556340 w 829568"/>
              <a:gd name="connsiteY23" fmla="*/ 234060 h 797705"/>
              <a:gd name="connsiteX24" fmla="*/ 560894 w 829568"/>
              <a:gd name="connsiteY24" fmla="*/ 243135 h 797705"/>
              <a:gd name="connsiteX25" fmla="*/ 563170 w 829568"/>
              <a:gd name="connsiteY25" fmla="*/ 247672 h 797705"/>
              <a:gd name="connsiteX26" fmla="*/ 563684 w 829568"/>
              <a:gd name="connsiteY26" fmla="*/ 246583 h 797705"/>
              <a:gd name="connsiteX27" fmla="*/ 570440 w 829568"/>
              <a:gd name="connsiteY27" fmla="*/ 254988 h 797705"/>
              <a:gd name="connsiteX28" fmla="*/ 570445 w 829568"/>
              <a:gd name="connsiteY28" fmla="*/ 254942 h 797705"/>
              <a:gd name="connsiteX29" fmla="*/ 574113 w 829568"/>
              <a:gd name="connsiteY29" fmla="*/ 256872 h 797705"/>
              <a:gd name="connsiteX30" fmla="*/ 567290 w 829568"/>
              <a:gd name="connsiteY30" fmla="*/ 250109 h 797705"/>
              <a:gd name="connsiteX31" fmla="*/ 563684 w 829568"/>
              <a:gd name="connsiteY31" fmla="*/ 246583 h 797705"/>
              <a:gd name="connsiteX32" fmla="*/ 574458 w 829568"/>
              <a:gd name="connsiteY32" fmla="*/ 256788 h 797705"/>
              <a:gd name="connsiteX33" fmla="*/ 583230 w 829568"/>
              <a:gd name="connsiteY33" fmla="*/ 254659 h 797705"/>
              <a:gd name="connsiteX34" fmla="*/ 595448 w 829568"/>
              <a:gd name="connsiteY34" fmla="*/ 250406 h 797705"/>
              <a:gd name="connsiteX35" fmla="*/ 624997 w 829568"/>
              <a:gd name="connsiteY35" fmla="*/ 282159 h 797705"/>
              <a:gd name="connsiteX36" fmla="*/ 637214 w 829568"/>
              <a:gd name="connsiteY36" fmla="*/ 311928 h 797705"/>
              <a:gd name="connsiteX37" fmla="*/ 636731 w 829568"/>
              <a:gd name="connsiteY37" fmla="*/ 319061 h 797705"/>
              <a:gd name="connsiteX38" fmla="*/ 636185 w 829568"/>
              <a:gd name="connsiteY38" fmla="*/ 327131 h 797705"/>
              <a:gd name="connsiteX39" fmla="*/ 640908 w 829568"/>
              <a:gd name="connsiteY39" fmla="*/ 343397 h 797705"/>
              <a:gd name="connsiteX40" fmla="*/ 656819 w 829568"/>
              <a:gd name="connsiteY40" fmla="*/ 329788 h 797705"/>
              <a:gd name="connsiteX41" fmla="*/ 672730 w 829568"/>
              <a:gd name="connsiteY41" fmla="*/ 347933 h 797705"/>
              <a:gd name="connsiteX42" fmla="*/ 679549 w 829568"/>
              <a:gd name="connsiteY42" fmla="*/ 366077 h 797705"/>
              <a:gd name="connsiteX43" fmla="*/ 686368 w 829568"/>
              <a:gd name="connsiteY43" fmla="*/ 418243 h 797705"/>
              <a:gd name="connsiteX44" fmla="*/ 736375 w 829568"/>
              <a:gd name="connsiteY44" fmla="*/ 413707 h 797705"/>
              <a:gd name="connsiteX45" fmla="*/ 756832 w 829568"/>
              <a:gd name="connsiteY45" fmla="*/ 420511 h 797705"/>
              <a:gd name="connsiteX46" fmla="*/ 765924 w 829568"/>
              <a:gd name="connsiteY46" fmla="*/ 406903 h 797705"/>
              <a:gd name="connsiteX47" fmla="*/ 829568 w 829568"/>
              <a:gd name="connsiteY47" fmla="*/ 397830 h 797705"/>
              <a:gd name="connsiteX48" fmla="*/ 829568 w 829568"/>
              <a:gd name="connsiteY48" fmla="*/ 413707 h 797705"/>
              <a:gd name="connsiteX49" fmla="*/ 827295 w 829568"/>
              <a:gd name="connsiteY49" fmla="*/ 422779 h 797705"/>
              <a:gd name="connsiteX50" fmla="*/ 822749 w 829568"/>
              <a:gd name="connsiteY50" fmla="*/ 427315 h 797705"/>
              <a:gd name="connsiteX51" fmla="*/ 815930 w 829568"/>
              <a:gd name="connsiteY51" fmla="*/ 427315 h 797705"/>
              <a:gd name="connsiteX52" fmla="*/ 809111 w 829568"/>
              <a:gd name="connsiteY52" fmla="*/ 443192 h 797705"/>
              <a:gd name="connsiteX53" fmla="*/ 802292 w 829568"/>
              <a:gd name="connsiteY53" fmla="*/ 452264 h 797705"/>
              <a:gd name="connsiteX54" fmla="*/ 800019 w 829568"/>
              <a:gd name="connsiteY54" fmla="*/ 459068 h 797705"/>
              <a:gd name="connsiteX55" fmla="*/ 800019 w 829568"/>
              <a:gd name="connsiteY55" fmla="*/ 470408 h 797705"/>
              <a:gd name="connsiteX56" fmla="*/ 800019 w 829568"/>
              <a:gd name="connsiteY56" fmla="*/ 481749 h 797705"/>
              <a:gd name="connsiteX57" fmla="*/ 784108 w 829568"/>
              <a:gd name="connsiteY57" fmla="*/ 477212 h 797705"/>
              <a:gd name="connsiteX58" fmla="*/ 777289 w 829568"/>
              <a:gd name="connsiteY58" fmla="*/ 477212 h 797705"/>
              <a:gd name="connsiteX59" fmla="*/ 770470 w 829568"/>
              <a:gd name="connsiteY59" fmla="*/ 481749 h 797705"/>
              <a:gd name="connsiteX60" fmla="*/ 768197 w 829568"/>
              <a:gd name="connsiteY60" fmla="*/ 488553 h 797705"/>
              <a:gd name="connsiteX61" fmla="*/ 750013 w 829568"/>
              <a:gd name="connsiteY61" fmla="*/ 497625 h 797705"/>
              <a:gd name="connsiteX62" fmla="*/ 745467 w 829568"/>
              <a:gd name="connsiteY62" fmla="*/ 490821 h 797705"/>
              <a:gd name="connsiteX63" fmla="*/ 740921 w 829568"/>
              <a:gd name="connsiteY63" fmla="*/ 493089 h 797705"/>
              <a:gd name="connsiteX64" fmla="*/ 738648 w 829568"/>
              <a:gd name="connsiteY64" fmla="*/ 499893 h 797705"/>
              <a:gd name="connsiteX65" fmla="*/ 738648 w 829568"/>
              <a:gd name="connsiteY65" fmla="*/ 502161 h 797705"/>
              <a:gd name="connsiteX66" fmla="*/ 725010 w 829568"/>
              <a:gd name="connsiteY66" fmla="*/ 504429 h 797705"/>
              <a:gd name="connsiteX67" fmla="*/ 715918 w 829568"/>
              <a:gd name="connsiteY67" fmla="*/ 508965 h 797705"/>
              <a:gd name="connsiteX68" fmla="*/ 715918 w 829568"/>
              <a:gd name="connsiteY68" fmla="*/ 520306 h 797705"/>
              <a:gd name="connsiteX69" fmla="*/ 713645 w 829568"/>
              <a:gd name="connsiteY69" fmla="*/ 522574 h 797705"/>
              <a:gd name="connsiteX70" fmla="*/ 693188 w 829568"/>
              <a:gd name="connsiteY70" fmla="*/ 527110 h 797705"/>
              <a:gd name="connsiteX71" fmla="*/ 677276 w 829568"/>
              <a:gd name="connsiteY71" fmla="*/ 531646 h 797705"/>
              <a:gd name="connsiteX72" fmla="*/ 668184 w 829568"/>
              <a:gd name="connsiteY72" fmla="*/ 527110 h 797705"/>
              <a:gd name="connsiteX73" fmla="*/ 665911 w 829568"/>
              <a:gd name="connsiteY73" fmla="*/ 529378 h 797705"/>
              <a:gd name="connsiteX74" fmla="*/ 665911 w 829568"/>
              <a:gd name="connsiteY74" fmla="*/ 538450 h 797705"/>
              <a:gd name="connsiteX75" fmla="*/ 659092 w 829568"/>
              <a:gd name="connsiteY75" fmla="*/ 540718 h 797705"/>
              <a:gd name="connsiteX76" fmla="*/ 659092 w 829568"/>
              <a:gd name="connsiteY76" fmla="*/ 545254 h 797705"/>
              <a:gd name="connsiteX77" fmla="*/ 659092 w 829568"/>
              <a:gd name="connsiteY77" fmla="*/ 556595 h 797705"/>
              <a:gd name="connsiteX78" fmla="*/ 656819 w 829568"/>
              <a:gd name="connsiteY78" fmla="*/ 561131 h 797705"/>
              <a:gd name="connsiteX79" fmla="*/ 652273 w 829568"/>
              <a:gd name="connsiteY79" fmla="*/ 561131 h 797705"/>
              <a:gd name="connsiteX80" fmla="*/ 650000 w 829568"/>
              <a:gd name="connsiteY80" fmla="*/ 561131 h 797705"/>
              <a:gd name="connsiteX81" fmla="*/ 618178 w 829568"/>
              <a:gd name="connsiteY81" fmla="*/ 552058 h 797705"/>
              <a:gd name="connsiteX82" fmla="*/ 618178 w 829568"/>
              <a:gd name="connsiteY82" fmla="*/ 549790 h 797705"/>
              <a:gd name="connsiteX83" fmla="*/ 609086 w 829568"/>
              <a:gd name="connsiteY83" fmla="*/ 542986 h 797705"/>
              <a:gd name="connsiteX84" fmla="*/ 599994 w 829568"/>
              <a:gd name="connsiteY84" fmla="*/ 547522 h 797705"/>
              <a:gd name="connsiteX85" fmla="*/ 590902 w 829568"/>
              <a:gd name="connsiteY85" fmla="*/ 554327 h 797705"/>
              <a:gd name="connsiteX86" fmla="*/ 579537 w 829568"/>
              <a:gd name="connsiteY86" fmla="*/ 563399 h 797705"/>
              <a:gd name="connsiteX87" fmla="*/ 574991 w 829568"/>
              <a:gd name="connsiteY87" fmla="*/ 556595 h 797705"/>
              <a:gd name="connsiteX88" fmla="*/ 570445 w 829568"/>
              <a:gd name="connsiteY88" fmla="*/ 558863 h 797705"/>
              <a:gd name="connsiteX89" fmla="*/ 568172 w 829568"/>
              <a:gd name="connsiteY89" fmla="*/ 563399 h 797705"/>
              <a:gd name="connsiteX90" fmla="*/ 568172 w 829568"/>
              <a:gd name="connsiteY90" fmla="*/ 565667 h 797705"/>
              <a:gd name="connsiteX91" fmla="*/ 568172 w 829568"/>
              <a:gd name="connsiteY91" fmla="*/ 570203 h 797705"/>
              <a:gd name="connsiteX92" fmla="*/ 565899 w 829568"/>
              <a:gd name="connsiteY92" fmla="*/ 572471 h 797705"/>
              <a:gd name="connsiteX93" fmla="*/ 565899 w 829568"/>
              <a:gd name="connsiteY93" fmla="*/ 574739 h 797705"/>
              <a:gd name="connsiteX94" fmla="*/ 581810 w 829568"/>
              <a:gd name="connsiteY94" fmla="*/ 581543 h 797705"/>
              <a:gd name="connsiteX95" fmla="*/ 586356 w 829568"/>
              <a:gd name="connsiteY95" fmla="*/ 586079 h 797705"/>
              <a:gd name="connsiteX96" fmla="*/ 590902 w 829568"/>
              <a:gd name="connsiteY96" fmla="*/ 579275 h 797705"/>
              <a:gd name="connsiteX97" fmla="*/ 597721 w 829568"/>
              <a:gd name="connsiteY97" fmla="*/ 583811 h 797705"/>
              <a:gd name="connsiteX98" fmla="*/ 599994 w 829568"/>
              <a:gd name="connsiteY98" fmla="*/ 579275 h 797705"/>
              <a:gd name="connsiteX99" fmla="*/ 606813 w 829568"/>
              <a:gd name="connsiteY99" fmla="*/ 588347 h 797705"/>
              <a:gd name="connsiteX100" fmla="*/ 606813 w 829568"/>
              <a:gd name="connsiteY100" fmla="*/ 590616 h 797705"/>
              <a:gd name="connsiteX101" fmla="*/ 602267 w 829568"/>
              <a:gd name="connsiteY101" fmla="*/ 601956 h 797705"/>
              <a:gd name="connsiteX102" fmla="*/ 604540 w 829568"/>
              <a:gd name="connsiteY102" fmla="*/ 606492 h 797705"/>
              <a:gd name="connsiteX103" fmla="*/ 609086 w 829568"/>
              <a:gd name="connsiteY103" fmla="*/ 611028 h 797705"/>
              <a:gd name="connsiteX104" fmla="*/ 606813 w 829568"/>
              <a:gd name="connsiteY104" fmla="*/ 613296 h 797705"/>
              <a:gd name="connsiteX105" fmla="*/ 588629 w 829568"/>
              <a:gd name="connsiteY105" fmla="*/ 613296 h 797705"/>
              <a:gd name="connsiteX106" fmla="*/ 572718 w 829568"/>
              <a:gd name="connsiteY106" fmla="*/ 597420 h 797705"/>
              <a:gd name="connsiteX107" fmla="*/ 568172 w 829568"/>
              <a:gd name="connsiteY107" fmla="*/ 606492 h 797705"/>
              <a:gd name="connsiteX108" fmla="*/ 561353 w 829568"/>
              <a:gd name="connsiteY108" fmla="*/ 597420 h 797705"/>
              <a:gd name="connsiteX109" fmla="*/ 556807 w 829568"/>
              <a:gd name="connsiteY109" fmla="*/ 592884 h 797705"/>
              <a:gd name="connsiteX110" fmla="*/ 540896 w 829568"/>
              <a:gd name="connsiteY110" fmla="*/ 570203 h 797705"/>
              <a:gd name="connsiteX111" fmla="*/ 529530 w 829568"/>
              <a:gd name="connsiteY111" fmla="*/ 565667 h 797705"/>
              <a:gd name="connsiteX112" fmla="*/ 518165 w 829568"/>
              <a:gd name="connsiteY112" fmla="*/ 572471 h 797705"/>
              <a:gd name="connsiteX113" fmla="*/ 509073 w 829568"/>
              <a:gd name="connsiteY113" fmla="*/ 577007 h 797705"/>
              <a:gd name="connsiteX114" fmla="*/ 505946 w 829568"/>
              <a:gd name="connsiteY114" fmla="*/ 579415 h 797705"/>
              <a:gd name="connsiteX115" fmla="*/ 505946 w 829568"/>
              <a:gd name="connsiteY115" fmla="*/ 581688 h 797705"/>
              <a:gd name="connsiteX116" fmla="*/ 496839 w 829568"/>
              <a:gd name="connsiteY116" fmla="*/ 590779 h 797705"/>
              <a:gd name="connsiteX117" fmla="*/ 496839 w 829568"/>
              <a:gd name="connsiteY117" fmla="*/ 595324 h 797705"/>
              <a:gd name="connsiteX118" fmla="*/ 501392 w 829568"/>
              <a:gd name="connsiteY118" fmla="*/ 599870 h 797705"/>
              <a:gd name="connsiteX119" fmla="*/ 510500 w 829568"/>
              <a:gd name="connsiteY119" fmla="*/ 608960 h 797705"/>
              <a:gd name="connsiteX120" fmla="*/ 508223 w 829568"/>
              <a:gd name="connsiteY120" fmla="*/ 613506 h 797705"/>
              <a:gd name="connsiteX121" fmla="*/ 508223 w 829568"/>
              <a:gd name="connsiteY121" fmla="*/ 618051 h 797705"/>
              <a:gd name="connsiteX122" fmla="*/ 490008 w 829568"/>
              <a:gd name="connsiteY122" fmla="*/ 640778 h 797705"/>
              <a:gd name="connsiteX123" fmla="*/ 464962 w 829568"/>
              <a:gd name="connsiteY123" fmla="*/ 631687 h 797705"/>
              <a:gd name="connsiteX124" fmla="*/ 451300 w 829568"/>
              <a:gd name="connsiteY124" fmla="*/ 624869 h 797705"/>
              <a:gd name="connsiteX125" fmla="*/ 423977 w 829568"/>
              <a:gd name="connsiteY125" fmla="*/ 638506 h 797705"/>
              <a:gd name="connsiteX126" fmla="*/ 414870 w 829568"/>
              <a:gd name="connsiteY126" fmla="*/ 643051 h 797705"/>
              <a:gd name="connsiteX127" fmla="*/ 398931 w 829568"/>
              <a:gd name="connsiteY127" fmla="*/ 645324 h 797705"/>
              <a:gd name="connsiteX128" fmla="*/ 394378 w 829568"/>
              <a:gd name="connsiteY128" fmla="*/ 652142 h 797705"/>
              <a:gd name="connsiteX129" fmla="*/ 373885 w 829568"/>
              <a:gd name="connsiteY129" fmla="*/ 654415 h 797705"/>
              <a:gd name="connsiteX130" fmla="*/ 353393 w 829568"/>
              <a:gd name="connsiteY130" fmla="*/ 661233 h 797705"/>
              <a:gd name="connsiteX131" fmla="*/ 344285 w 829568"/>
              <a:gd name="connsiteY131" fmla="*/ 683960 h 797705"/>
              <a:gd name="connsiteX132" fmla="*/ 346559 w 829568"/>
              <a:gd name="connsiteY132" fmla="*/ 695305 h 797705"/>
              <a:gd name="connsiteX133" fmla="*/ 346890 w 829568"/>
              <a:gd name="connsiteY133" fmla="*/ 695371 h 797705"/>
              <a:gd name="connsiteX134" fmla="*/ 349169 w 829568"/>
              <a:gd name="connsiteY134" fmla="*/ 697639 h 797705"/>
              <a:gd name="connsiteX135" fmla="*/ 349169 w 829568"/>
              <a:gd name="connsiteY135" fmla="*/ 708981 h 797705"/>
              <a:gd name="connsiteX136" fmla="*/ 349169 w 829568"/>
              <a:gd name="connsiteY136" fmla="*/ 713518 h 797705"/>
              <a:gd name="connsiteX137" fmla="*/ 346890 w 829568"/>
              <a:gd name="connsiteY137" fmla="*/ 724861 h 797705"/>
              <a:gd name="connsiteX138" fmla="*/ 340053 w 829568"/>
              <a:gd name="connsiteY138" fmla="*/ 722592 h 797705"/>
              <a:gd name="connsiteX139" fmla="*/ 317264 w 829568"/>
              <a:gd name="connsiteY139" fmla="*/ 720324 h 797705"/>
              <a:gd name="connsiteX140" fmla="*/ 312706 w 829568"/>
              <a:gd name="connsiteY140" fmla="*/ 718055 h 797705"/>
              <a:gd name="connsiteX141" fmla="*/ 303590 w 829568"/>
              <a:gd name="connsiteY141" fmla="*/ 724861 h 797705"/>
              <a:gd name="connsiteX142" fmla="*/ 294474 w 829568"/>
              <a:gd name="connsiteY142" fmla="*/ 731666 h 797705"/>
              <a:gd name="connsiteX143" fmla="*/ 289916 w 829568"/>
              <a:gd name="connsiteY143" fmla="*/ 738471 h 797705"/>
              <a:gd name="connsiteX144" fmla="*/ 289916 w 829568"/>
              <a:gd name="connsiteY144" fmla="*/ 752082 h 797705"/>
              <a:gd name="connsiteX145" fmla="*/ 280800 w 829568"/>
              <a:gd name="connsiteY145" fmla="*/ 740740 h 797705"/>
              <a:gd name="connsiteX146" fmla="*/ 278521 w 829568"/>
              <a:gd name="connsiteY146" fmla="*/ 738471 h 797705"/>
              <a:gd name="connsiteX147" fmla="*/ 278521 w 829568"/>
              <a:gd name="connsiteY147" fmla="*/ 743008 h 797705"/>
              <a:gd name="connsiteX148" fmla="*/ 276242 w 829568"/>
              <a:gd name="connsiteY148" fmla="*/ 749814 h 797705"/>
              <a:gd name="connsiteX149" fmla="*/ 269405 w 829568"/>
              <a:gd name="connsiteY149" fmla="*/ 761156 h 797705"/>
              <a:gd name="connsiteX150" fmla="*/ 232942 w 829568"/>
              <a:gd name="connsiteY150" fmla="*/ 749814 h 797705"/>
              <a:gd name="connsiteX151" fmla="*/ 230663 w 829568"/>
              <a:gd name="connsiteY151" fmla="*/ 754351 h 797705"/>
              <a:gd name="connsiteX152" fmla="*/ 203316 w 829568"/>
              <a:gd name="connsiteY152" fmla="*/ 754351 h 797705"/>
              <a:gd name="connsiteX153" fmla="*/ 180526 w 829568"/>
              <a:gd name="connsiteY153" fmla="*/ 761156 h 797705"/>
              <a:gd name="connsiteX154" fmla="*/ 169131 w 829568"/>
              <a:gd name="connsiteY154" fmla="*/ 767961 h 797705"/>
              <a:gd name="connsiteX155" fmla="*/ 157736 w 829568"/>
              <a:gd name="connsiteY155" fmla="*/ 783841 h 797705"/>
              <a:gd name="connsiteX156" fmla="*/ 137226 w 829568"/>
              <a:gd name="connsiteY156" fmla="*/ 797451 h 797705"/>
              <a:gd name="connsiteX157" fmla="*/ 128110 w 829568"/>
              <a:gd name="connsiteY157" fmla="*/ 786109 h 797705"/>
              <a:gd name="connsiteX158" fmla="*/ 121273 w 829568"/>
              <a:gd name="connsiteY158" fmla="*/ 792914 h 797705"/>
              <a:gd name="connsiteX159" fmla="*/ 93925 w 829568"/>
              <a:gd name="connsiteY159" fmla="*/ 790646 h 797705"/>
              <a:gd name="connsiteX160" fmla="*/ 68857 w 829568"/>
              <a:gd name="connsiteY160" fmla="*/ 790646 h 797705"/>
              <a:gd name="connsiteX161" fmla="*/ 57462 w 829568"/>
              <a:gd name="connsiteY161" fmla="*/ 792914 h 797705"/>
              <a:gd name="connsiteX162" fmla="*/ 46067 w 829568"/>
              <a:gd name="connsiteY162" fmla="*/ 788377 h 797705"/>
              <a:gd name="connsiteX163" fmla="*/ 25556 w 829568"/>
              <a:gd name="connsiteY163" fmla="*/ 786109 h 797705"/>
              <a:gd name="connsiteX164" fmla="*/ 25556 w 829568"/>
              <a:gd name="connsiteY164" fmla="*/ 783841 h 797705"/>
              <a:gd name="connsiteX165" fmla="*/ 27835 w 829568"/>
              <a:gd name="connsiteY165" fmla="*/ 777035 h 797705"/>
              <a:gd name="connsiteX166" fmla="*/ 25556 w 829568"/>
              <a:gd name="connsiteY166" fmla="*/ 774767 h 797705"/>
              <a:gd name="connsiteX167" fmla="*/ 43788 w 829568"/>
              <a:gd name="connsiteY167" fmla="*/ 770230 h 797705"/>
              <a:gd name="connsiteX168" fmla="*/ 48346 w 829568"/>
              <a:gd name="connsiteY168" fmla="*/ 699908 h 797705"/>
              <a:gd name="connsiteX169" fmla="*/ 5046 w 829568"/>
              <a:gd name="connsiteY169" fmla="*/ 670418 h 797705"/>
              <a:gd name="connsiteX170" fmla="*/ 30114 w 829568"/>
              <a:gd name="connsiteY170" fmla="*/ 615975 h 797705"/>
              <a:gd name="connsiteX171" fmla="*/ 41509 w 829568"/>
              <a:gd name="connsiteY171" fmla="*/ 600095 h 797705"/>
              <a:gd name="connsiteX172" fmla="*/ 34672 w 829568"/>
              <a:gd name="connsiteY172" fmla="*/ 581948 h 797705"/>
              <a:gd name="connsiteX173" fmla="*/ 41509 w 829568"/>
              <a:gd name="connsiteY173" fmla="*/ 554726 h 797705"/>
              <a:gd name="connsiteX174" fmla="*/ 16441 w 829568"/>
              <a:gd name="connsiteY174" fmla="*/ 543384 h 797705"/>
              <a:gd name="connsiteX175" fmla="*/ 34672 w 829568"/>
              <a:gd name="connsiteY175" fmla="*/ 541115 h 797705"/>
              <a:gd name="connsiteX176" fmla="*/ 41498 w 829568"/>
              <a:gd name="connsiteY176" fmla="*/ 541115 h 797705"/>
              <a:gd name="connsiteX177" fmla="*/ 39341 w 829568"/>
              <a:gd name="connsiteY177" fmla="*/ 528176 h 797705"/>
              <a:gd name="connsiteX178" fmla="*/ 86966 w 829568"/>
              <a:gd name="connsiteY178" fmla="*/ 494839 h 797705"/>
              <a:gd name="connsiteX179" fmla="*/ 65409 w 829568"/>
              <a:gd name="connsiteY179" fmla="*/ 464300 h 797705"/>
              <a:gd name="connsiteX180" fmla="*/ 62429 w 829568"/>
              <a:gd name="connsiteY180" fmla="*/ 465726 h 797705"/>
              <a:gd name="connsiteX181" fmla="*/ 62429 w 829568"/>
              <a:gd name="connsiteY181" fmla="*/ 467991 h 797705"/>
              <a:gd name="connsiteX182" fmla="*/ 57874 w 829568"/>
              <a:gd name="connsiteY182" fmla="*/ 470256 h 797705"/>
              <a:gd name="connsiteX183" fmla="*/ 48763 w 829568"/>
              <a:gd name="connsiteY183" fmla="*/ 472522 h 797705"/>
              <a:gd name="connsiteX184" fmla="*/ 35096 w 829568"/>
              <a:gd name="connsiteY184" fmla="*/ 467991 h 797705"/>
              <a:gd name="connsiteX185" fmla="*/ 32818 w 829568"/>
              <a:gd name="connsiteY185" fmla="*/ 449871 h 797705"/>
              <a:gd name="connsiteX186" fmla="*/ 55596 w 829568"/>
              <a:gd name="connsiteY186" fmla="*/ 418160 h 797705"/>
              <a:gd name="connsiteX187" fmla="*/ 55596 w 829568"/>
              <a:gd name="connsiteY187" fmla="*/ 404569 h 797705"/>
              <a:gd name="connsiteX188" fmla="*/ 48763 w 829568"/>
              <a:gd name="connsiteY188" fmla="*/ 372858 h 797705"/>
              <a:gd name="connsiteX189" fmla="*/ 41929 w 829568"/>
              <a:gd name="connsiteY189" fmla="*/ 354737 h 797705"/>
              <a:gd name="connsiteX190" fmla="*/ 41929 w 829568"/>
              <a:gd name="connsiteY190" fmla="*/ 320761 h 797705"/>
              <a:gd name="connsiteX191" fmla="*/ 41929 w 829568"/>
              <a:gd name="connsiteY191" fmla="*/ 300375 h 797705"/>
              <a:gd name="connsiteX192" fmla="*/ 44207 w 829568"/>
              <a:gd name="connsiteY192" fmla="*/ 302640 h 797705"/>
              <a:gd name="connsiteX193" fmla="*/ 57934 w 829568"/>
              <a:gd name="connsiteY193" fmla="*/ 312196 h 797705"/>
              <a:gd name="connsiteX194" fmla="*/ 58242 w 829568"/>
              <a:gd name="connsiteY194" fmla="*/ 311394 h 797705"/>
              <a:gd name="connsiteX195" fmla="*/ 56256 w 829568"/>
              <a:gd name="connsiteY195" fmla="*/ 310012 h 797705"/>
              <a:gd name="connsiteX196" fmla="*/ 44300 w 829568"/>
              <a:gd name="connsiteY196" fmla="*/ 302367 h 797705"/>
              <a:gd name="connsiteX197" fmla="*/ 42022 w 829568"/>
              <a:gd name="connsiteY197" fmla="*/ 300102 h 797705"/>
              <a:gd name="connsiteX198" fmla="*/ 44300 w 829568"/>
              <a:gd name="connsiteY198" fmla="*/ 291042 h 797705"/>
              <a:gd name="connsiteX199" fmla="*/ 78462 w 829568"/>
              <a:gd name="connsiteY199" fmla="*/ 259331 h 797705"/>
              <a:gd name="connsiteX200" fmla="*/ 92126 w 829568"/>
              <a:gd name="connsiteY200" fmla="*/ 232149 h 797705"/>
              <a:gd name="connsiteX201" fmla="*/ 114901 w 829568"/>
              <a:gd name="connsiteY201" fmla="*/ 211764 h 797705"/>
              <a:gd name="connsiteX202" fmla="*/ 108638 w 829568"/>
              <a:gd name="connsiteY202" fmla="*/ 204968 h 797705"/>
              <a:gd name="connsiteX203" fmla="*/ 92261 w 829568"/>
              <a:gd name="connsiteY203" fmla="*/ 198228 h 797705"/>
              <a:gd name="connsiteX204" fmla="*/ 91806 w 829568"/>
              <a:gd name="connsiteY204" fmla="*/ 198355 h 797705"/>
              <a:gd name="connsiteX205" fmla="*/ 84968 w 829568"/>
              <a:gd name="connsiteY205" fmla="*/ 193807 h 797705"/>
              <a:gd name="connsiteX206" fmla="*/ 94086 w 829568"/>
              <a:gd name="connsiteY206" fmla="*/ 155145 h 797705"/>
              <a:gd name="connsiteX207" fmla="*/ 135114 w 829568"/>
              <a:gd name="connsiteY207" fmla="*/ 127854 h 797705"/>
              <a:gd name="connsiteX208" fmla="*/ 160186 w 829568"/>
              <a:gd name="connsiteY208" fmla="*/ 134677 h 797705"/>
              <a:gd name="connsiteX209" fmla="*/ 160186 w 829568"/>
              <a:gd name="connsiteY209" fmla="*/ 109660 h 797705"/>
              <a:gd name="connsiteX210" fmla="*/ 187538 w 829568"/>
              <a:gd name="connsiteY210" fmla="*/ 82369 h 797705"/>
              <a:gd name="connsiteX211" fmla="*/ 187538 w 829568"/>
              <a:gd name="connsiteY211" fmla="*/ 48256 h 797705"/>
              <a:gd name="connsiteX212" fmla="*/ 190103 w 829568"/>
              <a:gd name="connsiteY212" fmla="*/ 284 h 797705"/>
              <a:gd name="connsiteX0" fmla="*/ 561350 w 829568"/>
              <a:gd name="connsiteY0" fmla="*/ 243680 h 797705"/>
              <a:gd name="connsiteX1" fmla="*/ 563631 w 829568"/>
              <a:gd name="connsiteY1" fmla="*/ 245950 h 797705"/>
              <a:gd name="connsiteX2" fmla="*/ 563632 w 829568"/>
              <a:gd name="connsiteY2" fmla="*/ 245962 h 797705"/>
              <a:gd name="connsiteX3" fmla="*/ 561350 w 829568"/>
              <a:gd name="connsiteY3" fmla="*/ 243680 h 797705"/>
              <a:gd name="connsiteX4" fmla="*/ 190103 w 829568"/>
              <a:gd name="connsiteY4" fmla="*/ 284 h 797705"/>
              <a:gd name="connsiteX5" fmla="*/ 208052 w 829568"/>
              <a:gd name="connsiteY5" fmla="*/ 7319 h 797705"/>
              <a:gd name="connsiteX6" fmla="*/ 244522 w 829568"/>
              <a:gd name="connsiteY6" fmla="*/ 16416 h 797705"/>
              <a:gd name="connsiteX7" fmla="*/ 269594 w 829568"/>
              <a:gd name="connsiteY7" fmla="*/ 36884 h 797705"/>
              <a:gd name="connsiteX8" fmla="*/ 303784 w 829568"/>
              <a:gd name="connsiteY8" fmla="*/ 59627 h 797705"/>
              <a:gd name="connsiteX9" fmla="*/ 317460 w 829568"/>
              <a:gd name="connsiteY9" fmla="*/ 89192 h 797705"/>
              <a:gd name="connsiteX10" fmla="*/ 353930 w 829568"/>
              <a:gd name="connsiteY10" fmla="*/ 73272 h 797705"/>
              <a:gd name="connsiteX11" fmla="*/ 399516 w 829568"/>
              <a:gd name="connsiteY11" fmla="*/ 82369 h 797705"/>
              <a:gd name="connsiteX12" fmla="*/ 417751 w 829568"/>
              <a:gd name="connsiteY12" fmla="*/ 77821 h 797705"/>
              <a:gd name="connsiteX13" fmla="*/ 438265 w 829568"/>
              <a:gd name="connsiteY13" fmla="*/ 64175 h 797705"/>
              <a:gd name="connsiteX14" fmla="*/ 472455 w 829568"/>
              <a:gd name="connsiteY14" fmla="*/ 73272 h 797705"/>
              <a:gd name="connsiteX15" fmla="*/ 486131 w 829568"/>
              <a:gd name="connsiteY15" fmla="*/ 82369 h 797705"/>
              <a:gd name="connsiteX16" fmla="*/ 490690 w 829568"/>
              <a:gd name="connsiteY16" fmla="*/ 132402 h 797705"/>
              <a:gd name="connsiteX17" fmla="*/ 495248 w 829568"/>
              <a:gd name="connsiteY17" fmla="*/ 196081 h 797705"/>
              <a:gd name="connsiteX18" fmla="*/ 495248 w 829568"/>
              <a:gd name="connsiteY18" fmla="*/ 214275 h 797705"/>
              <a:gd name="connsiteX19" fmla="*/ 495067 w 829568"/>
              <a:gd name="connsiteY19" fmla="*/ 214233 h 797705"/>
              <a:gd name="connsiteX20" fmla="*/ 497146 w 829568"/>
              <a:gd name="connsiteY20" fmla="*/ 220449 h 797705"/>
              <a:gd name="connsiteX21" fmla="*/ 508530 w 829568"/>
              <a:gd name="connsiteY21" fmla="*/ 224986 h 797705"/>
              <a:gd name="connsiteX22" fmla="*/ 524467 w 829568"/>
              <a:gd name="connsiteY22" fmla="*/ 238598 h 797705"/>
              <a:gd name="connsiteX23" fmla="*/ 556340 w 829568"/>
              <a:gd name="connsiteY23" fmla="*/ 234060 h 797705"/>
              <a:gd name="connsiteX24" fmla="*/ 563170 w 829568"/>
              <a:gd name="connsiteY24" fmla="*/ 247672 h 797705"/>
              <a:gd name="connsiteX25" fmla="*/ 563684 w 829568"/>
              <a:gd name="connsiteY25" fmla="*/ 246583 h 797705"/>
              <a:gd name="connsiteX26" fmla="*/ 570440 w 829568"/>
              <a:gd name="connsiteY26" fmla="*/ 254988 h 797705"/>
              <a:gd name="connsiteX27" fmla="*/ 570445 w 829568"/>
              <a:gd name="connsiteY27" fmla="*/ 254942 h 797705"/>
              <a:gd name="connsiteX28" fmla="*/ 574113 w 829568"/>
              <a:gd name="connsiteY28" fmla="*/ 256872 h 797705"/>
              <a:gd name="connsiteX29" fmla="*/ 567290 w 829568"/>
              <a:gd name="connsiteY29" fmla="*/ 250109 h 797705"/>
              <a:gd name="connsiteX30" fmla="*/ 563684 w 829568"/>
              <a:gd name="connsiteY30" fmla="*/ 246583 h 797705"/>
              <a:gd name="connsiteX31" fmla="*/ 574458 w 829568"/>
              <a:gd name="connsiteY31" fmla="*/ 256788 h 797705"/>
              <a:gd name="connsiteX32" fmla="*/ 583230 w 829568"/>
              <a:gd name="connsiteY32" fmla="*/ 254659 h 797705"/>
              <a:gd name="connsiteX33" fmla="*/ 595448 w 829568"/>
              <a:gd name="connsiteY33" fmla="*/ 250406 h 797705"/>
              <a:gd name="connsiteX34" fmla="*/ 624997 w 829568"/>
              <a:gd name="connsiteY34" fmla="*/ 282159 h 797705"/>
              <a:gd name="connsiteX35" fmla="*/ 637214 w 829568"/>
              <a:gd name="connsiteY35" fmla="*/ 311928 h 797705"/>
              <a:gd name="connsiteX36" fmla="*/ 636731 w 829568"/>
              <a:gd name="connsiteY36" fmla="*/ 319061 h 797705"/>
              <a:gd name="connsiteX37" fmla="*/ 636185 w 829568"/>
              <a:gd name="connsiteY37" fmla="*/ 327131 h 797705"/>
              <a:gd name="connsiteX38" fmla="*/ 640908 w 829568"/>
              <a:gd name="connsiteY38" fmla="*/ 343397 h 797705"/>
              <a:gd name="connsiteX39" fmla="*/ 656819 w 829568"/>
              <a:gd name="connsiteY39" fmla="*/ 329788 h 797705"/>
              <a:gd name="connsiteX40" fmla="*/ 672730 w 829568"/>
              <a:gd name="connsiteY40" fmla="*/ 347933 h 797705"/>
              <a:gd name="connsiteX41" fmla="*/ 679549 w 829568"/>
              <a:gd name="connsiteY41" fmla="*/ 366077 h 797705"/>
              <a:gd name="connsiteX42" fmla="*/ 686368 w 829568"/>
              <a:gd name="connsiteY42" fmla="*/ 418243 h 797705"/>
              <a:gd name="connsiteX43" fmla="*/ 736375 w 829568"/>
              <a:gd name="connsiteY43" fmla="*/ 413707 h 797705"/>
              <a:gd name="connsiteX44" fmla="*/ 756832 w 829568"/>
              <a:gd name="connsiteY44" fmla="*/ 420511 h 797705"/>
              <a:gd name="connsiteX45" fmla="*/ 765924 w 829568"/>
              <a:gd name="connsiteY45" fmla="*/ 406903 h 797705"/>
              <a:gd name="connsiteX46" fmla="*/ 829568 w 829568"/>
              <a:gd name="connsiteY46" fmla="*/ 397830 h 797705"/>
              <a:gd name="connsiteX47" fmla="*/ 829568 w 829568"/>
              <a:gd name="connsiteY47" fmla="*/ 413707 h 797705"/>
              <a:gd name="connsiteX48" fmla="*/ 827295 w 829568"/>
              <a:gd name="connsiteY48" fmla="*/ 422779 h 797705"/>
              <a:gd name="connsiteX49" fmla="*/ 822749 w 829568"/>
              <a:gd name="connsiteY49" fmla="*/ 427315 h 797705"/>
              <a:gd name="connsiteX50" fmla="*/ 815930 w 829568"/>
              <a:gd name="connsiteY50" fmla="*/ 427315 h 797705"/>
              <a:gd name="connsiteX51" fmla="*/ 809111 w 829568"/>
              <a:gd name="connsiteY51" fmla="*/ 443192 h 797705"/>
              <a:gd name="connsiteX52" fmla="*/ 802292 w 829568"/>
              <a:gd name="connsiteY52" fmla="*/ 452264 h 797705"/>
              <a:gd name="connsiteX53" fmla="*/ 800019 w 829568"/>
              <a:gd name="connsiteY53" fmla="*/ 459068 h 797705"/>
              <a:gd name="connsiteX54" fmla="*/ 800019 w 829568"/>
              <a:gd name="connsiteY54" fmla="*/ 470408 h 797705"/>
              <a:gd name="connsiteX55" fmla="*/ 800019 w 829568"/>
              <a:gd name="connsiteY55" fmla="*/ 481749 h 797705"/>
              <a:gd name="connsiteX56" fmla="*/ 784108 w 829568"/>
              <a:gd name="connsiteY56" fmla="*/ 477212 h 797705"/>
              <a:gd name="connsiteX57" fmla="*/ 777289 w 829568"/>
              <a:gd name="connsiteY57" fmla="*/ 477212 h 797705"/>
              <a:gd name="connsiteX58" fmla="*/ 770470 w 829568"/>
              <a:gd name="connsiteY58" fmla="*/ 481749 h 797705"/>
              <a:gd name="connsiteX59" fmla="*/ 768197 w 829568"/>
              <a:gd name="connsiteY59" fmla="*/ 488553 h 797705"/>
              <a:gd name="connsiteX60" fmla="*/ 750013 w 829568"/>
              <a:gd name="connsiteY60" fmla="*/ 497625 h 797705"/>
              <a:gd name="connsiteX61" fmla="*/ 745467 w 829568"/>
              <a:gd name="connsiteY61" fmla="*/ 490821 h 797705"/>
              <a:gd name="connsiteX62" fmla="*/ 740921 w 829568"/>
              <a:gd name="connsiteY62" fmla="*/ 493089 h 797705"/>
              <a:gd name="connsiteX63" fmla="*/ 738648 w 829568"/>
              <a:gd name="connsiteY63" fmla="*/ 499893 h 797705"/>
              <a:gd name="connsiteX64" fmla="*/ 738648 w 829568"/>
              <a:gd name="connsiteY64" fmla="*/ 502161 h 797705"/>
              <a:gd name="connsiteX65" fmla="*/ 725010 w 829568"/>
              <a:gd name="connsiteY65" fmla="*/ 504429 h 797705"/>
              <a:gd name="connsiteX66" fmla="*/ 715918 w 829568"/>
              <a:gd name="connsiteY66" fmla="*/ 508965 h 797705"/>
              <a:gd name="connsiteX67" fmla="*/ 715918 w 829568"/>
              <a:gd name="connsiteY67" fmla="*/ 520306 h 797705"/>
              <a:gd name="connsiteX68" fmla="*/ 713645 w 829568"/>
              <a:gd name="connsiteY68" fmla="*/ 522574 h 797705"/>
              <a:gd name="connsiteX69" fmla="*/ 693188 w 829568"/>
              <a:gd name="connsiteY69" fmla="*/ 527110 h 797705"/>
              <a:gd name="connsiteX70" fmla="*/ 677276 w 829568"/>
              <a:gd name="connsiteY70" fmla="*/ 531646 h 797705"/>
              <a:gd name="connsiteX71" fmla="*/ 668184 w 829568"/>
              <a:gd name="connsiteY71" fmla="*/ 527110 h 797705"/>
              <a:gd name="connsiteX72" fmla="*/ 665911 w 829568"/>
              <a:gd name="connsiteY72" fmla="*/ 529378 h 797705"/>
              <a:gd name="connsiteX73" fmla="*/ 665911 w 829568"/>
              <a:gd name="connsiteY73" fmla="*/ 538450 h 797705"/>
              <a:gd name="connsiteX74" fmla="*/ 659092 w 829568"/>
              <a:gd name="connsiteY74" fmla="*/ 540718 h 797705"/>
              <a:gd name="connsiteX75" fmla="*/ 659092 w 829568"/>
              <a:gd name="connsiteY75" fmla="*/ 545254 h 797705"/>
              <a:gd name="connsiteX76" fmla="*/ 659092 w 829568"/>
              <a:gd name="connsiteY76" fmla="*/ 556595 h 797705"/>
              <a:gd name="connsiteX77" fmla="*/ 656819 w 829568"/>
              <a:gd name="connsiteY77" fmla="*/ 561131 h 797705"/>
              <a:gd name="connsiteX78" fmla="*/ 652273 w 829568"/>
              <a:gd name="connsiteY78" fmla="*/ 561131 h 797705"/>
              <a:gd name="connsiteX79" fmla="*/ 650000 w 829568"/>
              <a:gd name="connsiteY79" fmla="*/ 561131 h 797705"/>
              <a:gd name="connsiteX80" fmla="*/ 618178 w 829568"/>
              <a:gd name="connsiteY80" fmla="*/ 552058 h 797705"/>
              <a:gd name="connsiteX81" fmla="*/ 618178 w 829568"/>
              <a:gd name="connsiteY81" fmla="*/ 549790 h 797705"/>
              <a:gd name="connsiteX82" fmla="*/ 609086 w 829568"/>
              <a:gd name="connsiteY82" fmla="*/ 542986 h 797705"/>
              <a:gd name="connsiteX83" fmla="*/ 599994 w 829568"/>
              <a:gd name="connsiteY83" fmla="*/ 547522 h 797705"/>
              <a:gd name="connsiteX84" fmla="*/ 590902 w 829568"/>
              <a:gd name="connsiteY84" fmla="*/ 554327 h 797705"/>
              <a:gd name="connsiteX85" fmla="*/ 579537 w 829568"/>
              <a:gd name="connsiteY85" fmla="*/ 563399 h 797705"/>
              <a:gd name="connsiteX86" fmla="*/ 574991 w 829568"/>
              <a:gd name="connsiteY86" fmla="*/ 556595 h 797705"/>
              <a:gd name="connsiteX87" fmla="*/ 570445 w 829568"/>
              <a:gd name="connsiteY87" fmla="*/ 558863 h 797705"/>
              <a:gd name="connsiteX88" fmla="*/ 568172 w 829568"/>
              <a:gd name="connsiteY88" fmla="*/ 563399 h 797705"/>
              <a:gd name="connsiteX89" fmla="*/ 568172 w 829568"/>
              <a:gd name="connsiteY89" fmla="*/ 565667 h 797705"/>
              <a:gd name="connsiteX90" fmla="*/ 568172 w 829568"/>
              <a:gd name="connsiteY90" fmla="*/ 570203 h 797705"/>
              <a:gd name="connsiteX91" fmla="*/ 565899 w 829568"/>
              <a:gd name="connsiteY91" fmla="*/ 572471 h 797705"/>
              <a:gd name="connsiteX92" fmla="*/ 565899 w 829568"/>
              <a:gd name="connsiteY92" fmla="*/ 574739 h 797705"/>
              <a:gd name="connsiteX93" fmla="*/ 581810 w 829568"/>
              <a:gd name="connsiteY93" fmla="*/ 581543 h 797705"/>
              <a:gd name="connsiteX94" fmla="*/ 586356 w 829568"/>
              <a:gd name="connsiteY94" fmla="*/ 586079 h 797705"/>
              <a:gd name="connsiteX95" fmla="*/ 590902 w 829568"/>
              <a:gd name="connsiteY95" fmla="*/ 579275 h 797705"/>
              <a:gd name="connsiteX96" fmla="*/ 597721 w 829568"/>
              <a:gd name="connsiteY96" fmla="*/ 583811 h 797705"/>
              <a:gd name="connsiteX97" fmla="*/ 599994 w 829568"/>
              <a:gd name="connsiteY97" fmla="*/ 579275 h 797705"/>
              <a:gd name="connsiteX98" fmla="*/ 606813 w 829568"/>
              <a:gd name="connsiteY98" fmla="*/ 588347 h 797705"/>
              <a:gd name="connsiteX99" fmla="*/ 606813 w 829568"/>
              <a:gd name="connsiteY99" fmla="*/ 590616 h 797705"/>
              <a:gd name="connsiteX100" fmla="*/ 602267 w 829568"/>
              <a:gd name="connsiteY100" fmla="*/ 601956 h 797705"/>
              <a:gd name="connsiteX101" fmla="*/ 604540 w 829568"/>
              <a:gd name="connsiteY101" fmla="*/ 606492 h 797705"/>
              <a:gd name="connsiteX102" fmla="*/ 609086 w 829568"/>
              <a:gd name="connsiteY102" fmla="*/ 611028 h 797705"/>
              <a:gd name="connsiteX103" fmla="*/ 606813 w 829568"/>
              <a:gd name="connsiteY103" fmla="*/ 613296 h 797705"/>
              <a:gd name="connsiteX104" fmla="*/ 588629 w 829568"/>
              <a:gd name="connsiteY104" fmla="*/ 613296 h 797705"/>
              <a:gd name="connsiteX105" fmla="*/ 572718 w 829568"/>
              <a:gd name="connsiteY105" fmla="*/ 597420 h 797705"/>
              <a:gd name="connsiteX106" fmla="*/ 568172 w 829568"/>
              <a:gd name="connsiteY106" fmla="*/ 606492 h 797705"/>
              <a:gd name="connsiteX107" fmla="*/ 561353 w 829568"/>
              <a:gd name="connsiteY107" fmla="*/ 597420 h 797705"/>
              <a:gd name="connsiteX108" fmla="*/ 556807 w 829568"/>
              <a:gd name="connsiteY108" fmla="*/ 592884 h 797705"/>
              <a:gd name="connsiteX109" fmla="*/ 540896 w 829568"/>
              <a:gd name="connsiteY109" fmla="*/ 570203 h 797705"/>
              <a:gd name="connsiteX110" fmla="*/ 529530 w 829568"/>
              <a:gd name="connsiteY110" fmla="*/ 565667 h 797705"/>
              <a:gd name="connsiteX111" fmla="*/ 518165 w 829568"/>
              <a:gd name="connsiteY111" fmla="*/ 572471 h 797705"/>
              <a:gd name="connsiteX112" fmla="*/ 509073 w 829568"/>
              <a:gd name="connsiteY112" fmla="*/ 577007 h 797705"/>
              <a:gd name="connsiteX113" fmla="*/ 505946 w 829568"/>
              <a:gd name="connsiteY113" fmla="*/ 579415 h 797705"/>
              <a:gd name="connsiteX114" fmla="*/ 505946 w 829568"/>
              <a:gd name="connsiteY114" fmla="*/ 581688 h 797705"/>
              <a:gd name="connsiteX115" fmla="*/ 496839 w 829568"/>
              <a:gd name="connsiteY115" fmla="*/ 590779 h 797705"/>
              <a:gd name="connsiteX116" fmla="*/ 496839 w 829568"/>
              <a:gd name="connsiteY116" fmla="*/ 595324 h 797705"/>
              <a:gd name="connsiteX117" fmla="*/ 501392 w 829568"/>
              <a:gd name="connsiteY117" fmla="*/ 599870 h 797705"/>
              <a:gd name="connsiteX118" fmla="*/ 510500 w 829568"/>
              <a:gd name="connsiteY118" fmla="*/ 608960 h 797705"/>
              <a:gd name="connsiteX119" fmla="*/ 508223 w 829568"/>
              <a:gd name="connsiteY119" fmla="*/ 613506 h 797705"/>
              <a:gd name="connsiteX120" fmla="*/ 508223 w 829568"/>
              <a:gd name="connsiteY120" fmla="*/ 618051 h 797705"/>
              <a:gd name="connsiteX121" fmla="*/ 490008 w 829568"/>
              <a:gd name="connsiteY121" fmla="*/ 640778 h 797705"/>
              <a:gd name="connsiteX122" fmla="*/ 464962 w 829568"/>
              <a:gd name="connsiteY122" fmla="*/ 631687 h 797705"/>
              <a:gd name="connsiteX123" fmla="*/ 451300 w 829568"/>
              <a:gd name="connsiteY123" fmla="*/ 624869 h 797705"/>
              <a:gd name="connsiteX124" fmla="*/ 423977 w 829568"/>
              <a:gd name="connsiteY124" fmla="*/ 638506 h 797705"/>
              <a:gd name="connsiteX125" fmla="*/ 414870 w 829568"/>
              <a:gd name="connsiteY125" fmla="*/ 643051 h 797705"/>
              <a:gd name="connsiteX126" fmla="*/ 398931 w 829568"/>
              <a:gd name="connsiteY126" fmla="*/ 645324 h 797705"/>
              <a:gd name="connsiteX127" fmla="*/ 394378 w 829568"/>
              <a:gd name="connsiteY127" fmla="*/ 652142 h 797705"/>
              <a:gd name="connsiteX128" fmla="*/ 373885 w 829568"/>
              <a:gd name="connsiteY128" fmla="*/ 654415 h 797705"/>
              <a:gd name="connsiteX129" fmla="*/ 353393 w 829568"/>
              <a:gd name="connsiteY129" fmla="*/ 661233 h 797705"/>
              <a:gd name="connsiteX130" fmla="*/ 344285 w 829568"/>
              <a:gd name="connsiteY130" fmla="*/ 683960 h 797705"/>
              <a:gd name="connsiteX131" fmla="*/ 346559 w 829568"/>
              <a:gd name="connsiteY131" fmla="*/ 695305 h 797705"/>
              <a:gd name="connsiteX132" fmla="*/ 346890 w 829568"/>
              <a:gd name="connsiteY132" fmla="*/ 695371 h 797705"/>
              <a:gd name="connsiteX133" fmla="*/ 349169 w 829568"/>
              <a:gd name="connsiteY133" fmla="*/ 697639 h 797705"/>
              <a:gd name="connsiteX134" fmla="*/ 349169 w 829568"/>
              <a:gd name="connsiteY134" fmla="*/ 708981 h 797705"/>
              <a:gd name="connsiteX135" fmla="*/ 349169 w 829568"/>
              <a:gd name="connsiteY135" fmla="*/ 713518 h 797705"/>
              <a:gd name="connsiteX136" fmla="*/ 346890 w 829568"/>
              <a:gd name="connsiteY136" fmla="*/ 724861 h 797705"/>
              <a:gd name="connsiteX137" fmla="*/ 340053 w 829568"/>
              <a:gd name="connsiteY137" fmla="*/ 722592 h 797705"/>
              <a:gd name="connsiteX138" fmla="*/ 317264 w 829568"/>
              <a:gd name="connsiteY138" fmla="*/ 720324 h 797705"/>
              <a:gd name="connsiteX139" fmla="*/ 312706 w 829568"/>
              <a:gd name="connsiteY139" fmla="*/ 718055 h 797705"/>
              <a:gd name="connsiteX140" fmla="*/ 303590 w 829568"/>
              <a:gd name="connsiteY140" fmla="*/ 724861 h 797705"/>
              <a:gd name="connsiteX141" fmla="*/ 294474 w 829568"/>
              <a:gd name="connsiteY141" fmla="*/ 731666 h 797705"/>
              <a:gd name="connsiteX142" fmla="*/ 289916 w 829568"/>
              <a:gd name="connsiteY142" fmla="*/ 738471 h 797705"/>
              <a:gd name="connsiteX143" fmla="*/ 289916 w 829568"/>
              <a:gd name="connsiteY143" fmla="*/ 752082 h 797705"/>
              <a:gd name="connsiteX144" fmla="*/ 280800 w 829568"/>
              <a:gd name="connsiteY144" fmla="*/ 740740 h 797705"/>
              <a:gd name="connsiteX145" fmla="*/ 278521 w 829568"/>
              <a:gd name="connsiteY145" fmla="*/ 738471 h 797705"/>
              <a:gd name="connsiteX146" fmla="*/ 278521 w 829568"/>
              <a:gd name="connsiteY146" fmla="*/ 743008 h 797705"/>
              <a:gd name="connsiteX147" fmla="*/ 276242 w 829568"/>
              <a:gd name="connsiteY147" fmla="*/ 749814 h 797705"/>
              <a:gd name="connsiteX148" fmla="*/ 269405 w 829568"/>
              <a:gd name="connsiteY148" fmla="*/ 761156 h 797705"/>
              <a:gd name="connsiteX149" fmla="*/ 232942 w 829568"/>
              <a:gd name="connsiteY149" fmla="*/ 749814 h 797705"/>
              <a:gd name="connsiteX150" fmla="*/ 230663 w 829568"/>
              <a:gd name="connsiteY150" fmla="*/ 754351 h 797705"/>
              <a:gd name="connsiteX151" fmla="*/ 203316 w 829568"/>
              <a:gd name="connsiteY151" fmla="*/ 754351 h 797705"/>
              <a:gd name="connsiteX152" fmla="*/ 180526 w 829568"/>
              <a:gd name="connsiteY152" fmla="*/ 761156 h 797705"/>
              <a:gd name="connsiteX153" fmla="*/ 169131 w 829568"/>
              <a:gd name="connsiteY153" fmla="*/ 767961 h 797705"/>
              <a:gd name="connsiteX154" fmla="*/ 157736 w 829568"/>
              <a:gd name="connsiteY154" fmla="*/ 783841 h 797705"/>
              <a:gd name="connsiteX155" fmla="*/ 137226 w 829568"/>
              <a:gd name="connsiteY155" fmla="*/ 797451 h 797705"/>
              <a:gd name="connsiteX156" fmla="*/ 128110 w 829568"/>
              <a:gd name="connsiteY156" fmla="*/ 786109 h 797705"/>
              <a:gd name="connsiteX157" fmla="*/ 121273 w 829568"/>
              <a:gd name="connsiteY157" fmla="*/ 792914 h 797705"/>
              <a:gd name="connsiteX158" fmla="*/ 93925 w 829568"/>
              <a:gd name="connsiteY158" fmla="*/ 790646 h 797705"/>
              <a:gd name="connsiteX159" fmla="*/ 68857 w 829568"/>
              <a:gd name="connsiteY159" fmla="*/ 790646 h 797705"/>
              <a:gd name="connsiteX160" fmla="*/ 57462 w 829568"/>
              <a:gd name="connsiteY160" fmla="*/ 792914 h 797705"/>
              <a:gd name="connsiteX161" fmla="*/ 46067 w 829568"/>
              <a:gd name="connsiteY161" fmla="*/ 788377 h 797705"/>
              <a:gd name="connsiteX162" fmla="*/ 25556 w 829568"/>
              <a:gd name="connsiteY162" fmla="*/ 786109 h 797705"/>
              <a:gd name="connsiteX163" fmla="*/ 25556 w 829568"/>
              <a:gd name="connsiteY163" fmla="*/ 783841 h 797705"/>
              <a:gd name="connsiteX164" fmla="*/ 27835 w 829568"/>
              <a:gd name="connsiteY164" fmla="*/ 777035 h 797705"/>
              <a:gd name="connsiteX165" fmla="*/ 25556 w 829568"/>
              <a:gd name="connsiteY165" fmla="*/ 774767 h 797705"/>
              <a:gd name="connsiteX166" fmla="*/ 43788 w 829568"/>
              <a:gd name="connsiteY166" fmla="*/ 770230 h 797705"/>
              <a:gd name="connsiteX167" fmla="*/ 48346 w 829568"/>
              <a:gd name="connsiteY167" fmla="*/ 699908 h 797705"/>
              <a:gd name="connsiteX168" fmla="*/ 5046 w 829568"/>
              <a:gd name="connsiteY168" fmla="*/ 670418 h 797705"/>
              <a:gd name="connsiteX169" fmla="*/ 30114 w 829568"/>
              <a:gd name="connsiteY169" fmla="*/ 615975 h 797705"/>
              <a:gd name="connsiteX170" fmla="*/ 41509 w 829568"/>
              <a:gd name="connsiteY170" fmla="*/ 600095 h 797705"/>
              <a:gd name="connsiteX171" fmla="*/ 34672 w 829568"/>
              <a:gd name="connsiteY171" fmla="*/ 581948 h 797705"/>
              <a:gd name="connsiteX172" fmla="*/ 41509 w 829568"/>
              <a:gd name="connsiteY172" fmla="*/ 554726 h 797705"/>
              <a:gd name="connsiteX173" fmla="*/ 16441 w 829568"/>
              <a:gd name="connsiteY173" fmla="*/ 543384 h 797705"/>
              <a:gd name="connsiteX174" fmla="*/ 34672 w 829568"/>
              <a:gd name="connsiteY174" fmla="*/ 541115 h 797705"/>
              <a:gd name="connsiteX175" fmla="*/ 41498 w 829568"/>
              <a:gd name="connsiteY175" fmla="*/ 541115 h 797705"/>
              <a:gd name="connsiteX176" fmla="*/ 39341 w 829568"/>
              <a:gd name="connsiteY176" fmla="*/ 528176 h 797705"/>
              <a:gd name="connsiteX177" fmla="*/ 86966 w 829568"/>
              <a:gd name="connsiteY177" fmla="*/ 494839 h 797705"/>
              <a:gd name="connsiteX178" fmla="*/ 65409 w 829568"/>
              <a:gd name="connsiteY178" fmla="*/ 464300 h 797705"/>
              <a:gd name="connsiteX179" fmla="*/ 62429 w 829568"/>
              <a:gd name="connsiteY179" fmla="*/ 465726 h 797705"/>
              <a:gd name="connsiteX180" fmla="*/ 62429 w 829568"/>
              <a:gd name="connsiteY180" fmla="*/ 467991 h 797705"/>
              <a:gd name="connsiteX181" fmla="*/ 57874 w 829568"/>
              <a:gd name="connsiteY181" fmla="*/ 470256 h 797705"/>
              <a:gd name="connsiteX182" fmla="*/ 48763 w 829568"/>
              <a:gd name="connsiteY182" fmla="*/ 472522 h 797705"/>
              <a:gd name="connsiteX183" fmla="*/ 35096 w 829568"/>
              <a:gd name="connsiteY183" fmla="*/ 467991 h 797705"/>
              <a:gd name="connsiteX184" fmla="*/ 32818 w 829568"/>
              <a:gd name="connsiteY184" fmla="*/ 449871 h 797705"/>
              <a:gd name="connsiteX185" fmla="*/ 55596 w 829568"/>
              <a:gd name="connsiteY185" fmla="*/ 418160 h 797705"/>
              <a:gd name="connsiteX186" fmla="*/ 55596 w 829568"/>
              <a:gd name="connsiteY186" fmla="*/ 404569 h 797705"/>
              <a:gd name="connsiteX187" fmla="*/ 48763 w 829568"/>
              <a:gd name="connsiteY187" fmla="*/ 372858 h 797705"/>
              <a:gd name="connsiteX188" fmla="*/ 41929 w 829568"/>
              <a:gd name="connsiteY188" fmla="*/ 354737 h 797705"/>
              <a:gd name="connsiteX189" fmla="*/ 41929 w 829568"/>
              <a:gd name="connsiteY189" fmla="*/ 320761 h 797705"/>
              <a:gd name="connsiteX190" fmla="*/ 41929 w 829568"/>
              <a:gd name="connsiteY190" fmla="*/ 300375 h 797705"/>
              <a:gd name="connsiteX191" fmla="*/ 44207 w 829568"/>
              <a:gd name="connsiteY191" fmla="*/ 302640 h 797705"/>
              <a:gd name="connsiteX192" fmla="*/ 57934 w 829568"/>
              <a:gd name="connsiteY192" fmla="*/ 312196 h 797705"/>
              <a:gd name="connsiteX193" fmla="*/ 58242 w 829568"/>
              <a:gd name="connsiteY193" fmla="*/ 311394 h 797705"/>
              <a:gd name="connsiteX194" fmla="*/ 56256 w 829568"/>
              <a:gd name="connsiteY194" fmla="*/ 310012 h 797705"/>
              <a:gd name="connsiteX195" fmla="*/ 44300 w 829568"/>
              <a:gd name="connsiteY195" fmla="*/ 302367 h 797705"/>
              <a:gd name="connsiteX196" fmla="*/ 42022 w 829568"/>
              <a:gd name="connsiteY196" fmla="*/ 300102 h 797705"/>
              <a:gd name="connsiteX197" fmla="*/ 44300 w 829568"/>
              <a:gd name="connsiteY197" fmla="*/ 291042 h 797705"/>
              <a:gd name="connsiteX198" fmla="*/ 78462 w 829568"/>
              <a:gd name="connsiteY198" fmla="*/ 259331 h 797705"/>
              <a:gd name="connsiteX199" fmla="*/ 92126 w 829568"/>
              <a:gd name="connsiteY199" fmla="*/ 232149 h 797705"/>
              <a:gd name="connsiteX200" fmla="*/ 114901 w 829568"/>
              <a:gd name="connsiteY200" fmla="*/ 211764 h 797705"/>
              <a:gd name="connsiteX201" fmla="*/ 108638 w 829568"/>
              <a:gd name="connsiteY201" fmla="*/ 204968 h 797705"/>
              <a:gd name="connsiteX202" fmla="*/ 92261 w 829568"/>
              <a:gd name="connsiteY202" fmla="*/ 198228 h 797705"/>
              <a:gd name="connsiteX203" fmla="*/ 91806 w 829568"/>
              <a:gd name="connsiteY203" fmla="*/ 198355 h 797705"/>
              <a:gd name="connsiteX204" fmla="*/ 84968 w 829568"/>
              <a:gd name="connsiteY204" fmla="*/ 193807 h 797705"/>
              <a:gd name="connsiteX205" fmla="*/ 94086 w 829568"/>
              <a:gd name="connsiteY205" fmla="*/ 155145 h 797705"/>
              <a:gd name="connsiteX206" fmla="*/ 135114 w 829568"/>
              <a:gd name="connsiteY206" fmla="*/ 127854 h 797705"/>
              <a:gd name="connsiteX207" fmla="*/ 160186 w 829568"/>
              <a:gd name="connsiteY207" fmla="*/ 134677 h 797705"/>
              <a:gd name="connsiteX208" fmla="*/ 160186 w 829568"/>
              <a:gd name="connsiteY208" fmla="*/ 109660 h 797705"/>
              <a:gd name="connsiteX209" fmla="*/ 187538 w 829568"/>
              <a:gd name="connsiteY209" fmla="*/ 82369 h 797705"/>
              <a:gd name="connsiteX210" fmla="*/ 187538 w 829568"/>
              <a:gd name="connsiteY210" fmla="*/ 48256 h 797705"/>
              <a:gd name="connsiteX211" fmla="*/ 190103 w 829568"/>
              <a:gd name="connsiteY211" fmla="*/ 284 h 797705"/>
              <a:gd name="connsiteX0" fmla="*/ 561350 w 829568"/>
              <a:gd name="connsiteY0" fmla="*/ 243680 h 797705"/>
              <a:gd name="connsiteX1" fmla="*/ 563631 w 829568"/>
              <a:gd name="connsiteY1" fmla="*/ 245950 h 797705"/>
              <a:gd name="connsiteX2" fmla="*/ 563632 w 829568"/>
              <a:gd name="connsiteY2" fmla="*/ 245962 h 797705"/>
              <a:gd name="connsiteX3" fmla="*/ 561350 w 829568"/>
              <a:gd name="connsiteY3" fmla="*/ 243680 h 797705"/>
              <a:gd name="connsiteX4" fmla="*/ 190103 w 829568"/>
              <a:gd name="connsiteY4" fmla="*/ 284 h 797705"/>
              <a:gd name="connsiteX5" fmla="*/ 208052 w 829568"/>
              <a:gd name="connsiteY5" fmla="*/ 7319 h 797705"/>
              <a:gd name="connsiteX6" fmla="*/ 244522 w 829568"/>
              <a:gd name="connsiteY6" fmla="*/ 16416 h 797705"/>
              <a:gd name="connsiteX7" fmla="*/ 269594 w 829568"/>
              <a:gd name="connsiteY7" fmla="*/ 36884 h 797705"/>
              <a:gd name="connsiteX8" fmla="*/ 303784 w 829568"/>
              <a:gd name="connsiteY8" fmla="*/ 59627 h 797705"/>
              <a:gd name="connsiteX9" fmla="*/ 317460 w 829568"/>
              <a:gd name="connsiteY9" fmla="*/ 89192 h 797705"/>
              <a:gd name="connsiteX10" fmla="*/ 353930 w 829568"/>
              <a:gd name="connsiteY10" fmla="*/ 73272 h 797705"/>
              <a:gd name="connsiteX11" fmla="*/ 399516 w 829568"/>
              <a:gd name="connsiteY11" fmla="*/ 82369 h 797705"/>
              <a:gd name="connsiteX12" fmla="*/ 417751 w 829568"/>
              <a:gd name="connsiteY12" fmla="*/ 77821 h 797705"/>
              <a:gd name="connsiteX13" fmla="*/ 438265 w 829568"/>
              <a:gd name="connsiteY13" fmla="*/ 64175 h 797705"/>
              <a:gd name="connsiteX14" fmla="*/ 472455 w 829568"/>
              <a:gd name="connsiteY14" fmla="*/ 73272 h 797705"/>
              <a:gd name="connsiteX15" fmla="*/ 486131 w 829568"/>
              <a:gd name="connsiteY15" fmla="*/ 82369 h 797705"/>
              <a:gd name="connsiteX16" fmla="*/ 490690 w 829568"/>
              <a:gd name="connsiteY16" fmla="*/ 132402 h 797705"/>
              <a:gd name="connsiteX17" fmla="*/ 495248 w 829568"/>
              <a:gd name="connsiteY17" fmla="*/ 196081 h 797705"/>
              <a:gd name="connsiteX18" fmla="*/ 495248 w 829568"/>
              <a:gd name="connsiteY18" fmla="*/ 214275 h 797705"/>
              <a:gd name="connsiteX19" fmla="*/ 495067 w 829568"/>
              <a:gd name="connsiteY19" fmla="*/ 214233 h 797705"/>
              <a:gd name="connsiteX20" fmla="*/ 497146 w 829568"/>
              <a:gd name="connsiteY20" fmla="*/ 220449 h 797705"/>
              <a:gd name="connsiteX21" fmla="*/ 508530 w 829568"/>
              <a:gd name="connsiteY21" fmla="*/ 224986 h 797705"/>
              <a:gd name="connsiteX22" fmla="*/ 524467 w 829568"/>
              <a:gd name="connsiteY22" fmla="*/ 238598 h 797705"/>
              <a:gd name="connsiteX23" fmla="*/ 556340 w 829568"/>
              <a:gd name="connsiteY23" fmla="*/ 234060 h 797705"/>
              <a:gd name="connsiteX24" fmla="*/ 563170 w 829568"/>
              <a:gd name="connsiteY24" fmla="*/ 247672 h 797705"/>
              <a:gd name="connsiteX25" fmla="*/ 563684 w 829568"/>
              <a:gd name="connsiteY25" fmla="*/ 246583 h 797705"/>
              <a:gd name="connsiteX26" fmla="*/ 570440 w 829568"/>
              <a:gd name="connsiteY26" fmla="*/ 254988 h 797705"/>
              <a:gd name="connsiteX27" fmla="*/ 570445 w 829568"/>
              <a:gd name="connsiteY27" fmla="*/ 254942 h 797705"/>
              <a:gd name="connsiteX28" fmla="*/ 574113 w 829568"/>
              <a:gd name="connsiteY28" fmla="*/ 256872 h 797705"/>
              <a:gd name="connsiteX29" fmla="*/ 567290 w 829568"/>
              <a:gd name="connsiteY29" fmla="*/ 250109 h 797705"/>
              <a:gd name="connsiteX30" fmla="*/ 574458 w 829568"/>
              <a:gd name="connsiteY30" fmla="*/ 256788 h 797705"/>
              <a:gd name="connsiteX31" fmla="*/ 583230 w 829568"/>
              <a:gd name="connsiteY31" fmla="*/ 254659 h 797705"/>
              <a:gd name="connsiteX32" fmla="*/ 595448 w 829568"/>
              <a:gd name="connsiteY32" fmla="*/ 250406 h 797705"/>
              <a:gd name="connsiteX33" fmla="*/ 624997 w 829568"/>
              <a:gd name="connsiteY33" fmla="*/ 282159 h 797705"/>
              <a:gd name="connsiteX34" fmla="*/ 637214 w 829568"/>
              <a:gd name="connsiteY34" fmla="*/ 311928 h 797705"/>
              <a:gd name="connsiteX35" fmla="*/ 636731 w 829568"/>
              <a:gd name="connsiteY35" fmla="*/ 319061 h 797705"/>
              <a:gd name="connsiteX36" fmla="*/ 636185 w 829568"/>
              <a:gd name="connsiteY36" fmla="*/ 327131 h 797705"/>
              <a:gd name="connsiteX37" fmla="*/ 640908 w 829568"/>
              <a:gd name="connsiteY37" fmla="*/ 343397 h 797705"/>
              <a:gd name="connsiteX38" fmla="*/ 656819 w 829568"/>
              <a:gd name="connsiteY38" fmla="*/ 329788 h 797705"/>
              <a:gd name="connsiteX39" fmla="*/ 672730 w 829568"/>
              <a:gd name="connsiteY39" fmla="*/ 347933 h 797705"/>
              <a:gd name="connsiteX40" fmla="*/ 679549 w 829568"/>
              <a:gd name="connsiteY40" fmla="*/ 366077 h 797705"/>
              <a:gd name="connsiteX41" fmla="*/ 686368 w 829568"/>
              <a:gd name="connsiteY41" fmla="*/ 418243 h 797705"/>
              <a:gd name="connsiteX42" fmla="*/ 736375 w 829568"/>
              <a:gd name="connsiteY42" fmla="*/ 413707 h 797705"/>
              <a:gd name="connsiteX43" fmla="*/ 756832 w 829568"/>
              <a:gd name="connsiteY43" fmla="*/ 420511 h 797705"/>
              <a:gd name="connsiteX44" fmla="*/ 765924 w 829568"/>
              <a:gd name="connsiteY44" fmla="*/ 406903 h 797705"/>
              <a:gd name="connsiteX45" fmla="*/ 829568 w 829568"/>
              <a:gd name="connsiteY45" fmla="*/ 397830 h 797705"/>
              <a:gd name="connsiteX46" fmla="*/ 829568 w 829568"/>
              <a:gd name="connsiteY46" fmla="*/ 413707 h 797705"/>
              <a:gd name="connsiteX47" fmla="*/ 827295 w 829568"/>
              <a:gd name="connsiteY47" fmla="*/ 422779 h 797705"/>
              <a:gd name="connsiteX48" fmla="*/ 822749 w 829568"/>
              <a:gd name="connsiteY48" fmla="*/ 427315 h 797705"/>
              <a:gd name="connsiteX49" fmla="*/ 815930 w 829568"/>
              <a:gd name="connsiteY49" fmla="*/ 427315 h 797705"/>
              <a:gd name="connsiteX50" fmla="*/ 809111 w 829568"/>
              <a:gd name="connsiteY50" fmla="*/ 443192 h 797705"/>
              <a:gd name="connsiteX51" fmla="*/ 802292 w 829568"/>
              <a:gd name="connsiteY51" fmla="*/ 452264 h 797705"/>
              <a:gd name="connsiteX52" fmla="*/ 800019 w 829568"/>
              <a:gd name="connsiteY52" fmla="*/ 459068 h 797705"/>
              <a:gd name="connsiteX53" fmla="*/ 800019 w 829568"/>
              <a:gd name="connsiteY53" fmla="*/ 470408 h 797705"/>
              <a:gd name="connsiteX54" fmla="*/ 800019 w 829568"/>
              <a:gd name="connsiteY54" fmla="*/ 481749 h 797705"/>
              <a:gd name="connsiteX55" fmla="*/ 784108 w 829568"/>
              <a:gd name="connsiteY55" fmla="*/ 477212 h 797705"/>
              <a:gd name="connsiteX56" fmla="*/ 777289 w 829568"/>
              <a:gd name="connsiteY56" fmla="*/ 477212 h 797705"/>
              <a:gd name="connsiteX57" fmla="*/ 770470 w 829568"/>
              <a:gd name="connsiteY57" fmla="*/ 481749 h 797705"/>
              <a:gd name="connsiteX58" fmla="*/ 768197 w 829568"/>
              <a:gd name="connsiteY58" fmla="*/ 488553 h 797705"/>
              <a:gd name="connsiteX59" fmla="*/ 750013 w 829568"/>
              <a:gd name="connsiteY59" fmla="*/ 497625 h 797705"/>
              <a:gd name="connsiteX60" fmla="*/ 745467 w 829568"/>
              <a:gd name="connsiteY60" fmla="*/ 490821 h 797705"/>
              <a:gd name="connsiteX61" fmla="*/ 740921 w 829568"/>
              <a:gd name="connsiteY61" fmla="*/ 493089 h 797705"/>
              <a:gd name="connsiteX62" fmla="*/ 738648 w 829568"/>
              <a:gd name="connsiteY62" fmla="*/ 499893 h 797705"/>
              <a:gd name="connsiteX63" fmla="*/ 738648 w 829568"/>
              <a:gd name="connsiteY63" fmla="*/ 502161 h 797705"/>
              <a:gd name="connsiteX64" fmla="*/ 725010 w 829568"/>
              <a:gd name="connsiteY64" fmla="*/ 504429 h 797705"/>
              <a:gd name="connsiteX65" fmla="*/ 715918 w 829568"/>
              <a:gd name="connsiteY65" fmla="*/ 508965 h 797705"/>
              <a:gd name="connsiteX66" fmla="*/ 715918 w 829568"/>
              <a:gd name="connsiteY66" fmla="*/ 520306 h 797705"/>
              <a:gd name="connsiteX67" fmla="*/ 713645 w 829568"/>
              <a:gd name="connsiteY67" fmla="*/ 522574 h 797705"/>
              <a:gd name="connsiteX68" fmla="*/ 693188 w 829568"/>
              <a:gd name="connsiteY68" fmla="*/ 527110 h 797705"/>
              <a:gd name="connsiteX69" fmla="*/ 677276 w 829568"/>
              <a:gd name="connsiteY69" fmla="*/ 531646 h 797705"/>
              <a:gd name="connsiteX70" fmla="*/ 668184 w 829568"/>
              <a:gd name="connsiteY70" fmla="*/ 527110 h 797705"/>
              <a:gd name="connsiteX71" fmla="*/ 665911 w 829568"/>
              <a:gd name="connsiteY71" fmla="*/ 529378 h 797705"/>
              <a:gd name="connsiteX72" fmla="*/ 665911 w 829568"/>
              <a:gd name="connsiteY72" fmla="*/ 538450 h 797705"/>
              <a:gd name="connsiteX73" fmla="*/ 659092 w 829568"/>
              <a:gd name="connsiteY73" fmla="*/ 540718 h 797705"/>
              <a:gd name="connsiteX74" fmla="*/ 659092 w 829568"/>
              <a:gd name="connsiteY74" fmla="*/ 545254 h 797705"/>
              <a:gd name="connsiteX75" fmla="*/ 659092 w 829568"/>
              <a:gd name="connsiteY75" fmla="*/ 556595 h 797705"/>
              <a:gd name="connsiteX76" fmla="*/ 656819 w 829568"/>
              <a:gd name="connsiteY76" fmla="*/ 561131 h 797705"/>
              <a:gd name="connsiteX77" fmla="*/ 652273 w 829568"/>
              <a:gd name="connsiteY77" fmla="*/ 561131 h 797705"/>
              <a:gd name="connsiteX78" fmla="*/ 650000 w 829568"/>
              <a:gd name="connsiteY78" fmla="*/ 561131 h 797705"/>
              <a:gd name="connsiteX79" fmla="*/ 618178 w 829568"/>
              <a:gd name="connsiteY79" fmla="*/ 552058 h 797705"/>
              <a:gd name="connsiteX80" fmla="*/ 618178 w 829568"/>
              <a:gd name="connsiteY80" fmla="*/ 549790 h 797705"/>
              <a:gd name="connsiteX81" fmla="*/ 609086 w 829568"/>
              <a:gd name="connsiteY81" fmla="*/ 542986 h 797705"/>
              <a:gd name="connsiteX82" fmla="*/ 599994 w 829568"/>
              <a:gd name="connsiteY82" fmla="*/ 547522 h 797705"/>
              <a:gd name="connsiteX83" fmla="*/ 590902 w 829568"/>
              <a:gd name="connsiteY83" fmla="*/ 554327 h 797705"/>
              <a:gd name="connsiteX84" fmla="*/ 579537 w 829568"/>
              <a:gd name="connsiteY84" fmla="*/ 563399 h 797705"/>
              <a:gd name="connsiteX85" fmla="*/ 574991 w 829568"/>
              <a:gd name="connsiteY85" fmla="*/ 556595 h 797705"/>
              <a:gd name="connsiteX86" fmla="*/ 570445 w 829568"/>
              <a:gd name="connsiteY86" fmla="*/ 558863 h 797705"/>
              <a:gd name="connsiteX87" fmla="*/ 568172 w 829568"/>
              <a:gd name="connsiteY87" fmla="*/ 563399 h 797705"/>
              <a:gd name="connsiteX88" fmla="*/ 568172 w 829568"/>
              <a:gd name="connsiteY88" fmla="*/ 565667 h 797705"/>
              <a:gd name="connsiteX89" fmla="*/ 568172 w 829568"/>
              <a:gd name="connsiteY89" fmla="*/ 570203 h 797705"/>
              <a:gd name="connsiteX90" fmla="*/ 565899 w 829568"/>
              <a:gd name="connsiteY90" fmla="*/ 572471 h 797705"/>
              <a:gd name="connsiteX91" fmla="*/ 565899 w 829568"/>
              <a:gd name="connsiteY91" fmla="*/ 574739 h 797705"/>
              <a:gd name="connsiteX92" fmla="*/ 581810 w 829568"/>
              <a:gd name="connsiteY92" fmla="*/ 581543 h 797705"/>
              <a:gd name="connsiteX93" fmla="*/ 586356 w 829568"/>
              <a:gd name="connsiteY93" fmla="*/ 586079 h 797705"/>
              <a:gd name="connsiteX94" fmla="*/ 590902 w 829568"/>
              <a:gd name="connsiteY94" fmla="*/ 579275 h 797705"/>
              <a:gd name="connsiteX95" fmla="*/ 597721 w 829568"/>
              <a:gd name="connsiteY95" fmla="*/ 583811 h 797705"/>
              <a:gd name="connsiteX96" fmla="*/ 599994 w 829568"/>
              <a:gd name="connsiteY96" fmla="*/ 579275 h 797705"/>
              <a:gd name="connsiteX97" fmla="*/ 606813 w 829568"/>
              <a:gd name="connsiteY97" fmla="*/ 588347 h 797705"/>
              <a:gd name="connsiteX98" fmla="*/ 606813 w 829568"/>
              <a:gd name="connsiteY98" fmla="*/ 590616 h 797705"/>
              <a:gd name="connsiteX99" fmla="*/ 602267 w 829568"/>
              <a:gd name="connsiteY99" fmla="*/ 601956 h 797705"/>
              <a:gd name="connsiteX100" fmla="*/ 604540 w 829568"/>
              <a:gd name="connsiteY100" fmla="*/ 606492 h 797705"/>
              <a:gd name="connsiteX101" fmla="*/ 609086 w 829568"/>
              <a:gd name="connsiteY101" fmla="*/ 611028 h 797705"/>
              <a:gd name="connsiteX102" fmla="*/ 606813 w 829568"/>
              <a:gd name="connsiteY102" fmla="*/ 613296 h 797705"/>
              <a:gd name="connsiteX103" fmla="*/ 588629 w 829568"/>
              <a:gd name="connsiteY103" fmla="*/ 613296 h 797705"/>
              <a:gd name="connsiteX104" fmla="*/ 572718 w 829568"/>
              <a:gd name="connsiteY104" fmla="*/ 597420 h 797705"/>
              <a:gd name="connsiteX105" fmla="*/ 568172 w 829568"/>
              <a:gd name="connsiteY105" fmla="*/ 606492 h 797705"/>
              <a:gd name="connsiteX106" fmla="*/ 561353 w 829568"/>
              <a:gd name="connsiteY106" fmla="*/ 597420 h 797705"/>
              <a:gd name="connsiteX107" fmla="*/ 556807 w 829568"/>
              <a:gd name="connsiteY107" fmla="*/ 592884 h 797705"/>
              <a:gd name="connsiteX108" fmla="*/ 540896 w 829568"/>
              <a:gd name="connsiteY108" fmla="*/ 570203 h 797705"/>
              <a:gd name="connsiteX109" fmla="*/ 529530 w 829568"/>
              <a:gd name="connsiteY109" fmla="*/ 565667 h 797705"/>
              <a:gd name="connsiteX110" fmla="*/ 518165 w 829568"/>
              <a:gd name="connsiteY110" fmla="*/ 572471 h 797705"/>
              <a:gd name="connsiteX111" fmla="*/ 509073 w 829568"/>
              <a:gd name="connsiteY111" fmla="*/ 577007 h 797705"/>
              <a:gd name="connsiteX112" fmla="*/ 505946 w 829568"/>
              <a:gd name="connsiteY112" fmla="*/ 579415 h 797705"/>
              <a:gd name="connsiteX113" fmla="*/ 505946 w 829568"/>
              <a:gd name="connsiteY113" fmla="*/ 581688 h 797705"/>
              <a:gd name="connsiteX114" fmla="*/ 496839 w 829568"/>
              <a:gd name="connsiteY114" fmla="*/ 590779 h 797705"/>
              <a:gd name="connsiteX115" fmla="*/ 496839 w 829568"/>
              <a:gd name="connsiteY115" fmla="*/ 595324 h 797705"/>
              <a:gd name="connsiteX116" fmla="*/ 501392 w 829568"/>
              <a:gd name="connsiteY116" fmla="*/ 599870 h 797705"/>
              <a:gd name="connsiteX117" fmla="*/ 510500 w 829568"/>
              <a:gd name="connsiteY117" fmla="*/ 608960 h 797705"/>
              <a:gd name="connsiteX118" fmla="*/ 508223 w 829568"/>
              <a:gd name="connsiteY118" fmla="*/ 613506 h 797705"/>
              <a:gd name="connsiteX119" fmla="*/ 508223 w 829568"/>
              <a:gd name="connsiteY119" fmla="*/ 618051 h 797705"/>
              <a:gd name="connsiteX120" fmla="*/ 490008 w 829568"/>
              <a:gd name="connsiteY120" fmla="*/ 640778 h 797705"/>
              <a:gd name="connsiteX121" fmla="*/ 464962 w 829568"/>
              <a:gd name="connsiteY121" fmla="*/ 631687 h 797705"/>
              <a:gd name="connsiteX122" fmla="*/ 451300 w 829568"/>
              <a:gd name="connsiteY122" fmla="*/ 624869 h 797705"/>
              <a:gd name="connsiteX123" fmla="*/ 423977 w 829568"/>
              <a:gd name="connsiteY123" fmla="*/ 638506 h 797705"/>
              <a:gd name="connsiteX124" fmla="*/ 414870 w 829568"/>
              <a:gd name="connsiteY124" fmla="*/ 643051 h 797705"/>
              <a:gd name="connsiteX125" fmla="*/ 398931 w 829568"/>
              <a:gd name="connsiteY125" fmla="*/ 645324 h 797705"/>
              <a:gd name="connsiteX126" fmla="*/ 394378 w 829568"/>
              <a:gd name="connsiteY126" fmla="*/ 652142 h 797705"/>
              <a:gd name="connsiteX127" fmla="*/ 373885 w 829568"/>
              <a:gd name="connsiteY127" fmla="*/ 654415 h 797705"/>
              <a:gd name="connsiteX128" fmla="*/ 353393 w 829568"/>
              <a:gd name="connsiteY128" fmla="*/ 661233 h 797705"/>
              <a:gd name="connsiteX129" fmla="*/ 344285 w 829568"/>
              <a:gd name="connsiteY129" fmla="*/ 683960 h 797705"/>
              <a:gd name="connsiteX130" fmla="*/ 346559 w 829568"/>
              <a:gd name="connsiteY130" fmla="*/ 695305 h 797705"/>
              <a:gd name="connsiteX131" fmla="*/ 346890 w 829568"/>
              <a:gd name="connsiteY131" fmla="*/ 695371 h 797705"/>
              <a:gd name="connsiteX132" fmla="*/ 349169 w 829568"/>
              <a:gd name="connsiteY132" fmla="*/ 697639 h 797705"/>
              <a:gd name="connsiteX133" fmla="*/ 349169 w 829568"/>
              <a:gd name="connsiteY133" fmla="*/ 708981 h 797705"/>
              <a:gd name="connsiteX134" fmla="*/ 349169 w 829568"/>
              <a:gd name="connsiteY134" fmla="*/ 713518 h 797705"/>
              <a:gd name="connsiteX135" fmla="*/ 346890 w 829568"/>
              <a:gd name="connsiteY135" fmla="*/ 724861 h 797705"/>
              <a:gd name="connsiteX136" fmla="*/ 340053 w 829568"/>
              <a:gd name="connsiteY136" fmla="*/ 722592 h 797705"/>
              <a:gd name="connsiteX137" fmla="*/ 317264 w 829568"/>
              <a:gd name="connsiteY137" fmla="*/ 720324 h 797705"/>
              <a:gd name="connsiteX138" fmla="*/ 312706 w 829568"/>
              <a:gd name="connsiteY138" fmla="*/ 718055 h 797705"/>
              <a:gd name="connsiteX139" fmla="*/ 303590 w 829568"/>
              <a:gd name="connsiteY139" fmla="*/ 724861 h 797705"/>
              <a:gd name="connsiteX140" fmla="*/ 294474 w 829568"/>
              <a:gd name="connsiteY140" fmla="*/ 731666 h 797705"/>
              <a:gd name="connsiteX141" fmla="*/ 289916 w 829568"/>
              <a:gd name="connsiteY141" fmla="*/ 738471 h 797705"/>
              <a:gd name="connsiteX142" fmla="*/ 289916 w 829568"/>
              <a:gd name="connsiteY142" fmla="*/ 752082 h 797705"/>
              <a:gd name="connsiteX143" fmla="*/ 280800 w 829568"/>
              <a:gd name="connsiteY143" fmla="*/ 740740 h 797705"/>
              <a:gd name="connsiteX144" fmla="*/ 278521 w 829568"/>
              <a:gd name="connsiteY144" fmla="*/ 738471 h 797705"/>
              <a:gd name="connsiteX145" fmla="*/ 278521 w 829568"/>
              <a:gd name="connsiteY145" fmla="*/ 743008 h 797705"/>
              <a:gd name="connsiteX146" fmla="*/ 276242 w 829568"/>
              <a:gd name="connsiteY146" fmla="*/ 749814 h 797705"/>
              <a:gd name="connsiteX147" fmla="*/ 269405 w 829568"/>
              <a:gd name="connsiteY147" fmla="*/ 761156 h 797705"/>
              <a:gd name="connsiteX148" fmla="*/ 232942 w 829568"/>
              <a:gd name="connsiteY148" fmla="*/ 749814 h 797705"/>
              <a:gd name="connsiteX149" fmla="*/ 230663 w 829568"/>
              <a:gd name="connsiteY149" fmla="*/ 754351 h 797705"/>
              <a:gd name="connsiteX150" fmla="*/ 203316 w 829568"/>
              <a:gd name="connsiteY150" fmla="*/ 754351 h 797705"/>
              <a:gd name="connsiteX151" fmla="*/ 180526 w 829568"/>
              <a:gd name="connsiteY151" fmla="*/ 761156 h 797705"/>
              <a:gd name="connsiteX152" fmla="*/ 169131 w 829568"/>
              <a:gd name="connsiteY152" fmla="*/ 767961 h 797705"/>
              <a:gd name="connsiteX153" fmla="*/ 157736 w 829568"/>
              <a:gd name="connsiteY153" fmla="*/ 783841 h 797705"/>
              <a:gd name="connsiteX154" fmla="*/ 137226 w 829568"/>
              <a:gd name="connsiteY154" fmla="*/ 797451 h 797705"/>
              <a:gd name="connsiteX155" fmla="*/ 128110 w 829568"/>
              <a:gd name="connsiteY155" fmla="*/ 786109 h 797705"/>
              <a:gd name="connsiteX156" fmla="*/ 121273 w 829568"/>
              <a:gd name="connsiteY156" fmla="*/ 792914 h 797705"/>
              <a:gd name="connsiteX157" fmla="*/ 93925 w 829568"/>
              <a:gd name="connsiteY157" fmla="*/ 790646 h 797705"/>
              <a:gd name="connsiteX158" fmla="*/ 68857 w 829568"/>
              <a:gd name="connsiteY158" fmla="*/ 790646 h 797705"/>
              <a:gd name="connsiteX159" fmla="*/ 57462 w 829568"/>
              <a:gd name="connsiteY159" fmla="*/ 792914 h 797705"/>
              <a:gd name="connsiteX160" fmla="*/ 46067 w 829568"/>
              <a:gd name="connsiteY160" fmla="*/ 788377 h 797705"/>
              <a:gd name="connsiteX161" fmla="*/ 25556 w 829568"/>
              <a:gd name="connsiteY161" fmla="*/ 786109 h 797705"/>
              <a:gd name="connsiteX162" fmla="*/ 25556 w 829568"/>
              <a:gd name="connsiteY162" fmla="*/ 783841 h 797705"/>
              <a:gd name="connsiteX163" fmla="*/ 27835 w 829568"/>
              <a:gd name="connsiteY163" fmla="*/ 777035 h 797705"/>
              <a:gd name="connsiteX164" fmla="*/ 25556 w 829568"/>
              <a:gd name="connsiteY164" fmla="*/ 774767 h 797705"/>
              <a:gd name="connsiteX165" fmla="*/ 43788 w 829568"/>
              <a:gd name="connsiteY165" fmla="*/ 770230 h 797705"/>
              <a:gd name="connsiteX166" fmla="*/ 48346 w 829568"/>
              <a:gd name="connsiteY166" fmla="*/ 699908 h 797705"/>
              <a:gd name="connsiteX167" fmla="*/ 5046 w 829568"/>
              <a:gd name="connsiteY167" fmla="*/ 670418 h 797705"/>
              <a:gd name="connsiteX168" fmla="*/ 30114 w 829568"/>
              <a:gd name="connsiteY168" fmla="*/ 615975 h 797705"/>
              <a:gd name="connsiteX169" fmla="*/ 41509 w 829568"/>
              <a:gd name="connsiteY169" fmla="*/ 600095 h 797705"/>
              <a:gd name="connsiteX170" fmla="*/ 34672 w 829568"/>
              <a:gd name="connsiteY170" fmla="*/ 581948 h 797705"/>
              <a:gd name="connsiteX171" fmla="*/ 41509 w 829568"/>
              <a:gd name="connsiteY171" fmla="*/ 554726 h 797705"/>
              <a:gd name="connsiteX172" fmla="*/ 16441 w 829568"/>
              <a:gd name="connsiteY172" fmla="*/ 543384 h 797705"/>
              <a:gd name="connsiteX173" fmla="*/ 34672 w 829568"/>
              <a:gd name="connsiteY173" fmla="*/ 541115 h 797705"/>
              <a:gd name="connsiteX174" fmla="*/ 41498 w 829568"/>
              <a:gd name="connsiteY174" fmla="*/ 541115 h 797705"/>
              <a:gd name="connsiteX175" fmla="*/ 39341 w 829568"/>
              <a:gd name="connsiteY175" fmla="*/ 528176 h 797705"/>
              <a:gd name="connsiteX176" fmla="*/ 86966 w 829568"/>
              <a:gd name="connsiteY176" fmla="*/ 494839 h 797705"/>
              <a:gd name="connsiteX177" fmla="*/ 65409 w 829568"/>
              <a:gd name="connsiteY177" fmla="*/ 464300 h 797705"/>
              <a:gd name="connsiteX178" fmla="*/ 62429 w 829568"/>
              <a:gd name="connsiteY178" fmla="*/ 465726 h 797705"/>
              <a:gd name="connsiteX179" fmla="*/ 62429 w 829568"/>
              <a:gd name="connsiteY179" fmla="*/ 467991 h 797705"/>
              <a:gd name="connsiteX180" fmla="*/ 57874 w 829568"/>
              <a:gd name="connsiteY180" fmla="*/ 470256 h 797705"/>
              <a:gd name="connsiteX181" fmla="*/ 48763 w 829568"/>
              <a:gd name="connsiteY181" fmla="*/ 472522 h 797705"/>
              <a:gd name="connsiteX182" fmla="*/ 35096 w 829568"/>
              <a:gd name="connsiteY182" fmla="*/ 467991 h 797705"/>
              <a:gd name="connsiteX183" fmla="*/ 32818 w 829568"/>
              <a:gd name="connsiteY183" fmla="*/ 449871 h 797705"/>
              <a:gd name="connsiteX184" fmla="*/ 55596 w 829568"/>
              <a:gd name="connsiteY184" fmla="*/ 418160 h 797705"/>
              <a:gd name="connsiteX185" fmla="*/ 55596 w 829568"/>
              <a:gd name="connsiteY185" fmla="*/ 404569 h 797705"/>
              <a:gd name="connsiteX186" fmla="*/ 48763 w 829568"/>
              <a:gd name="connsiteY186" fmla="*/ 372858 h 797705"/>
              <a:gd name="connsiteX187" fmla="*/ 41929 w 829568"/>
              <a:gd name="connsiteY187" fmla="*/ 354737 h 797705"/>
              <a:gd name="connsiteX188" fmla="*/ 41929 w 829568"/>
              <a:gd name="connsiteY188" fmla="*/ 320761 h 797705"/>
              <a:gd name="connsiteX189" fmla="*/ 41929 w 829568"/>
              <a:gd name="connsiteY189" fmla="*/ 300375 h 797705"/>
              <a:gd name="connsiteX190" fmla="*/ 44207 w 829568"/>
              <a:gd name="connsiteY190" fmla="*/ 302640 h 797705"/>
              <a:gd name="connsiteX191" fmla="*/ 57934 w 829568"/>
              <a:gd name="connsiteY191" fmla="*/ 312196 h 797705"/>
              <a:gd name="connsiteX192" fmla="*/ 58242 w 829568"/>
              <a:gd name="connsiteY192" fmla="*/ 311394 h 797705"/>
              <a:gd name="connsiteX193" fmla="*/ 56256 w 829568"/>
              <a:gd name="connsiteY193" fmla="*/ 310012 h 797705"/>
              <a:gd name="connsiteX194" fmla="*/ 44300 w 829568"/>
              <a:gd name="connsiteY194" fmla="*/ 302367 h 797705"/>
              <a:gd name="connsiteX195" fmla="*/ 42022 w 829568"/>
              <a:gd name="connsiteY195" fmla="*/ 300102 h 797705"/>
              <a:gd name="connsiteX196" fmla="*/ 44300 w 829568"/>
              <a:gd name="connsiteY196" fmla="*/ 291042 h 797705"/>
              <a:gd name="connsiteX197" fmla="*/ 78462 w 829568"/>
              <a:gd name="connsiteY197" fmla="*/ 259331 h 797705"/>
              <a:gd name="connsiteX198" fmla="*/ 92126 w 829568"/>
              <a:gd name="connsiteY198" fmla="*/ 232149 h 797705"/>
              <a:gd name="connsiteX199" fmla="*/ 114901 w 829568"/>
              <a:gd name="connsiteY199" fmla="*/ 211764 h 797705"/>
              <a:gd name="connsiteX200" fmla="*/ 108638 w 829568"/>
              <a:gd name="connsiteY200" fmla="*/ 204968 h 797705"/>
              <a:gd name="connsiteX201" fmla="*/ 92261 w 829568"/>
              <a:gd name="connsiteY201" fmla="*/ 198228 h 797705"/>
              <a:gd name="connsiteX202" fmla="*/ 91806 w 829568"/>
              <a:gd name="connsiteY202" fmla="*/ 198355 h 797705"/>
              <a:gd name="connsiteX203" fmla="*/ 84968 w 829568"/>
              <a:gd name="connsiteY203" fmla="*/ 193807 h 797705"/>
              <a:gd name="connsiteX204" fmla="*/ 94086 w 829568"/>
              <a:gd name="connsiteY204" fmla="*/ 155145 h 797705"/>
              <a:gd name="connsiteX205" fmla="*/ 135114 w 829568"/>
              <a:gd name="connsiteY205" fmla="*/ 127854 h 797705"/>
              <a:gd name="connsiteX206" fmla="*/ 160186 w 829568"/>
              <a:gd name="connsiteY206" fmla="*/ 134677 h 797705"/>
              <a:gd name="connsiteX207" fmla="*/ 160186 w 829568"/>
              <a:gd name="connsiteY207" fmla="*/ 109660 h 797705"/>
              <a:gd name="connsiteX208" fmla="*/ 187538 w 829568"/>
              <a:gd name="connsiteY208" fmla="*/ 82369 h 797705"/>
              <a:gd name="connsiteX209" fmla="*/ 187538 w 829568"/>
              <a:gd name="connsiteY209" fmla="*/ 48256 h 797705"/>
              <a:gd name="connsiteX210" fmla="*/ 190103 w 829568"/>
              <a:gd name="connsiteY210" fmla="*/ 284 h 797705"/>
              <a:gd name="connsiteX0" fmla="*/ 561350 w 829568"/>
              <a:gd name="connsiteY0" fmla="*/ 243680 h 797705"/>
              <a:gd name="connsiteX1" fmla="*/ 563631 w 829568"/>
              <a:gd name="connsiteY1" fmla="*/ 245950 h 797705"/>
              <a:gd name="connsiteX2" fmla="*/ 563632 w 829568"/>
              <a:gd name="connsiteY2" fmla="*/ 245962 h 797705"/>
              <a:gd name="connsiteX3" fmla="*/ 561350 w 829568"/>
              <a:gd name="connsiteY3" fmla="*/ 243680 h 797705"/>
              <a:gd name="connsiteX4" fmla="*/ 190103 w 829568"/>
              <a:gd name="connsiteY4" fmla="*/ 284 h 797705"/>
              <a:gd name="connsiteX5" fmla="*/ 208052 w 829568"/>
              <a:gd name="connsiteY5" fmla="*/ 7319 h 797705"/>
              <a:gd name="connsiteX6" fmla="*/ 244522 w 829568"/>
              <a:gd name="connsiteY6" fmla="*/ 16416 h 797705"/>
              <a:gd name="connsiteX7" fmla="*/ 269594 w 829568"/>
              <a:gd name="connsiteY7" fmla="*/ 36884 h 797705"/>
              <a:gd name="connsiteX8" fmla="*/ 303784 w 829568"/>
              <a:gd name="connsiteY8" fmla="*/ 59627 h 797705"/>
              <a:gd name="connsiteX9" fmla="*/ 317460 w 829568"/>
              <a:gd name="connsiteY9" fmla="*/ 89192 h 797705"/>
              <a:gd name="connsiteX10" fmla="*/ 353930 w 829568"/>
              <a:gd name="connsiteY10" fmla="*/ 73272 h 797705"/>
              <a:gd name="connsiteX11" fmla="*/ 399516 w 829568"/>
              <a:gd name="connsiteY11" fmla="*/ 82369 h 797705"/>
              <a:gd name="connsiteX12" fmla="*/ 417751 w 829568"/>
              <a:gd name="connsiteY12" fmla="*/ 77821 h 797705"/>
              <a:gd name="connsiteX13" fmla="*/ 438265 w 829568"/>
              <a:gd name="connsiteY13" fmla="*/ 64175 h 797705"/>
              <a:gd name="connsiteX14" fmla="*/ 472455 w 829568"/>
              <a:gd name="connsiteY14" fmla="*/ 73272 h 797705"/>
              <a:gd name="connsiteX15" fmla="*/ 486131 w 829568"/>
              <a:gd name="connsiteY15" fmla="*/ 82369 h 797705"/>
              <a:gd name="connsiteX16" fmla="*/ 490690 w 829568"/>
              <a:gd name="connsiteY16" fmla="*/ 132402 h 797705"/>
              <a:gd name="connsiteX17" fmla="*/ 495248 w 829568"/>
              <a:gd name="connsiteY17" fmla="*/ 196081 h 797705"/>
              <a:gd name="connsiteX18" fmla="*/ 495248 w 829568"/>
              <a:gd name="connsiteY18" fmla="*/ 214275 h 797705"/>
              <a:gd name="connsiteX19" fmla="*/ 495067 w 829568"/>
              <a:gd name="connsiteY19" fmla="*/ 214233 h 797705"/>
              <a:gd name="connsiteX20" fmla="*/ 497146 w 829568"/>
              <a:gd name="connsiteY20" fmla="*/ 220449 h 797705"/>
              <a:gd name="connsiteX21" fmla="*/ 508530 w 829568"/>
              <a:gd name="connsiteY21" fmla="*/ 224986 h 797705"/>
              <a:gd name="connsiteX22" fmla="*/ 524467 w 829568"/>
              <a:gd name="connsiteY22" fmla="*/ 238598 h 797705"/>
              <a:gd name="connsiteX23" fmla="*/ 556340 w 829568"/>
              <a:gd name="connsiteY23" fmla="*/ 234060 h 797705"/>
              <a:gd name="connsiteX24" fmla="*/ 563170 w 829568"/>
              <a:gd name="connsiteY24" fmla="*/ 247672 h 797705"/>
              <a:gd name="connsiteX25" fmla="*/ 570440 w 829568"/>
              <a:gd name="connsiteY25" fmla="*/ 254988 h 797705"/>
              <a:gd name="connsiteX26" fmla="*/ 570445 w 829568"/>
              <a:gd name="connsiteY26" fmla="*/ 254942 h 797705"/>
              <a:gd name="connsiteX27" fmla="*/ 574113 w 829568"/>
              <a:gd name="connsiteY27" fmla="*/ 256872 h 797705"/>
              <a:gd name="connsiteX28" fmla="*/ 567290 w 829568"/>
              <a:gd name="connsiteY28" fmla="*/ 250109 h 797705"/>
              <a:gd name="connsiteX29" fmla="*/ 574458 w 829568"/>
              <a:gd name="connsiteY29" fmla="*/ 256788 h 797705"/>
              <a:gd name="connsiteX30" fmla="*/ 583230 w 829568"/>
              <a:gd name="connsiteY30" fmla="*/ 254659 h 797705"/>
              <a:gd name="connsiteX31" fmla="*/ 595448 w 829568"/>
              <a:gd name="connsiteY31" fmla="*/ 250406 h 797705"/>
              <a:gd name="connsiteX32" fmla="*/ 624997 w 829568"/>
              <a:gd name="connsiteY32" fmla="*/ 282159 h 797705"/>
              <a:gd name="connsiteX33" fmla="*/ 637214 w 829568"/>
              <a:gd name="connsiteY33" fmla="*/ 311928 h 797705"/>
              <a:gd name="connsiteX34" fmla="*/ 636731 w 829568"/>
              <a:gd name="connsiteY34" fmla="*/ 319061 h 797705"/>
              <a:gd name="connsiteX35" fmla="*/ 636185 w 829568"/>
              <a:gd name="connsiteY35" fmla="*/ 327131 h 797705"/>
              <a:gd name="connsiteX36" fmla="*/ 640908 w 829568"/>
              <a:gd name="connsiteY36" fmla="*/ 343397 h 797705"/>
              <a:gd name="connsiteX37" fmla="*/ 656819 w 829568"/>
              <a:gd name="connsiteY37" fmla="*/ 329788 h 797705"/>
              <a:gd name="connsiteX38" fmla="*/ 672730 w 829568"/>
              <a:gd name="connsiteY38" fmla="*/ 347933 h 797705"/>
              <a:gd name="connsiteX39" fmla="*/ 679549 w 829568"/>
              <a:gd name="connsiteY39" fmla="*/ 366077 h 797705"/>
              <a:gd name="connsiteX40" fmla="*/ 686368 w 829568"/>
              <a:gd name="connsiteY40" fmla="*/ 418243 h 797705"/>
              <a:gd name="connsiteX41" fmla="*/ 736375 w 829568"/>
              <a:gd name="connsiteY41" fmla="*/ 413707 h 797705"/>
              <a:gd name="connsiteX42" fmla="*/ 756832 w 829568"/>
              <a:gd name="connsiteY42" fmla="*/ 420511 h 797705"/>
              <a:gd name="connsiteX43" fmla="*/ 765924 w 829568"/>
              <a:gd name="connsiteY43" fmla="*/ 406903 h 797705"/>
              <a:gd name="connsiteX44" fmla="*/ 829568 w 829568"/>
              <a:gd name="connsiteY44" fmla="*/ 397830 h 797705"/>
              <a:gd name="connsiteX45" fmla="*/ 829568 w 829568"/>
              <a:gd name="connsiteY45" fmla="*/ 413707 h 797705"/>
              <a:gd name="connsiteX46" fmla="*/ 827295 w 829568"/>
              <a:gd name="connsiteY46" fmla="*/ 422779 h 797705"/>
              <a:gd name="connsiteX47" fmla="*/ 822749 w 829568"/>
              <a:gd name="connsiteY47" fmla="*/ 427315 h 797705"/>
              <a:gd name="connsiteX48" fmla="*/ 815930 w 829568"/>
              <a:gd name="connsiteY48" fmla="*/ 427315 h 797705"/>
              <a:gd name="connsiteX49" fmla="*/ 809111 w 829568"/>
              <a:gd name="connsiteY49" fmla="*/ 443192 h 797705"/>
              <a:gd name="connsiteX50" fmla="*/ 802292 w 829568"/>
              <a:gd name="connsiteY50" fmla="*/ 452264 h 797705"/>
              <a:gd name="connsiteX51" fmla="*/ 800019 w 829568"/>
              <a:gd name="connsiteY51" fmla="*/ 459068 h 797705"/>
              <a:gd name="connsiteX52" fmla="*/ 800019 w 829568"/>
              <a:gd name="connsiteY52" fmla="*/ 470408 h 797705"/>
              <a:gd name="connsiteX53" fmla="*/ 800019 w 829568"/>
              <a:gd name="connsiteY53" fmla="*/ 481749 h 797705"/>
              <a:gd name="connsiteX54" fmla="*/ 784108 w 829568"/>
              <a:gd name="connsiteY54" fmla="*/ 477212 h 797705"/>
              <a:gd name="connsiteX55" fmla="*/ 777289 w 829568"/>
              <a:gd name="connsiteY55" fmla="*/ 477212 h 797705"/>
              <a:gd name="connsiteX56" fmla="*/ 770470 w 829568"/>
              <a:gd name="connsiteY56" fmla="*/ 481749 h 797705"/>
              <a:gd name="connsiteX57" fmla="*/ 768197 w 829568"/>
              <a:gd name="connsiteY57" fmla="*/ 488553 h 797705"/>
              <a:gd name="connsiteX58" fmla="*/ 750013 w 829568"/>
              <a:gd name="connsiteY58" fmla="*/ 497625 h 797705"/>
              <a:gd name="connsiteX59" fmla="*/ 745467 w 829568"/>
              <a:gd name="connsiteY59" fmla="*/ 490821 h 797705"/>
              <a:gd name="connsiteX60" fmla="*/ 740921 w 829568"/>
              <a:gd name="connsiteY60" fmla="*/ 493089 h 797705"/>
              <a:gd name="connsiteX61" fmla="*/ 738648 w 829568"/>
              <a:gd name="connsiteY61" fmla="*/ 499893 h 797705"/>
              <a:gd name="connsiteX62" fmla="*/ 738648 w 829568"/>
              <a:gd name="connsiteY62" fmla="*/ 502161 h 797705"/>
              <a:gd name="connsiteX63" fmla="*/ 725010 w 829568"/>
              <a:gd name="connsiteY63" fmla="*/ 504429 h 797705"/>
              <a:gd name="connsiteX64" fmla="*/ 715918 w 829568"/>
              <a:gd name="connsiteY64" fmla="*/ 508965 h 797705"/>
              <a:gd name="connsiteX65" fmla="*/ 715918 w 829568"/>
              <a:gd name="connsiteY65" fmla="*/ 520306 h 797705"/>
              <a:gd name="connsiteX66" fmla="*/ 713645 w 829568"/>
              <a:gd name="connsiteY66" fmla="*/ 522574 h 797705"/>
              <a:gd name="connsiteX67" fmla="*/ 693188 w 829568"/>
              <a:gd name="connsiteY67" fmla="*/ 527110 h 797705"/>
              <a:gd name="connsiteX68" fmla="*/ 677276 w 829568"/>
              <a:gd name="connsiteY68" fmla="*/ 531646 h 797705"/>
              <a:gd name="connsiteX69" fmla="*/ 668184 w 829568"/>
              <a:gd name="connsiteY69" fmla="*/ 527110 h 797705"/>
              <a:gd name="connsiteX70" fmla="*/ 665911 w 829568"/>
              <a:gd name="connsiteY70" fmla="*/ 529378 h 797705"/>
              <a:gd name="connsiteX71" fmla="*/ 665911 w 829568"/>
              <a:gd name="connsiteY71" fmla="*/ 538450 h 797705"/>
              <a:gd name="connsiteX72" fmla="*/ 659092 w 829568"/>
              <a:gd name="connsiteY72" fmla="*/ 540718 h 797705"/>
              <a:gd name="connsiteX73" fmla="*/ 659092 w 829568"/>
              <a:gd name="connsiteY73" fmla="*/ 545254 h 797705"/>
              <a:gd name="connsiteX74" fmla="*/ 659092 w 829568"/>
              <a:gd name="connsiteY74" fmla="*/ 556595 h 797705"/>
              <a:gd name="connsiteX75" fmla="*/ 656819 w 829568"/>
              <a:gd name="connsiteY75" fmla="*/ 561131 h 797705"/>
              <a:gd name="connsiteX76" fmla="*/ 652273 w 829568"/>
              <a:gd name="connsiteY76" fmla="*/ 561131 h 797705"/>
              <a:gd name="connsiteX77" fmla="*/ 650000 w 829568"/>
              <a:gd name="connsiteY77" fmla="*/ 561131 h 797705"/>
              <a:gd name="connsiteX78" fmla="*/ 618178 w 829568"/>
              <a:gd name="connsiteY78" fmla="*/ 552058 h 797705"/>
              <a:gd name="connsiteX79" fmla="*/ 618178 w 829568"/>
              <a:gd name="connsiteY79" fmla="*/ 549790 h 797705"/>
              <a:gd name="connsiteX80" fmla="*/ 609086 w 829568"/>
              <a:gd name="connsiteY80" fmla="*/ 542986 h 797705"/>
              <a:gd name="connsiteX81" fmla="*/ 599994 w 829568"/>
              <a:gd name="connsiteY81" fmla="*/ 547522 h 797705"/>
              <a:gd name="connsiteX82" fmla="*/ 590902 w 829568"/>
              <a:gd name="connsiteY82" fmla="*/ 554327 h 797705"/>
              <a:gd name="connsiteX83" fmla="*/ 579537 w 829568"/>
              <a:gd name="connsiteY83" fmla="*/ 563399 h 797705"/>
              <a:gd name="connsiteX84" fmla="*/ 574991 w 829568"/>
              <a:gd name="connsiteY84" fmla="*/ 556595 h 797705"/>
              <a:gd name="connsiteX85" fmla="*/ 570445 w 829568"/>
              <a:gd name="connsiteY85" fmla="*/ 558863 h 797705"/>
              <a:gd name="connsiteX86" fmla="*/ 568172 w 829568"/>
              <a:gd name="connsiteY86" fmla="*/ 563399 h 797705"/>
              <a:gd name="connsiteX87" fmla="*/ 568172 w 829568"/>
              <a:gd name="connsiteY87" fmla="*/ 565667 h 797705"/>
              <a:gd name="connsiteX88" fmla="*/ 568172 w 829568"/>
              <a:gd name="connsiteY88" fmla="*/ 570203 h 797705"/>
              <a:gd name="connsiteX89" fmla="*/ 565899 w 829568"/>
              <a:gd name="connsiteY89" fmla="*/ 572471 h 797705"/>
              <a:gd name="connsiteX90" fmla="*/ 565899 w 829568"/>
              <a:gd name="connsiteY90" fmla="*/ 574739 h 797705"/>
              <a:gd name="connsiteX91" fmla="*/ 581810 w 829568"/>
              <a:gd name="connsiteY91" fmla="*/ 581543 h 797705"/>
              <a:gd name="connsiteX92" fmla="*/ 586356 w 829568"/>
              <a:gd name="connsiteY92" fmla="*/ 586079 h 797705"/>
              <a:gd name="connsiteX93" fmla="*/ 590902 w 829568"/>
              <a:gd name="connsiteY93" fmla="*/ 579275 h 797705"/>
              <a:gd name="connsiteX94" fmla="*/ 597721 w 829568"/>
              <a:gd name="connsiteY94" fmla="*/ 583811 h 797705"/>
              <a:gd name="connsiteX95" fmla="*/ 599994 w 829568"/>
              <a:gd name="connsiteY95" fmla="*/ 579275 h 797705"/>
              <a:gd name="connsiteX96" fmla="*/ 606813 w 829568"/>
              <a:gd name="connsiteY96" fmla="*/ 588347 h 797705"/>
              <a:gd name="connsiteX97" fmla="*/ 606813 w 829568"/>
              <a:gd name="connsiteY97" fmla="*/ 590616 h 797705"/>
              <a:gd name="connsiteX98" fmla="*/ 602267 w 829568"/>
              <a:gd name="connsiteY98" fmla="*/ 601956 h 797705"/>
              <a:gd name="connsiteX99" fmla="*/ 604540 w 829568"/>
              <a:gd name="connsiteY99" fmla="*/ 606492 h 797705"/>
              <a:gd name="connsiteX100" fmla="*/ 609086 w 829568"/>
              <a:gd name="connsiteY100" fmla="*/ 611028 h 797705"/>
              <a:gd name="connsiteX101" fmla="*/ 606813 w 829568"/>
              <a:gd name="connsiteY101" fmla="*/ 613296 h 797705"/>
              <a:gd name="connsiteX102" fmla="*/ 588629 w 829568"/>
              <a:gd name="connsiteY102" fmla="*/ 613296 h 797705"/>
              <a:gd name="connsiteX103" fmla="*/ 572718 w 829568"/>
              <a:gd name="connsiteY103" fmla="*/ 597420 h 797705"/>
              <a:gd name="connsiteX104" fmla="*/ 568172 w 829568"/>
              <a:gd name="connsiteY104" fmla="*/ 606492 h 797705"/>
              <a:gd name="connsiteX105" fmla="*/ 561353 w 829568"/>
              <a:gd name="connsiteY105" fmla="*/ 597420 h 797705"/>
              <a:gd name="connsiteX106" fmla="*/ 556807 w 829568"/>
              <a:gd name="connsiteY106" fmla="*/ 592884 h 797705"/>
              <a:gd name="connsiteX107" fmla="*/ 540896 w 829568"/>
              <a:gd name="connsiteY107" fmla="*/ 570203 h 797705"/>
              <a:gd name="connsiteX108" fmla="*/ 529530 w 829568"/>
              <a:gd name="connsiteY108" fmla="*/ 565667 h 797705"/>
              <a:gd name="connsiteX109" fmla="*/ 518165 w 829568"/>
              <a:gd name="connsiteY109" fmla="*/ 572471 h 797705"/>
              <a:gd name="connsiteX110" fmla="*/ 509073 w 829568"/>
              <a:gd name="connsiteY110" fmla="*/ 577007 h 797705"/>
              <a:gd name="connsiteX111" fmla="*/ 505946 w 829568"/>
              <a:gd name="connsiteY111" fmla="*/ 579415 h 797705"/>
              <a:gd name="connsiteX112" fmla="*/ 505946 w 829568"/>
              <a:gd name="connsiteY112" fmla="*/ 581688 h 797705"/>
              <a:gd name="connsiteX113" fmla="*/ 496839 w 829568"/>
              <a:gd name="connsiteY113" fmla="*/ 590779 h 797705"/>
              <a:gd name="connsiteX114" fmla="*/ 496839 w 829568"/>
              <a:gd name="connsiteY114" fmla="*/ 595324 h 797705"/>
              <a:gd name="connsiteX115" fmla="*/ 501392 w 829568"/>
              <a:gd name="connsiteY115" fmla="*/ 599870 h 797705"/>
              <a:gd name="connsiteX116" fmla="*/ 510500 w 829568"/>
              <a:gd name="connsiteY116" fmla="*/ 608960 h 797705"/>
              <a:gd name="connsiteX117" fmla="*/ 508223 w 829568"/>
              <a:gd name="connsiteY117" fmla="*/ 613506 h 797705"/>
              <a:gd name="connsiteX118" fmla="*/ 508223 w 829568"/>
              <a:gd name="connsiteY118" fmla="*/ 618051 h 797705"/>
              <a:gd name="connsiteX119" fmla="*/ 490008 w 829568"/>
              <a:gd name="connsiteY119" fmla="*/ 640778 h 797705"/>
              <a:gd name="connsiteX120" fmla="*/ 464962 w 829568"/>
              <a:gd name="connsiteY120" fmla="*/ 631687 h 797705"/>
              <a:gd name="connsiteX121" fmla="*/ 451300 w 829568"/>
              <a:gd name="connsiteY121" fmla="*/ 624869 h 797705"/>
              <a:gd name="connsiteX122" fmla="*/ 423977 w 829568"/>
              <a:gd name="connsiteY122" fmla="*/ 638506 h 797705"/>
              <a:gd name="connsiteX123" fmla="*/ 414870 w 829568"/>
              <a:gd name="connsiteY123" fmla="*/ 643051 h 797705"/>
              <a:gd name="connsiteX124" fmla="*/ 398931 w 829568"/>
              <a:gd name="connsiteY124" fmla="*/ 645324 h 797705"/>
              <a:gd name="connsiteX125" fmla="*/ 394378 w 829568"/>
              <a:gd name="connsiteY125" fmla="*/ 652142 h 797705"/>
              <a:gd name="connsiteX126" fmla="*/ 373885 w 829568"/>
              <a:gd name="connsiteY126" fmla="*/ 654415 h 797705"/>
              <a:gd name="connsiteX127" fmla="*/ 353393 w 829568"/>
              <a:gd name="connsiteY127" fmla="*/ 661233 h 797705"/>
              <a:gd name="connsiteX128" fmla="*/ 344285 w 829568"/>
              <a:gd name="connsiteY128" fmla="*/ 683960 h 797705"/>
              <a:gd name="connsiteX129" fmla="*/ 346559 w 829568"/>
              <a:gd name="connsiteY129" fmla="*/ 695305 h 797705"/>
              <a:gd name="connsiteX130" fmla="*/ 346890 w 829568"/>
              <a:gd name="connsiteY130" fmla="*/ 695371 h 797705"/>
              <a:gd name="connsiteX131" fmla="*/ 349169 w 829568"/>
              <a:gd name="connsiteY131" fmla="*/ 697639 h 797705"/>
              <a:gd name="connsiteX132" fmla="*/ 349169 w 829568"/>
              <a:gd name="connsiteY132" fmla="*/ 708981 h 797705"/>
              <a:gd name="connsiteX133" fmla="*/ 349169 w 829568"/>
              <a:gd name="connsiteY133" fmla="*/ 713518 h 797705"/>
              <a:gd name="connsiteX134" fmla="*/ 346890 w 829568"/>
              <a:gd name="connsiteY134" fmla="*/ 724861 h 797705"/>
              <a:gd name="connsiteX135" fmla="*/ 340053 w 829568"/>
              <a:gd name="connsiteY135" fmla="*/ 722592 h 797705"/>
              <a:gd name="connsiteX136" fmla="*/ 317264 w 829568"/>
              <a:gd name="connsiteY136" fmla="*/ 720324 h 797705"/>
              <a:gd name="connsiteX137" fmla="*/ 312706 w 829568"/>
              <a:gd name="connsiteY137" fmla="*/ 718055 h 797705"/>
              <a:gd name="connsiteX138" fmla="*/ 303590 w 829568"/>
              <a:gd name="connsiteY138" fmla="*/ 724861 h 797705"/>
              <a:gd name="connsiteX139" fmla="*/ 294474 w 829568"/>
              <a:gd name="connsiteY139" fmla="*/ 731666 h 797705"/>
              <a:gd name="connsiteX140" fmla="*/ 289916 w 829568"/>
              <a:gd name="connsiteY140" fmla="*/ 738471 h 797705"/>
              <a:gd name="connsiteX141" fmla="*/ 289916 w 829568"/>
              <a:gd name="connsiteY141" fmla="*/ 752082 h 797705"/>
              <a:gd name="connsiteX142" fmla="*/ 280800 w 829568"/>
              <a:gd name="connsiteY142" fmla="*/ 740740 h 797705"/>
              <a:gd name="connsiteX143" fmla="*/ 278521 w 829568"/>
              <a:gd name="connsiteY143" fmla="*/ 738471 h 797705"/>
              <a:gd name="connsiteX144" fmla="*/ 278521 w 829568"/>
              <a:gd name="connsiteY144" fmla="*/ 743008 h 797705"/>
              <a:gd name="connsiteX145" fmla="*/ 276242 w 829568"/>
              <a:gd name="connsiteY145" fmla="*/ 749814 h 797705"/>
              <a:gd name="connsiteX146" fmla="*/ 269405 w 829568"/>
              <a:gd name="connsiteY146" fmla="*/ 761156 h 797705"/>
              <a:gd name="connsiteX147" fmla="*/ 232942 w 829568"/>
              <a:gd name="connsiteY147" fmla="*/ 749814 h 797705"/>
              <a:gd name="connsiteX148" fmla="*/ 230663 w 829568"/>
              <a:gd name="connsiteY148" fmla="*/ 754351 h 797705"/>
              <a:gd name="connsiteX149" fmla="*/ 203316 w 829568"/>
              <a:gd name="connsiteY149" fmla="*/ 754351 h 797705"/>
              <a:gd name="connsiteX150" fmla="*/ 180526 w 829568"/>
              <a:gd name="connsiteY150" fmla="*/ 761156 h 797705"/>
              <a:gd name="connsiteX151" fmla="*/ 169131 w 829568"/>
              <a:gd name="connsiteY151" fmla="*/ 767961 h 797705"/>
              <a:gd name="connsiteX152" fmla="*/ 157736 w 829568"/>
              <a:gd name="connsiteY152" fmla="*/ 783841 h 797705"/>
              <a:gd name="connsiteX153" fmla="*/ 137226 w 829568"/>
              <a:gd name="connsiteY153" fmla="*/ 797451 h 797705"/>
              <a:gd name="connsiteX154" fmla="*/ 128110 w 829568"/>
              <a:gd name="connsiteY154" fmla="*/ 786109 h 797705"/>
              <a:gd name="connsiteX155" fmla="*/ 121273 w 829568"/>
              <a:gd name="connsiteY155" fmla="*/ 792914 h 797705"/>
              <a:gd name="connsiteX156" fmla="*/ 93925 w 829568"/>
              <a:gd name="connsiteY156" fmla="*/ 790646 h 797705"/>
              <a:gd name="connsiteX157" fmla="*/ 68857 w 829568"/>
              <a:gd name="connsiteY157" fmla="*/ 790646 h 797705"/>
              <a:gd name="connsiteX158" fmla="*/ 57462 w 829568"/>
              <a:gd name="connsiteY158" fmla="*/ 792914 h 797705"/>
              <a:gd name="connsiteX159" fmla="*/ 46067 w 829568"/>
              <a:gd name="connsiteY159" fmla="*/ 788377 h 797705"/>
              <a:gd name="connsiteX160" fmla="*/ 25556 w 829568"/>
              <a:gd name="connsiteY160" fmla="*/ 786109 h 797705"/>
              <a:gd name="connsiteX161" fmla="*/ 25556 w 829568"/>
              <a:gd name="connsiteY161" fmla="*/ 783841 h 797705"/>
              <a:gd name="connsiteX162" fmla="*/ 27835 w 829568"/>
              <a:gd name="connsiteY162" fmla="*/ 777035 h 797705"/>
              <a:gd name="connsiteX163" fmla="*/ 25556 w 829568"/>
              <a:gd name="connsiteY163" fmla="*/ 774767 h 797705"/>
              <a:gd name="connsiteX164" fmla="*/ 43788 w 829568"/>
              <a:gd name="connsiteY164" fmla="*/ 770230 h 797705"/>
              <a:gd name="connsiteX165" fmla="*/ 48346 w 829568"/>
              <a:gd name="connsiteY165" fmla="*/ 699908 h 797705"/>
              <a:gd name="connsiteX166" fmla="*/ 5046 w 829568"/>
              <a:gd name="connsiteY166" fmla="*/ 670418 h 797705"/>
              <a:gd name="connsiteX167" fmla="*/ 30114 w 829568"/>
              <a:gd name="connsiteY167" fmla="*/ 615975 h 797705"/>
              <a:gd name="connsiteX168" fmla="*/ 41509 w 829568"/>
              <a:gd name="connsiteY168" fmla="*/ 600095 h 797705"/>
              <a:gd name="connsiteX169" fmla="*/ 34672 w 829568"/>
              <a:gd name="connsiteY169" fmla="*/ 581948 h 797705"/>
              <a:gd name="connsiteX170" fmla="*/ 41509 w 829568"/>
              <a:gd name="connsiteY170" fmla="*/ 554726 h 797705"/>
              <a:gd name="connsiteX171" fmla="*/ 16441 w 829568"/>
              <a:gd name="connsiteY171" fmla="*/ 543384 h 797705"/>
              <a:gd name="connsiteX172" fmla="*/ 34672 w 829568"/>
              <a:gd name="connsiteY172" fmla="*/ 541115 h 797705"/>
              <a:gd name="connsiteX173" fmla="*/ 41498 w 829568"/>
              <a:gd name="connsiteY173" fmla="*/ 541115 h 797705"/>
              <a:gd name="connsiteX174" fmla="*/ 39341 w 829568"/>
              <a:gd name="connsiteY174" fmla="*/ 528176 h 797705"/>
              <a:gd name="connsiteX175" fmla="*/ 86966 w 829568"/>
              <a:gd name="connsiteY175" fmla="*/ 494839 h 797705"/>
              <a:gd name="connsiteX176" fmla="*/ 65409 w 829568"/>
              <a:gd name="connsiteY176" fmla="*/ 464300 h 797705"/>
              <a:gd name="connsiteX177" fmla="*/ 62429 w 829568"/>
              <a:gd name="connsiteY177" fmla="*/ 465726 h 797705"/>
              <a:gd name="connsiteX178" fmla="*/ 62429 w 829568"/>
              <a:gd name="connsiteY178" fmla="*/ 467991 h 797705"/>
              <a:gd name="connsiteX179" fmla="*/ 57874 w 829568"/>
              <a:gd name="connsiteY179" fmla="*/ 470256 h 797705"/>
              <a:gd name="connsiteX180" fmla="*/ 48763 w 829568"/>
              <a:gd name="connsiteY180" fmla="*/ 472522 h 797705"/>
              <a:gd name="connsiteX181" fmla="*/ 35096 w 829568"/>
              <a:gd name="connsiteY181" fmla="*/ 467991 h 797705"/>
              <a:gd name="connsiteX182" fmla="*/ 32818 w 829568"/>
              <a:gd name="connsiteY182" fmla="*/ 449871 h 797705"/>
              <a:gd name="connsiteX183" fmla="*/ 55596 w 829568"/>
              <a:gd name="connsiteY183" fmla="*/ 418160 h 797705"/>
              <a:gd name="connsiteX184" fmla="*/ 55596 w 829568"/>
              <a:gd name="connsiteY184" fmla="*/ 404569 h 797705"/>
              <a:gd name="connsiteX185" fmla="*/ 48763 w 829568"/>
              <a:gd name="connsiteY185" fmla="*/ 372858 h 797705"/>
              <a:gd name="connsiteX186" fmla="*/ 41929 w 829568"/>
              <a:gd name="connsiteY186" fmla="*/ 354737 h 797705"/>
              <a:gd name="connsiteX187" fmla="*/ 41929 w 829568"/>
              <a:gd name="connsiteY187" fmla="*/ 320761 h 797705"/>
              <a:gd name="connsiteX188" fmla="*/ 41929 w 829568"/>
              <a:gd name="connsiteY188" fmla="*/ 300375 h 797705"/>
              <a:gd name="connsiteX189" fmla="*/ 44207 w 829568"/>
              <a:gd name="connsiteY189" fmla="*/ 302640 h 797705"/>
              <a:gd name="connsiteX190" fmla="*/ 57934 w 829568"/>
              <a:gd name="connsiteY190" fmla="*/ 312196 h 797705"/>
              <a:gd name="connsiteX191" fmla="*/ 58242 w 829568"/>
              <a:gd name="connsiteY191" fmla="*/ 311394 h 797705"/>
              <a:gd name="connsiteX192" fmla="*/ 56256 w 829568"/>
              <a:gd name="connsiteY192" fmla="*/ 310012 h 797705"/>
              <a:gd name="connsiteX193" fmla="*/ 44300 w 829568"/>
              <a:gd name="connsiteY193" fmla="*/ 302367 h 797705"/>
              <a:gd name="connsiteX194" fmla="*/ 42022 w 829568"/>
              <a:gd name="connsiteY194" fmla="*/ 300102 h 797705"/>
              <a:gd name="connsiteX195" fmla="*/ 44300 w 829568"/>
              <a:gd name="connsiteY195" fmla="*/ 291042 h 797705"/>
              <a:gd name="connsiteX196" fmla="*/ 78462 w 829568"/>
              <a:gd name="connsiteY196" fmla="*/ 259331 h 797705"/>
              <a:gd name="connsiteX197" fmla="*/ 92126 w 829568"/>
              <a:gd name="connsiteY197" fmla="*/ 232149 h 797705"/>
              <a:gd name="connsiteX198" fmla="*/ 114901 w 829568"/>
              <a:gd name="connsiteY198" fmla="*/ 211764 h 797705"/>
              <a:gd name="connsiteX199" fmla="*/ 108638 w 829568"/>
              <a:gd name="connsiteY199" fmla="*/ 204968 h 797705"/>
              <a:gd name="connsiteX200" fmla="*/ 92261 w 829568"/>
              <a:gd name="connsiteY200" fmla="*/ 198228 h 797705"/>
              <a:gd name="connsiteX201" fmla="*/ 91806 w 829568"/>
              <a:gd name="connsiteY201" fmla="*/ 198355 h 797705"/>
              <a:gd name="connsiteX202" fmla="*/ 84968 w 829568"/>
              <a:gd name="connsiteY202" fmla="*/ 193807 h 797705"/>
              <a:gd name="connsiteX203" fmla="*/ 94086 w 829568"/>
              <a:gd name="connsiteY203" fmla="*/ 155145 h 797705"/>
              <a:gd name="connsiteX204" fmla="*/ 135114 w 829568"/>
              <a:gd name="connsiteY204" fmla="*/ 127854 h 797705"/>
              <a:gd name="connsiteX205" fmla="*/ 160186 w 829568"/>
              <a:gd name="connsiteY205" fmla="*/ 134677 h 797705"/>
              <a:gd name="connsiteX206" fmla="*/ 160186 w 829568"/>
              <a:gd name="connsiteY206" fmla="*/ 109660 h 797705"/>
              <a:gd name="connsiteX207" fmla="*/ 187538 w 829568"/>
              <a:gd name="connsiteY207" fmla="*/ 82369 h 797705"/>
              <a:gd name="connsiteX208" fmla="*/ 187538 w 829568"/>
              <a:gd name="connsiteY208" fmla="*/ 48256 h 797705"/>
              <a:gd name="connsiteX209" fmla="*/ 190103 w 829568"/>
              <a:gd name="connsiteY209" fmla="*/ 284 h 797705"/>
              <a:gd name="connsiteX0" fmla="*/ 563632 w 829568"/>
              <a:gd name="connsiteY0" fmla="*/ 245962 h 797705"/>
              <a:gd name="connsiteX1" fmla="*/ 563631 w 829568"/>
              <a:gd name="connsiteY1" fmla="*/ 245950 h 797705"/>
              <a:gd name="connsiteX2" fmla="*/ 563632 w 829568"/>
              <a:gd name="connsiteY2" fmla="*/ 245962 h 797705"/>
              <a:gd name="connsiteX3" fmla="*/ 190103 w 829568"/>
              <a:gd name="connsiteY3" fmla="*/ 284 h 797705"/>
              <a:gd name="connsiteX4" fmla="*/ 208052 w 829568"/>
              <a:gd name="connsiteY4" fmla="*/ 7319 h 797705"/>
              <a:gd name="connsiteX5" fmla="*/ 244522 w 829568"/>
              <a:gd name="connsiteY5" fmla="*/ 16416 h 797705"/>
              <a:gd name="connsiteX6" fmla="*/ 269594 w 829568"/>
              <a:gd name="connsiteY6" fmla="*/ 36884 h 797705"/>
              <a:gd name="connsiteX7" fmla="*/ 303784 w 829568"/>
              <a:gd name="connsiteY7" fmla="*/ 59627 h 797705"/>
              <a:gd name="connsiteX8" fmla="*/ 317460 w 829568"/>
              <a:gd name="connsiteY8" fmla="*/ 89192 h 797705"/>
              <a:gd name="connsiteX9" fmla="*/ 353930 w 829568"/>
              <a:gd name="connsiteY9" fmla="*/ 73272 h 797705"/>
              <a:gd name="connsiteX10" fmla="*/ 399516 w 829568"/>
              <a:gd name="connsiteY10" fmla="*/ 82369 h 797705"/>
              <a:gd name="connsiteX11" fmla="*/ 417751 w 829568"/>
              <a:gd name="connsiteY11" fmla="*/ 77821 h 797705"/>
              <a:gd name="connsiteX12" fmla="*/ 438265 w 829568"/>
              <a:gd name="connsiteY12" fmla="*/ 64175 h 797705"/>
              <a:gd name="connsiteX13" fmla="*/ 472455 w 829568"/>
              <a:gd name="connsiteY13" fmla="*/ 73272 h 797705"/>
              <a:gd name="connsiteX14" fmla="*/ 486131 w 829568"/>
              <a:gd name="connsiteY14" fmla="*/ 82369 h 797705"/>
              <a:gd name="connsiteX15" fmla="*/ 490690 w 829568"/>
              <a:gd name="connsiteY15" fmla="*/ 132402 h 797705"/>
              <a:gd name="connsiteX16" fmla="*/ 495248 w 829568"/>
              <a:gd name="connsiteY16" fmla="*/ 196081 h 797705"/>
              <a:gd name="connsiteX17" fmla="*/ 495248 w 829568"/>
              <a:gd name="connsiteY17" fmla="*/ 214275 h 797705"/>
              <a:gd name="connsiteX18" fmla="*/ 495067 w 829568"/>
              <a:gd name="connsiteY18" fmla="*/ 214233 h 797705"/>
              <a:gd name="connsiteX19" fmla="*/ 497146 w 829568"/>
              <a:gd name="connsiteY19" fmla="*/ 220449 h 797705"/>
              <a:gd name="connsiteX20" fmla="*/ 508530 w 829568"/>
              <a:gd name="connsiteY20" fmla="*/ 224986 h 797705"/>
              <a:gd name="connsiteX21" fmla="*/ 524467 w 829568"/>
              <a:gd name="connsiteY21" fmla="*/ 238598 h 797705"/>
              <a:gd name="connsiteX22" fmla="*/ 556340 w 829568"/>
              <a:gd name="connsiteY22" fmla="*/ 234060 h 797705"/>
              <a:gd name="connsiteX23" fmla="*/ 563170 w 829568"/>
              <a:gd name="connsiteY23" fmla="*/ 247672 h 797705"/>
              <a:gd name="connsiteX24" fmla="*/ 570440 w 829568"/>
              <a:gd name="connsiteY24" fmla="*/ 254988 h 797705"/>
              <a:gd name="connsiteX25" fmla="*/ 570445 w 829568"/>
              <a:gd name="connsiteY25" fmla="*/ 254942 h 797705"/>
              <a:gd name="connsiteX26" fmla="*/ 574113 w 829568"/>
              <a:gd name="connsiteY26" fmla="*/ 256872 h 797705"/>
              <a:gd name="connsiteX27" fmla="*/ 567290 w 829568"/>
              <a:gd name="connsiteY27" fmla="*/ 250109 h 797705"/>
              <a:gd name="connsiteX28" fmla="*/ 574458 w 829568"/>
              <a:gd name="connsiteY28" fmla="*/ 256788 h 797705"/>
              <a:gd name="connsiteX29" fmla="*/ 583230 w 829568"/>
              <a:gd name="connsiteY29" fmla="*/ 254659 h 797705"/>
              <a:gd name="connsiteX30" fmla="*/ 595448 w 829568"/>
              <a:gd name="connsiteY30" fmla="*/ 250406 h 797705"/>
              <a:gd name="connsiteX31" fmla="*/ 624997 w 829568"/>
              <a:gd name="connsiteY31" fmla="*/ 282159 h 797705"/>
              <a:gd name="connsiteX32" fmla="*/ 637214 w 829568"/>
              <a:gd name="connsiteY32" fmla="*/ 311928 h 797705"/>
              <a:gd name="connsiteX33" fmla="*/ 636731 w 829568"/>
              <a:gd name="connsiteY33" fmla="*/ 319061 h 797705"/>
              <a:gd name="connsiteX34" fmla="*/ 636185 w 829568"/>
              <a:gd name="connsiteY34" fmla="*/ 327131 h 797705"/>
              <a:gd name="connsiteX35" fmla="*/ 640908 w 829568"/>
              <a:gd name="connsiteY35" fmla="*/ 343397 h 797705"/>
              <a:gd name="connsiteX36" fmla="*/ 656819 w 829568"/>
              <a:gd name="connsiteY36" fmla="*/ 329788 h 797705"/>
              <a:gd name="connsiteX37" fmla="*/ 672730 w 829568"/>
              <a:gd name="connsiteY37" fmla="*/ 347933 h 797705"/>
              <a:gd name="connsiteX38" fmla="*/ 679549 w 829568"/>
              <a:gd name="connsiteY38" fmla="*/ 366077 h 797705"/>
              <a:gd name="connsiteX39" fmla="*/ 686368 w 829568"/>
              <a:gd name="connsiteY39" fmla="*/ 418243 h 797705"/>
              <a:gd name="connsiteX40" fmla="*/ 736375 w 829568"/>
              <a:gd name="connsiteY40" fmla="*/ 413707 h 797705"/>
              <a:gd name="connsiteX41" fmla="*/ 756832 w 829568"/>
              <a:gd name="connsiteY41" fmla="*/ 420511 h 797705"/>
              <a:gd name="connsiteX42" fmla="*/ 765924 w 829568"/>
              <a:gd name="connsiteY42" fmla="*/ 406903 h 797705"/>
              <a:gd name="connsiteX43" fmla="*/ 829568 w 829568"/>
              <a:gd name="connsiteY43" fmla="*/ 397830 h 797705"/>
              <a:gd name="connsiteX44" fmla="*/ 829568 w 829568"/>
              <a:gd name="connsiteY44" fmla="*/ 413707 h 797705"/>
              <a:gd name="connsiteX45" fmla="*/ 827295 w 829568"/>
              <a:gd name="connsiteY45" fmla="*/ 422779 h 797705"/>
              <a:gd name="connsiteX46" fmla="*/ 822749 w 829568"/>
              <a:gd name="connsiteY46" fmla="*/ 427315 h 797705"/>
              <a:gd name="connsiteX47" fmla="*/ 815930 w 829568"/>
              <a:gd name="connsiteY47" fmla="*/ 427315 h 797705"/>
              <a:gd name="connsiteX48" fmla="*/ 809111 w 829568"/>
              <a:gd name="connsiteY48" fmla="*/ 443192 h 797705"/>
              <a:gd name="connsiteX49" fmla="*/ 802292 w 829568"/>
              <a:gd name="connsiteY49" fmla="*/ 452264 h 797705"/>
              <a:gd name="connsiteX50" fmla="*/ 800019 w 829568"/>
              <a:gd name="connsiteY50" fmla="*/ 459068 h 797705"/>
              <a:gd name="connsiteX51" fmla="*/ 800019 w 829568"/>
              <a:gd name="connsiteY51" fmla="*/ 470408 h 797705"/>
              <a:gd name="connsiteX52" fmla="*/ 800019 w 829568"/>
              <a:gd name="connsiteY52" fmla="*/ 481749 h 797705"/>
              <a:gd name="connsiteX53" fmla="*/ 784108 w 829568"/>
              <a:gd name="connsiteY53" fmla="*/ 477212 h 797705"/>
              <a:gd name="connsiteX54" fmla="*/ 777289 w 829568"/>
              <a:gd name="connsiteY54" fmla="*/ 477212 h 797705"/>
              <a:gd name="connsiteX55" fmla="*/ 770470 w 829568"/>
              <a:gd name="connsiteY55" fmla="*/ 481749 h 797705"/>
              <a:gd name="connsiteX56" fmla="*/ 768197 w 829568"/>
              <a:gd name="connsiteY56" fmla="*/ 488553 h 797705"/>
              <a:gd name="connsiteX57" fmla="*/ 750013 w 829568"/>
              <a:gd name="connsiteY57" fmla="*/ 497625 h 797705"/>
              <a:gd name="connsiteX58" fmla="*/ 745467 w 829568"/>
              <a:gd name="connsiteY58" fmla="*/ 490821 h 797705"/>
              <a:gd name="connsiteX59" fmla="*/ 740921 w 829568"/>
              <a:gd name="connsiteY59" fmla="*/ 493089 h 797705"/>
              <a:gd name="connsiteX60" fmla="*/ 738648 w 829568"/>
              <a:gd name="connsiteY60" fmla="*/ 499893 h 797705"/>
              <a:gd name="connsiteX61" fmla="*/ 738648 w 829568"/>
              <a:gd name="connsiteY61" fmla="*/ 502161 h 797705"/>
              <a:gd name="connsiteX62" fmla="*/ 725010 w 829568"/>
              <a:gd name="connsiteY62" fmla="*/ 504429 h 797705"/>
              <a:gd name="connsiteX63" fmla="*/ 715918 w 829568"/>
              <a:gd name="connsiteY63" fmla="*/ 508965 h 797705"/>
              <a:gd name="connsiteX64" fmla="*/ 715918 w 829568"/>
              <a:gd name="connsiteY64" fmla="*/ 520306 h 797705"/>
              <a:gd name="connsiteX65" fmla="*/ 713645 w 829568"/>
              <a:gd name="connsiteY65" fmla="*/ 522574 h 797705"/>
              <a:gd name="connsiteX66" fmla="*/ 693188 w 829568"/>
              <a:gd name="connsiteY66" fmla="*/ 527110 h 797705"/>
              <a:gd name="connsiteX67" fmla="*/ 677276 w 829568"/>
              <a:gd name="connsiteY67" fmla="*/ 531646 h 797705"/>
              <a:gd name="connsiteX68" fmla="*/ 668184 w 829568"/>
              <a:gd name="connsiteY68" fmla="*/ 527110 h 797705"/>
              <a:gd name="connsiteX69" fmla="*/ 665911 w 829568"/>
              <a:gd name="connsiteY69" fmla="*/ 529378 h 797705"/>
              <a:gd name="connsiteX70" fmla="*/ 665911 w 829568"/>
              <a:gd name="connsiteY70" fmla="*/ 538450 h 797705"/>
              <a:gd name="connsiteX71" fmla="*/ 659092 w 829568"/>
              <a:gd name="connsiteY71" fmla="*/ 540718 h 797705"/>
              <a:gd name="connsiteX72" fmla="*/ 659092 w 829568"/>
              <a:gd name="connsiteY72" fmla="*/ 545254 h 797705"/>
              <a:gd name="connsiteX73" fmla="*/ 659092 w 829568"/>
              <a:gd name="connsiteY73" fmla="*/ 556595 h 797705"/>
              <a:gd name="connsiteX74" fmla="*/ 656819 w 829568"/>
              <a:gd name="connsiteY74" fmla="*/ 561131 h 797705"/>
              <a:gd name="connsiteX75" fmla="*/ 652273 w 829568"/>
              <a:gd name="connsiteY75" fmla="*/ 561131 h 797705"/>
              <a:gd name="connsiteX76" fmla="*/ 650000 w 829568"/>
              <a:gd name="connsiteY76" fmla="*/ 561131 h 797705"/>
              <a:gd name="connsiteX77" fmla="*/ 618178 w 829568"/>
              <a:gd name="connsiteY77" fmla="*/ 552058 h 797705"/>
              <a:gd name="connsiteX78" fmla="*/ 618178 w 829568"/>
              <a:gd name="connsiteY78" fmla="*/ 549790 h 797705"/>
              <a:gd name="connsiteX79" fmla="*/ 609086 w 829568"/>
              <a:gd name="connsiteY79" fmla="*/ 542986 h 797705"/>
              <a:gd name="connsiteX80" fmla="*/ 599994 w 829568"/>
              <a:gd name="connsiteY80" fmla="*/ 547522 h 797705"/>
              <a:gd name="connsiteX81" fmla="*/ 590902 w 829568"/>
              <a:gd name="connsiteY81" fmla="*/ 554327 h 797705"/>
              <a:gd name="connsiteX82" fmla="*/ 579537 w 829568"/>
              <a:gd name="connsiteY82" fmla="*/ 563399 h 797705"/>
              <a:gd name="connsiteX83" fmla="*/ 574991 w 829568"/>
              <a:gd name="connsiteY83" fmla="*/ 556595 h 797705"/>
              <a:gd name="connsiteX84" fmla="*/ 570445 w 829568"/>
              <a:gd name="connsiteY84" fmla="*/ 558863 h 797705"/>
              <a:gd name="connsiteX85" fmla="*/ 568172 w 829568"/>
              <a:gd name="connsiteY85" fmla="*/ 563399 h 797705"/>
              <a:gd name="connsiteX86" fmla="*/ 568172 w 829568"/>
              <a:gd name="connsiteY86" fmla="*/ 565667 h 797705"/>
              <a:gd name="connsiteX87" fmla="*/ 568172 w 829568"/>
              <a:gd name="connsiteY87" fmla="*/ 570203 h 797705"/>
              <a:gd name="connsiteX88" fmla="*/ 565899 w 829568"/>
              <a:gd name="connsiteY88" fmla="*/ 572471 h 797705"/>
              <a:gd name="connsiteX89" fmla="*/ 565899 w 829568"/>
              <a:gd name="connsiteY89" fmla="*/ 574739 h 797705"/>
              <a:gd name="connsiteX90" fmla="*/ 581810 w 829568"/>
              <a:gd name="connsiteY90" fmla="*/ 581543 h 797705"/>
              <a:gd name="connsiteX91" fmla="*/ 586356 w 829568"/>
              <a:gd name="connsiteY91" fmla="*/ 586079 h 797705"/>
              <a:gd name="connsiteX92" fmla="*/ 590902 w 829568"/>
              <a:gd name="connsiteY92" fmla="*/ 579275 h 797705"/>
              <a:gd name="connsiteX93" fmla="*/ 597721 w 829568"/>
              <a:gd name="connsiteY93" fmla="*/ 583811 h 797705"/>
              <a:gd name="connsiteX94" fmla="*/ 599994 w 829568"/>
              <a:gd name="connsiteY94" fmla="*/ 579275 h 797705"/>
              <a:gd name="connsiteX95" fmla="*/ 606813 w 829568"/>
              <a:gd name="connsiteY95" fmla="*/ 588347 h 797705"/>
              <a:gd name="connsiteX96" fmla="*/ 606813 w 829568"/>
              <a:gd name="connsiteY96" fmla="*/ 590616 h 797705"/>
              <a:gd name="connsiteX97" fmla="*/ 602267 w 829568"/>
              <a:gd name="connsiteY97" fmla="*/ 601956 h 797705"/>
              <a:gd name="connsiteX98" fmla="*/ 604540 w 829568"/>
              <a:gd name="connsiteY98" fmla="*/ 606492 h 797705"/>
              <a:gd name="connsiteX99" fmla="*/ 609086 w 829568"/>
              <a:gd name="connsiteY99" fmla="*/ 611028 h 797705"/>
              <a:gd name="connsiteX100" fmla="*/ 606813 w 829568"/>
              <a:gd name="connsiteY100" fmla="*/ 613296 h 797705"/>
              <a:gd name="connsiteX101" fmla="*/ 588629 w 829568"/>
              <a:gd name="connsiteY101" fmla="*/ 613296 h 797705"/>
              <a:gd name="connsiteX102" fmla="*/ 572718 w 829568"/>
              <a:gd name="connsiteY102" fmla="*/ 597420 h 797705"/>
              <a:gd name="connsiteX103" fmla="*/ 568172 w 829568"/>
              <a:gd name="connsiteY103" fmla="*/ 606492 h 797705"/>
              <a:gd name="connsiteX104" fmla="*/ 561353 w 829568"/>
              <a:gd name="connsiteY104" fmla="*/ 597420 h 797705"/>
              <a:gd name="connsiteX105" fmla="*/ 556807 w 829568"/>
              <a:gd name="connsiteY105" fmla="*/ 592884 h 797705"/>
              <a:gd name="connsiteX106" fmla="*/ 540896 w 829568"/>
              <a:gd name="connsiteY106" fmla="*/ 570203 h 797705"/>
              <a:gd name="connsiteX107" fmla="*/ 529530 w 829568"/>
              <a:gd name="connsiteY107" fmla="*/ 565667 h 797705"/>
              <a:gd name="connsiteX108" fmla="*/ 518165 w 829568"/>
              <a:gd name="connsiteY108" fmla="*/ 572471 h 797705"/>
              <a:gd name="connsiteX109" fmla="*/ 509073 w 829568"/>
              <a:gd name="connsiteY109" fmla="*/ 577007 h 797705"/>
              <a:gd name="connsiteX110" fmla="*/ 505946 w 829568"/>
              <a:gd name="connsiteY110" fmla="*/ 579415 h 797705"/>
              <a:gd name="connsiteX111" fmla="*/ 505946 w 829568"/>
              <a:gd name="connsiteY111" fmla="*/ 581688 h 797705"/>
              <a:gd name="connsiteX112" fmla="*/ 496839 w 829568"/>
              <a:gd name="connsiteY112" fmla="*/ 590779 h 797705"/>
              <a:gd name="connsiteX113" fmla="*/ 496839 w 829568"/>
              <a:gd name="connsiteY113" fmla="*/ 595324 h 797705"/>
              <a:gd name="connsiteX114" fmla="*/ 501392 w 829568"/>
              <a:gd name="connsiteY114" fmla="*/ 599870 h 797705"/>
              <a:gd name="connsiteX115" fmla="*/ 510500 w 829568"/>
              <a:gd name="connsiteY115" fmla="*/ 608960 h 797705"/>
              <a:gd name="connsiteX116" fmla="*/ 508223 w 829568"/>
              <a:gd name="connsiteY116" fmla="*/ 613506 h 797705"/>
              <a:gd name="connsiteX117" fmla="*/ 508223 w 829568"/>
              <a:gd name="connsiteY117" fmla="*/ 618051 h 797705"/>
              <a:gd name="connsiteX118" fmla="*/ 490008 w 829568"/>
              <a:gd name="connsiteY118" fmla="*/ 640778 h 797705"/>
              <a:gd name="connsiteX119" fmla="*/ 464962 w 829568"/>
              <a:gd name="connsiteY119" fmla="*/ 631687 h 797705"/>
              <a:gd name="connsiteX120" fmla="*/ 451300 w 829568"/>
              <a:gd name="connsiteY120" fmla="*/ 624869 h 797705"/>
              <a:gd name="connsiteX121" fmla="*/ 423977 w 829568"/>
              <a:gd name="connsiteY121" fmla="*/ 638506 h 797705"/>
              <a:gd name="connsiteX122" fmla="*/ 414870 w 829568"/>
              <a:gd name="connsiteY122" fmla="*/ 643051 h 797705"/>
              <a:gd name="connsiteX123" fmla="*/ 398931 w 829568"/>
              <a:gd name="connsiteY123" fmla="*/ 645324 h 797705"/>
              <a:gd name="connsiteX124" fmla="*/ 394378 w 829568"/>
              <a:gd name="connsiteY124" fmla="*/ 652142 h 797705"/>
              <a:gd name="connsiteX125" fmla="*/ 373885 w 829568"/>
              <a:gd name="connsiteY125" fmla="*/ 654415 h 797705"/>
              <a:gd name="connsiteX126" fmla="*/ 353393 w 829568"/>
              <a:gd name="connsiteY126" fmla="*/ 661233 h 797705"/>
              <a:gd name="connsiteX127" fmla="*/ 344285 w 829568"/>
              <a:gd name="connsiteY127" fmla="*/ 683960 h 797705"/>
              <a:gd name="connsiteX128" fmla="*/ 346559 w 829568"/>
              <a:gd name="connsiteY128" fmla="*/ 695305 h 797705"/>
              <a:gd name="connsiteX129" fmla="*/ 346890 w 829568"/>
              <a:gd name="connsiteY129" fmla="*/ 695371 h 797705"/>
              <a:gd name="connsiteX130" fmla="*/ 349169 w 829568"/>
              <a:gd name="connsiteY130" fmla="*/ 697639 h 797705"/>
              <a:gd name="connsiteX131" fmla="*/ 349169 w 829568"/>
              <a:gd name="connsiteY131" fmla="*/ 708981 h 797705"/>
              <a:gd name="connsiteX132" fmla="*/ 349169 w 829568"/>
              <a:gd name="connsiteY132" fmla="*/ 713518 h 797705"/>
              <a:gd name="connsiteX133" fmla="*/ 346890 w 829568"/>
              <a:gd name="connsiteY133" fmla="*/ 724861 h 797705"/>
              <a:gd name="connsiteX134" fmla="*/ 340053 w 829568"/>
              <a:gd name="connsiteY134" fmla="*/ 722592 h 797705"/>
              <a:gd name="connsiteX135" fmla="*/ 317264 w 829568"/>
              <a:gd name="connsiteY135" fmla="*/ 720324 h 797705"/>
              <a:gd name="connsiteX136" fmla="*/ 312706 w 829568"/>
              <a:gd name="connsiteY136" fmla="*/ 718055 h 797705"/>
              <a:gd name="connsiteX137" fmla="*/ 303590 w 829568"/>
              <a:gd name="connsiteY137" fmla="*/ 724861 h 797705"/>
              <a:gd name="connsiteX138" fmla="*/ 294474 w 829568"/>
              <a:gd name="connsiteY138" fmla="*/ 731666 h 797705"/>
              <a:gd name="connsiteX139" fmla="*/ 289916 w 829568"/>
              <a:gd name="connsiteY139" fmla="*/ 738471 h 797705"/>
              <a:gd name="connsiteX140" fmla="*/ 289916 w 829568"/>
              <a:gd name="connsiteY140" fmla="*/ 752082 h 797705"/>
              <a:gd name="connsiteX141" fmla="*/ 280800 w 829568"/>
              <a:gd name="connsiteY141" fmla="*/ 740740 h 797705"/>
              <a:gd name="connsiteX142" fmla="*/ 278521 w 829568"/>
              <a:gd name="connsiteY142" fmla="*/ 738471 h 797705"/>
              <a:gd name="connsiteX143" fmla="*/ 278521 w 829568"/>
              <a:gd name="connsiteY143" fmla="*/ 743008 h 797705"/>
              <a:gd name="connsiteX144" fmla="*/ 276242 w 829568"/>
              <a:gd name="connsiteY144" fmla="*/ 749814 h 797705"/>
              <a:gd name="connsiteX145" fmla="*/ 269405 w 829568"/>
              <a:gd name="connsiteY145" fmla="*/ 761156 h 797705"/>
              <a:gd name="connsiteX146" fmla="*/ 232942 w 829568"/>
              <a:gd name="connsiteY146" fmla="*/ 749814 h 797705"/>
              <a:gd name="connsiteX147" fmla="*/ 230663 w 829568"/>
              <a:gd name="connsiteY147" fmla="*/ 754351 h 797705"/>
              <a:gd name="connsiteX148" fmla="*/ 203316 w 829568"/>
              <a:gd name="connsiteY148" fmla="*/ 754351 h 797705"/>
              <a:gd name="connsiteX149" fmla="*/ 180526 w 829568"/>
              <a:gd name="connsiteY149" fmla="*/ 761156 h 797705"/>
              <a:gd name="connsiteX150" fmla="*/ 169131 w 829568"/>
              <a:gd name="connsiteY150" fmla="*/ 767961 h 797705"/>
              <a:gd name="connsiteX151" fmla="*/ 157736 w 829568"/>
              <a:gd name="connsiteY151" fmla="*/ 783841 h 797705"/>
              <a:gd name="connsiteX152" fmla="*/ 137226 w 829568"/>
              <a:gd name="connsiteY152" fmla="*/ 797451 h 797705"/>
              <a:gd name="connsiteX153" fmla="*/ 128110 w 829568"/>
              <a:gd name="connsiteY153" fmla="*/ 786109 h 797705"/>
              <a:gd name="connsiteX154" fmla="*/ 121273 w 829568"/>
              <a:gd name="connsiteY154" fmla="*/ 792914 h 797705"/>
              <a:gd name="connsiteX155" fmla="*/ 93925 w 829568"/>
              <a:gd name="connsiteY155" fmla="*/ 790646 h 797705"/>
              <a:gd name="connsiteX156" fmla="*/ 68857 w 829568"/>
              <a:gd name="connsiteY156" fmla="*/ 790646 h 797705"/>
              <a:gd name="connsiteX157" fmla="*/ 57462 w 829568"/>
              <a:gd name="connsiteY157" fmla="*/ 792914 h 797705"/>
              <a:gd name="connsiteX158" fmla="*/ 46067 w 829568"/>
              <a:gd name="connsiteY158" fmla="*/ 788377 h 797705"/>
              <a:gd name="connsiteX159" fmla="*/ 25556 w 829568"/>
              <a:gd name="connsiteY159" fmla="*/ 786109 h 797705"/>
              <a:gd name="connsiteX160" fmla="*/ 25556 w 829568"/>
              <a:gd name="connsiteY160" fmla="*/ 783841 h 797705"/>
              <a:gd name="connsiteX161" fmla="*/ 27835 w 829568"/>
              <a:gd name="connsiteY161" fmla="*/ 777035 h 797705"/>
              <a:gd name="connsiteX162" fmla="*/ 25556 w 829568"/>
              <a:gd name="connsiteY162" fmla="*/ 774767 h 797705"/>
              <a:gd name="connsiteX163" fmla="*/ 43788 w 829568"/>
              <a:gd name="connsiteY163" fmla="*/ 770230 h 797705"/>
              <a:gd name="connsiteX164" fmla="*/ 48346 w 829568"/>
              <a:gd name="connsiteY164" fmla="*/ 699908 h 797705"/>
              <a:gd name="connsiteX165" fmla="*/ 5046 w 829568"/>
              <a:gd name="connsiteY165" fmla="*/ 670418 h 797705"/>
              <a:gd name="connsiteX166" fmla="*/ 30114 w 829568"/>
              <a:gd name="connsiteY166" fmla="*/ 615975 h 797705"/>
              <a:gd name="connsiteX167" fmla="*/ 41509 w 829568"/>
              <a:gd name="connsiteY167" fmla="*/ 600095 h 797705"/>
              <a:gd name="connsiteX168" fmla="*/ 34672 w 829568"/>
              <a:gd name="connsiteY168" fmla="*/ 581948 h 797705"/>
              <a:gd name="connsiteX169" fmla="*/ 41509 w 829568"/>
              <a:gd name="connsiteY169" fmla="*/ 554726 h 797705"/>
              <a:gd name="connsiteX170" fmla="*/ 16441 w 829568"/>
              <a:gd name="connsiteY170" fmla="*/ 543384 h 797705"/>
              <a:gd name="connsiteX171" fmla="*/ 34672 w 829568"/>
              <a:gd name="connsiteY171" fmla="*/ 541115 h 797705"/>
              <a:gd name="connsiteX172" fmla="*/ 41498 w 829568"/>
              <a:gd name="connsiteY172" fmla="*/ 541115 h 797705"/>
              <a:gd name="connsiteX173" fmla="*/ 39341 w 829568"/>
              <a:gd name="connsiteY173" fmla="*/ 528176 h 797705"/>
              <a:gd name="connsiteX174" fmla="*/ 86966 w 829568"/>
              <a:gd name="connsiteY174" fmla="*/ 494839 h 797705"/>
              <a:gd name="connsiteX175" fmla="*/ 65409 w 829568"/>
              <a:gd name="connsiteY175" fmla="*/ 464300 h 797705"/>
              <a:gd name="connsiteX176" fmla="*/ 62429 w 829568"/>
              <a:gd name="connsiteY176" fmla="*/ 465726 h 797705"/>
              <a:gd name="connsiteX177" fmla="*/ 62429 w 829568"/>
              <a:gd name="connsiteY177" fmla="*/ 467991 h 797705"/>
              <a:gd name="connsiteX178" fmla="*/ 57874 w 829568"/>
              <a:gd name="connsiteY178" fmla="*/ 470256 h 797705"/>
              <a:gd name="connsiteX179" fmla="*/ 48763 w 829568"/>
              <a:gd name="connsiteY179" fmla="*/ 472522 h 797705"/>
              <a:gd name="connsiteX180" fmla="*/ 35096 w 829568"/>
              <a:gd name="connsiteY180" fmla="*/ 467991 h 797705"/>
              <a:gd name="connsiteX181" fmla="*/ 32818 w 829568"/>
              <a:gd name="connsiteY181" fmla="*/ 449871 h 797705"/>
              <a:gd name="connsiteX182" fmla="*/ 55596 w 829568"/>
              <a:gd name="connsiteY182" fmla="*/ 418160 h 797705"/>
              <a:gd name="connsiteX183" fmla="*/ 55596 w 829568"/>
              <a:gd name="connsiteY183" fmla="*/ 404569 h 797705"/>
              <a:gd name="connsiteX184" fmla="*/ 48763 w 829568"/>
              <a:gd name="connsiteY184" fmla="*/ 372858 h 797705"/>
              <a:gd name="connsiteX185" fmla="*/ 41929 w 829568"/>
              <a:gd name="connsiteY185" fmla="*/ 354737 h 797705"/>
              <a:gd name="connsiteX186" fmla="*/ 41929 w 829568"/>
              <a:gd name="connsiteY186" fmla="*/ 320761 h 797705"/>
              <a:gd name="connsiteX187" fmla="*/ 41929 w 829568"/>
              <a:gd name="connsiteY187" fmla="*/ 300375 h 797705"/>
              <a:gd name="connsiteX188" fmla="*/ 44207 w 829568"/>
              <a:gd name="connsiteY188" fmla="*/ 302640 h 797705"/>
              <a:gd name="connsiteX189" fmla="*/ 57934 w 829568"/>
              <a:gd name="connsiteY189" fmla="*/ 312196 h 797705"/>
              <a:gd name="connsiteX190" fmla="*/ 58242 w 829568"/>
              <a:gd name="connsiteY190" fmla="*/ 311394 h 797705"/>
              <a:gd name="connsiteX191" fmla="*/ 56256 w 829568"/>
              <a:gd name="connsiteY191" fmla="*/ 310012 h 797705"/>
              <a:gd name="connsiteX192" fmla="*/ 44300 w 829568"/>
              <a:gd name="connsiteY192" fmla="*/ 302367 h 797705"/>
              <a:gd name="connsiteX193" fmla="*/ 42022 w 829568"/>
              <a:gd name="connsiteY193" fmla="*/ 300102 h 797705"/>
              <a:gd name="connsiteX194" fmla="*/ 44300 w 829568"/>
              <a:gd name="connsiteY194" fmla="*/ 291042 h 797705"/>
              <a:gd name="connsiteX195" fmla="*/ 78462 w 829568"/>
              <a:gd name="connsiteY195" fmla="*/ 259331 h 797705"/>
              <a:gd name="connsiteX196" fmla="*/ 92126 w 829568"/>
              <a:gd name="connsiteY196" fmla="*/ 232149 h 797705"/>
              <a:gd name="connsiteX197" fmla="*/ 114901 w 829568"/>
              <a:gd name="connsiteY197" fmla="*/ 211764 h 797705"/>
              <a:gd name="connsiteX198" fmla="*/ 108638 w 829568"/>
              <a:gd name="connsiteY198" fmla="*/ 204968 h 797705"/>
              <a:gd name="connsiteX199" fmla="*/ 92261 w 829568"/>
              <a:gd name="connsiteY199" fmla="*/ 198228 h 797705"/>
              <a:gd name="connsiteX200" fmla="*/ 91806 w 829568"/>
              <a:gd name="connsiteY200" fmla="*/ 198355 h 797705"/>
              <a:gd name="connsiteX201" fmla="*/ 84968 w 829568"/>
              <a:gd name="connsiteY201" fmla="*/ 193807 h 797705"/>
              <a:gd name="connsiteX202" fmla="*/ 94086 w 829568"/>
              <a:gd name="connsiteY202" fmla="*/ 155145 h 797705"/>
              <a:gd name="connsiteX203" fmla="*/ 135114 w 829568"/>
              <a:gd name="connsiteY203" fmla="*/ 127854 h 797705"/>
              <a:gd name="connsiteX204" fmla="*/ 160186 w 829568"/>
              <a:gd name="connsiteY204" fmla="*/ 134677 h 797705"/>
              <a:gd name="connsiteX205" fmla="*/ 160186 w 829568"/>
              <a:gd name="connsiteY205" fmla="*/ 109660 h 797705"/>
              <a:gd name="connsiteX206" fmla="*/ 187538 w 829568"/>
              <a:gd name="connsiteY206" fmla="*/ 82369 h 797705"/>
              <a:gd name="connsiteX207" fmla="*/ 187538 w 829568"/>
              <a:gd name="connsiteY207" fmla="*/ 48256 h 797705"/>
              <a:gd name="connsiteX208" fmla="*/ 190103 w 829568"/>
              <a:gd name="connsiteY208" fmla="*/ 284 h 797705"/>
              <a:gd name="connsiteX0" fmla="*/ 563632 w 829568"/>
              <a:gd name="connsiteY0" fmla="*/ 245962 h 797705"/>
              <a:gd name="connsiteX1" fmla="*/ 563631 w 829568"/>
              <a:gd name="connsiteY1" fmla="*/ 245950 h 797705"/>
              <a:gd name="connsiteX2" fmla="*/ 563632 w 829568"/>
              <a:gd name="connsiteY2" fmla="*/ 245962 h 797705"/>
              <a:gd name="connsiteX3" fmla="*/ 190103 w 829568"/>
              <a:gd name="connsiteY3" fmla="*/ 284 h 797705"/>
              <a:gd name="connsiteX4" fmla="*/ 208052 w 829568"/>
              <a:gd name="connsiteY4" fmla="*/ 7319 h 797705"/>
              <a:gd name="connsiteX5" fmla="*/ 244522 w 829568"/>
              <a:gd name="connsiteY5" fmla="*/ 16416 h 797705"/>
              <a:gd name="connsiteX6" fmla="*/ 269594 w 829568"/>
              <a:gd name="connsiteY6" fmla="*/ 36884 h 797705"/>
              <a:gd name="connsiteX7" fmla="*/ 303784 w 829568"/>
              <a:gd name="connsiteY7" fmla="*/ 59627 h 797705"/>
              <a:gd name="connsiteX8" fmla="*/ 317460 w 829568"/>
              <a:gd name="connsiteY8" fmla="*/ 89192 h 797705"/>
              <a:gd name="connsiteX9" fmla="*/ 353930 w 829568"/>
              <a:gd name="connsiteY9" fmla="*/ 73272 h 797705"/>
              <a:gd name="connsiteX10" fmla="*/ 399516 w 829568"/>
              <a:gd name="connsiteY10" fmla="*/ 82369 h 797705"/>
              <a:gd name="connsiteX11" fmla="*/ 417751 w 829568"/>
              <a:gd name="connsiteY11" fmla="*/ 77821 h 797705"/>
              <a:gd name="connsiteX12" fmla="*/ 438265 w 829568"/>
              <a:gd name="connsiteY12" fmla="*/ 64175 h 797705"/>
              <a:gd name="connsiteX13" fmla="*/ 472455 w 829568"/>
              <a:gd name="connsiteY13" fmla="*/ 73272 h 797705"/>
              <a:gd name="connsiteX14" fmla="*/ 486131 w 829568"/>
              <a:gd name="connsiteY14" fmla="*/ 82369 h 797705"/>
              <a:gd name="connsiteX15" fmla="*/ 490690 w 829568"/>
              <a:gd name="connsiteY15" fmla="*/ 132402 h 797705"/>
              <a:gd name="connsiteX16" fmla="*/ 495248 w 829568"/>
              <a:gd name="connsiteY16" fmla="*/ 196081 h 797705"/>
              <a:gd name="connsiteX17" fmla="*/ 495248 w 829568"/>
              <a:gd name="connsiteY17" fmla="*/ 214275 h 797705"/>
              <a:gd name="connsiteX18" fmla="*/ 495067 w 829568"/>
              <a:gd name="connsiteY18" fmla="*/ 214233 h 797705"/>
              <a:gd name="connsiteX19" fmla="*/ 497146 w 829568"/>
              <a:gd name="connsiteY19" fmla="*/ 220449 h 797705"/>
              <a:gd name="connsiteX20" fmla="*/ 508530 w 829568"/>
              <a:gd name="connsiteY20" fmla="*/ 224986 h 797705"/>
              <a:gd name="connsiteX21" fmla="*/ 524467 w 829568"/>
              <a:gd name="connsiteY21" fmla="*/ 238598 h 797705"/>
              <a:gd name="connsiteX22" fmla="*/ 556340 w 829568"/>
              <a:gd name="connsiteY22" fmla="*/ 234060 h 797705"/>
              <a:gd name="connsiteX23" fmla="*/ 563170 w 829568"/>
              <a:gd name="connsiteY23" fmla="*/ 247672 h 797705"/>
              <a:gd name="connsiteX24" fmla="*/ 570440 w 829568"/>
              <a:gd name="connsiteY24" fmla="*/ 254988 h 797705"/>
              <a:gd name="connsiteX25" fmla="*/ 570445 w 829568"/>
              <a:gd name="connsiteY25" fmla="*/ 254942 h 797705"/>
              <a:gd name="connsiteX26" fmla="*/ 574113 w 829568"/>
              <a:gd name="connsiteY26" fmla="*/ 256872 h 797705"/>
              <a:gd name="connsiteX27" fmla="*/ 574458 w 829568"/>
              <a:gd name="connsiteY27" fmla="*/ 256788 h 797705"/>
              <a:gd name="connsiteX28" fmla="*/ 583230 w 829568"/>
              <a:gd name="connsiteY28" fmla="*/ 254659 h 797705"/>
              <a:gd name="connsiteX29" fmla="*/ 595448 w 829568"/>
              <a:gd name="connsiteY29" fmla="*/ 250406 h 797705"/>
              <a:gd name="connsiteX30" fmla="*/ 624997 w 829568"/>
              <a:gd name="connsiteY30" fmla="*/ 282159 h 797705"/>
              <a:gd name="connsiteX31" fmla="*/ 637214 w 829568"/>
              <a:gd name="connsiteY31" fmla="*/ 311928 h 797705"/>
              <a:gd name="connsiteX32" fmla="*/ 636731 w 829568"/>
              <a:gd name="connsiteY32" fmla="*/ 319061 h 797705"/>
              <a:gd name="connsiteX33" fmla="*/ 636185 w 829568"/>
              <a:gd name="connsiteY33" fmla="*/ 327131 h 797705"/>
              <a:gd name="connsiteX34" fmla="*/ 640908 w 829568"/>
              <a:gd name="connsiteY34" fmla="*/ 343397 h 797705"/>
              <a:gd name="connsiteX35" fmla="*/ 656819 w 829568"/>
              <a:gd name="connsiteY35" fmla="*/ 329788 h 797705"/>
              <a:gd name="connsiteX36" fmla="*/ 672730 w 829568"/>
              <a:gd name="connsiteY36" fmla="*/ 347933 h 797705"/>
              <a:gd name="connsiteX37" fmla="*/ 679549 w 829568"/>
              <a:gd name="connsiteY37" fmla="*/ 366077 h 797705"/>
              <a:gd name="connsiteX38" fmla="*/ 686368 w 829568"/>
              <a:gd name="connsiteY38" fmla="*/ 418243 h 797705"/>
              <a:gd name="connsiteX39" fmla="*/ 736375 w 829568"/>
              <a:gd name="connsiteY39" fmla="*/ 413707 h 797705"/>
              <a:gd name="connsiteX40" fmla="*/ 756832 w 829568"/>
              <a:gd name="connsiteY40" fmla="*/ 420511 h 797705"/>
              <a:gd name="connsiteX41" fmla="*/ 765924 w 829568"/>
              <a:gd name="connsiteY41" fmla="*/ 406903 h 797705"/>
              <a:gd name="connsiteX42" fmla="*/ 829568 w 829568"/>
              <a:gd name="connsiteY42" fmla="*/ 397830 h 797705"/>
              <a:gd name="connsiteX43" fmla="*/ 829568 w 829568"/>
              <a:gd name="connsiteY43" fmla="*/ 413707 h 797705"/>
              <a:gd name="connsiteX44" fmla="*/ 827295 w 829568"/>
              <a:gd name="connsiteY44" fmla="*/ 422779 h 797705"/>
              <a:gd name="connsiteX45" fmla="*/ 822749 w 829568"/>
              <a:gd name="connsiteY45" fmla="*/ 427315 h 797705"/>
              <a:gd name="connsiteX46" fmla="*/ 815930 w 829568"/>
              <a:gd name="connsiteY46" fmla="*/ 427315 h 797705"/>
              <a:gd name="connsiteX47" fmla="*/ 809111 w 829568"/>
              <a:gd name="connsiteY47" fmla="*/ 443192 h 797705"/>
              <a:gd name="connsiteX48" fmla="*/ 802292 w 829568"/>
              <a:gd name="connsiteY48" fmla="*/ 452264 h 797705"/>
              <a:gd name="connsiteX49" fmla="*/ 800019 w 829568"/>
              <a:gd name="connsiteY49" fmla="*/ 459068 h 797705"/>
              <a:gd name="connsiteX50" fmla="*/ 800019 w 829568"/>
              <a:gd name="connsiteY50" fmla="*/ 470408 h 797705"/>
              <a:gd name="connsiteX51" fmla="*/ 800019 w 829568"/>
              <a:gd name="connsiteY51" fmla="*/ 481749 h 797705"/>
              <a:gd name="connsiteX52" fmla="*/ 784108 w 829568"/>
              <a:gd name="connsiteY52" fmla="*/ 477212 h 797705"/>
              <a:gd name="connsiteX53" fmla="*/ 777289 w 829568"/>
              <a:gd name="connsiteY53" fmla="*/ 477212 h 797705"/>
              <a:gd name="connsiteX54" fmla="*/ 770470 w 829568"/>
              <a:gd name="connsiteY54" fmla="*/ 481749 h 797705"/>
              <a:gd name="connsiteX55" fmla="*/ 768197 w 829568"/>
              <a:gd name="connsiteY55" fmla="*/ 488553 h 797705"/>
              <a:gd name="connsiteX56" fmla="*/ 750013 w 829568"/>
              <a:gd name="connsiteY56" fmla="*/ 497625 h 797705"/>
              <a:gd name="connsiteX57" fmla="*/ 745467 w 829568"/>
              <a:gd name="connsiteY57" fmla="*/ 490821 h 797705"/>
              <a:gd name="connsiteX58" fmla="*/ 740921 w 829568"/>
              <a:gd name="connsiteY58" fmla="*/ 493089 h 797705"/>
              <a:gd name="connsiteX59" fmla="*/ 738648 w 829568"/>
              <a:gd name="connsiteY59" fmla="*/ 499893 h 797705"/>
              <a:gd name="connsiteX60" fmla="*/ 738648 w 829568"/>
              <a:gd name="connsiteY60" fmla="*/ 502161 h 797705"/>
              <a:gd name="connsiteX61" fmla="*/ 725010 w 829568"/>
              <a:gd name="connsiteY61" fmla="*/ 504429 h 797705"/>
              <a:gd name="connsiteX62" fmla="*/ 715918 w 829568"/>
              <a:gd name="connsiteY62" fmla="*/ 508965 h 797705"/>
              <a:gd name="connsiteX63" fmla="*/ 715918 w 829568"/>
              <a:gd name="connsiteY63" fmla="*/ 520306 h 797705"/>
              <a:gd name="connsiteX64" fmla="*/ 713645 w 829568"/>
              <a:gd name="connsiteY64" fmla="*/ 522574 h 797705"/>
              <a:gd name="connsiteX65" fmla="*/ 693188 w 829568"/>
              <a:gd name="connsiteY65" fmla="*/ 527110 h 797705"/>
              <a:gd name="connsiteX66" fmla="*/ 677276 w 829568"/>
              <a:gd name="connsiteY66" fmla="*/ 531646 h 797705"/>
              <a:gd name="connsiteX67" fmla="*/ 668184 w 829568"/>
              <a:gd name="connsiteY67" fmla="*/ 527110 h 797705"/>
              <a:gd name="connsiteX68" fmla="*/ 665911 w 829568"/>
              <a:gd name="connsiteY68" fmla="*/ 529378 h 797705"/>
              <a:gd name="connsiteX69" fmla="*/ 665911 w 829568"/>
              <a:gd name="connsiteY69" fmla="*/ 538450 h 797705"/>
              <a:gd name="connsiteX70" fmla="*/ 659092 w 829568"/>
              <a:gd name="connsiteY70" fmla="*/ 540718 h 797705"/>
              <a:gd name="connsiteX71" fmla="*/ 659092 w 829568"/>
              <a:gd name="connsiteY71" fmla="*/ 545254 h 797705"/>
              <a:gd name="connsiteX72" fmla="*/ 659092 w 829568"/>
              <a:gd name="connsiteY72" fmla="*/ 556595 h 797705"/>
              <a:gd name="connsiteX73" fmla="*/ 656819 w 829568"/>
              <a:gd name="connsiteY73" fmla="*/ 561131 h 797705"/>
              <a:gd name="connsiteX74" fmla="*/ 652273 w 829568"/>
              <a:gd name="connsiteY74" fmla="*/ 561131 h 797705"/>
              <a:gd name="connsiteX75" fmla="*/ 650000 w 829568"/>
              <a:gd name="connsiteY75" fmla="*/ 561131 h 797705"/>
              <a:gd name="connsiteX76" fmla="*/ 618178 w 829568"/>
              <a:gd name="connsiteY76" fmla="*/ 552058 h 797705"/>
              <a:gd name="connsiteX77" fmla="*/ 618178 w 829568"/>
              <a:gd name="connsiteY77" fmla="*/ 549790 h 797705"/>
              <a:gd name="connsiteX78" fmla="*/ 609086 w 829568"/>
              <a:gd name="connsiteY78" fmla="*/ 542986 h 797705"/>
              <a:gd name="connsiteX79" fmla="*/ 599994 w 829568"/>
              <a:gd name="connsiteY79" fmla="*/ 547522 h 797705"/>
              <a:gd name="connsiteX80" fmla="*/ 590902 w 829568"/>
              <a:gd name="connsiteY80" fmla="*/ 554327 h 797705"/>
              <a:gd name="connsiteX81" fmla="*/ 579537 w 829568"/>
              <a:gd name="connsiteY81" fmla="*/ 563399 h 797705"/>
              <a:gd name="connsiteX82" fmla="*/ 574991 w 829568"/>
              <a:gd name="connsiteY82" fmla="*/ 556595 h 797705"/>
              <a:gd name="connsiteX83" fmla="*/ 570445 w 829568"/>
              <a:gd name="connsiteY83" fmla="*/ 558863 h 797705"/>
              <a:gd name="connsiteX84" fmla="*/ 568172 w 829568"/>
              <a:gd name="connsiteY84" fmla="*/ 563399 h 797705"/>
              <a:gd name="connsiteX85" fmla="*/ 568172 w 829568"/>
              <a:gd name="connsiteY85" fmla="*/ 565667 h 797705"/>
              <a:gd name="connsiteX86" fmla="*/ 568172 w 829568"/>
              <a:gd name="connsiteY86" fmla="*/ 570203 h 797705"/>
              <a:gd name="connsiteX87" fmla="*/ 565899 w 829568"/>
              <a:gd name="connsiteY87" fmla="*/ 572471 h 797705"/>
              <a:gd name="connsiteX88" fmla="*/ 565899 w 829568"/>
              <a:gd name="connsiteY88" fmla="*/ 574739 h 797705"/>
              <a:gd name="connsiteX89" fmla="*/ 581810 w 829568"/>
              <a:gd name="connsiteY89" fmla="*/ 581543 h 797705"/>
              <a:gd name="connsiteX90" fmla="*/ 586356 w 829568"/>
              <a:gd name="connsiteY90" fmla="*/ 586079 h 797705"/>
              <a:gd name="connsiteX91" fmla="*/ 590902 w 829568"/>
              <a:gd name="connsiteY91" fmla="*/ 579275 h 797705"/>
              <a:gd name="connsiteX92" fmla="*/ 597721 w 829568"/>
              <a:gd name="connsiteY92" fmla="*/ 583811 h 797705"/>
              <a:gd name="connsiteX93" fmla="*/ 599994 w 829568"/>
              <a:gd name="connsiteY93" fmla="*/ 579275 h 797705"/>
              <a:gd name="connsiteX94" fmla="*/ 606813 w 829568"/>
              <a:gd name="connsiteY94" fmla="*/ 588347 h 797705"/>
              <a:gd name="connsiteX95" fmla="*/ 606813 w 829568"/>
              <a:gd name="connsiteY95" fmla="*/ 590616 h 797705"/>
              <a:gd name="connsiteX96" fmla="*/ 602267 w 829568"/>
              <a:gd name="connsiteY96" fmla="*/ 601956 h 797705"/>
              <a:gd name="connsiteX97" fmla="*/ 604540 w 829568"/>
              <a:gd name="connsiteY97" fmla="*/ 606492 h 797705"/>
              <a:gd name="connsiteX98" fmla="*/ 609086 w 829568"/>
              <a:gd name="connsiteY98" fmla="*/ 611028 h 797705"/>
              <a:gd name="connsiteX99" fmla="*/ 606813 w 829568"/>
              <a:gd name="connsiteY99" fmla="*/ 613296 h 797705"/>
              <a:gd name="connsiteX100" fmla="*/ 588629 w 829568"/>
              <a:gd name="connsiteY100" fmla="*/ 613296 h 797705"/>
              <a:gd name="connsiteX101" fmla="*/ 572718 w 829568"/>
              <a:gd name="connsiteY101" fmla="*/ 597420 h 797705"/>
              <a:gd name="connsiteX102" fmla="*/ 568172 w 829568"/>
              <a:gd name="connsiteY102" fmla="*/ 606492 h 797705"/>
              <a:gd name="connsiteX103" fmla="*/ 561353 w 829568"/>
              <a:gd name="connsiteY103" fmla="*/ 597420 h 797705"/>
              <a:gd name="connsiteX104" fmla="*/ 556807 w 829568"/>
              <a:gd name="connsiteY104" fmla="*/ 592884 h 797705"/>
              <a:gd name="connsiteX105" fmla="*/ 540896 w 829568"/>
              <a:gd name="connsiteY105" fmla="*/ 570203 h 797705"/>
              <a:gd name="connsiteX106" fmla="*/ 529530 w 829568"/>
              <a:gd name="connsiteY106" fmla="*/ 565667 h 797705"/>
              <a:gd name="connsiteX107" fmla="*/ 518165 w 829568"/>
              <a:gd name="connsiteY107" fmla="*/ 572471 h 797705"/>
              <a:gd name="connsiteX108" fmla="*/ 509073 w 829568"/>
              <a:gd name="connsiteY108" fmla="*/ 577007 h 797705"/>
              <a:gd name="connsiteX109" fmla="*/ 505946 w 829568"/>
              <a:gd name="connsiteY109" fmla="*/ 579415 h 797705"/>
              <a:gd name="connsiteX110" fmla="*/ 505946 w 829568"/>
              <a:gd name="connsiteY110" fmla="*/ 581688 h 797705"/>
              <a:gd name="connsiteX111" fmla="*/ 496839 w 829568"/>
              <a:gd name="connsiteY111" fmla="*/ 590779 h 797705"/>
              <a:gd name="connsiteX112" fmla="*/ 496839 w 829568"/>
              <a:gd name="connsiteY112" fmla="*/ 595324 h 797705"/>
              <a:gd name="connsiteX113" fmla="*/ 501392 w 829568"/>
              <a:gd name="connsiteY113" fmla="*/ 599870 h 797705"/>
              <a:gd name="connsiteX114" fmla="*/ 510500 w 829568"/>
              <a:gd name="connsiteY114" fmla="*/ 608960 h 797705"/>
              <a:gd name="connsiteX115" fmla="*/ 508223 w 829568"/>
              <a:gd name="connsiteY115" fmla="*/ 613506 h 797705"/>
              <a:gd name="connsiteX116" fmla="*/ 508223 w 829568"/>
              <a:gd name="connsiteY116" fmla="*/ 618051 h 797705"/>
              <a:gd name="connsiteX117" fmla="*/ 490008 w 829568"/>
              <a:gd name="connsiteY117" fmla="*/ 640778 h 797705"/>
              <a:gd name="connsiteX118" fmla="*/ 464962 w 829568"/>
              <a:gd name="connsiteY118" fmla="*/ 631687 h 797705"/>
              <a:gd name="connsiteX119" fmla="*/ 451300 w 829568"/>
              <a:gd name="connsiteY119" fmla="*/ 624869 h 797705"/>
              <a:gd name="connsiteX120" fmla="*/ 423977 w 829568"/>
              <a:gd name="connsiteY120" fmla="*/ 638506 h 797705"/>
              <a:gd name="connsiteX121" fmla="*/ 414870 w 829568"/>
              <a:gd name="connsiteY121" fmla="*/ 643051 h 797705"/>
              <a:gd name="connsiteX122" fmla="*/ 398931 w 829568"/>
              <a:gd name="connsiteY122" fmla="*/ 645324 h 797705"/>
              <a:gd name="connsiteX123" fmla="*/ 394378 w 829568"/>
              <a:gd name="connsiteY123" fmla="*/ 652142 h 797705"/>
              <a:gd name="connsiteX124" fmla="*/ 373885 w 829568"/>
              <a:gd name="connsiteY124" fmla="*/ 654415 h 797705"/>
              <a:gd name="connsiteX125" fmla="*/ 353393 w 829568"/>
              <a:gd name="connsiteY125" fmla="*/ 661233 h 797705"/>
              <a:gd name="connsiteX126" fmla="*/ 344285 w 829568"/>
              <a:gd name="connsiteY126" fmla="*/ 683960 h 797705"/>
              <a:gd name="connsiteX127" fmla="*/ 346559 w 829568"/>
              <a:gd name="connsiteY127" fmla="*/ 695305 h 797705"/>
              <a:gd name="connsiteX128" fmla="*/ 346890 w 829568"/>
              <a:gd name="connsiteY128" fmla="*/ 695371 h 797705"/>
              <a:gd name="connsiteX129" fmla="*/ 349169 w 829568"/>
              <a:gd name="connsiteY129" fmla="*/ 697639 h 797705"/>
              <a:gd name="connsiteX130" fmla="*/ 349169 w 829568"/>
              <a:gd name="connsiteY130" fmla="*/ 708981 h 797705"/>
              <a:gd name="connsiteX131" fmla="*/ 349169 w 829568"/>
              <a:gd name="connsiteY131" fmla="*/ 713518 h 797705"/>
              <a:gd name="connsiteX132" fmla="*/ 346890 w 829568"/>
              <a:gd name="connsiteY132" fmla="*/ 724861 h 797705"/>
              <a:gd name="connsiteX133" fmla="*/ 340053 w 829568"/>
              <a:gd name="connsiteY133" fmla="*/ 722592 h 797705"/>
              <a:gd name="connsiteX134" fmla="*/ 317264 w 829568"/>
              <a:gd name="connsiteY134" fmla="*/ 720324 h 797705"/>
              <a:gd name="connsiteX135" fmla="*/ 312706 w 829568"/>
              <a:gd name="connsiteY135" fmla="*/ 718055 h 797705"/>
              <a:gd name="connsiteX136" fmla="*/ 303590 w 829568"/>
              <a:gd name="connsiteY136" fmla="*/ 724861 h 797705"/>
              <a:gd name="connsiteX137" fmla="*/ 294474 w 829568"/>
              <a:gd name="connsiteY137" fmla="*/ 731666 h 797705"/>
              <a:gd name="connsiteX138" fmla="*/ 289916 w 829568"/>
              <a:gd name="connsiteY138" fmla="*/ 738471 h 797705"/>
              <a:gd name="connsiteX139" fmla="*/ 289916 w 829568"/>
              <a:gd name="connsiteY139" fmla="*/ 752082 h 797705"/>
              <a:gd name="connsiteX140" fmla="*/ 280800 w 829568"/>
              <a:gd name="connsiteY140" fmla="*/ 740740 h 797705"/>
              <a:gd name="connsiteX141" fmla="*/ 278521 w 829568"/>
              <a:gd name="connsiteY141" fmla="*/ 738471 h 797705"/>
              <a:gd name="connsiteX142" fmla="*/ 278521 w 829568"/>
              <a:gd name="connsiteY142" fmla="*/ 743008 h 797705"/>
              <a:gd name="connsiteX143" fmla="*/ 276242 w 829568"/>
              <a:gd name="connsiteY143" fmla="*/ 749814 h 797705"/>
              <a:gd name="connsiteX144" fmla="*/ 269405 w 829568"/>
              <a:gd name="connsiteY144" fmla="*/ 761156 h 797705"/>
              <a:gd name="connsiteX145" fmla="*/ 232942 w 829568"/>
              <a:gd name="connsiteY145" fmla="*/ 749814 h 797705"/>
              <a:gd name="connsiteX146" fmla="*/ 230663 w 829568"/>
              <a:gd name="connsiteY146" fmla="*/ 754351 h 797705"/>
              <a:gd name="connsiteX147" fmla="*/ 203316 w 829568"/>
              <a:gd name="connsiteY147" fmla="*/ 754351 h 797705"/>
              <a:gd name="connsiteX148" fmla="*/ 180526 w 829568"/>
              <a:gd name="connsiteY148" fmla="*/ 761156 h 797705"/>
              <a:gd name="connsiteX149" fmla="*/ 169131 w 829568"/>
              <a:gd name="connsiteY149" fmla="*/ 767961 h 797705"/>
              <a:gd name="connsiteX150" fmla="*/ 157736 w 829568"/>
              <a:gd name="connsiteY150" fmla="*/ 783841 h 797705"/>
              <a:gd name="connsiteX151" fmla="*/ 137226 w 829568"/>
              <a:gd name="connsiteY151" fmla="*/ 797451 h 797705"/>
              <a:gd name="connsiteX152" fmla="*/ 128110 w 829568"/>
              <a:gd name="connsiteY152" fmla="*/ 786109 h 797705"/>
              <a:gd name="connsiteX153" fmla="*/ 121273 w 829568"/>
              <a:gd name="connsiteY153" fmla="*/ 792914 h 797705"/>
              <a:gd name="connsiteX154" fmla="*/ 93925 w 829568"/>
              <a:gd name="connsiteY154" fmla="*/ 790646 h 797705"/>
              <a:gd name="connsiteX155" fmla="*/ 68857 w 829568"/>
              <a:gd name="connsiteY155" fmla="*/ 790646 h 797705"/>
              <a:gd name="connsiteX156" fmla="*/ 57462 w 829568"/>
              <a:gd name="connsiteY156" fmla="*/ 792914 h 797705"/>
              <a:gd name="connsiteX157" fmla="*/ 46067 w 829568"/>
              <a:gd name="connsiteY157" fmla="*/ 788377 h 797705"/>
              <a:gd name="connsiteX158" fmla="*/ 25556 w 829568"/>
              <a:gd name="connsiteY158" fmla="*/ 786109 h 797705"/>
              <a:gd name="connsiteX159" fmla="*/ 25556 w 829568"/>
              <a:gd name="connsiteY159" fmla="*/ 783841 h 797705"/>
              <a:gd name="connsiteX160" fmla="*/ 27835 w 829568"/>
              <a:gd name="connsiteY160" fmla="*/ 777035 h 797705"/>
              <a:gd name="connsiteX161" fmla="*/ 25556 w 829568"/>
              <a:gd name="connsiteY161" fmla="*/ 774767 h 797705"/>
              <a:gd name="connsiteX162" fmla="*/ 43788 w 829568"/>
              <a:gd name="connsiteY162" fmla="*/ 770230 h 797705"/>
              <a:gd name="connsiteX163" fmla="*/ 48346 w 829568"/>
              <a:gd name="connsiteY163" fmla="*/ 699908 h 797705"/>
              <a:gd name="connsiteX164" fmla="*/ 5046 w 829568"/>
              <a:gd name="connsiteY164" fmla="*/ 670418 h 797705"/>
              <a:gd name="connsiteX165" fmla="*/ 30114 w 829568"/>
              <a:gd name="connsiteY165" fmla="*/ 615975 h 797705"/>
              <a:gd name="connsiteX166" fmla="*/ 41509 w 829568"/>
              <a:gd name="connsiteY166" fmla="*/ 600095 h 797705"/>
              <a:gd name="connsiteX167" fmla="*/ 34672 w 829568"/>
              <a:gd name="connsiteY167" fmla="*/ 581948 h 797705"/>
              <a:gd name="connsiteX168" fmla="*/ 41509 w 829568"/>
              <a:gd name="connsiteY168" fmla="*/ 554726 h 797705"/>
              <a:gd name="connsiteX169" fmla="*/ 16441 w 829568"/>
              <a:gd name="connsiteY169" fmla="*/ 543384 h 797705"/>
              <a:gd name="connsiteX170" fmla="*/ 34672 w 829568"/>
              <a:gd name="connsiteY170" fmla="*/ 541115 h 797705"/>
              <a:gd name="connsiteX171" fmla="*/ 41498 w 829568"/>
              <a:gd name="connsiteY171" fmla="*/ 541115 h 797705"/>
              <a:gd name="connsiteX172" fmla="*/ 39341 w 829568"/>
              <a:gd name="connsiteY172" fmla="*/ 528176 h 797705"/>
              <a:gd name="connsiteX173" fmla="*/ 86966 w 829568"/>
              <a:gd name="connsiteY173" fmla="*/ 494839 h 797705"/>
              <a:gd name="connsiteX174" fmla="*/ 65409 w 829568"/>
              <a:gd name="connsiteY174" fmla="*/ 464300 h 797705"/>
              <a:gd name="connsiteX175" fmla="*/ 62429 w 829568"/>
              <a:gd name="connsiteY175" fmla="*/ 465726 h 797705"/>
              <a:gd name="connsiteX176" fmla="*/ 62429 w 829568"/>
              <a:gd name="connsiteY176" fmla="*/ 467991 h 797705"/>
              <a:gd name="connsiteX177" fmla="*/ 57874 w 829568"/>
              <a:gd name="connsiteY177" fmla="*/ 470256 h 797705"/>
              <a:gd name="connsiteX178" fmla="*/ 48763 w 829568"/>
              <a:gd name="connsiteY178" fmla="*/ 472522 h 797705"/>
              <a:gd name="connsiteX179" fmla="*/ 35096 w 829568"/>
              <a:gd name="connsiteY179" fmla="*/ 467991 h 797705"/>
              <a:gd name="connsiteX180" fmla="*/ 32818 w 829568"/>
              <a:gd name="connsiteY180" fmla="*/ 449871 h 797705"/>
              <a:gd name="connsiteX181" fmla="*/ 55596 w 829568"/>
              <a:gd name="connsiteY181" fmla="*/ 418160 h 797705"/>
              <a:gd name="connsiteX182" fmla="*/ 55596 w 829568"/>
              <a:gd name="connsiteY182" fmla="*/ 404569 h 797705"/>
              <a:gd name="connsiteX183" fmla="*/ 48763 w 829568"/>
              <a:gd name="connsiteY183" fmla="*/ 372858 h 797705"/>
              <a:gd name="connsiteX184" fmla="*/ 41929 w 829568"/>
              <a:gd name="connsiteY184" fmla="*/ 354737 h 797705"/>
              <a:gd name="connsiteX185" fmla="*/ 41929 w 829568"/>
              <a:gd name="connsiteY185" fmla="*/ 320761 h 797705"/>
              <a:gd name="connsiteX186" fmla="*/ 41929 w 829568"/>
              <a:gd name="connsiteY186" fmla="*/ 300375 h 797705"/>
              <a:gd name="connsiteX187" fmla="*/ 44207 w 829568"/>
              <a:gd name="connsiteY187" fmla="*/ 302640 h 797705"/>
              <a:gd name="connsiteX188" fmla="*/ 57934 w 829568"/>
              <a:gd name="connsiteY188" fmla="*/ 312196 h 797705"/>
              <a:gd name="connsiteX189" fmla="*/ 58242 w 829568"/>
              <a:gd name="connsiteY189" fmla="*/ 311394 h 797705"/>
              <a:gd name="connsiteX190" fmla="*/ 56256 w 829568"/>
              <a:gd name="connsiteY190" fmla="*/ 310012 h 797705"/>
              <a:gd name="connsiteX191" fmla="*/ 44300 w 829568"/>
              <a:gd name="connsiteY191" fmla="*/ 302367 h 797705"/>
              <a:gd name="connsiteX192" fmla="*/ 42022 w 829568"/>
              <a:gd name="connsiteY192" fmla="*/ 300102 h 797705"/>
              <a:gd name="connsiteX193" fmla="*/ 44300 w 829568"/>
              <a:gd name="connsiteY193" fmla="*/ 291042 h 797705"/>
              <a:gd name="connsiteX194" fmla="*/ 78462 w 829568"/>
              <a:gd name="connsiteY194" fmla="*/ 259331 h 797705"/>
              <a:gd name="connsiteX195" fmla="*/ 92126 w 829568"/>
              <a:gd name="connsiteY195" fmla="*/ 232149 h 797705"/>
              <a:gd name="connsiteX196" fmla="*/ 114901 w 829568"/>
              <a:gd name="connsiteY196" fmla="*/ 211764 h 797705"/>
              <a:gd name="connsiteX197" fmla="*/ 108638 w 829568"/>
              <a:gd name="connsiteY197" fmla="*/ 204968 h 797705"/>
              <a:gd name="connsiteX198" fmla="*/ 92261 w 829568"/>
              <a:gd name="connsiteY198" fmla="*/ 198228 h 797705"/>
              <a:gd name="connsiteX199" fmla="*/ 91806 w 829568"/>
              <a:gd name="connsiteY199" fmla="*/ 198355 h 797705"/>
              <a:gd name="connsiteX200" fmla="*/ 84968 w 829568"/>
              <a:gd name="connsiteY200" fmla="*/ 193807 h 797705"/>
              <a:gd name="connsiteX201" fmla="*/ 94086 w 829568"/>
              <a:gd name="connsiteY201" fmla="*/ 155145 h 797705"/>
              <a:gd name="connsiteX202" fmla="*/ 135114 w 829568"/>
              <a:gd name="connsiteY202" fmla="*/ 127854 h 797705"/>
              <a:gd name="connsiteX203" fmla="*/ 160186 w 829568"/>
              <a:gd name="connsiteY203" fmla="*/ 134677 h 797705"/>
              <a:gd name="connsiteX204" fmla="*/ 160186 w 829568"/>
              <a:gd name="connsiteY204" fmla="*/ 109660 h 797705"/>
              <a:gd name="connsiteX205" fmla="*/ 187538 w 829568"/>
              <a:gd name="connsiteY205" fmla="*/ 82369 h 797705"/>
              <a:gd name="connsiteX206" fmla="*/ 187538 w 829568"/>
              <a:gd name="connsiteY206" fmla="*/ 48256 h 797705"/>
              <a:gd name="connsiteX207" fmla="*/ 190103 w 829568"/>
              <a:gd name="connsiteY207" fmla="*/ 284 h 797705"/>
              <a:gd name="connsiteX0" fmla="*/ 563632 w 829568"/>
              <a:gd name="connsiteY0" fmla="*/ 245962 h 797705"/>
              <a:gd name="connsiteX1" fmla="*/ 563631 w 829568"/>
              <a:gd name="connsiteY1" fmla="*/ 245950 h 797705"/>
              <a:gd name="connsiteX2" fmla="*/ 563632 w 829568"/>
              <a:gd name="connsiteY2" fmla="*/ 245962 h 797705"/>
              <a:gd name="connsiteX3" fmla="*/ 190103 w 829568"/>
              <a:gd name="connsiteY3" fmla="*/ 284 h 797705"/>
              <a:gd name="connsiteX4" fmla="*/ 208052 w 829568"/>
              <a:gd name="connsiteY4" fmla="*/ 7319 h 797705"/>
              <a:gd name="connsiteX5" fmla="*/ 244522 w 829568"/>
              <a:gd name="connsiteY5" fmla="*/ 16416 h 797705"/>
              <a:gd name="connsiteX6" fmla="*/ 269594 w 829568"/>
              <a:gd name="connsiteY6" fmla="*/ 36884 h 797705"/>
              <a:gd name="connsiteX7" fmla="*/ 303784 w 829568"/>
              <a:gd name="connsiteY7" fmla="*/ 59627 h 797705"/>
              <a:gd name="connsiteX8" fmla="*/ 317460 w 829568"/>
              <a:gd name="connsiteY8" fmla="*/ 89192 h 797705"/>
              <a:gd name="connsiteX9" fmla="*/ 353930 w 829568"/>
              <a:gd name="connsiteY9" fmla="*/ 73272 h 797705"/>
              <a:gd name="connsiteX10" fmla="*/ 399516 w 829568"/>
              <a:gd name="connsiteY10" fmla="*/ 82369 h 797705"/>
              <a:gd name="connsiteX11" fmla="*/ 417751 w 829568"/>
              <a:gd name="connsiteY11" fmla="*/ 77821 h 797705"/>
              <a:gd name="connsiteX12" fmla="*/ 438265 w 829568"/>
              <a:gd name="connsiteY12" fmla="*/ 64175 h 797705"/>
              <a:gd name="connsiteX13" fmla="*/ 472455 w 829568"/>
              <a:gd name="connsiteY13" fmla="*/ 73272 h 797705"/>
              <a:gd name="connsiteX14" fmla="*/ 486131 w 829568"/>
              <a:gd name="connsiteY14" fmla="*/ 82369 h 797705"/>
              <a:gd name="connsiteX15" fmla="*/ 490690 w 829568"/>
              <a:gd name="connsiteY15" fmla="*/ 132402 h 797705"/>
              <a:gd name="connsiteX16" fmla="*/ 495248 w 829568"/>
              <a:gd name="connsiteY16" fmla="*/ 196081 h 797705"/>
              <a:gd name="connsiteX17" fmla="*/ 495248 w 829568"/>
              <a:gd name="connsiteY17" fmla="*/ 214275 h 797705"/>
              <a:gd name="connsiteX18" fmla="*/ 495067 w 829568"/>
              <a:gd name="connsiteY18" fmla="*/ 214233 h 797705"/>
              <a:gd name="connsiteX19" fmla="*/ 497146 w 829568"/>
              <a:gd name="connsiteY19" fmla="*/ 220449 h 797705"/>
              <a:gd name="connsiteX20" fmla="*/ 508530 w 829568"/>
              <a:gd name="connsiteY20" fmla="*/ 224986 h 797705"/>
              <a:gd name="connsiteX21" fmla="*/ 524467 w 829568"/>
              <a:gd name="connsiteY21" fmla="*/ 238598 h 797705"/>
              <a:gd name="connsiteX22" fmla="*/ 556340 w 829568"/>
              <a:gd name="connsiteY22" fmla="*/ 234060 h 797705"/>
              <a:gd name="connsiteX23" fmla="*/ 570440 w 829568"/>
              <a:gd name="connsiteY23" fmla="*/ 254988 h 797705"/>
              <a:gd name="connsiteX24" fmla="*/ 570445 w 829568"/>
              <a:gd name="connsiteY24" fmla="*/ 254942 h 797705"/>
              <a:gd name="connsiteX25" fmla="*/ 574113 w 829568"/>
              <a:gd name="connsiteY25" fmla="*/ 256872 h 797705"/>
              <a:gd name="connsiteX26" fmla="*/ 574458 w 829568"/>
              <a:gd name="connsiteY26" fmla="*/ 256788 h 797705"/>
              <a:gd name="connsiteX27" fmla="*/ 583230 w 829568"/>
              <a:gd name="connsiteY27" fmla="*/ 254659 h 797705"/>
              <a:gd name="connsiteX28" fmla="*/ 595448 w 829568"/>
              <a:gd name="connsiteY28" fmla="*/ 250406 h 797705"/>
              <a:gd name="connsiteX29" fmla="*/ 624997 w 829568"/>
              <a:gd name="connsiteY29" fmla="*/ 282159 h 797705"/>
              <a:gd name="connsiteX30" fmla="*/ 637214 w 829568"/>
              <a:gd name="connsiteY30" fmla="*/ 311928 h 797705"/>
              <a:gd name="connsiteX31" fmla="*/ 636731 w 829568"/>
              <a:gd name="connsiteY31" fmla="*/ 319061 h 797705"/>
              <a:gd name="connsiteX32" fmla="*/ 636185 w 829568"/>
              <a:gd name="connsiteY32" fmla="*/ 327131 h 797705"/>
              <a:gd name="connsiteX33" fmla="*/ 640908 w 829568"/>
              <a:gd name="connsiteY33" fmla="*/ 343397 h 797705"/>
              <a:gd name="connsiteX34" fmla="*/ 656819 w 829568"/>
              <a:gd name="connsiteY34" fmla="*/ 329788 h 797705"/>
              <a:gd name="connsiteX35" fmla="*/ 672730 w 829568"/>
              <a:gd name="connsiteY35" fmla="*/ 347933 h 797705"/>
              <a:gd name="connsiteX36" fmla="*/ 679549 w 829568"/>
              <a:gd name="connsiteY36" fmla="*/ 366077 h 797705"/>
              <a:gd name="connsiteX37" fmla="*/ 686368 w 829568"/>
              <a:gd name="connsiteY37" fmla="*/ 418243 h 797705"/>
              <a:gd name="connsiteX38" fmla="*/ 736375 w 829568"/>
              <a:gd name="connsiteY38" fmla="*/ 413707 h 797705"/>
              <a:gd name="connsiteX39" fmla="*/ 756832 w 829568"/>
              <a:gd name="connsiteY39" fmla="*/ 420511 h 797705"/>
              <a:gd name="connsiteX40" fmla="*/ 765924 w 829568"/>
              <a:gd name="connsiteY40" fmla="*/ 406903 h 797705"/>
              <a:gd name="connsiteX41" fmla="*/ 829568 w 829568"/>
              <a:gd name="connsiteY41" fmla="*/ 397830 h 797705"/>
              <a:gd name="connsiteX42" fmla="*/ 829568 w 829568"/>
              <a:gd name="connsiteY42" fmla="*/ 413707 h 797705"/>
              <a:gd name="connsiteX43" fmla="*/ 827295 w 829568"/>
              <a:gd name="connsiteY43" fmla="*/ 422779 h 797705"/>
              <a:gd name="connsiteX44" fmla="*/ 822749 w 829568"/>
              <a:gd name="connsiteY44" fmla="*/ 427315 h 797705"/>
              <a:gd name="connsiteX45" fmla="*/ 815930 w 829568"/>
              <a:gd name="connsiteY45" fmla="*/ 427315 h 797705"/>
              <a:gd name="connsiteX46" fmla="*/ 809111 w 829568"/>
              <a:gd name="connsiteY46" fmla="*/ 443192 h 797705"/>
              <a:gd name="connsiteX47" fmla="*/ 802292 w 829568"/>
              <a:gd name="connsiteY47" fmla="*/ 452264 h 797705"/>
              <a:gd name="connsiteX48" fmla="*/ 800019 w 829568"/>
              <a:gd name="connsiteY48" fmla="*/ 459068 h 797705"/>
              <a:gd name="connsiteX49" fmla="*/ 800019 w 829568"/>
              <a:gd name="connsiteY49" fmla="*/ 470408 h 797705"/>
              <a:gd name="connsiteX50" fmla="*/ 800019 w 829568"/>
              <a:gd name="connsiteY50" fmla="*/ 481749 h 797705"/>
              <a:gd name="connsiteX51" fmla="*/ 784108 w 829568"/>
              <a:gd name="connsiteY51" fmla="*/ 477212 h 797705"/>
              <a:gd name="connsiteX52" fmla="*/ 777289 w 829568"/>
              <a:gd name="connsiteY52" fmla="*/ 477212 h 797705"/>
              <a:gd name="connsiteX53" fmla="*/ 770470 w 829568"/>
              <a:gd name="connsiteY53" fmla="*/ 481749 h 797705"/>
              <a:gd name="connsiteX54" fmla="*/ 768197 w 829568"/>
              <a:gd name="connsiteY54" fmla="*/ 488553 h 797705"/>
              <a:gd name="connsiteX55" fmla="*/ 750013 w 829568"/>
              <a:gd name="connsiteY55" fmla="*/ 497625 h 797705"/>
              <a:gd name="connsiteX56" fmla="*/ 745467 w 829568"/>
              <a:gd name="connsiteY56" fmla="*/ 490821 h 797705"/>
              <a:gd name="connsiteX57" fmla="*/ 740921 w 829568"/>
              <a:gd name="connsiteY57" fmla="*/ 493089 h 797705"/>
              <a:gd name="connsiteX58" fmla="*/ 738648 w 829568"/>
              <a:gd name="connsiteY58" fmla="*/ 499893 h 797705"/>
              <a:gd name="connsiteX59" fmla="*/ 738648 w 829568"/>
              <a:gd name="connsiteY59" fmla="*/ 502161 h 797705"/>
              <a:gd name="connsiteX60" fmla="*/ 725010 w 829568"/>
              <a:gd name="connsiteY60" fmla="*/ 504429 h 797705"/>
              <a:gd name="connsiteX61" fmla="*/ 715918 w 829568"/>
              <a:gd name="connsiteY61" fmla="*/ 508965 h 797705"/>
              <a:gd name="connsiteX62" fmla="*/ 715918 w 829568"/>
              <a:gd name="connsiteY62" fmla="*/ 520306 h 797705"/>
              <a:gd name="connsiteX63" fmla="*/ 713645 w 829568"/>
              <a:gd name="connsiteY63" fmla="*/ 522574 h 797705"/>
              <a:gd name="connsiteX64" fmla="*/ 693188 w 829568"/>
              <a:gd name="connsiteY64" fmla="*/ 527110 h 797705"/>
              <a:gd name="connsiteX65" fmla="*/ 677276 w 829568"/>
              <a:gd name="connsiteY65" fmla="*/ 531646 h 797705"/>
              <a:gd name="connsiteX66" fmla="*/ 668184 w 829568"/>
              <a:gd name="connsiteY66" fmla="*/ 527110 h 797705"/>
              <a:gd name="connsiteX67" fmla="*/ 665911 w 829568"/>
              <a:gd name="connsiteY67" fmla="*/ 529378 h 797705"/>
              <a:gd name="connsiteX68" fmla="*/ 665911 w 829568"/>
              <a:gd name="connsiteY68" fmla="*/ 538450 h 797705"/>
              <a:gd name="connsiteX69" fmla="*/ 659092 w 829568"/>
              <a:gd name="connsiteY69" fmla="*/ 540718 h 797705"/>
              <a:gd name="connsiteX70" fmla="*/ 659092 w 829568"/>
              <a:gd name="connsiteY70" fmla="*/ 545254 h 797705"/>
              <a:gd name="connsiteX71" fmla="*/ 659092 w 829568"/>
              <a:gd name="connsiteY71" fmla="*/ 556595 h 797705"/>
              <a:gd name="connsiteX72" fmla="*/ 656819 w 829568"/>
              <a:gd name="connsiteY72" fmla="*/ 561131 h 797705"/>
              <a:gd name="connsiteX73" fmla="*/ 652273 w 829568"/>
              <a:gd name="connsiteY73" fmla="*/ 561131 h 797705"/>
              <a:gd name="connsiteX74" fmla="*/ 650000 w 829568"/>
              <a:gd name="connsiteY74" fmla="*/ 561131 h 797705"/>
              <a:gd name="connsiteX75" fmla="*/ 618178 w 829568"/>
              <a:gd name="connsiteY75" fmla="*/ 552058 h 797705"/>
              <a:gd name="connsiteX76" fmla="*/ 618178 w 829568"/>
              <a:gd name="connsiteY76" fmla="*/ 549790 h 797705"/>
              <a:gd name="connsiteX77" fmla="*/ 609086 w 829568"/>
              <a:gd name="connsiteY77" fmla="*/ 542986 h 797705"/>
              <a:gd name="connsiteX78" fmla="*/ 599994 w 829568"/>
              <a:gd name="connsiteY78" fmla="*/ 547522 h 797705"/>
              <a:gd name="connsiteX79" fmla="*/ 590902 w 829568"/>
              <a:gd name="connsiteY79" fmla="*/ 554327 h 797705"/>
              <a:gd name="connsiteX80" fmla="*/ 579537 w 829568"/>
              <a:gd name="connsiteY80" fmla="*/ 563399 h 797705"/>
              <a:gd name="connsiteX81" fmla="*/ 574991 w 829568"/>
              <a:gd name="connsiteY81" fmla="*/ 556595 h 797705"/>
              <a:gd name="connsiteX82" fmla="*/ 570445 w 829568"/>
              <a:gd name="connsiteY82" fmla="*/ 558863 h 797705"/>
              <a:gd name="connsiteX83" fmla="*/ 568172 w 829568"/>
              <a:gd name="connsiteY83" fmla="*/ 563399 h 797705"/>
              <a:gd name="connsiteX84" fmla="*/ 568172 w 829568"/>
              <a:gd name="connsiteY84" fmla="*/ 565667 h 797705"/>
              <a:gd name="connsiteX85" fmla="*/ 568172 w 829568"/>
              <a:gd name="connsiteY85" fmla="*/ 570203 h 797705"/>
              <a:gd name="connsiteX86" fmla="*/ 565899 w 829568"/>
              <a:gd name="connsiteY86" fmla="*/ 572471 h 797705"/>
              <a:gd name="connsiteX87" fmla="*/ 565899 w 829568"/>
              <a:gd name="connsiteY87" fmla="*/ 574739 h 797705"/>
              <a:gd name="connsiteX88" fmla="*/ 581810 w 829568"/>
              <a:gd name="connsiteY88" fmla="*/ 581543 h 797705"/>
              <a:gd name="connsiteX89" fmla="*/ 586356 w 829568"/>
              <a:gd name="connsiteY89" fmla="*/ 586079 h 797705"/>
              <a:gd name="connsiteX90" fmla="*/ 590902 w 829568"/>
              <a:gd name="connsiteY90" fmla="*/ 579275 h 797705"/>
              <a:gd name="connsiteX91" fmla="*/ 597721 w 829568"/>
              <a:gd name="connsiteY91" fmla="*/ 583811 h 797705"/>
              <a:gd name="connsiteX92" fmla="*/ 599994 w 829568"/>
              <a:gd name="connsiteY92" fmla="*/ 579275 h 797705"/>
              <a:gd name="connsiteX93" fmla="*/ 606813 w 829568"/>
              <a:gd name="connsiteY93" fmla="*/ 588347 h 797705"/>
              <a:gd name="connsiteX94" fmla="*/ 606813 w 829568"/>
              <a:gd name="connsiteY94" fmla="*/ 590616 h 797705"/>
              <a:gd name="connsiteX95" fmla="*/ 602267 w 829568"/>
              <a:gd name="connsiteY95" fmla="*/ 601956 h 797705"/>
              <a:gd name="connsiteX96" fmla="*/ 604540 w 829568"/>
              <a:gd name="connsiteY96" fmla="*/ 606492 h 797705"/>
              <a:gd name="connsiteX97" fmla="*/ 609086 w 829568"/>
              <a:gd name="connsiteY97" fmla="*/ 611028 h 797705"/>
              <a:gd name="connsiteX98" fmla="*/ 606813 w 829568"/>
              <a:gd name="connsiteY98" fmla="*/ 613296 h 797705"/>
              <a:gd name="connsiteX99" fmla="*/ 588629 w 829568"/>
              <a:gd name="connsiteY99" fmla="*/ 613296 h 797705"/>
              <a:gd name="connsiteX100" fmla="*/ 572718 w 829568"/>
              <a:gd name="connsiteY100" fmla="*/ 597420 h 797705"/>
              <a:gd name="connsiteX101" fmla="*/ 568172 w 829568"/>
              <a:gd name="connsiteY101" fmla="*/ 606492 h 797705"/>
              <a:gd name="connsiteX102" fmla="*/ 561353 w 829568"/>
              <a:gd name="connsiteY102" fmla="*/ 597420 h 797705"/>
              <a:gd name="connsiteX103" fmla="*/ 556807 w 829568"/>
              <a:gd name="connsiteY103" fmla="*/ 592884 h 797705"/>
              <a:gd name="connsiteX104" fmla="*/ 540896 w 829568"/>
              <a:gd name="connsiteY104" fmla="*/ 570203 h 797705"/>
              <a:gd name="connsiteX105" fmla="*/ 529530 w 829568"/>
              <a:gd name="connsiteY105" fmla="*/ 565667 h 797705"/>
              <a:gd name="connsiteX106" fmla="*/ 518165 w 829568"/>
              <a:gd name="connsiteY106" fmla="*/ 572471 h 797705"/>
              <a:gd name="connsiteX107" fmla="*/ 509073 w 829568"/>
              <a:gd name="connsiteY107" fmla="*/ 577007 h 797705"/>
              <a:gd name="connsiteX108" fmla="*/ 505946 w 829568"/>
              <a:gd name="connsiteY108" fmla="*/ 579415 h 797705"/>
              <a:gd name="connsiteX109" fmla="*/ 505946 w 829568"/>
              <a:gd name="connsiteY109" fmla="*/ 581688 h 797705"/>
              <a:gd name="connsiteX110" fmla="*/ 496839 w 829568"/>
              <a:gd name="connsiteY110" fmla="*/ 590779 h 797705"/>
              <a:gd name="connsiteX111" fmla="*/ 496839 w 829568"/>
              <a:gd name="connsiteY111" fmla="*/ 595324 h 797705"/>
              <a:gd name="connsiteX112" fmla="*/ 501392 w 829568"/>
              <a:gd name="connsiteY112" fmla="*/ 599870 h 797705"/>
              <a:gd name="connsiteX113" fmla="*/ 510500 w 829568"/>
              <a:gd name="connsiteY113" fmla="*/ 608960 h 797705"/>
              <a:gd name="connsiteX114" fmla="*/ 508223 w 829568"/>
              <a:gd name="connsiteY114" fmla="*/ 613506 h 797705"/>
              <a:gd name="connsiteX115" fmla="*/ 508223 w 829568"/>
              <a:gd name="connsiteY115" fmla="*/ 618051 h 797705"/>
              <a:gd name="connsiteX116" fmla="*/ 490008 w 829568"/>
              <a:gd name="connsiteY116" fmla="*/ 640778 h 797705"/>
              <a:gd name="connsiteX117" fmla="*/ 464962 w 829568"/>
              <a:gd name="connsiteY117" fmla="*/ 631687 h 797705"/>
              <a:gd name="connsiteX118" fmla="*/ 451300 w 829568"/>
              <a:gd name="connsiteY118" fmla="*/ 624869 h 797705"/>
              <a:gd name="connsiteX119" fmla="*/ 423977 w 829568"/>
              <a:gd name="connsiteY119" fmla="*/ 638506 h 797705"/>
              <a:gd name="connsiteX120" fmla="*/ 414870 w 829568"/>
              <a:gd name="connsiteY120" fmla="*/ 643051 h 797705"/>
              <a:gd name="connsiteX121" fmla="*/ 398931 w 829568"/>
              <a:gd name="connsiteY121" fmla="*/ 645324 h 797705"/>
              <a:gd name="connsiteX122" fmla="*/ 394378 w 829568"/>
              <a:gd name="connsiteY122" fmla="*/ 652142 h 797705"/>
              <a:gd name="connsiteX123" fmla="*/ 373885 w 829568"/>
              <a:gd name="connsiteY123" fmla="*/ 654415 h 797705"/>
              <a:gd name="connsiteX124" fmla="*/ 353393 w 829568"/>
              <a:gd name="connsiteY124" fmla="*/ 661233 h 797705"/>
              <a:gd name="connsiteX125" fmla="*/ 344285 w 829568"/>
              <a:gd name="connsiteY125" fmla="*/ 683960 h 797705"/>
              <a:gd name="connsiteX126" fmla="*/ 346559 w 829568"/>
              <a:gd name="connsiteY126" fmla="*/ 695305 h 797705"/>
              <a:gd name="connsiteX127" fmla="*/ 346890 w 829568"/>
              <a:gd name="connsiteY127" fmla="*/ 695371 h 797705"/>
              <a:gd name="connsiteX128" fmla="*/ 349169 w 829568"/>
              <a:gd name="connsiteY128" fmla="*/ 697639 h 797705"/>
              <a:gd name="connsiteX129" fmla="*/ 349169 w 829568"/>
              <a:gd name="connsiteY129" fmla="*/ 708981 h 797705"/>
              <a:gd name="connsiteX130" fmla="*/ 349169 w 829568"/>
              <a:gd name="connsiteY130" fmla="*/ 713518 h 797705"/>
              <a:gd name="connsiteX131" fmla="*/ 346890 w 829568"/>
              <a:gd name="connsiteY131" fmla="*/ 724861 h 797705"/>
              <a:gd name="connsiteX132" fmla="*/ 340053 w 829568"/>
              <a:gd name="connsiteY132" fmla="*/ 722592 h 797705"/>
              <a:gd name="connsiteX133" fmla="*/ 317264 w 829568"/>
              <a:gd name="connsiteY133" fmla="*/ 720324 h 797705"/>
              <a:gd name="connsiteX134" fmla="*/ 312706 w 829568"/>
              <a:gd name="connsiteY134" fmla="*/ 718055 h 797705"/>
              <a:gd name="connsiteX135" fmla="*/ 303590 w 829568"/>
              <a:gd name="connsiteY135" fmla="*/ 724861 h 797705"/>
              <a:gd name="connsiteX136" fmla="*/ 294474 w 829568"/>
              <a:gd name="connsiteY136" fmla="*/ 731666 h 797705"/>
              <a:gd name="connsiteX137" fmla="*/ 289916 w 829568"/>
              <a:gd name="connsiteY137" fmla="*/ 738471 h 797705"/>
              <a:gd name="connsiteX138" fmla="*/ 289916 w 829568"/>
              <a:gd name="connsiteY138" fmla="*/ 752082 h 797705"/>
              <a:gd name="connsiteX139" fmla="*/ 280800 w 829568"/>
              <a:gd name="connsiteY139" fmla="*/ 740740 h 797705"/>
              <a:gd name="connsiteX140" fmla="*/ 278521 w 829568"/>
              <a:gd name="connsiteY140" fmla="*/ 738471 h 797705"/>
              <a:gd name="connsiteX141" fmla="*/ 278521 w 829568"/>
              <a:gd name="connsiteY141" fmla="*/ 743008 h 797705"/>
              <a:gd name="connsiteX142" fmla="*/ 276242 w 829568"/>
              <a:gd name="connsiteY142" fmla="*/ 749814 h 797705"/>
              <a:gd name="connsiteX143" fmla="*/ 269405 w 829568"/>
              <a:gd name="connsiteY143" fmla="*/ 761156 h 797705"/>
              <a:gd name="connsiteX144" fmla="*/ 232942 w 829568"/>
              <a:gd name="connsiteY144" fmla="*/ 749814 h 797705"/>
              <a:gd name="connsiteX145" fmla="*/ 230663 w 829568"/>
              <a:gd name="connsiteY145" fmla="*/ 754351 h 797705"/>
              <a:gd name="connsiteX146" fmla="*/ 203316 w 829568"/>
              <a:gd name="connsiteY146" fmla="*/ 754351 h 797705"/>
              <a:gd name="connsiteX147" fmla="*/ 180526 w 829568"/>
              <a:gd name="connsiteY147" fmla="*/ 761156 h 797705"/>
              <a:gd name="connsiteX148" fmla="*/ 169131 w 829568"/>
              <a:gd name="connsiteY148" fmla="*/ 767961 h 797705"/>
              <a:gd name="connsiteX149" fmla="*/ 157736 w 829568"/>
              <a:gd name="connsiteY149" fmla="*/ 783841 h 797705"/>
              <a:gd name="connsiteX150" fmla="*/ 137226 w 829568"/>
              <a:gd name="connsiteY150" fmla="*/ 797451 h 797705"/>
              <a:gd name="connsiteX151" fmla="*/ 128110 w 829568"/>
              <a:gd name="connsiteY151" fmla="*/ 786109 h 797705"/>
              <a:gd name="connsiteX152" fmla="*/ 121273 w 829568"/>
              <a:gd name="connsiteY152" fmla="*/ 792914 h 797705"/>
              <a:gd name="connsiteX153" fmla="*/ 93925 w 829568"/>
              <a:gd name="connsiteY153" fmla="*/ 790646 h 797705"/>
              <a:gd name="connsiteX154" fmla="*/ 68857 w 829568"/>
              <a:gd name="connsiteY154" fmla="*/ 790646 h 797705"/>
              <a:gd name="connsiteX155" fmla="*/ 57462 w 829568"/>
              <a:gd name="connsiteY155" fmla="*/ 792914 h 797705"/>
              <a:gd name="connsiteX156" fmla="*/ 46067 w 829568"/>
              <a:gd name="connsiteY156" fmla="*/ 788377 h 797705"/>
              <a:gd name="connsiteX157" fmla="*/ 25556 w 829568"/>
              <a:gd name="connsiteY157" fmla="*/ 786109 h 797705"/>
              <a:gd name="connsiteX158" fmla="*/ 25556 w 829568"/>
              <a:gd name="connsiteY158" fmla="*/ 783841 h 797705"/>
              <a:gd name="connsiteX159" fmla="*/ 27835 w 829568"/>
              <a:gd name="connsiteY159" fmla="*/ 777035 h 797705"/>
              <a:gd name="connsiteX160" fmla="*/ 25556 w 829568"/>
              <a:gd name="connsiteY160" fmla="*/ 774767 h 797705"/>
              <a:gd name="connsiteX161" fmla="*/ 43788 w 829568"/>
              <a:gd name="connsiteY161" fmla="*/ 770230 h 797705"/>
              <a:gd name="connsiteX162" fmla="*/ 48346 w 829568"/>
              <a:gd name="connsiteY162" fmla="*/ 699908 h 797705"/>
              <a:gd name="connsiteX163" fmla="*/ 5046 w 829568"/>
              <a:gd name="connsiteY163" fmla="*/ 670418 h 797705"/>
              <a:gd name="connsiteX164" fmla="*/ 30114 w 829568"/>
              <a:gd name="connsiteY164" fmla="*/ 615975 h 797705"/>
              <a:gd name="connsiteX165" fmla="*/ 41509 w 829568"/>
              <a:gd name="connsiteY165" fmla="*/ 600095 h 797705"/>
              <a:gd name="connsiteX166" fmla="*/ 34672 w 829568"/>
              <a:gd name="connsiteY166" fmla="*/ 581948 h 797705"/>
              <a:gd name="connsiteX167" fmla="*/ 41509 w 829568"/>
              <a:gd name="connsiteY167" fmla="*/ 554726 h 797705"/>
              <a:gd name="connsiteX168" fmla="*/ 16441 w 829568"/>
              <a:gd name="connsiteY168" fmla="*/ 543384 h 797705"/>
              <a:gd name="connsiteX169" fmla="*/ 34672 w 829568"/>
              <a:gd name="connsiteY169" fmla="*/ 541115 h 797705"/>
              <a:gd name="connsiteX170" fmla="*/ 41498 w 829568"/>
              <a:gd name="connsiteY170" fmla="*/ 541115 h 797705"/>
              <a:gd name="connsiteX171" fmla="*/ 39341 w 829568"/>
              <a:gd name="connsiteY171" fmla="*/ 528176 h 797705"/>
              <a:gd name="connsiteX172" fmla="*/ 86966 w 829568"/>
              <a:gd name="connsiteY172" fmla="*/ 494839 h 797705"/>
              <a:gd name="connsiteX173" fmla="*/ 65409 w 829568"/>
              <a:gd name="connsiteY173" fmla="*/ 464300 h 797705"/>
              <a:gd name="connsiteX174" fmla="*/ 62429 w 829568"/>
              <a:gd name="connsiteY174" fmla="*/ 465726 h 797705"/>
              <a:gd name="connsiteX175" fmla="*/ 62429 w 829568"/>
              <a:gd name="connsiteY175" fmla="*/ 467991 h 797705"/>
              <a:gd name="connsiteX176" fmla="*/ 57874 w 829568"/>
              <a:gd name="connsiteY176" fmla="*/ 470256 h 797705"/>
              <a:gd name="connsiteX177" fmla="*/ 48763 w 829568"/>
              <a:gd name="connsiteY177" fmla="*/ 472522 h 797705"/>
              <a:gd name="connsiteX178" fmla="*/ 35096 w 829568"/>
              <a:gd name="connsiteY178" fmla="*/ 467991 h 797705"/>
              <a:gd name="connsiteX179" fmla="*/ 32818 w 829568"/>
              <a:gd name="connsiteY179" fmla="*/ 449871 h 797705"/>
              <a:gd name="connsiteX180" fmla="*/ 55596 w 829568"/>
              <a:gd name="connsiteY180" fmla="*/ 418160 h 797705"/>
              <a:gd name="connsiteX181" fmla="*/ 55596 w 829568"/>
              <a:gd name="connsiteY181" fmla="*/ 404569 h 797705"/>
              <a:gd name="connsiteX182" fmla="*/ 48763 w 829568"/>
              <a:gd name="connsiteY182" fmla="*/ 372858 h 797705"/>
              <a:gd name="connsiteX183" fmla="*/ 41929 w 829568"/>
              <a:gd name="connsiteY183" fmla="*/ 354737 h 797705"/>
              <a:gd name="connsiteX184" fmla="*/ 41929 w 829568"/>
              <a:gd name="connsiteY184" fmla="*/ 320761 h 797705"/>
              <a:gd name="connsiteX185" fmla="*/ 41929 w 829568"/>
              <a:gd name="connsiteY185" fmla="*/ 300375 h 797705"/>
              <a:gd name="connsiteX186" fmla="*/ 44207 w 829568"/>
              <a:gd name="connsiteY186" fmla="*/ 302640 h 797705"/>
              <a:gd name="connsiteX187" fmla="*/ 57934 w 829568"/>
              <a:gd name="connsiteY187" fmla="*/ 312196 h 797705"/>
              <a:gd name="connsiteX188" fmla="*/ 58242 w 829568"/>
              <a:gd name="connsiteY188" fmla="*/ 311394 h 797705"/>
              <a:gd name="connsiteX189" fmla="*/ 56256 w 829568"/>
              <a:gd name="connsiteY189" fmla="*/ 310012 h 797705"/>
              <a:gd name="connsiteX190" fmla="*/ 44300 w 829568"/>
              <a:gd name="connsiteY190" fmla="*/ 302367 h 797705"/>
              <a:gd name="connsiteX191" fmla="*/ 42022 w 829568"/>
              <a:gd name="connsiteY191" fmla="*/ 300102 h 797705"/>
              <a:gd name="connsiteX192" fmla="*/ 44300 w 829568"/>
              <a:gd name="connsiteY192" fmla="*/ 291042 h 797705"/>
              <a:gd name="connsiteX193" fmla="*/ 78462 w 829568"/>
              <a:gd name="connsiteY193" fmla="*/ 259331 h 797705"/>
              <a:gd name="connsiteX194" fmla="*/ 92126 w 829568"/>
              <a:gd name="connsiteY194" fmla="*/ 232149 h 797705"/>
              <a:gd name="connsiteX195" fmla="*/ 114901 w 829568"/>
              <a:gd name="connsiteY195" fmla="*/ 211764 h 797705"/>
              <a:gd name="connsiteX196" fmla="*/ 108638 w 829568"/>
              <a:gd name="connsiteY196" fmla="*/ 204968 h 797705"/>
              <a:gd name="connsiteX197" fmla="*/ 92261 w 829568"/>
              <a:gd name="connsiteY197" fmla="*/ 198228 h 797705"/>
              <a:gd name="connsiteX198" fmla="*/ 91806 w 829568"/>
              <a:gd name="connsiteY198" fmla="*/ 198355 h 797705"/>
              <a:gd name="connsiteX199" fmla="*/ 84968 w 829568"/>
              <a:gd name="connsiteY199" fmla="*/ 193807 h 797705"/>
              <a:gd name="connsiteX200" fmla="*/ 94086 w 829568"/>
              <a:gd name="connsiteY200" fmla="*/ 155145 h 797705"/>
              <a:gd name="connsiteX201" fmla="*/ 135114 w 829568"/>
              <a:gd name="connsiteY201" fmla="*/ 127854 h 797705"/>
              <a:gd name="connsiteX202" fmla="*/ 160186 w 829568"/>
              <a:gd name="connsiteY202" fmla="*/ 134677 h 797705"/>
              <a:gd name="connsiteX203" fmla="*/ 160186 w 829568"/>
              <a:gd name="connsiteY203" fmla="*/ 109660 h 797705"/>
              <a:gd name="connsiteX204" fmla="*/ 187538 w 829568"/>
              <a:gd name="connsiteY204" fmla="*/ 82369 h 797705"/>
              <a:gd name="connsiteX205" fmla="*/ 187538 w 829568"/>
              <a:gd name="connsiteY205" fmla="*/ 48256 h 797705"/>
              <a:gd name="connsiteX206" fmla="*/ 190103 w 829568"/>
              <a:gd name="connsiteY206"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38471 h 797705"/>
              <a:gd name="connsiteX138" fmla="*/ 278521 w 829568"/>
              <a:gd name="connsiteY138" fmla="*/ 743008 h 797705"/>
              <a:gd name="connsiteX139" fmla="*/ 276242 w 829568"/>
              <a:gd name="connsiteY139" fmla="*/ 749814 h 797705"/>
              <a:gd name="connsiteX140" fmla="*/ 269405 w 829568"/>
              <a:gd name="connsiteY140" fmla="*/ 761156 h 797705"/>
              <a:gd name="connsiteX141" fmla="*/ 232942 w 829568"/>
              <a:gd name="connsiteY141" fmla="*/ 749814 h 797705"/>
              <a:gd name="connsiteX142" fmla="*/ 230663 w 829568"/>
              <a:gd name="connsiteY142" fmla="*/ 754351 h 797705"/>
              <a:gd name="connsiteX143" fmla="*/ 203316 w 829568"/>
              <a:gd name="connsiteY143" fmla="*/ 754351 h 797705"/>
              <a:gd name="connsiteX144" fmla="*/ 180526 w 829568"/>
              <a:gd name="connsiteY144" fmla="*/ 761156 h 797705"/>
              <a:gd name="connsiteX145" fmla="*/ 169131 w 829568"/>
              <a:gd name="connsiteY145" fmla="*/ 767961 h 797705"/>
              <a:gd name="connsiteX146" fmla="*/ 157736 w 829568"/>
              <a:gd name="connsiteY146" fmla="*/ 783841 h 797705"/>
              <a:gd name="connsiteX147" fmla="*/ 137226 w 829568"/>
              <a:gd name="connsiteY147" fmla="*/ 797451 h 797705"/>
              <a:gd name="connsiteX148" fmla="*/ 128110 w 829568"/>
              <a:gd name="connsiteY148" fmla="*/ 786109 h 797705"/>
              <a:gd name="connsiteX149" fmla="*/ 121273 w 829568"/>
              <a:gd name="connsiteY149" fmla="*/ 792914 h 797705"/>
              <a:gd name="connsiteX150" fmla="*/ 93925 w 829568"/>
              <a:gd name="connsiteY150" fmla="*/ 790646 h 797705"/>
              <a:gd name="connsiteX151" fmla="*/ 68857 w 829568"/>
              <a:gd name="connsiteY151" fmla="*/ 790646 h 797705"/>
              <a:gd name="connsiteX152" fmla="*/ 57462 w 829568"/>
              <a:gd name="connsiteY152" fmla="*/ 792914 h 797705"/>
              <a:gd name="connsiteX153" fmla="*/ 46067 w 829568"/>
              <a:gd name="connsiteY153" fmla="*/ 788377 h 797705"/>
              <a:gd name="connsiteX154" fmla="*/ 25556 w 829568"/>
              <a:gd name="connsiteY154" fmla="*/ 786109 h 797705"/>
              <a:gd name="connsiteX155" fmla="*/ 25556 w 829568"/>
              <a:gd name="connsiteY155" fmla="*/ 783841 h 797705"/>
              <a:gd name="connsiteX156" fmla="*/ 27835 w 829568"/>
              <a:gd name="connsiteY156" fmla="*/ 777035 h 797705"/>
              <a:gd name="connsiteX157" fmla="*/ 25556 w 829568"/>
              <a:gd name="connsiteY157" fmla="*/ 774767 h 797705"/>
              <a:gd name="connsiteX158" fmla="*/ 43788 w 829568"/>
              <a:gd name="connsiteY158" fmla="*/ 770230 h 797705"/>
              <a:gd name="connsiteX159" fmla="*/ 48346 w 829568"/>
              <a:gd name="connsiteY159" fmla="*/ 699908 h 797705"/>
              <a:gd name="connsiteX160" fmla="*/ 5046 w 829568"/>
              <a:gd name="connsiteY160" fmla="*/ 670418 h 797705"/>
              <a:gd name="connsiteX161" fmla="*/ 30114 w 829568"/>
              <a:gd name="connsiteY161" fmla="*/ 615975 h 797705"/>
              <a:gd name="connsiteX162" fmla="*/ 41509 w 829568"/>
              <a:gd name="connsiteY162" fmla="*/ 600095 h 797705"/>
              <a:gd name="connsiteX163" fmla="*/ 34672 w 829568"/>
              <a:gd name="connsiteY163" fmla="*/ 581948 h 797705"/>
              <a:gd name="connsiteX164" fmla="*/ 41509 w 829568"/>
              <a:gd name="connsiteY164" fmla="*/ 554726 h 797705"/>
              <a:gd name="connsiteX165" fmla="*/ 16441 w 829568"/>
              <a:gd name="connsiteY165" fmla="*/ 543384 h 797705"/>
              <a:gd name="connsiteX166" fmla="*/ 34672 w 829568"/>
              <a:gd name="connsiteY166" fmla="*/ 541115 h 797705"/>
              <a:gd name="connsiteX167" fmla="*/ 41498 w 829568"/>
              <a:gd name="connsiteY167" fmla="*/ 541115 h 797705"/>
              <a:gd name="connsiteX168" fmla="*/ 39341 w 829568"/>
              <a:gd name="connsiteY168" fmla="*/ 528176 h 797705"/>
              <a:gd name="connsiteX169" fmla="*/ 86966 w 829568"/>
              <a:gd name="connsiteY169" fmla="*/ 494839 h 797705"/>
              <a:gd name="connsiteX170" fmla="*/ 65409 w 829568"/>
              <a:gd name="connsiteY170" fmla="*/ 464300 h 797705"/>
              <a:gd name="connsiteX171" fmla="*/ 62429 w 829568"/>
              <a:gd name="connsiteY171" fmla="*/ 465726 h 797705"/>
              <a:gd name="connsiteX172" fmla="*/ 62429 w 829568"/>
              <a:gd name="connsiteY172" fmla="*/ 467991 h 797705"/>
              <a:gd name="connsiteX173" fmla="*/ 57874 w 829568"/>
              <a:gd name="connsiteY173" fmla="*/ 470256 h 797705"/>
              <a:gd name="connsiteX174" fmla="*/ 48763 w 829568"/>
              <a:gd name="connsiteY174" fmla="*/ 472522 h 797705"/>
              <a:gd name="connsiteX175" fmla="*/ 35096 w 829568"/>
              <a:gd name="connsiteY175" fmla="*/ 467991 h 797705"/>
              <a:gd name="connsiteX176" fmla="*/ 32818 w 829568"/>
              <a:gd name="connsiteY176" fmla="*/ 449871 h 797705"/>
              <a:gd name="connsiteX177" fmla="*/ 55596 w 829568"/>
              <a:gd name="connsiteY177" fmla="*/ 418160 h 797705"/>
              <a:gd name="connsiteX178" fmla="*/ 55596 w 829568"/>
              <a:gd name="connsiteY178" fmla="*/ 404569 h 797705"/>
              <a:gd name="connsiteX179" fmla="*/ 48763 w 829568"/>
              <a:gd name="connsiteY179" fmla="*/ 372858 h 797705"/>
              <a:gd name="connsiteX180" fmla="*/ 41929 w 829568"/>
              <a:gd name="connsiteY180" fmla="*/ 354737 h 797705"/>
              <a:gd name="connsiteX181" fmla="*/ 41929 w 829568"/>
              <a:gd name="connsiteY181" fmla="*/ 320761 h 797705"/>
              <a:gd name="connsiteX182" fmla="*/ 41929 w 829568"/>
              <a:gd name="connsiteY182" fmla="*/ 300375 h 797705"/>
              <a:gd name="connsiteX183" fmla="*/ 44207 w 829568"/>
              <a:gd name="connsiteY183" fmla="*/ 302640 h 797705"/>
              <a:gd name="connsiteX184" fmla="*/ 57934 w 829568"/>
              <a:gd name="connsiteY184" fmla="*/ 312196 h 797705"/>
              <a:gd name="connsiteX185" fmla="*/ 58242 w 829568"/>
              <a:gd name="connsiteY185" fmla="*/ 311394 h 797705"/>
              <a:gd name="connsiteX186" fmla="*/ 56256 w 829568"/>
              <a:gd name="connsiteY186" fmla="*/ 310012 h 797705"/>
              <a:gd name="connsiteX187" fmla="*/ 44300 w 829568"/>
              <a:gd name="connsiteY187" fmla="*/ 302367 h 797705"/>
              <a:gd name="connsiteX188" fmla="*/ 42022 w 829568"/>
              <a:gd name="connsiteY188" fmla="*/ 300102 h 797705"/>
              <a:gd name="connsiteX189" fmla="*/ 44300 w 829568"/>
              <a:gd name="connsiteY189" fmla="*/ 291042 h 797705"/>
              <a:gd name="connsiteX190" fmla="*/ 78462 w 829568"/>
              <a:gd name="connsiteY190" fmla="*/ 259331 h 797705"/>
              <a:gd name="connsiteX191" fmla="*/ 92126 w 829568"/>
              <a:gd name="connsiteY191" fmla="*/ 232149 h 797705"/>
              <a:gd name="connsiteX192" fmla="*/ 114901 w 829568"/>
              <a:gd name="connsiteY192" fmla="*/ 211764 h 797705"/>
              <a:gd name="connsiteX193" fmla="*/ 108638 w 829568"/>
              <a:gd name="connsiteY193" fmla="*/ 204968 h 797705"/>
              <a:gd name="connsiteX194" fmla="*/ 92261 w 829568"/>
              <a:gd name="connsiteY194" fmla="*/ 198228 h 797705"/>
              <a:gd name="connsiteX195" fmla="*/ 91806 w 829568"/>
              <a:gd name="connsiteY195" fmla="*/ 198355 h 797705"/>
              <a:gd name="connsiteX196" fmla="*/ 84968 w 829568"/>
              <a:gd name="connsiteY196" fmla="*/ 193807 h 797705"/>
              <a:gd name="connsiteX197" fmla="*/ 94086 w 829568"/>
              <a:gd name="connsiteY197" fmla="*/ 155145 h 797705"/>
              <a:gd name="connsiteX198" fmla="*/ 135114 w 829568"/>
              <a:gd name="connsiteY198" fmla="*/ 127854 h 797705"/>
              <a:gd name="connsiteX199" fmla="*/ 160186 w 829568"/>
              <a:gd name="connsiteY199" fmla="*/ 134677 h 797705"/>
              <a:gd name="connsiteX200" fmla="*/ 160186 w 829568"/>
              <a:gd name="connsiteY200" fmla="*/ 109660 h 797705"/>
              <a:gd name="connsiteX201" fmla="*/ 187538 w 829568"/>
              <a:gd name="connsiteY201" fmla="*/ 82369 h 797705"/>
              <a:gd name="connsiteX202" fmla="*/ 187538 w 829568"/>
              <a:gd name="connsiteY202" fmla="*/ 48256 h 797705"/>
              <a:gd name="connsiteX203" fmla="*/ 190103 w 829568"/>
              <a:gd name="connsiteY203"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38471 h 797705"/>
              <a:gd name="connsiteX138" fmla="*/ 278521 w 829568"/>
              <a:gd name="connsiteY138" fmla="*/ 743008 h 797705"/>
              <a:gd name="connsiteX139" fmla="*/ 276242 w 829568"/>
              <a:gd name="connsiteY139" fmla="*/ 749814 h 797705"/>
              <a:gd name="connsiteX140" fmla="*/ 269405 w 829568"/>
              <a:gd name="connsiteY140" fmla="*/ 761156 h 797705"/>
              <a:gd name="connsiteX141" fmla="*/ 232942 w 829568"/>
              <a:gd name="connsiteY141" fmla="*/ 749814 h 797705"/>
              <a:gd name="connsiteX142" fmla="*/ 230663 w 829568"/>
              <a:gd name="connsiteY142" fmla="*/ 754351 h 797705"/>
              <a:gd name="connsiteX143" fmla="*/ 203316 w 829568"/>
              <a:gd name="connsiteY143" fmla="*/ 754351 h 797705"/>
              <a:gd name="connsiteX144" fmla="*/ 180526 w 829568"/>
              <a:gd name="connsiteY144" fmla="*/ 761156 h 797705"/>
              <a:gd name="connsiteX145" fmla="*/ 169131 w 829568"/>
              <a:gd name="connsiteY145" fmla="*/ 767961 h 797705"/>
              <a:gd name="connsiteX146" fmla="*/ 157736 w 829568"/>
              <a:gd name="connsiteY146" fmla="*/ 783841 h 797705"/>
              <a:gd name="connsiteX147" fmla="*/ 137226 w 829568"/>
              <a:gd name="connsiteY147" fmla="*/ 797451 h 797705"/>
              <a:gd name="connsiteX148" fmla="*/ 128110 w 829568"/>
              <a:gd name="connsiteY148" fmla="*/ 786109 h 797705"/>
              <a:gd name="connsiteX149" fmla="*/ 121273 w 829568"/>
              <a:gd name="connsiteY149" fmla="*/ 792914 h 797705"/>
              <a:gd name="connsiteX150" fmla="*/ 93925 w 829568"/>
              <a:gd name="connsiteY150" fmla="*/ 790646 h 797705"/>
              <a:gd name="connsiteX151" fmla="*/ 68857 w 829568"/>
              <a:gd name="connsiteY151" fmla="*/ 790646 h 797705"/>
              <a:gd name="connsiteX152" fmla="*/ 57462 w 829568"/>
              <a:gd name="connsiteY152" fmla="*/ 792914 h 797705"/>
              <a:gd name="connsiteX153" fmla="*/ 46067 w 829568"/>
              <a:gd name="connsiteY153" fmla="*/ 788377 h 797705"/>
              <a:gd name="connsiteX154" fmla="*/ 25556 w 829568"/>
              <a:gd name="connsiteY154" fmla="*/ 786109 h 797705"/>
              <a:gd name="connsiteX155" fmla="*/ 25556 w 829568"/>
              <a:gd name="connsiteY155" fmla="*/ 783841 h 797705"/>
              <a:gd name="connsiteX156" fmla="*/ 27835 w 829568"/>
              <a:gd name="connsiteY156" fmla="*/ 777035 h 797705"/>
              <a:gd name="connsiteX157" fmla="*/ 25556 w 829568"/>
              <a:gd name="connsiteY157" fmla="*/ 774767 h 797705"/>
              <a:gd name="connsiteX158" fmla="*/ 43788 w 829568"/>
              <a:gd name="connsiteY158" fmla="*/ 770230 h 797705"/>
              <a:gd name="connsiteX159" fmla="*/ 48346 w 829568"/>
              <a:gd name="connsiteY159" fmla="*/ 699908 h 797705"/>
              <a:gd name="connsiteX160" fmla="*/ 5046 w 829568"/>
              <a:gd name="connsiteY160" fmla="*/ 670418 h 797705"/>
              <a:gd name="connsiteX161" fmla="*/ 30114 w 829568"/>
              <a:gd name="connsiteY161" fmla="*/ 615975 h 797705"/>
              <a:gd name="connsiteX162" fmla="*/ 41509 w 829568"/>
              <a:gd name="connsiteY162" fmla="*/ 600095 h 797705"/>
              <a:gd name="connsiteX163" fmla="*/ 34672 w 829568"/>
              <a:gd name="connsiteY163" fmla="*/ 581948 h 797705"/>
              <a:gd name="connsiteX164" fmla="*/ 41509 w 829568"/>
              <a:gd name="connsiteY164" fmla="*/ 554726 h 797705"/>
              <a:gd name="connsiteX165" fmla="*/ 16441 w 829568"/>
              <a:gd name="connsiteY165" fmla="*/ 543384 h 797705"/>
              <a:gd name="connsiteX166" fmla="*/ 34672 w 829568"/>
              <a:gd name="connsiteY166" fmla="*/ 541115 h 797705"/>
              <a:gd name="connsiteX167" fmla="*/ 41498 w 829568"/>
              <a:gd name="connsiteY167" fmla="*/ 541115 h 797705"/>
              <a:gd name="connsiteX168" fmla="*/ 39341 w 829568"/>
              <a:gd name="connsiteY168" fmla="*/ 528176 h 797705"/>
              <a:gd name="connsiteX169" fmla="*/ 86966 w 829568"/>
              <a:gd name="connsiteY169" fmla="*/ 494839 h 797705"/>
              <a:gd name="connsiteX170" fmla="*/ 65409 w 829568"/>
              <a:gd name="connsiteY170" fmla="*/ 464300 h 797705"/>
              <a:gd name="connsiteX171" fmla="*/ 62429 w 829568"/>
              <a:gd name="connsiteY171" fmla="*/ 465726 h 797705"/>
              <a:gd name="connsiteX172" fmla="*/ 62429 w 829568"/>
              <a:gd name="connsiteY172" fmla="*/ 467991 h 797705"/>
              <a:gd name="connsiteX173" fmla="*/ 57874 w 829568"/>
              <a:gd name="connsiteY173" fmla="*/ 470256 h 797705"/>
              <a:gd name="connsiteX174" fmla="*/ 48763 w 829568"/>
              <a:gd name="connsiteY174" fmla="*/ 472522 h 797705"/>
              <a:gd name="connsiteX175" fmla="*/ 35096 w 829568"/>
              <a:gd name="connsiteY175" fmla="*/ 467991 h 797705"/>
              <a:gd name="connsiteX176" fmla="*/ 32818 w 829568"/>
              <a:gd name="connsiteY176" fmla="*/ 449871 h 797705"/>
              <a:gd name="connsiteX177" fmla="*/ 55596 w 829568"/>
              <a:gd name="connsiteY177" fmla="*/ 418160 h 797705"/>
              <a:gd name="connsiteX178" fmla="*/ 55596 w 829568"/>
              <a:gd name="connsiteY178" fmla="*/ 404569 h 797705"/>
              <a:gd name="connsiteX179" fmla="*/ 48763 w 829568"/>
              <a:gd name="connsiteY179" fmla="*/ 372858 h 797705"/>
              <a:gd name="connsiteX180" fmla="*/ 41929 w 829568"/>
              <a:gd name="connsiteY180" fmla="*/ 354737 h 797705"/>
              <a:gd name="connsiteX181" fmla="*/ 41929 w 829568"/>
              <a:gd name="connsiteY181" fmla="*/ 320761 h 797705"/>
              <a:gd name="connsiteX182" fmla="*/ 41929 w 829568"/>
              <a:gd name="connsiteY182" fmla="*/ 300375 h 797705"/>
              <a:gd name="connsiteX183" fmla="*/ 44207 w 829568"/>
              <a:gd name="connsiteY183" fmla="*/ 302640 h 797705"/>
              <a:gd name="connsiteX184" fmla="*/ 57934 w 829568"/>
              <a:gd name="connsiteY184" fmla="*/ 312196 h 797705"/>
              <a:gd name="connsiteX185" fmla="*/ 58242 w 829568"/>
              <a:gd name="connsiteY185" fmla="*/ 311394 h 797705"/>
              <a:gd name="connsiteX186" fmla="*/ 44300 w 829568"/>
              <a:gd name="connsiteY186" fmla="*/ 302367 h 797705"/>
              <a:gd name="connsiteX187" fmla="*/ 42022 w 829568"/>
              <a:gd name="connsiteY187" fmla="*/ 300102 h 797705"/>
              <a:gd name="connsiteX188" fmla="*/ 44300 w 829568"/>
              <a:gd name="connsiteY188" fmla="*/ 291042 h 797705"/>
              <a:gd name="connsiteX189" fmla="*/ 78462 w 829568"/>
              <a:gd name="connsiteY189" fmla="*/ 259331 h 797705"/>
              <a:gd name="connsiteX190" fmla="*/ 92126 w 829568"/>
              <a:gd name="connsiteY190" fmla="*/ 232149 h 797705"/>
              <a:gd name="connsiteX191" fmla="*/ 114901 w 829568"/>
              <a:gd name="connsiteY191" fmla="*/ 211764 h 797705"/>
              <a:gd name="connsiteX192" fmla="*/ 108638 w 829568"/>
              <a:gd name="connsiteY192" fmla="*/ 204968 h 797705"/>
              <a:gd name="connsiteX193" fmla="*/ 92261 w 829568"/>
              <a:gd name="connsiteY193" fmla="*/ 198228 h 797705"/>
              <a:gd name="connsiteX194" fmla="*/ 91806 w 829568"/>
              <a:gd name="connsiteY194" fmla="*/ 198355 h 797705"/>
              <a:gd name="connsiteX195" fmla="*/ 84968 w 829568"/>
              <a:gd name="connsiteY195" fmla="*/ 193807 h 797705"/>
              <a:gd name="connsiteX196" fmla="*/ 94086 w 829568"/>
              <a:gd name="connsiteY196" fmla="*/ 155145 h 797705"/>
              <a:gd name="connsiteX197" fmla="*/ 135114 w 829568"/>
              <a:gd name="connsiteY197" fmla="*/ 127854 h 797705"/>
              <a:gd name="connsiteX198" fmla="*/ 160186 w 829568"/>
              <a:gd name="connsiteY198" fmla="*/ 134677 h 797705"/>
              <a:gd name="connsiteX199" fmla="*/ 160186 w 829568"/>
              <a:gd name="connsiteY199" fmla="*/ 109660 h 797705"/>
              <a:gd name="connsiteX200" fmla="*/ 187538 w 829568"/>
              <a:gd name="connsiteY200" fmla="*/ 82369 h 797705"/>
              <a:gd name="connsiteX201" fmla="*/ 187538 w 829568"/>
              <a:gd name="connsiteY201" fmla="*/ 48256 h 797705"/>
              <a:gd name="connsiteX202" fmla="*/ 190103 w 829568"/>
              <a:gd name="connsiteY20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38471 h 797705"/>
              <a:gd name="connsiteX138" fmla="*/ 278521 w 829568"/>
              <a:gd name="connsiteY138" fmla="*/ 743008 h 797705"/>
              <a:gd name="connsiteX139" fmla="*/ 276242 w 829568"/>
              <a:gd name="connsiteY139" fmla="*/ 749814 h 797705"/>
              <a:gd name="connsiteX140" fmla="*/ 269405 w 829568"/>
              <a:gd name="connsiteY140" fmla="*/ 761156 h 797705"/>
              <a:gd name="connsiteX141" fmla="*/ 232942 w 829568"/>
              <a:gd name="connsiteY141" fmla="*/ 749814 h 797705"/>
              <a:gd name="connsiteX142" fmla="*/ 230663 w 829568"/>
              <a:gd name="connsiteY142" fmla="*/ 754351 h 797705"/>
              <a:gd name="connsiteX143" fmla="*/ 203316 w 829568"/>
              <a:gd name="connsiteY143" fmla="*/ 754351 h 797705"/>
              <a:gd name="connsiteX144" fmla="*/ 180526 w 829568"/>
              <a:gd name="connsiteY144" fmla="*/ 761156 h 797705"/>
              <a:gd name="connsiteX145" fmla="*/ 169131 w 829568"/>
              <a:gd name="connsiteY145" fmla="*/ 767961 h 797705"/>
              <a:gd name="connsiteX146" fmla="*/ 157736 w 829568"/>
              <a:gd name="connsiteY146" fmla="*/ 783841 h 797705"/>
              <a:gd name="connsiteX147" fmla="*/ 137226 w 829568"/>
              <a:gd name="connsiteY147" fmla="*/ 797451 h 797705"/>
              <a:gd name="connsiteX148" fmla="*/ 128110 w 829568"/>
              <a:gd name="connsiteY148" fmla="*/ 786109 h 797705"/>
              <a:gd name="connsiteX149" fmla="*/ 121273 w 829568"/>
              <a:gd name="connsiteY149" fmla="*/ 792914 h 797705"/>
              <a:gd name="connsiteX150" fmla="*/ 93925 w 829568"/>
              <a:gd name="connsiteY150" fmla="*/ 790646 h 797705"/>
              <a:gd name="connsiteX151" fmla="*/ 68857 w 829568"/>
              <a:gd name="connsiteY151" fmla="*/ 790646 h 797705"/>
              <a:gd name="connsiteX152" fmla="*/ 57462 w 829568"/>
              <a:gd name="connsiteY152" fmla="*/ 792914 h 797705"/>
              <a:gd name="connsiteX153" fmla="*/ 46067 w 829568"/>
              <a:gd name="connsiteY153" fmla="*/ 788377 h 797705"/>
              <a:gd name="connsiteX154" fmla="*/ 25556 w 829568"/>
              <a:gd name="connsiteY154" fmla="*/ 786109 h 797705"/>
              <a:gd name="connsiteX155" fmla="*/ 25556 w 829568"/>
              <a:gd name="connsiteY155" fmla="*/ 783841 h 797705"/>
              <a:gd name="connsiteX156" fmla="*/ 27835 w 829568"/>
              <a:gd name="connsiteY156" fmla="*/ 777035 h 797705"/>
              <a:gd name="connsiteX157" fmla="*/ 25556 w 829568"/>
              <a:gd name="connsiteY157" fmla="*/ 774767 h 797705"/>
              <a:gd name="connsiteX158" fmla="*/ 43788 w 829568"/>
              <a:gd name="connsiteY158" fmla="*/ 770230 h 797705"/>
              <a:gd name="connsiteX159" fmla="*/ 48346 w 829568"/>
              <a:gd name="connsiteY159" fmla="*/ 699908 h 797705"/>
              <a:gd name="connsiteX160" fmla="*/ 5046 w 829568"/>
              <a:gd name="connsiteY160" fmla="*/ 670418 h 797705"/>
              <a:gd name="connsiteX161" fmla="*/ 30114 w 829568"/>
              <a:gd name="connsiteY161" fmla="*/ 615975 h 797705"/>
              <a:gd name="connsiteX162" fmla="*/ 41509 w 829568"/>
              <a:gd name="connsiteY162" fmla="*/ 600095 h 797705"/>
              <a:gd name="connsiteX163" fmla="*/ 34672 w 829568"/>
              <a:gd name="connsiteY163" fmla="*/ 581948 h 797705"/>
              <a:gd name="connsiteX164" fmla="*/ 41509 w 829568"/>
              <a:gd name="connsiteY164" fmla="*/ 554726 h 797705"/>
              <a:gd name="connsiteX165" fmla="*/ 16441 w 829568"/>
              <a:gd name="connsiteY165" fmla="*/ 543384 h 797705"/>
              <a:gd name="connsiteX166" fmla="*/ 34672 w 829568"/>
              <a:gd name="connsiteY166" fmla="*/ 541115 h 797705"/>
              <a:gd name="connsiteX167" fmla="*/ 41498 w 829568"/>
              <a:gd name="connsiteY167" fmla="*/ 541115 h 797705"/>
              <a:gd name="connsiteX168" fmla="*/ 39341 w 829568"/>
              <a:gd name="connsiteY168" fmla="*/ 528176 h 797705"/>
              <a:gd name="connsiteX169" fmla="*/ 86966 w 829568"/>
              <a:gd name="connsiteY169" fmla="*/ 494839 h 797705"/>
              <a:gd name="connsiteX170" fmla="*/ 65409 w 829568"/>
              <a:gd name="connsiteY170" fmla="*/ 464300 h 797705"/>
              <a:gd name="connsiteX171" fmla="*/ 62429 w 829568"/>
              <a:gd name="connsiteY171" fmla="*/ 465726 h 797705"/>
              <a:gd name="connsiteX172" fmla="*/ 62429 w 829568"/>
              <a:gd name="connsiteY172" fmla="*/ 467991 h 797705"/>
              <a:gd name="connsiteX173" fmla="*/ 57874 w 829568"/>
              <a:gd name="connsiteY173" fmla="*/ 470256 h 797705"/>
              <a:gd name="connsiteX174" fmla="*/ 48763 w 829568"/>
              <a:gd name="connsiteY174" fmla="*/ 472522 h 797705"/>
              <a:gd name="connsiteX175" fmla="*/ 35096 w 829568"/>
              <a:gd name="connsiteY175" fmla="*/ 467991 h 797705"/>
              <a:gd name="connsiteX176" fmla="*/ 32818 w 829568"/>
              <a:gd name="connsiteY176" fmla="*/ 449871 h 797705"/>
              <a:gd name="connsiteX177" fmla="*/ 55596 w 829568"/>
              <a:gd name="connsiteY177" fmla="*/ 418160 h 797705"/>
              <a:gd name="connsiteX178" fmla="*/ 55596 w 829568"/>
              <a:gd name="connsiteY178" fmla="*/ 404569 h 797705"/>
              <a:gd name="connsiteX179" fmla="*/ 48763 w 829568"/>
              <a:gd name="connsiteY179" fmla="*/ 372858 h 797705"/>
              <a:gd name="connsiteX180" fmla="*/ 41929 w 829568"/>
              <a:gd name="connsiteY180" fmla="*/ 354737 h 797705"/>
              <a:gd name="connsiteX181" fmla="*/ 41929 w 829568"/>
              <a:gd name="connsiteY181" fmla="*/ 320761 h 797705"/>
              <a:gd name="connsiteX182" fmla="*/ 41929 w 829568"/>
              <a:gd name="connsiteY182" fmla="*/ 300375 h 797705"/>
              <a:gd name="connsiteX183" fmla="*/ 44207 w 829568"/>
              <a:gd name="connsiteY183" fmla="*/ 302640 h 797705"/>
              <a:gd name="connsiteX184" fmla="*/ 57934 w 829568"/>
              <a:gd name="connsiteY184" fmla="*/ 312196 h 797705"/>
              <a:gd name="connsiteX185" fmla="*/ 44300 w 829568"/>
              <a:gd name="connsiteY185" fmla="*/ 302367 h 797705"/>
              <a:gd name="connsiteX186" fmla="*/ 42022 w 829568"/>
              <a:gd name="connsiteY186" fmla="*/ 300102 h 797705"/>
              <a:gd name="connsiteX187" fmla="*/ 44300 w 829568"/>
              <a:gd name="connsiteY187" fmla="*/ 291042 h 797705"/>
              <a:gd name="connsiteX188" fmla="*/ 78462 w 829568"/>
              <a:gd name="connsiteY188" fmla="*/ 259331 h 797705"/>
              <a:gd name="connsiteX189" fmla="*/ 92126 w 829568"/>
              <a:gd name="connsiteY189" fmla="*/ 232149 h 797705"/>
              <a:gd name="connsiteX190" fmla="*/ 114901 w 829568"/>
              <a:gd name="connsiteY190" fmla="*/ 211764 h 797705"/>
              <a:gd name="connsiteX191" fmla="*/ 108638 w 829568"/>
              <a:gd name="connsiteY191" fmla="*/ 204968 h 797705"/>
              <a:gd name="connsiteX192" fmla="*/ 92261 w 829568"/>
              <a:gd name="connsiteY192" fmla="*/ 198228 h 797705"/>
              <a:gd name="connsiteX193" fmla="*/ 91806 w 829568"/>
              <a:gd name="connsiteY193" fmla="*/ 198355 h 797705"/>
              <a:gd name="connsiteX194" fmla="*/ 84968 w 829568"/>
              <a:gd name="connsiteY194" fmla="*/ 193807 h 797705"/>
              <a:gd name="connsiteX195" fmla="*/ 94086 w 829568"/>
              <a:gd name="connsiteY195" fmla="*/ 155145 h 797705"/>
              <a:gd name="connsiteX196" fmla="*/ 135114 w 829568"/>
              <a:gd name="connsiteY196" fmla="*/ 127854 h 797705"/>
              <a:gd name="connsiteX197" fmla="*/ 160186 w 829568"/>
              <a:gd name="connsiteY197" fmla="*/ 134677 h 797705"/>
              <a:gd name="connsiteX198" fmla="*/ 160186 w 829568"/>
              <a:gd name="connsiteY198" fmla="*/ 109660 h 797705"/>
              <a:gd name="connsiteX199" fmla="*/ 187538 w 829568"/>
              <a:gd name="connsiteY199" fmla="*/ 82369 h 797705"/>
              <a:gd name="connsiteX200" fmla="*/ 187538 w 829568"/>
              <a:gd name="connsiteY200" fmla="*/ 48256 h 797705"/>
              <a:gd name="connsiteX201" fmla="*/ 190103 w 829568"/>
              <a:gd name="connsiteY201"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38471 h 797705"/>
              <a:gd name="connsiteX138" fmla="*/ 278521 w 829568"/>
              <a:gd name="connsiteY138" fmla="*/ 743008 h 797705"/>
              <a:gd name="connsiteX139" fmla="*/ 276242 w 829568"/>
              <a:gd name="connsiteY139" fmla="*/ 749814 h 797705"/>
              <a:gd name="connsiteX140" fmla="*/ 269405 w 829568"/>
              <a:gd name="connsiteY140" fmla="*/ 761156 h 797705"/>
              <a:gd name="connsiteX141" fmla="*/ 232942 w 829568"/>
              <a:gd name="connsiteY141" fmla="*/ 749814 h 797705"/>
              <a:gd name="connsiteX142" fmla="*/ 230663 w 829568"/>
              <a:gd name="connsiteY142" fmla="*/ 754351 h 797705"/>
              <a:gd name="connsiteX143" fmla="*/ 203316 w 829568"/>
              <a:gd name="connsiteY143" fmla="*/ 754351 h 797705"/>
              <a:gd name="connsiteX144" fmla="*/ 180526 w 829568"/>
              <a:gd name="connsiteY144" fmla="*/ 761156 h 797705"/>
              <a:gd name="connsiteX145" fmla="*/ 169131 w 829568"/>
              <a:gd name="connsiteY145" fmla="*/ 767961 h 797705"/>
              <a:gd name="connsiteX146" fmla="*/ 157736 w 829568"/>
              <a:gd name="connsiteY146" fmla="*/ 783841 h 797705"/>
              <a:gd name="connsiteX147" fmla="*/ 137226 w 829568"/>
              <a:gd name="connsiteY147" fmla="*/ 797451 h 797705"/>
              <a:gd name="connsiteX148" fmla="*/ 128110 w 829568"/>
              <a:gd name="connsiteY148" fmla="*/ 786109 h 797705"/>
              <a:gd name="connsiteX149" fmla="*/ 121273 w 829568"/>
              <a:gd name="connsiteY149" fmla="*/ 792914 h 797705"/>
              <a:gd name="connsiteX150" fmla="*/ 93925 w 829568"/>
              <a:gd name="connsiteY150" fmla="*/ 790646 h 797705"/>
              <a:gd name="connsiteX151" fmla="*/ 68857 w 829568"/>
              <a:gd name="connsiteY151" fmla="*/ 790646 h 797705"/>
              <a:gd name="connsiteX152" fmla="*/ 57462 w 829568"/>
              <a:gd name="connsiteY152" fmla="*/ 792914 h 797705"/>
              <a:gd name="connsiteX153" fmla="*/ 46067 w 829568"/>
              <a:gd name="connsiteY153" fmla="*/ 788377 h 797705"/>
              <a:gd name="connsiteX154" fmla="*/ 25556 w 829568"/>
              <a:gd name="connsiteY154" fmla="*/ 786109 h 797705"/>
              <a:gd name="connsiteX155" fmla="*/ 25556 w 829568"/>
              <a:gd name="connsiteY155" fmla="*/ 783841 h 797705"/>
              <a:gd name="connsiteX156" fmla="*/ 27835 w 829568"/>
              <a:gd name="connsiteY156" fmla="*/ 777035 h 797705"/>
              <a:gd name="connsiteX157" fmla="*/ 25556 w 829568"/>
              <a:gd name="connsiteY157" fmla="*/ 774767 h 797705"/>
              <a:gd name="connsiteX158" fmla="*/ 43788 w 829568"/>
              <a:gd name="connsiteY158" fmla="*/ 770230 h 797705"/>
              <a:gd name="connsiteX159" fmla="*/ 48346 w 829568"/>
              <a:gd name="connsiteY159" fmla="*/ 699908 h 797705"/>
              <a:gd name="connsiteX160" fmla="*/ 5046 w 829568"/>
              <a:gd name="connsiteY160" fmla="*/ 670418 h 797705"/>
              <a:gd name="connsiteX161" fmla="*/ 30114 w 829568"/>
              <a:gd name="connsiteY161" fmla="*/ 615975 h 797705"/>
              <a:gd name="connsiteX162" fmla="*/ 41509 w 829568"/>
              <a:gd name="connsiteY162" fmla="*/ 600095 h 797705"/>
              <a:gd name="connsiteX163" fmla="*/ 34672 w 829568"/>
              <a:gd name="connsiteY163" fmla="*/ 581948 h 797705"/>
              <a:gd name="connsiteX164" fmla="*/ 41509 w 829568"/>
              <a:gd name="connsiteY164" fmla="*/ 554726 h 797705"/>
              <a:gd name="connsiteX165" fmla="*/ 16441 w 829568"/>
              <a:gd name="connsiteY165" fmla="*/ 543384 h 797705"/>
              <a:gd name="connsiteX166" fmla="*/ 34672 w 829568"/>
              <a:gd name="connsiteY166" fmla="*/ 541115 h 797705"/>
              <a:gd name="connsiteX167" fmla="*/ 41498 w 829568"/>
              <a:gd name="connsiteY167" fmla="*/ 541115 h 797705"/>
              <a:gd name="connsiteX168" fmla="*/ 39341 w 829568"/>
              <a:gd name="connsiteY168" fmla="*/ 528176 h 797705"/>
              <a:gd name="connsiteX169" fmla="*/ 86966 w 829568"/>
              <a:gd name="connsiteY169" fmla="*/ 494839 h 797705"/>
              <a:gd name="connsiteX170" fmla="*/ 65409 w 829568"/>
              <a:gd name="connsiteY170" fmla="*/ 464300 h 797705"/>
              <a:gd name="connsiteX171" fmla="*/ 62429 w 829568"/>
              <a:gd name="connsiteY171" fmla="*/ 465726 h 797705"/>
              <a:gd name="connsiteX172" fmla="*/ 62429 w 829568"/>
              <a:gd name="connsiteY172" fmla="*/ 467991 h 797705"/>
              <a:gd name="connsiteX173" fmla="*/ 57874 w 829568"/>
              <a:gd name="connsiteY173" fmla="*/ 470256 h 797705"/>
              <a:gd name="connsiteX174" fmla="*/ 48763 w 829568"/>
              <a:gd name="connsiteY174" fmla="*/ 472522 h 797705"/>
              <a:gd name="connsiteX175" fmla="*/ 35096 w 829568"/>
              <a:gd name="connsiteY175" fmla="*/ 467991 h 797705"/>
              <a:gd name="connsiteX176" fmla="*/ 32818 w 829568"/>
              <a:gd name="connsiteY176" fmla="*/ 449871 h 797705"/>
              <a:gd name="connsiteX177" fmla="*/ 55596 w 829568"/>
              <a:gd name="connsiteY177" fmla="*/ 418160 h 797705"/>
              <a:gd name="connsiteX178" fmla="*/ 55596 w 829568"/>
              <a:gd name="connsiteY178" fmla="*/ 404569 h 797705"/>
              <a:gd name="connsiteX179" fmla="*/ 48763 w 829568"/>
              <a:gd name="connsiteY179" fmla="*/ 372858 h 797705"/>
              <a:gd name="connsiteX180" fmla="*/ 41929 w 829568"/>
              <a:gd name="connsiteY180" fmla="*/ 354737 h 797705"/>
              <a:gd name="connsiteX181" fmla="*/ 41929 w 829568"/>
              <a:gd name="connsiteY181" fmla="*/ 320761 h 797705"/>
              <a:gd name="connsiteX182" fmla="*/ 41929 w 829568"/>
              <a:gd name="connsiteY182" fmla="*/ 300375 h 797705"/>
              <a:gd name="connsiteX183" fmla="*/ 44207 w 829568"/>
              <a:gd name="connsiteY183" fmla="*/ 302640 h 797705"/>
              <a:gd name="connsiteX184" fmla="*/ 44300 w 829568"/>
              <a:gd name="connsiteY184" fmla="*/ 302367 h 797705"/>
              <a:gd name="connsiteX185" fmla="*/ 42022 w 829568"/>
              <a:gd name="connsiteY185" fmla="*/ 300102 h 797705"/>
              <a:gd name="connsiteX186" fmla="*/ 44300 w 829568"/>
              <a:gd name="connsiteY186" fmla="*/ 291042 h 797705"/>
              <a:gd name="connsiteX187" fmla="*/ 78462 w 829568"/>
              <a:gd name="connsiteY187" fmla="*/ 259331 h 797705"/>
              <a:gd name="connsiteX188" fmla="*/ 92126 w 829568"/>
              <a:gd name="connsiteY188" fmla="*/ 232149 h 797705"/>
              <a:gd name="connsiteX189" fmla="*/ 114901 w 829568"/>
              <a:gd name="connsiteY189" fmla="*/ 211764 h 797705"/>
              <a:gd name="connsiteX190" fmla="*/ 108638 w 829568"/>
              <a:gd name="connsiteY190" fmla="*/ 204968 h 797705"/>
              <a:gd name="connsiteX191" fmla="*/ 92261 w 829568"/>
              <a:gd name="connsiteY191" fmla="*/ 198228 h 797705"/>
              <a:gd name="connsiteX192" fmla="*/ 91806 w 829568"/>
              <a:gd name="connsiteY192" fmla="*/ 198355 h 797705"/>
              <a:gd name="connsiteX193" fmla="*/ 84968 w 829568"/>
              <a:gd name="connsiteY193" fmla="*/ 193807 h 797705"/>
              <a:gd name="connsiteX194" fmla="*/ 94086 w 829568"/>
              <a:gd name="connsiteY194" fmla="*/ 155145 h 797705"/>
              <a:gd name="connsiteX195" fmla="*/ 135114 w 829568"/>
              <a:gd name="connsiteY195" fmla="*/ 127854 h 797705"/>
              <a:gd name="connsiteX196" fmla="*/ 160186 w 829568"/>
              <a:gd name="connsiteY196" fmla="*/ 134677 h 797705"/>
              <a:gd name="connsiteX197" fmla="*/ 160186 w 829568"/>
              <a:gd name="connsiteY197" fmla="*/ 109660 h 797705"/>
              <a:gd name="connsiteX198" fmla="*/ 187538 w 829568"/>
              <a:gd name="connsiteY198" fmla="*/ 82369 h 797705"/>
              <a:gd name="connsiteX199" fmla="*/ 187538 w 829568"/>
              <a:gd name="connsiteY199" fmla="*/ 48256 h 797705"/>
              <a:gd name="connsiteX200" fmla="*/ 190103 w 829568"/>
              <a:gd name="connsiteY200"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38471 h 797705"/>
              <a:gd name="connsiteX138" fmla="*/ 278521 w 829568"/>
              <a:gd name="connsiteY138" fmla="*/ 743008 h 797705"/>
              <a:gd name="connsiteX139" fmla="*/ 276242 w 829568"/>
              <a:gd name="connsiteY139" fmla="*/ 749814 h 797705"/>
              <a:gd name="connsiteX140" fmla="*/ 269405 w 829568"/>
              <a:gd name="connsiteY140" fmla="*/ 761156 h 797705"/>
              <a:gd name="connsiteX141" fmla="*/ 232942 w 829568"/>
              <a:gd name="connsiteY141" fmla="*/ 749814 h 797705"/>
              <a:gd name="connsiteX142" fmla="*/ 230663 w 829568"/>
              <a:gd name="connsiteY142" fmla="*/ 754351 h 797705"/>
              <a:gd name="connsiteX143" fmla="*/ 203316 w 829568"/>
              <a:gd name="connsiteY143" fmla="*/ 754351 h 797705"/>
              <a:gd name="connsiteX144" fmla="*/ 180526 w 829568"/>
              <a:gd name="connsiteY144" fmla="*/ 761156 h 797705"/>
              <a:gd name="connsiteX145" fmla="*/ 169131 w 829568"/>
              <a:gd name="connsiteY145" fmla="*/ 767961 h 797705"/>
              <a:gd name="connsiteX146" fmla="*/ 157736 w 829568"/>
              <a:gd name="connsiteY146" fmla="*/ 783841 h 797705"/>
              <a:gd name="connsiteX147" fmla="*/ 137226 w 829568"/>
              <a:gd name="connsiteY147" fmla="*/ 797451 h 797705"/>
              <a:gd name="connsiteX148" fmla="*/ 128110 w 829568"/>
              <a:gd name="connsiteY148" fmla="*/ 786109 h 797705"/>
              <a:gd name="connsiteX149" fmla="*/ 121273 w 829568"/>
              <a:gd name="connsiteY149" fmla="*/ 792914 h 797705"/>
              <a:gd name="connsiteX150" fmla="*/ 93925 w 829568"/>
              <a:gd name="connsiteY150" fmla="*/ 790646 h 797705"/>
              <a:gd name="connsiteX151" fmla="*/ 68857 w 829568"/>
              <a:gd name="connsiteY151" fmla="*/ 790646 h 797705"/>
              <a:gd name="connsiteX152" fmla="*/ 57462 w 829568"/>
              <a:gd name="connsiteY152" fmla="*/ 792914 h 797705"/>
              <a:gd name="connsiteX153" fmla="*/ 46067 w 829568"/>
              <a:gd name="connsiteY153" fmla="*/ 788377 h 797705"/>
              <a:gd name="connsiteX154" fmla="*/ 25556 w 829568"/>
              <a:gd name="connsiteY154" fmla="*/ 786109 h 797705"/>
              <a:gd name="connsiteX155" fmla="*/ 25556 w 829568"/>
              <a:gd name="connsiteY155" fmla="*/ 783841 h 797705"/>
              <a:gd name="connsiteX156" fmla="*/ 27835 w 829568"/>
              <a:gd name="connsiteY156" fmla="*/ 777035 h 797705"/>
              <a:gd name="connsiteX157" fmla="*/ 25556 w 829568"/>
              <a:gd name="connsiteY157" fmla="*/ 774767 h 797705"/>
              <a:gd name="connsiteX158" fmla="*/ 43788 w 829568"/>
              <a:gd name="connsiteY158" fmla="*/ 770230 h 797705"/>
              <a:gd name="connsiteX159" fmla="*/ 48346 w 829568"/>
              <a:gd name="connsiteY159" fmla="*/ 699908 h 797705"/>
              <a:gd name="connsiteX160" fmla="*/ 5046 w 829568"/>
              <a:gd name="connsiteY160" fmla="*/ 670418 h 797705"/>
              <a:gd name="connsiteX161" fmla="*/ 30114 w 829568"/>
              <a:gd name="connsiteY161" fmla="*/ 615975 h 797705"/>
              <a:gd name="connsiteX162" fmla="*/ 41509 w 829568"/>
              <a:gd name="connsiteY162" fmla="*/ 600095 h 797705"/>
              <a:gd name="connsiteX163" fmla="*/ 34672 w 829568"/>
              <a:gd name="connsiteY163" fmla="*/ 581948 h 797705"/>
              <a:gd name="connsiteX164" fmla="*/ 41509 w 829568"/>
              <a:gd name="connsiteY164" fmla="*/ 554726 h 797705"/>
              <a:gd name="connsiteX165" fmla="*/ 16441 w 829568"/>
              <a:gd name="connsiteY165" fmla="*/ 543384 h 797705"/>
              <a:gd name="connsiteX166" fmla="*/ 34672 w 829568"/>
              <a:gd name="connsiteY166" fmla="*/ 541115 h 797705"/>
              <a:gd name="connsiteX167" fmla="*/ 41498 w 829568"/>
              <a:gd name="connsiteY167" fmla="*/ 541115 h 797705"/>
              <a:gd name="connsiteX168" fmla="*/ 39341 w 829568"/>
              <a:gd name="connsiteY168" fmla="*/ 528176 h 797705"/>
              <a:gd name="connsiteX169" fmla="*/ 86966 w 829568"/>
              <a:gd name="connsiteY169" fmla="*/ 494839 h 797705"/>
              <a:gd name="connsiteX170" fmla="*/ 65409 w 829568"/>
              <a:gd name="connsiteY170" fmla="*/ 464300 h 797705"/>
              <a:gd name="connsiteX171" fmla="*/ 62429 w 829568"/>
              <a:gd name="connsiteY171" fmla="*/ 465726 h 797705"/>
              <a:gd name="connsiteX172" fmla="*/ 62429 w 829568"/>
              <a:gd name="connsiteY172" fmla="*/ 467991 h 797705"/>
              <a:gd name="connsiteX173" fmla="*/ 57874 w 829568"/>
              <a:gd name="connsiteY173" fmla="*/ 470256 h 797705"/>
              <a:gd name="connsiteX174" fmla="*/ 48763 w 829568"/>
              <a:gd name="connsiteY174" fmla="*/ 472522 h 797705"/>
              <a:gd name="connsiteX175" fmla="*/ 35096 w 829568"/>
              <a:gd name="connsiteY175" fmla="*/ 467991 h 797705"/>
              <a:gd name="connsiteX176" fmla="*/ 32818 w 829568"/>
              <a:gd name="connsiteY176" fmla="*/ 449871 h 797705"/>
              <a:gd name="connsiteX177" fmla="*/ 55596 w 829568"/>
              <a:gd name="connsiteY177" fmla="*/ 418160 h 797705"/>
              <a:gd name="connsiteX178" fmla="*/ 55596 w 829568"/>
              <a:gd name="connsiteY178" fmla="*/ 404569 h 797705"/>
              <a:gd name="connsiteX179" fmla="*/ 48763 w 829568"/>
              <a:gd name="connsiteY179" fmla="*/ 372858 h 797705"/>
              <a:gd name="connsiteX180" fmla="*/ 41929 w 829568"/>
              <a:gd name="connsiteY180" fmla="*/ 354737 h 797705"/>
              <a:gd name="connsiteX181" fmla="*/ 41929 w 829568"/>
              <a:gd name="connsiteY181" fmla="*/ 320761 h 797705"/>
              <a:gd name="connsiteX182" fmla="*/ 41929 w 829568"/>
              <a:gd name="connsiteY182" fmla="*/ 300375 h 797705"/>
              <a:gd name="connsiteX183" fmla="*/ 44207 w 829568"/>
              <a:gd name="connsiteY183" fmla="*/ 302640 h 797705"/>
              <a:gd name="connsiteX184" fmla="*/ 44300 w 829568"/>
              <a:gd name="connsiteY184" fmla="*/ 302367 h 797705"/>
              <a:gd name="connsiteX185" fmla="*/ 44300 w 829568"/>
              <a:gd name="connsiteY185" fmla="*/ 291042 h 797705"/>
              <a:gd name="connsiteX186" fmla="*/ 78462 w 829568"/>
              <a:gd name="connsiteY186" fmla="*/ 259331 h 797705"/>
              <a:gd name="connsiteX187" fmla="*/ 92126 w 829568"/>
              <a:gd name="connsiteY187" fmla="*/ 232149 h 797705"/>
              <a:gd name="connsiteX188" fmla="*/ 114901 w 829568"/>
              <a:gd name="connsiteY188" fmla="*/ 211764 h 797705"/>
              <a:gd name="connsiteX189" fmla="*/ 108638 w 829568"/>
              <a:gd name="connsiteY189" fmla="*/ 204968 h 797705"/>
              <a:gd name="connsiteX190" fmla="*/ 92261 w 829568"/>
              <a:gd name="connsiteY190" fmla="*/ 198228 h 797705"/>
              <a:gd name="connsiteX191" fmla="*/ 91806 w 829568"/>
              <a:gd name="connsiteY191" fmla="*/ 198355 h 797705"/>
              <a:gd name="connsiteX192" fmla="*/ 84968 w 829568"/>
              <a:gd name="connsiteY192" fmla="*/ 193807 h 797705"/>
              <a:gd name="connsiteX193" fmla="*/ 94086 w 829568"/>
              <a:gd name="connsiteY193" fmla="*/ 155145 h 797705"/>
              <a:gd name="connsiteX194" fmla="*/ 135114 w 829568"/>
              <a:gd name="connsiteY194" fmla="*/ 127854 h 797705"/>
              <a:gd name="connsiteX195" fmla="*/ 160186 w 829568"/>
              <a:gd name="connsiteY195" fmla="*/ 134677 h 797705"/>
              <a:gd name="connsiteX196" fmla="*/ 160186 w 829568"/>
              <a:gd name="connsiteY196" fmla="*/ 109660 h 797705"/>
              <a:gd name="connsiteX197" fmla="*/ 187538 w 829568"/>
              <a:gd name="connsiteY197" fmla="*/ 82369 h 797705"/>
              <a:gd name="connsiteX198" fmla="*/ 187538 w 829568"/>
              <a:gd name="connsiteY198" fmla="*/ 48256 h 797705"/>
              <a:gd name="connsiteX199" fmla="*/ 190103 w 829568"/>
              <a:gd name="connsiteY199"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38471 h 797705"/>
              <a:gd name="connsiteX138" fmla="*/ 278521 w 829568"/>
              <a:gd name="connsiteY138" fmla="*/ 743008 h 797705"/>
              <a:gd name="connsiteX139" fmla="*/ 276242 w 829568"/>
              <a:gd name="connsiteY139" fmla="*/ 749814 h 797705"/>
              <a:gd name="connsiteX140" fmla="*/ 269405 w 829568"/>
              <a:gd name="connsiteY140" fmla="*/ 761156 h 797705"/>
              <a:gd name="connsiteX141" fmla="*/ 232942 w 829568"/>
              <a:gd name="connsiteY141" fmla="*/ 749814 h 797705"/>
              <a:gd name="connsiteX142" fmla="*/ 230663 w 829568"/>
              <a:gd name="connsiteY142" fmla="*/ 754351 h 797705"/>
              <a:gd name="connsiteX143" fmla="*/ 203316 w 829568"/>
              <a:gd name="connsiteY143" fmla="*/ 754351 h 797705"/>
              <a:gd name="connsiteX144" fmla="*/ 180526 w 829568"/>
              <a:gd name="connsiteY144" fmla="*/ 761156 h 797705"/>
              <a:gd name="connsiteX145" fmla="*/ 169131 w 829568"/>
              <a:gd name="connsiteY145" fmla="*/ 767961 h 797705"/>
              <a:gd name="connsiteX146" fmla="*/ 157736 w 829568"/>
              <a:gd name="connsiteY146" fmla="*/ 783841 h 797705"/>
              <a:gd name="connsiteX147" fmla="*/ 137226 w 829568"/>
              <a:gd name="connsiteY147" fmla="*/ 797451 h 797705"/>
              <a:gd name="connsiteX148" fmla="*/ 128110 w 829568"/>
              <a:gd name="connsiteY148" fmla="*/ 786109 h 797705"/>
              <a:gd name="connsiteX149" fmla="*/ 121273 w 829568"/>
              <a:gd name="connsiteY149" fmla="*/ 792914 h 797705"/>
              <a:gd name="connsiteX150" fmla="*/ 93925 w 829568"/>
              <a:gd name="connsiteY150" fmla="*/ 790646 h 797705"/>
              <a:gd name="connsiteX151" fmla="*/ 68857 w 829568"/>
              <a:gd name="connsiteY151" fmla="*/ 790646 h 797705"/>
              <a:gd name="connsiteX152" fmla="*/ 57462 w 829568"/>
              <a:gd name="connsiteY152" fmla="*/ 792914 h 797705"/>
              <a:gd name="connsiteX153" fmla="*/ 46067 w 829568"/>
              <a:gd name="connsiteY153" fmla="*/ 788377 h 797705"/>
              <a:gd name="connsiteX154" fmla="*/ 25556 w 829568"/>
              <a:gd name="connsiteY154" fmla="*/ 786109 h 797705"/>
              <a:gd name="connsiteX155" fmla="*/ 25556 w 829568"/>
              <a:gd name="connsiteY155" fmla="*/ 783841 h 797705"/>
              <a:gd name="connsiteX156" fmla="*/ 27835 w 829568"/>
              <a:gd name="connsiteY156" fmla="*/ 777035 h 797705"/>
              <a:gd name="connsiteX157" fmla="*/ 25556 w 829568"/>
              <a:gd name="connsiteY157" fmla="*/ 774767 h 797705"/>
              <a:gd name="connsiteX158" fmla="*/ 43788 w 829568"/>
              <a:gd name="connsiteY158" fmla="*/ 770230 h 797705"/>
              <a:gd name="connsiteX159" fmla="*/ 48346 w 829568"/>
              <a:gd name="connsiteY159" fmla="*/ 699908 h 797705"/>
              <a:gd name="connsiteX160" fmla="*/ 5046 w 829568"/>
              <a:gd name="connsiteY160" fmla="*/ 670418 h 797705"/>
              <a:gd name="connsiteX161" fmla="*/ 30114 w 829568"/>
              <a:gd name="connsiteY161" fmla="*/ 615975 h 797705"/>
              <a:gd name="connsiteX162" fmla="*/ 41509 w 829568"/>
              <a:gd name="connsiteY162" fmla="*/ 600095 h 797705"/>
              <a:gd name="connsiteX163" fmla="*/ 34672 w 829568"/>
              <a:gd name="connsiteY163" fmla="*/ 581948 h 797705"/>
              <a:gd name="connsiteX164" fmla="*/ 41509 w 829568"/>
              <a:gd name="connsiteY164" fmla="*/ 554726 h 797705"/>
              <a:gd name="connsiteX165" fmla="*/ 16441 w 829568"/>
              <a:gd name="connsiteY165" fmla="*/ 543384 h 797705"/>
              <a:gd name="connsiteX166" fmla="*/ 34672 w 829568"/>
              <a:gd name="connsiteY166" fmla="*/ 541115 h 797705"/>
              <a:gd name="connsiteX167" fmla="*/ 41498 w 829568"/>
              <a:gd name="connsiteY167" fmla="*/ 541115 h 797705"/>
              <a:gd name="connsiteX168" fmla="*/ 39341 w 829568"/>
              <a:gd name="connsiteY168" fmla="*/ 528176 h 797705"/>
              <a:gd name="connsiteX169" fmla="*/ 86966 w 829568"/>
              <a:gd name="connsiteY169" fmla="*/ 494839 h 797705"/>
              <a:gd name="connsiteX170" fmla="*/ 65409 w 829568"/>
              <a:gd name="connsiteY170" fmla="*/ 464300 h 797705"/>
              <a:gd name="connsiteX171" fmla="*/ 62429 w 829568"/>
              <a:gd name="connsiteY171" fmla="*/ 465726 h 797705"/>
              <a:gd name="connsiteX172" fmla="*/ 62429 w 829568"/>
              <a:gd name="connsiteY172" fmla="*/ 467991 h 797705"/>
              <a:gd name="connsiteX173" fmla="*/ 57874 w 829568"/>
              <a:gd name="connsiteY173" fmla="*/ 470256 h 797705"/>
              <a:gd name="connsiteX174" fmla="*/ 48763 w 829568"/>
              <a:gd name="connsiteY174" fmla="*/ 472522 h 797705"/>
              <a:gd name="connsiteX175" fmla="*/ 35096 w 829568"/>
              <a:gd name="connsiteY175" fmla="*/ 467991 h 797705"/>
              <a:gd name="connsiteX176" fmla="*/ 32818 w 829568"/>
              <a:gd name="connsiteY176" fmla="*/ 449871 h 797705"/>
              <a:gd name="connsiteX177" fmla="*/ 55596 w 829568"/>
              <a:gd name="connsiteY177" fmla="*/ 418160 h 797705"/>
              <a:gd name="connsiteX178" fmla="*/ 55596 w 829568"/>
              <a:gd name="connsiteY178" fmla="*/ 404569 h 797705"/>
              <a:gd name="connsiteX179" fmla="*/ 48763 w 829568"/>
              <a:gd name="connsiteY179" fmla="*/ 372858 h 797705"/>
              <a:gd name="connsiteX180" fmla="*/ 41929 w 829568"/>
              <a:gd name="connsiteY180" fmla="*/ 354737 h 797705"/>
              <a:gd name="connsiteX181" fmla="*/ 41929 w 829568"/>
              <a:gd name="connsiteY181" fmla="*/ 320761 h 797705"/>
              <a:gd name="connsiteX182" fmla="*/ 41929 w 829568"/>
              <a:gd name="connsiteY182" fmla="*/ 300375 h 797705"/>
              <a:gd name="connsiteX183" fmla="*/ 44207 w 829568"/>
              <a:gd name="connsiteY183" fmla="*/ 302640 h 797705"/>
              <a:gd name="connsiteX184" fmla="*/ 44300 w 829568"/>
              <a:gd name="connsiteY184" fmla="*/ 291042 h 797705"/>
              <a:gd name="connsiteX185" fmla="*/ 78462 w 829568"/>
              <a:gd name="connsiteY185" fmla="*/ 259331 h 797705"/>
              <a:gd name="connsiteX186" fmla="*/ 92126 w 829568"/>
              <a:gd name="connsiteY186" fmla="*/ 232149 h 797705"/>
              <a:gd name="connsiteX187" fmla="*/ 114901 w 829568"/>
              <a:gd name="connsiteY187" fmla="*/ 211764 h 797705"/>
              <a:gd name="connsiteX188" fmla="*/ 108638 w 829568"/>
              <a:gd name="connsiteY188" fmla="*/ 204968 h 797705"/>
              <a:gd name="connsiteX189" fmla="*/ 92261 w 829568"/>
              <a:gd name="connsiteY189" fmla="*/ 198228 h 797705"/>
              <a:gd name="connsiteX190" fmla="*/ 91806 w 829568"/>
              <a:gd name="connsiteY190" fmla="*/ 198355 h 797705"/>
              <a:gd name="connsiteX191" fmla="*/ 84968 w 829568"/>
              <a:gd name="connsiteY191" fmla="*/ 193807 h 797705"/>
              <a:gd name="connsiteX192" fmla="*/ 94086 w 829568"/>
              <a:gd name="connsiteY192" fmla="*/ 155145 h 797705"/>
              <a:gd name="connsiteX193" fmla="*/ 135114 w 829568"/>
              <a:gd name="connsiteY193" fmla="*/ 127854 h 797705"/>
              <a:gd name="connsiteX194" fmla="*/ 160186 w 829568"/>
              <a:gd name="connsiteY194" fmla="*/ 134677 h 797705"/>
              <a:gd name="connsiteX195" fmla="*/ 160186 w 829568"/>
              <a:gd name="connsiteY195" fmla="*/ 109660 h 797705"/>
              <a:gd name="connsiteX196" fmla="*/ 187538 w 829568"/>
              <a:gd name="connsiteY196" fmla="*/ 82369 h 797705"/>
              <a:gd name="connsiteX197" fmla="*/ 187538 w 829568"/>
              <a:gd name="connsiteY197" fmla="*/ 48256 h 797705"/>
              <a:gd name="connsiteX198" fmla="*/ 190103 w 829568"/>
              <a:gd name="connsiteY198"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38471 h 797705"/>
              <a:gd name="connsiteX138" fmla="*/ 278521 w 829568"/>
              <a:gd name="connsiteY138" fmla="*/ 743008 h 797705"/>
              <a:gd name="connsiteX139" fmla="*/ 276242 w 829568"/>
              <a:gd name="connsiteY139" fmla="*/ 749814 h 797705"/>
              <a:gd name="connsiteX140" fmla="*/ 269405 w 829568"/>
              <a:gd name="connsiteY140" fmla="*/ 761156 h 797705"/>
              <a:gd name="connsiteX141" fmla="*/ 232942 w 829568"/>
              <a:gd name="connsiteY141" fmla="*/ 749814 h 797705"/>
              <a:gd name="connsiteX142" fmla="*/ 230663 w 829568"/>
              <a:gd name="connsiteY142" fmla="*/ 754351 h 797705"/>
              <a:gd name="connsiteX143" fmla="*/ 203316 w 829568"/>
              <a:gd name="connsiteY143" fmla="*/ 754351 h 797705"/>
              <a:gd name="connsiteX144" fmla="*/ 180526 w 829568"/>
              <a:gd name="connsiteY144" fmla="*/ 761156 h 797705"/>
              <a:gd name="connsiteX145" fmla="*/ 169131 w 829568"/>
              <a:gd name="connsiteY145" fmla="*/ 767961 h 797705"/>
              <a:gd name="connsiteX146" fmla="*/ 157736 w 829568"/>
              <a:gd name="connsiteY146" fmla="*/ 783841 h 797705"/>
              <a:gd name="connsiteX147" fmla="*/ 137226 w 829568"/>
              <a:gd name="connsiteY147" fmla="*/ 797451 h 797705"/>
              <a:gd name="connsiteX148" fmla="*/ 128110 w 829568"/>
              <a:gd name="connsiteY148" fmla="*/ 786109 h 797705"/>
              <a:gd name="connsiteX149" fmla="*/ 121273 w 829568"/>
              <a:gd name="connsiteY149" fmla="*/ 792914 h 797705"/>
              <a:gd name="connsiteX150" fmla="*/ 93925 w 829568"/>
              <a:gd name="connsiteY150" fmla="*/ 790646 h 797705"/>
              <a:gd name="connsiteX151" fmla="*/ 68857 w 829568"/>
              <a:gd name="connsiteY151" fmla="*/ 790646 h 797705"/>
              <a:gd name="connsiteX152" fmla="*/ 57462 w 829568"/>
              <a:gd name="connsiteY152" fmla="*/ 792914 h 797705"/>
              <a:gd name="connsiteX153" fmla="*/ 46067 w 829568"/>
              <a:gd name="connsiteY153" fmla="*/ 788377 h 797705"/>
              <a:gd name="connsiteX154" fmla="*/ 25556 w 829568"/>
              <a:gd name="connsiteY154" fmla="*/ 786109 h 797705"/>
              <a:gd name="connsiteX155" fmla="*/ 25556 w 829568"/>
              <a:gd name="connsiteY155" fmla="*/ 783841 h 797705"/>
              <a:gd name="connsiteX156" fmla="*/ 27835 w 829568"/>
              <a:gd name="connsiteY156" fmla="*/ 777035 h 797705"/>
              <a:gd name="connsiteX157" fmla="*/ 25556 w 829568"/>
              <a:gd name="connsiteY157" fmla="*/ 774767 h 797705"/>
              <a:gd name="connsiteX158" fmla="*/ 43788 w 829568"/>
              <a:gd name="connsiteY158" fmla="*/ 770230 h 797705"/>
              <a:gd name="connsiteX159" fmla="*/ 48346 w 829568"/>
              <a:gd name="connsiteY159" fmla="*/ 699908 h 797705"/>
              <a:gd name="connsiteX160" fmla="*/ 5046 w 829568"/>
              <a:gd name="connsiteY160" fmla="*/ 670418 h 797705"/>
              <a:gd name="connsiteX161" fmla="*/ 30114 w 829568"/>
              <a:gd name="connsiteY161" fmla="*/ 615975 h 797705"/>
              <a:gd name="connsiteX162" fmla="*/ 41509 w 829568"/>
              <a:gd name="connsiteY162" fmla="*/ 600095 h 797705"/>
              <a:gd name="connsiteX163" fmla="*/ 34672 w 829568"/>
              <a:gd name="connsiteY163" fmla="*/ 581948 h 797705"/>
              <a:gd name="connsiteX164" fmla="*/ 41509 w 829568"/>
              <a:gd name="connsiteY164" fmla="*/ 554726 h 797705"/>
              <a:gd name="connsiteX165" fmla="*/ 16441 w 829568"/>
              <a:gd name="connsiteY165" fmla="*/ 543384 h 797705"/>
              <a:gd name="connsiteX166" fmla="*/ 34672 w 829568"/>
              <a:gd name="connsiteY166" fmla="*/ 541115 h 797705"/>
              <a:gd name="connsiteX167" fmla="*/ 41498 w 829568"/>
              <a:gd name="connsiteY167" fmla="*/ 541115 h 797705"/>
              <a:gd name="connsiteX168" fmla="*/ 39341 w 829568"/>
              <a:gd name="connsiteY168" fmla="*/ 528176 h 797705"/>
              <a:gd name="connsiteX169" fmla="*/ 86966 w 829568"/>
              <a:gd name="connsiteY169" fmla="*/ 494839 h 797705"/>
              <a:gd name="connsiteX170" fmla="*/ 65409 w 829568"/>
              <a:gd name="connsiteY170" fmla="*/ 464300 h 797705"/>
              <a:gd name="connsiteX171" fmla="*/ 62429 w 829568"/>
              <a:gd name="connsiteY171" fmla="*/ 465726 h 797705"/>
              <a:gd name="connsiteX172" fmla="*/ 62429 w 829568"/>
              <a:gd name="connsiteY172" fmla="*/ 467991 h 797705"/>
              <a:gd name="connsiteX173" fmla="*/ 57874 w 829568"/>
              <a:gd name="connsiteY173" fmla="*/ 470256 h 797705"/>
              <a:gd name="connsiteX174" fmla="*/ 48763 w 829568"/>
              <a:gd name="connsiteY174" fmla="*/ 472522 h 797705"/>
              <a:gd name="connsiteX175" fmla="*/ 35096 w 829568"/>
              <a:gd name="connsiteY175" fmla="*/ 467991 h 797705"/>
              <a:gd name="connsiteX176" fmla="*/ 32818 w 829568"/>
              <a:gd name="connsiteY176" fmla="*/ 449871 h 797705"/>
              <a:gd name="connsiteX177" fmla="*/ 55596 w 829568"/>
              <a:gd name="connsiteY177" fmla="*/ 418160 h 797705"/>
              <a:gd name="connsiteX178" fmla="*/ 55596 w 829568"/>
              <a:gd name="connsiteY178" fmla="*/ 404569 h 797705"/>
              <a:gd name="connsiteX179" fmla="*/ 48763 w 829568"/>
              <a:gd name="connsiteY179" fmla="*/ 372858 h 797705"/>
              <a:gd name="connsiteX180" fmla="*/ 41929 w 829568"/>
              <a:gd name="connsiteY180" fmla="*/ 354737 h 797705"/>
              <a:gd name="connsiteX181" fmla="*/ 41929 w 829568"/>
              <a:gd name="connsiteY181" fmla="*/ 320761 h 797705"/>
              <a:gd name="connsiteX182" fmla="*/ 41929 w 829568"/>
              <a:gd name="connsiteY182" fmla="*/ 300375 h 797705"/>
              <a:gd name="connsiteX183" fmla="*/ 44300 w 829568"/>
              <a:gd name="connsiteY183" fmla="*/ 291042 h 797705"/>
              <a:gd name="connsiteX184" fmla="*/ 78462 w 829568"/>
              <a:gd name="connsiteY184" fmla="*/ 259331 h 797705"/>
              <a:gd name="connsiteX185" fmla="*/ 92126 w 829568"/>
              <a:gd name="connsiteY185" fmla="*/ 232149 h 797705"/>
              <a:gd name="connsiteX186" fmla="*/ 114901 w 829568"/>
              <a:gd name="connsiteY186" fmla="*/ 211764 h 797705"/>
              <a:gd name="connsiteX187" fmla="*/ 108638 w 829568"/>
              <a:gd name="connsiteY187" fmla="*/ 204968 h 797705"/>
              <a:gd name="connsiteX188" fmla="*/ 92261 w 829568"/>
              <a:gd name="connsiteY188" fmla="*/ 198228 h 797705"/>
              <a:gd name="connsiteX189" fmla="*/ 91806 w 829568"/>
              <a:gd name="connsiteY189" fmla="*/ 198355 h 797705"/>
              <a:gd name="connsiteX190" fmla="*/ 84968 w 829568"/>
              <a:gd name="connsiteY190" fmla="*/ 193807 h 797705"/>
              <a:gd name="connsiteX191" fmla="*/ 94086 w 829568"/>
              <a:gd name="connsiteY191" fmla="*/ 155145 h 797705"/>
              <a:gd name="connsiteX192" fmla="*/ 135114 w 829568"/>
              <a:gd name="connsiteY192" fmla="*/ 127854 h 797705"/>
              <a:gd name="connsiteX193" fmla="*/ 160186 w 829568"/>
              <a:gd name="connsiteY193" fmla="*/ 134677 h 797705"/>
              <a:gd name="connsiteX194" fmla="*/ 160186 w 829568"/>
              <a:gd name="connsiteY194" fmla="*/ 109660 h 797705"/>
              <a:gd name="connsiteX195" fmla="*/ 187538 w 829568"/>
              <a:gd name="connsiteY195" fmla="*/ 82369 h 797705"/>
              <a:gd name="connsiteX196" fmla="*/ 187538 w 829568"/>
              <a:gd name="connsiteY196" fmla="*/ 48256 h 797705"/>
              <a:gd name="connsiteX197" fmla="*/ 190103 w 829568"/>
              <a:gd name="connsiteY197"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27835 w 829568"/>
              <a:gd name="connsiteY155" fmla="*/ 777035 h 797705"/>
              <a:gd name="connsiteX156" fmla="*/ 25556 w 829568"/>
              <a:gd name="connsiteY156" fmla="*/ 774767 h 797705"/>
              <a:gd name="connsiteX157" fmla="*/ 43788 w 829568"/>
              <a:gd name="connsiteY157" fmla="*/ 770230 h 797705"/>
              <a:gd name="connsiteX158" fmla="*/ 48346 w 829568"/>
              <a:gd name="connsiteY158" fmla="*/ 699908 h 797705"/>
              <a:gd name="connsiteX159" fmla="*/ 5046 w 829568"/>
              <a:gd name="connsiteY159" fmla="*/ 670418 h 797705"/>
              <a:gd name="connsiteX160" fmla="*/ 30114 w 829568"/>
              <a:gd name="connsiteY160" fmla="*/ 615975 h 797705"/>
              <a:gd name="connsiteX161" fmla="*/ 41509 w 829568"/>
              <a:gd name="connsiteY161" fmla="*/ 600095 h 797705"/>
              <a:gd name="connsiteX162" fmla="*/ 34672 w 829568"/>
              <a:gd name="connsiteY162" fmla="*/ 581948 h 797705"/>
              <a:gd name="connsiteX163" fmla="*/ 41509 w 829568"/>
              <a:gd name="connsiteY163" fmla="*/ 554726 h 797705"/>
              <a:gd name="connsiteX164" fmla="*/ 16441 w 829568"/>
              <a:gd name="connsiteY164" fmla="*/ 543384 h 797705"/>
              <a:gd name="connsiteX165" fmla="*/ 34672 w 829568"/>
              <a:gd name="connsiteY165" fmla="*/ 541115 h 797705"/>
              <a:gd name="connsiteX166" fmla="*/ 41498 w 829568"/>
              <a:gd name="connsiteY166" fmla="*/ 541115 h 797705"/>
              <a:gd name="connsiteX167" fmla="*/ 39341 w 829568"/>
              <a:gd name="connsiteY167" fmla="*/ 528176 h 797705"/>
              <a:gd name="connsiteX168" fmla="*/ 86966 w 829568"/>
              <a:gd name="connsiteY168" fmla="*/ 494839 h 797705"/>
              <a:gd name="connsiteX169" fmla="*/ 65409 w 829568"/>
              <a:gd name="connsiteY169" fmla="*/ 464300 h 797705"/>
              <a:gd name="connsiteX170" fmla="*/ 62429 w 829568"/>
              <a:gd name="connsiteY170" fmla="*/ 465726 h 797705"/>
              <a:gd name="connsiteX171" fmla="*/ 62429 w 829568"/>
              <a:gd name="connsiteY171" fmla="*/ 467991 h 797705"/>
              <a:gd name="connsiteX172" fmla="*/ 57874 w 829568"/>
              <a:gd name="connsiteY172" fmla="*/ 470256 h 797705"/>
              <a:gd name="connsiteX173" fmla="*/ 48763 w 829568"/>
              <a:gd name="connsiteY173" fmla="*/ 472522 h 797705"/>
              <a:gd name="connsiteX174" fmla="*/ 35096 w 829568"/>
              <a:gd name="connsiteY174" fmla="*/ 467991 h 797705"/>
              <a:gd name="connsiteX175" fmla="*/ 32818 w 829568"/>
              <a:gd name="connsiteY175" fmla="*/ 449871 h 797705"/>
              <a:gd name="connsiteX176" fmla="*/ 55596 w 829568"/>
              <a:gd name="connsiteY176" fmla="*/ 418160 h 797705"/>
              <a:gd name="connsiteX177" fmla="*/ 55596 w 829568"/>
              <a:gd name="connsiteY177" fmla="*/ 404569 h 797705"/>
              <a:gd name="connsiteX178" fmla="*/ 48763 w 829568"/>
              <a:gd name="connsiteY178" fmla="*/ 372858 h 797705"/>
              <a:gd name="connsiteX179" fmla="*/ 41929 w 829568"/>
              <a:gd name="connsiteY179" fmla="*/ 354737 h 797705"/>
              <a:gd name="connsiteX180" fmla="*/ 41929 w 829568"/>
              <a:gd name="connsiteY180" fmla="*/ 320761 h 797705"/>
              <a:gd name="connsiteX181" fmla="*/ 41929 w 829568"/>
              <a:gd name="connsiteY181" fmla="*/ 300375 h 797705"/>
              <a:gd name="connsiteX182" fmla="*/ 44300 w 829568"/>
              <a:gd name="connsiteY182" fmla="*/ 291042 h 797705"/>
              <a:gd name="connsiteX183" fmla="*/ 78462 w 829568"/>
              <a:gd name="connsiteY183" fmla="*/ 259331 h 797705"/>
              <a:gd name="connsiteX184" fmla="*/ 92126 w 829568"/>
              <a:gd name="connsiteY184" fmla="*/ 232149 h 797705"/>
              <a:gd name="connsiteX185" fmla="*/ 114901 w 829568"/>
              <a:gd name="connsiteY185" fmla="*/ 211764 h 797705"/>
              <a:gd name="connsiteX186" fmla="*/ 108638 w 829568"/>
              <a:gd name="connsiteY186" fmla="*/ 204968 h 797705"/>
              <a:gd name="connsiteX187" fmla="*/ 92261 w 829568"/>
              <a:gd name="connsiteY187" fmla="*/ 198228 h 797705"/>
              <a:gd name="connsiteX188" fmla="*/ 91806 w 829568"/>
              <a:gd name="connsiteY188" fmla="*/ 198355 h 797705"/>
              <a:gd name="connsiteX189" fmla="*/ 84968 w 829568"/>
              <a:gd name="connsiteY189" fmla="*/ 193807 h 797705"/>
              <a:gd name="connsiteX190" fmla="*/ 94086 w 829568"/>
              <a:gd name="connsiteY190" fmla="*/ 155145 h 797705"/>
              <a:gd name="connsiteX191" fmla="*/ 135114 w 829568"/>
              <a:gd name="connsiteY191" fmla="*/ 127854 h 797705"/>
              <a:gd name="connsiteX192" fmla="*/ 160186 w 829568"/>
              <a:gd name="connsiteY192" fmla="*/ 134677 h 797705"/>
              <a:gd name="connsiteX193" fmla="*/ 160186 w 829568"/>
              <a:gd name="connsiteY193" fmla="*/ 109660 h 797705"/>
              <a:gd name="connsiteX194" fmla="*/ 187538 w 829568"/>
              <a:gd name="connsiteY194" fmla="*/ 82369 h 797705"/>
              <a:gd name="connsiteX195" fmla="*/ 187538 w 829568"/>
              <a:gd name="connsiteY195" fmla="*/ 48256 h 797705"/>
              <a:gd name="connsiteX196" fmla="*/ 190103 w 829568"/>
              <a:gd name="connsiteY196"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27835 w 829568"/>
              <a:gd name="connsiteY155" fmla="*/ 777035 h 797705"/>
              <a:gd name="connsiteX156" fmla="*/ 43788 w 829568"/>
              <a:gd name="connsiteY156" fmla="*/ 770230 h 797705"/>
              <a:gd name="connsiteX157" fmla="*/ 48346 w 829568"/>
              <a:gd name="connsiteY157" fmla="*/ 699908 h 797705"/>
              <a:gd name="connsiteX158" fmla="*/ 5046 w 829568"/>
              <a:gd name="connsiteY158" fmla="*/ 670418 h 797705"/>
              <a:gd name="connsiteX159" fmla="*/ 30114 w 829568"/>
              <a:gd name="connsiteY159" fmla="*/ 615975 h 797705"/>
              <a:gd name="connsiteX160" fmla="*/ 41509 w 829568"/>
              <a:gd name="connsiteY160" fmla="*/ 600095 h 797705"/>
              <a:gd name="connsiteX161" fmla="*/ 34672 w 829568"/>
              <a:gd name="connsiteY161" fmla="*/ 581948 h 797705"/>
              <a:gd name="connsiteX162" fmla="*/ 41509 w 829568"/>
              <a:gd name="connsiteY162" fmla="*/ 554726 h 797705"/>
              <a:gd name="connsiteX163" fmla="*/ 16441 w 829568"/>
              <a:gd name="connsiteY163" fmla="*/ 543384 h 797705"/>
              <a:gd name="connsiteX164" fmla="*/ 34672 w 829568"/>
              <a:gd name="connsiteY164" fmla="*/ 541115 h 797705"/>
              <a:gd name="connsiteX165" fmla="*/ 41498 w 829568"/>
              <a:gd name="connsiteY165" fmla="*/ 541115 h 797705"/>
              <a:gd name="connsiteX166" fmla="*/ 39341 w 829568"/>
              <a:gd name="connsiteY166" fmla="*/ 528176 h 797705"/>
              <a:gd name="connsiteX167" fmla="*/ 86966 w 829568"/>
              <a:gd name="connsiteY167" fmla="*/ 494839 h 797705"/>
              <a:gd name="connsiteX168" fmla="*/ 65409 w 829568"/>
              <a:gd name="connsiteY168" fmla="*/ 464300 h 797705"/>
              <a:gd name="connsiteX169" fmla="*/ 62429 w 829568"/>
              <a:gd name="connsiteY169" fmla="*/ 465726 h 797705"/>
              <a:gd name="connsiteX170" fmla="*/ 62429 w 829568"/>
              <a:gd name="connsiteY170" fmla="*/ 467991 h 797705"/>
              <a:gd name="connsiteX171" fmla="*/ 57874 w 829568"/>
              <a:gd name="connsiteY171" fmla="*/ 470256 h 797705"/>
              <a:gd name="connsiteX172" fmla="*/ 48763 w 829568"/>
              <a:gd name="connsiteY172" fmla="*/ 472522 h 797705"/>
              <a:gd name="connsiteX173" fmla="*/ 35096 w 829568"/>
              <a:gd name="connsiteY173" fmla="*/ 467991 h 797705"/>
              <a:gd name="connsiteX174" fmla="*/ 32818 w 829568"/>
              <a:gd name="connsiteY174" fmla="*/ 449871 h 797705"/>
              <a:gd name="connsiteX175" fmla="*/ 55596 w 829568"/>
              <a:gd name="connsiteY175" fmla="*/ 418160 h 797705"/>
              <a:gd name="connsiteX176" fmla="*/ 55596 w 829568"/>
              <a:gd name="connsiteY176" fmla="*/ 404569 h 797705"/>
              <a:gd name="connsiteX177" fmla="*/ 48763 w 829568"/>
              <a:gd name="connsiteY177" fmla="*/ 372858 h 797705"/>
              <a:gd name="connsiteX178" fmla="*/ 41929 w 829568"/>
              <a:gd name="connsiteY178" fmla="*/ 354737 h 797705"/>
              <a:gd name="connsiteX179" fmla="*/ 41929 w 829568"/>
              <a:gd name="connsiteY179" fmla="*/ 320761 h 797705"/>
              <a:gd name="connsiteX180" fmla="*/ 41929 w 829568"/>
              <a:gd name="connsiteY180" fmla="*/ 300375 h 797705"/>
              <a:gd name="connsiteX181" fmla="*/ 44300 w 829568"/>
              <a:gd name="connsiteY181" fmla="*/ 291042 h 797705"/>
              <a:gd name="connsiteX182" fmla="*/ 78462 w 829568"/>
              <a:gd name="connsiteY182" fmla="*/ 259331 h 797705"/>
              <a:gd name="connsiteX183" fmla="*/ 92126 w 829568"/>
              <a:gd name="connsiteY183" fmla="*/ 232149 h 797705"/>
              <a:gd name="connsiteX184" fmla="*/ 114901 w 829568"/>
              <a:gd name="connsiteY184" fmla="*/ 211764 h 797705"/>
              <a:gd name="connsiteX185" fmla="*/ 108638 w 829568"/>
              <a:gd name="connsiteY185" fmla="*/ 204968 h 797705"/>
              <a:gd name="connsiteX186" fmla="*/ 92261 w 829568"/>
              <a:gd name="connsiteY186" fmla="*/ 198228 h 797705"/>
              <a:gd name="connsiteX187" fmla="*/ 91806 w 829568"/>
              <a:gd name="connsiteY187" fmla="*/ 198355 h 797705"/>
              <a:gd name="connsiteX188" fmla="*/ 84968 w 829568"/>
              <a:gd name="connsiteY188" fmla="*/ 193807 h 797705"/>
              <a:gd name="connsiteX189" fmla="*/ 94086 w 829568"/>
              <a:gd name="connsiteY189" fmla="*/ 155145 h 797705"/>
              <a:gd name="connsiteX190" fmla="*/ 135114 w 829568"/>
              <a:gd name="connsiteY190" fmla="*/ 127854 h 797705"/>
              <a:gd name="connsiteX191" fmla="*/ 160186 w 829568"/>
              <a:gd name="connsiteY191" fmla="*/ 134677 h 797705"/>
              <a:gd name="connsiteX192" fmla="*/ 160186 w 829568"/>
              <a:gd name="connsiteY192" fmla="*/ 109660 h 797705"/>
              <a:gd name="connsiteX193" fmla="*/ 187538 w 829568"/>
              <a:gd name="connsiteY193" fmla="*/ 82369 h 797705"/>
              <a:gd name="connsiteX194" fmla="*/ 187538 w 829568"/>
              <a:gd name="connsiteY194" fmla="*/ 48256 h 797705"/>
              <a:gd name="connsiteX195" fmla="*/ 190103 w 829568"/>
              <a:gd name="connsiteY195"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34672 w 829568"/>
              <a:gd name="connsiteY163" fmla="*/ 541115 h 797705"/>
              <a:gd name="connsiteX164" fmla="*/ 41498 w 829568"/>
              <a:gd name="connsiteY164" fmla="*/ 541115 h 797705"/>
              <a:gd name="connsiteX165" fmla="*/ 39341 w 829568"/>
              <a:gd name="connsiteY165" fmla="*/ 528176 h 797705"/>
              <a:gd name="connsiteX166" fmla="*/ 86966 w 829568"/>
              <a:gd name="connsiteY166" fmla="*/ 494839 h 797705"/>
              <a:gd name="connsiteX167" fmla="*/ 65409 w 829568"/>
              <a:gd name="connsiteY167" fmla="*/ 464300 h 797705"/>
              <a:gd name="connsiteX168" fmla="*/ 62429 w 829568"/>
              <a:gd name="connsiteY168" fmla="*/ 465726 h 797705"/>
              <a:gd name="connsiteX169" fmla="*/ 62429 w 829568"/>
              <a:gd name="connsiteY169" fmla="*/ 467991 h 797705"/>
              <a:gd name="connsiteX170" fmla="*/ 57874 w 829568"/>
              <a:gd name="connsiteY170" fmla="*/ 470256 h 797705"/>
              <a:gd name="connsiteX171" fmla="*/ 48763 w 829568"/>
              <a:gd name="connsiteY171" fmla="*/ 472522 h 797705"/>
              <a:gd name="connsiteX172" fmla="*/ 35096 w 829568"/>
              <a:gd name="connsiteY172" fmla="*/ 467991 h 797705"/>
              <a:gd name="connsiteX173" fmla="*/ 32818 w 829568"/>
              <a:gd name="connsiteY173" fmla="*/ 449871 h 797705"/>
              <a:gd name="connsiteX174" fmla="*/ 55596 w 829568"/>
              <a:gd name="connsiteY174" fmla="*/ 418160 h 797705"/>
              <a:gd name="connsiteX175" fmla="*/ 55596 w 829568"/>
              <a:gd name="connsiteY175" fmla="*/ 404569 h 797705"/>
              <a:gd name="connsiteX176" fmla="*/ 48763 w 829568"/>
              <a:gd name="connsiteY176" fmla="*/ 372858 h 797705"/>
              <a:gd name="connsiteX177" fmla="*/ 41929 w 829568"/>
              <a:gd name="connsiteY177" fmla="*/ 354737 h 797705"/>
              <a:gd name="connsiteX178" fmla="*/ 41929 w 829568"/>
              <a:gd name="connsiteY178" fmla="*/ 320761 h 797705"/>
              <a:gd name="connsiteX179" fmla="*/ 41929 w 829568"/>
              <a:gd name="connsiteY179" fmla="*/ 300375 h 797705"/>
              <a:gd name="connsiteX180" fmla="*/ 44300 w 829568"/>
              <a:gd name="connsiteY180" fmla="*/ 291042 h 797705"/>
              <a:gd name="connsiteX181" fmla="*/ 78462 w 829568"/>
              <a:gd name="connsiteY181" fmla="*/ 259331 h 797705"/>
              <a:gd name="connsiteX182" fmla="*/ 92126 w 829568"/>
              <a:gd name="connsiteY182" fmla="*/ 232149 h 797705"/>
              <a:gd name="connsiteX183" fmla="*/ 114901 w 829568"/>
              <a:gd name="connsiteY183" fmla="*/ 211764 h 797705"/>
              <a:gd name="connsiteX184" fmla="*/ 108638 w 829568"/>
              <a:gd name="connsiteY184" fmla="*/ 204968 h 797705"/>
              <a:gd name="connsiteX185" fmla="*/ 92261 w 829568"/>
              <a:gd name="connsiteY185" fmla="*/ 198228 h 797705"/>
              <a:gd name="connsiteX186" fmla="*/ 91806 w 829568"/>
              <a:gd name="connsiteY186" fmla="*/ 198355 h 797705"/>
              <a:gd name="connsiteX187" fmla="*/ 84968 w 829568"/>
              <a:gd name="connsiteY187" fmla="*/ 193807 h 797705"/>
              <a:gd name="connsiteX188" fmla="*/ 94086 w 829568"/>
              <a:gd name="connsiteY188" fmla="*/ 155145 h 797705"/>
              <a:gd name="connsiteX189" fmla="*/ 135114 w 829568"/>
              <a:gd name="connsiteY189" fmla="*/ 127854 h 797705"/>
              <a:gd name="connsiteX190" fmla="*/ 160186 w 829568"/>
              <a:gd name="connsiteY190" fmla="*/ 134677 h 797705"/>
              <a:gd name="connsiteX191" fmla="*/ 160186 w 829568"/>
              <a:gd name="connsiteY191" fmla="*/ 109660 h 797705"/>
              <a:gd name="connsiteX192" fmla="*/ 187538 w 829568"/>
              <a:gd name="connsiteY192" fmla="*/ 82369 h 797705"/>
              <a:gd name="connsiteX193" fmla="*/ 187538 w 829568"/>
              <a:gd name="connsiteY193" fmla="*/ 48256 h 797705"/>
              <a:gd name="connsiteX194" fmla="*/ 190103 w 829568"/>
              <a:gd name="connsiteY194"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34672 w 829568"/>
              <a:gd name="connsiteY163" fmla="*/ 541115 h 797705"/>
              <a:gd name="connsiteX164" fmla="*/ 41498 w 829568"/>
              <a:gd name="connsiteY164" fmla="*/ 541115 h 797705"/>
              <a:gd name="connsiteX165" fmla="*/ 39341 w 829568"/>
              <a:gd name="connsiteY165" fmla="*/ 528176 h 797705"/>
              <a:gd name="connsiteX166" fmla="*/ 86966 w 829568"/>
              <a:gd name="connsiteY166" fmla="*/ 494839 h 797705"/>
              <a:gd name="connsiteX167" fmla="*/ 65409 w 829568"/>
              <a:gd name="connsiteY167" fmla="*/ 464300 h 797705"/>
              <a:gd name="connsiteX168" fmla="*/ 62429 w 829568"/>
              <a:gd name="connsiteY168" fmla="*/ 465726 h 797705"/>
              <a:gd name="connsiteX169" fmla="*/ 62429 w 829568"/>
              <a:gd name="connsiteY169" fmla="*/ 467991 h 797705"/>
              <a:gd name="connsiteX170" fmla="*/ 57874 w 829568"/>
              <a:gd name="connsiteY170" fmla="*/ 470256 h 797705"/>
              <a:gd name="connsiteX171" fmla="*/ 48763 w 829568"/>
              <a:gd name="connsiteY171" fmla="*/ 472522 h 797705"/>
              <a:gd name="connsiteX172" fmla="*/ 35096 w 829568"/>
              <a:gd name="connsiteY172" fmla="*/ 467991 h 797705"/>
              <a:gd name="connsiteX173" fmla="*/ 32818 w 829568"/>
              <a:gd name="connsiteY173" fmla="*/ 449871 h 797705"/>
              <a:gd name="connsiteX174" fmla="*/ 55596 w 829568"/>
              <a:gd name="connsiteY174" fmla="*/ 418160 h 797705"/>
              <a:gd name="connsiteX175" fmla="*/ 55596 w 829568"/>
              <a:gd name="connsiteY175" fmla="*/ 404569 h 797705"/>
              <a:gd name="connsiteX176" fmla="*/ 48763 w 829568"/>
              <a:gd name="connsiteY176" fmla="*/ 372858 h 797705"/>
              <a:gd name="connsiteX177" fmla="*/ 41929 w 829568"/>
              <a:gd name="connsiteY177" fmla="*/ 354737 h 797705"/>
              <a:gd name="connsiteX178" fmla="*/ 41929 w 829568"/>
              <a:gd name="connsiteY178" fmla="*/ 320761 h 797705"/>
              <a:gd name="connsiteX179" fmla="*/ 41929 w 829568"/>
              <a:gd name="connsiteY179" fmla="*/ 300375 h 797705"/>
              <a:gd name="connsiteX180" fmla="*/ 44300 w 829568"/>
              <a:gd name="connsiteY180" fmla="*/ 291042 h 797705"/>
              <a:gd name="connsiteX181" fmla="*/ 78462 w 829568"/>
              <a:gd name="connsiteY181" fmla="*/ 259331 h 797705"/>
              <a:gd name="connsiteX182" fmla="*/ 92126 w 829568"/>
              <a:gd name="connsiteY182" fmla="*/ 232149 h 797705"/>
              <a:gd name="connsiteX183" fmla="*/ 114901 w 829568"/>
              <a:gd name="connsiteY183" fmla="*/ 211764 h 797705"/>
              <a:gd name="connsiteX184" fmla="*/ 108638 w 829568"/>
              <a:gd name="connsiteY184" fmla="*/ 204968 h 797705"/>
              <a:gd name="connsiteX185" fmla="*/ 92261 w 829568"/>
              <a:gd name="connsiteY185" fmla="*/ 198228 h 797705"/>
              <a:gd name="connsiteX186" fmla="*/ 91806 w 829568"/>
              <a:gd name="connsiteY186" fmla="*/ 198355 h 797705"/>
              <a:gd name="connsiteX187" fmla="*/ 84968 w 829568"/>
              <a:gd name="connsiteY187" fmla="*/ 193807 h 797705"/>
              <a:gd name="connsiteX188" fmla="*/ 94086 w 829568"/>
              <a:gd name="connsiteY188" fmla="*/ 155145 h 797705"/>
              <a:gd name="connsiteX189" fmla="*/ 135114 w 829568"/>
              <a:gd name="connsiteY189" fmla="*/ 127854 h 797705"/>
              <a:gd name="connsiteX190" fmla="*/ 160186 w 829568"/>
              <a:gd name="connsiteY190" fmla="*/ 134677 h 797705"/>
              <a:gd name="connsiteX191" fmla="*/ 160186 w 829568"/>
              <a:gd name="connsiteY191" fmla="*/ 109660 h 797705"/>
              <a:gd name="connsiteX192" fmla="*/ 187538 w 829568"/>
              <a:gd name="connsiteY192" fmla="*/ 82369 h 797705"/>
              <a:gd name="connsiteX193" fmla="*/ 187538 w 829568"/>
              <a:gd name="connsiteY193" fmla="*/ 48256 h 797705"/>
              <a:gd name="connsiteX194" fmla="*/ 190103 w 829568"/>
              <a:gd name="connsiteY194"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34672 w 829568"/>
              <a:gd name="connsiteY163" fmla="*/ 541115 h 797705"/>
              <a:gd name="connsiteX164" fmla="*/ 41498 w 829568"/>
              <a:gd name="connsiteY164" fmla="*/ 541115 h 797705"/>
              <a:gd name="connsiteX165" fmla="*/ 39341 w 829568"/>
              <a:gd name="connsiteY165" fmla="*/ 528176 h 797705"/>
              <a:gd name="connsiteX166" fmla="*/ 73580 w 829568"/>
              <a:gd name="connsiteY166" fmla="*/ 484975 h 797705"/>
              <a:gd name="connsiteX167" fmla="*/ 65409 w 829568"/>
              <a:gd name="connsiteY167" fmla="*/ 464300 h 797705"/>
              <a:gd name="connsiteX168" fmla="*/ 62429 w 829568"/>
              <a:gd name="connsiteY168" fmla="*/ 465726 h 797705"/>
              <a:gd name="connsiteX169" fmla="*/ 62429 w 829568"/>
              <a:gd name="connsiteY169" fmla="*/ 467991 h 797705"/>
              <a:gd name="connsiteX170" fmla="*/ 57874 w 829568"/>
              <a:gd name="connsiteY170" fmla="*/ 470256 h 797705"/>
              <a:gd name="connsiteX171" fmla="*/ 48763 w 829568"/>
              <a:gd name="connsiteY171" fmla="*/ 472522 h 797705"/>
              <a:gd name="connsiteX172" fmla="*/ 35096 w 829568"/>
              <a:gd name="connsiteY172" fmla="*/ 467991 h 797705"/>
              <a:gd name="connsiteX173" fmla="*/ 32818 w 829568"/>
              <a:gd name="connsiteY173" fmla="*/ 449871 h 797705"/>
              <a:gd name="connsiteX174" fmla="*/ 55596 w 829568"/>
              <a:gd name="connsiteY174" fmla="*/ 418160 h 797705"/>
              <a:gd name="connsiteX175" fmla="*/ 55596 w 829568"/>
              <a:gd name="connsiteY175" fmla="*/ 404569 h 797705"/>
              <a:gd name="connsiteX176" fmla="*/ 48763 w 829568"/>
              <a:gd name="connsiteY176" fmla="*/ 372858 h 797705"/>
              <a:gd name="connsiteX177" fmla="*/ 41929 w 829568"/>
              <a:gd name="connsiteY177" fmla="*/ 354737 h 797705"/>
              <a:gd name="connsiteX178" fmla="*/ 41929 w 829568"/>
              <a:gd name="connsiteY178" fmla="*/ 320761 h 797705"/>
              <a:gd name="connsiteX179" fmla="*/ 41929 w 829568"/>
              <a:gd name="connsiteY179" fmla="*/ 300375 h 797705"/>
              <a:gd name="connsiteX180" fmla="*/ 44300 w 829568"/>
              <a:gd name="connsiteY180" fmla="*/ 291042 h 797705"/>
              <a:gd name="connsiteX181" fmla="*/ 78462 w 829568"/>
              <a:gd name="connsiteY181" fmla="*/ 259331 h 797705"/>
              <a:gd name="connsiteX182" fmla="*/ 92126 w 829568"/>
              <a:gd name="connsiteY182" fmla="*/ 232149 h 797705"/>
              <a:gd name="connsiteX183" fmla="*/ 114901 w 829568"/>
              <a:gd name="connsiteY183" fmla="*/ 211764 h 797705"/>
              <a:gd name="connsiteX184" fmla="*/ 108638 w 829568"/>
              <a:gd name="connsiteY184" fmla="*/ 204968 h 797705"/>
              <a:gd name="connsiteX185" fmla="*/ 92261 w 829568"/>
              <a:gd name="connsiteY185" fmla="*/ 198228 h 797705"/>
              <a:gd name="connsiteX186" fmla="*/ 91806 w 829568"/>
              <a:gd name="connsiteY186" fmla="*/ 198355 h 797705"/>
              <a:gd name="connsiteX187" fmla="*/ 84968 w 829568"/>
              <a:gd name="connsiteY187" fmla="*/ 193807 h 797705"/>
              <a:gd name="connsiteX188" fmla="*/ 94086 w 829568"/>
              <a:gd name="connsiteY188" fmla="*/ 155145 h 797705"/>
              <a:gd name="connsiteX189" fmla="*/ 135114 w 829568"/>
              <a:gd name="connsiteY189" fmla="*/ 127854 h 797705"/>
              <a:gd name="connsiteX190" fmla="*/ 160186 w 829568"/>
              <a:gd name="connsiteY190" fmla="*/ 134677 h 797705"/>
              <a:gd name="connsiteX191" fmla="*/ 160186 w 829568"/>
              <a:gd name="connsiteY191" fmla="*/ 109660 h 797705"/>
              <a:gd name="connsiteX192" fmla="*/ 187538 w 829568"/>
              <a:gd name="connsiteY192" fmla="*/ 82369 h 797705"/>
              <a:gd name="connsiteX193" fmla="*/ 187538 w 829568"/>
              <a:gd name="connsiteY193" fmla="*/ 48256 h 797705"/>
              <a:gd name="connsiteX194" fmla="*/ 190103 w 829568"/>
              <a:gd name="connsiteY194"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34672 w 829568"/>
              <a:gd name="connsiteY163" fmla="*/ 541115 h 797705"/>
              <a:gd name="connsiteX164" fmla="*/ 41498 w 829568"/>
              <a:gd name="connsiteY164" fmla="*/ 541115 h 797705"/>
              <a:gd name="connsiteX165" fmla="*/ 39341 w 829568"/>
              <a:gd name="connsiteY165" fmla="*/ 528176 h 797705"/>
              <a:gd name="connsiteX166" fmla="*/ 73580 w 829568"/>
              <a:gd name="connsiteY166" fmla="*/ 484975 h 797705"/>
              <a:gd name="connsiteX167" fmla="*/ 65409 w 829568"/>
              <a:gd name="connsiteY167" fmla="*/ 464300 h 797705"/>
              <a:gd name="connsiteX168" fmla="*/ 62429 w 829568"/>
              <a:gd name="connsiteY168" fmla="*/ 465726 h 797705"/>
              <a:gd name="connsiteX169" fmla="*/ 62429 w 829568"/>
              <a:gd name="connsiteY169" fmla="*/ 467991 h 797705"/>
              <a:gd name="connsiteX170" fmla="*/ 57874 w 829568"/>
              <a:gd name="connsiteY170" fmla="*/ 470256 h 797705"/>
              <a:gd name="connsiteX171" fmla="*/ 48763 w 829568"/>
              <a:gd name="connsiteY171" fmla="*/ 472522 h 797705"/>
              <a:gd name="connsiteX172" fmla="*/ 35096 w 829568"/>
              <a:gd name="connsiteY172" fmla="*/ 467991 h 797705"/>
              <a:gd name="connsiteX173" fmla="*/ 32818 w 829568"/>
              <a:gd name="connsiteY173" fmla="*/ 449871 h 797705"/>
              <a:gd name="connsiteX174" fmla="*/ 55596 w 829568"/>
              <a:gd name="connsiteY174" fmla="*/ 418160 h 797705"/>
              <a:gd name="connsiteX175" fmla="*/ 55596 w 829568"/>
              <a:gd name="connsiteY175" fmla="*/ 404569 h 797705"/>
              <a:gd name="connsiteX176" fmla="*/ 48763 w 829568"/>
              <a:gd name="connsiteY176" fmla="*/ 372858 h 797705"/>
              <a:gd name="connsiteX177" fmla="*/ 41929 w 829568"/>
              <a:gd name="connsiteY177" fmla="*/ 354737 h 797705"/>
              <a:gd name="connsiteX178" fmla="*/ 41929 w 829568"/>
              <a:gd name="connsiteY178" fmla="*/ 320761 h 797705"/>
              <a:gd name="connsiteX179" fmla="*/ 41929 w 829568"/>
              <a:gd name="connsiteY179" fmla="*/ 300375 h 797705"/>
              <a:gd name="connsiteX180" fmla="*/ 44300 w 829568"/>
              <a:gd name="connsiteY180" fmla="*/ 291042 h 797705"/>
              <a:gd name="connsiteX181" fmla="*/ 78462 w 829568"/>
              <a:gd name="connsiteY181" fmla="*/ 259331 h 797705"/>
              <a:gd name="connsiteX182" fmla="*/ 92126 w 829568"/>
              <a:gd name="connsiteY182" fmla="*/ 232149 h 797705"/>
              <a:gd name="connsiteX183" fmla="*/ 114901 w 829568"/>
              <a:gd name="connsiteY183" fmla="*/ 211764 h 797705"/>
              <a:gd name="connsiteX184" fmla="*/ 108638 w 829568"/>
              <a:gd name="connsiteY184" fmla="*/ 204968 h 797705"/>
              <a:gd name="connsiteX185" fmla="*/ 92261 w 829568"/>
              <a:gd name="connsiteY185" fmla="*/ 198228 h 797705"/>
              <a:gd name="connsiteX186" fmla="*/ 91806 w 829568"/>
              <a:gd name="connsiteY186" fmla="*/ 198355 h 797705"/>
              <a:gd name="connsiteX187" fmla="*/ 84968 w 829568"/>
              <a:gd name="connsiteY187" fmla="*/ 193807 h 797705"/>
              <a:gd name="connsiteX188" fmla="*/ 94086 w 829568"/>
              <a:gd name="connsiteY188" fmla="*/ 155145 h 797705"/>
              <a:gd name="connsiteX189" fmla="*/ 135114 w 829568"/>
              <a:gd name="connsiteY189" fmla="*/ 127854 h 797705"/>
              <a:gd name="connsiteX190" fmla="*/ 160186 w 829568"/>
              <a:gd name="connsiteY190" fmla="*/ 134677 h 797705"/>
              <a:gd name="connsiteX191" fmla="*/ 160186 w 829568"/>
              <a:gd name="connsiteY191" fmla="*/ 109660 h 797705"/>
              <a:gd name="connsiteX192" fmla="*/ 187538 w 829568"/>
              <a:gd name="connsiteY192" fmla="*/ 82369 h 797705"/>
              <a:gd name="connsiteX193" fmla="*/ 187538 w 829568"/>
              <a:gd name="connsiteY193" fmla="*/ 48256 h 797705"/>
              <a:gd name="connsiteX194" fmla="*/ 190103 w 829568"/>
              <a:gd name="connsiteY194"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34672 w 829568"/>
              <a:gd name="connsiteY163" fmla="*/ 541115 h 797705"/>
              <a:gd name="connsiteX164" fmla="*/ 41498 w 829568"/>
              <a:gd name="connsiteY164" fmla="*/ 541115 h 797705"/>
              <a:gd name="connsiteX165" fmla="*/ 39341 w 829568"/>
              <a:gd name="connsiteY165" fmla="*/ 528176 h 797705"/>
              <a:gd name="connsiteX166" fmla="*/ 73580 w 829568"/>
              <a:gd name="connsiteY166" fmla="*/ 484975 h 797705"/>
              <a:gd name="connsiteX167" fmla="*/ 65409 w 829568"/>
              <a:gd name="connsiteY167" fmla="*/ 464300 h 797705"/>
              <a:gd name="connsiteX168" fmla="*/ 62429 w 829568"/>
              <a:gd name="connsiteY168" fmla="*/ 465726 h 797705"/>
              <a:gd name="connsiteX169" fmla="*/ 62429 w 829568"/>
              <a:gd name="connsiteY169" fmla="*/ 467991 h 797705"/>
              <a:gd name="connsiteX170" fmla="*/ 57874 w 829568"/>
              <a:gd name="connsiteY170" fmla="*/ 470256 h 797705"/>
              <a:gd name="connsiteX171" fmla="*/ 48763 w 829568"/>
              <a:gd name="connsiteY171" fmla="*/ 472522 h 797705"/>
              <a:gd name="connsiteX172" fmla="*/ 35096 w 829568"/>
              <a:gd name="connsiteY172" fmla="*/ 467991 h 797705"/>
              <a:gd name="connsiteX173" fmla="*/ 32818 w 829568"/>
              <a:gd name="connsiteY173" fmla="*/ 449871 h 797705"/>
              <a:gd name="connsiteX174" fmla="*/ 55596 w 829568"/>
              <a:gd name="connsiteY174" fmla="*/ 418160 h 797705"/>
              <a:gd name="connsiteX175" fmla="*/ 55596 w 829568"/>
              <a:gd name="connsiteY175" fmla="*/ 404569 h 797705"/>
              <a:gd name="connsiteX176" fmla="*/ 48763 w 829568"/>
              <a:gd name="connsiteY176" fmla="*/ 372858 h 797705"/>
              <a:gd name="connsiteX177" fmla="*/ 41929 w 829568"/>
              <a:gd name="connsiteY177" fmla="*/ 354737 h 797705"/>
              <a:gd name="connsiteX178" fmla="*/ 41929 w 829568"/>
              <a:gd name="connsiteY178" fmla="*/ 320761 h 797705"/>
              <a:gd name="connsiteX179" fmla="*/ 41929 w 829568"/>
              <a:gd name="connsiteY179" fmla="*/ 300375 h 797705"/>
              <a:gd name="connsiteX180" fmla="*/ 44300 w 829568"/>
              <a:gd name="connsiteY180" fmla="*/ 291042 h 797705"/>
              <a:gd name="connsiteX181" fmla="*/ 78462 w 829568"/>
              <a:gd name="connsiteY181" fmla="*/ 259331 h 797705"/>
              <a:gd name="connsiteX182" fmla="*/ 92126 w 829568"/>
              <a:gd name="connsiteY182" fmla="*/ 232149 h 797705"/>
              <a:gd name="connsiteX183" fmla="*/ 114901 w 829568"/>
              <a:gd name="connsiteY183" fmla="*/ 211764 h 797705"/>
              <a:gd name="connsiteX184" fmla="*/ 108638 w 829568"/>
              <a:gd name="connsiteY184" fmla="*/ 204968 h 797705"/>
              <a:gd name="connsiteX185" fmla="*/ 92261 w 829568"/>
              <a:gd name="connsiteY185" fmla="*/ 198228 h 797705"/>
              <a:gd name="connsiteX186" fmla="*/ 91806 w 829568"/>
              <a:gd name="connsiteY186" fmla="*/ 198355 h 797705"/>
              <a:gd name="connsiteX187" fmla="*/ 84968 w 829568"/>
              <a:gd name="connsiteY187" fmla="*/ 193807 h 797705"/>
              <a:gd name="connsiteX188" fmla="*/ 94086 w 829568"/>
              <a:gd name="connsiteY188" fmla="*/ 155145 h 797705"/>
              <a:gd name="connsiteX189" fmla="*/ 135114 w 829568"/>
              <a:gd name="connsiteY189" fmla="*/ 127854 h 797705"/>
              <a:gd name="connsiteX190" fmla="*/ 160186 w 829568"/>
              <a:gd name="connsiteY190" fmla="*/ 134677 h 797705"/>
              <a:gd name="connsiteX191" fmla="*/ 160186 w 829568"/>
              <a:gd name="connsiteY191" fmla="*/ 109660 h 797705"/>
              <a:gd name="connsiteX192" fmla="*/ 187538 w 829568"/>
              <a:gd name="connsiteY192" fmla="*/ 82369 h 797705"/>
              <a:gd name="connsiteX193" fmla="*/ 187538 w 829568"/>
              <a:gd name="connsiteY193" fmla="*/ 48256 h 797705"/>
              <a:gd name="connsiteX194" fmla="*/ 190103 w 829568"/>
              <a:gd name="connsiteY194"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34672 w 829568"/>
              <a:gd name="connsiteY163" fmla="*/ 541115 h 797705"/>
              <a:gd name="connsiteX164" fmla="*/ 41498 w 829568"/>
              <a:gd name="connsiteY164" fmla="*/ 541115 h 797705"/>
              <a:gd name="connsiteX165" fmla="*/ 32296 w 829568"/>
              <a:gd name="connsiteY165" fmla="*/ 535222 h 797705"/>
              <a:gd name="connsiteX166" fmla="*/ 73580 w 829568"/>
              <a:gd name="connsiteY166" fmla="*/ 484975 h 797705"/>
              <a:gd name="connsiteX167" fmla="*/ 65409 w 829568"/>
              <a:gd name="connsiteY167" fmla="*/ 464300 h 797705"/>
              <a:gd name="connsiteX168" fmla="*/ 62429 w 829568"/>
              <a:gd name="connsiteY168" fmla="*/ 465726 h 797705"/>
              <a:gd name="connsiteX169" fmla="*/ 62429 w 829568"/>
              <a:gd name="connsiteY169" fmla="*/ 467991 h 797705"/>
              <a:gd name="connsiteX170" fmla="*/ 57874 w 829568"/>
              <a:gd name="connsiteY170" fmla="*/ 470256 h 797705"/>
              <a:gd name="connsiteX171" fmla="*/ 48763 w 829568"/>
              <a:gd name="connsiteY171" fmla="*/ 472522 h 797705"/>
              <a:gd name="connsiteX172" fmla="*/ 35096 w 829568"/>
              <a:gd name="connsiteY172" fmla="*/ 467991 h 797705"/>
              <a:gd name="connsiteX173" fmla="*/ 32818 w 829568"/>
              <a:gd name="connsiteY173" fmla="*/ 449871 h 797705"/>
              <a:gd name="connsiteX174" fmla="*/ 55596 w 829568"/>
              <a:gd name="connsiteY174" fmla="*/ 418160 h 797705"/>
              <a:gd name="connsiteX175" fmla="*/ 55596 w 829568"/>
              <a:gd name="connsiteY175" fmla="*/ 404569 h 797705"/>
              <a:gd name="connsiteX176" fmla="*/ 48763 w 829568"/>
              <a:gd name="connsiteY176" fmla="*/ 372858 h 797705"/>
              <a:gd name="connsiteX177" fmla="*/ 41929 w 829568"/>
              <a:gd name="connsiteY177" fmla="*/ 354737 h 797705"/>
              <a:gd name="connsiteX178" fmla="*/ 41929 w 829568"/>
              <a:gd name="connsiteY178" fmla="*/ 320761 h 797705"/>
              <a:gd name="connsiteX179" fmla="*/ 41929 w 829568"/>
              <a:gd name="connsiteY179" fmla="*/ 300375 h 797705"/>
              <a:gd name="connsiteX180" fmla="*/ 44300 w 829568"/>
              <a:gd name="connsiteY180" fmla="*/ 291042 h 797705"/>
              <a:gd name="connsiteX181" fmla="*/ 78462 w 829568"/>
              <a:gd name="connsiteY181" fmla="*/ 259331 h 797705"/>
              <a:gd name="connsiteX182" fmla="*/ 92126 w 829568"/>
              <a:gd name="connsiteY182" fmla="*/ 232149 h 797705"/>
              <a:gd name="connsiteX183" fmla="*/ 114901 w 829568"/>
              <a:gd name="connsiteY183" fmla="*/ 211764 h 797705"/>
              <a:gd name="connsiteX184" fmla="*/ 108638 w 829568"/>
              <a:gd name="connsiteY184" fmla="*/ 204968 h 797705"/>
              <a:gd name="connsiteX185" fmla="*/ 92261 w 829568"/>
              <a:gd name="connsiteY185" fmla="*/ 198228 h 797705"/>
              <a:gd name="connsiteX186" fmla="*/ 91806 w 829568"/>
              <a:gd name="connsiteY186" fmla="*/ 198355 h 797705"/>
              <a:gd name="connsiteX187" fmla="*/ 84968 w 829568"/>
              <a:gd name="connsiteY187" fmla="*/ 193807 h 797705"/>
              <a:gd name="connsiteX188" fmla="*/ 94086 w 829568"/>
              <a:gd name="connsiteY188" fmla="*/ 155145 h 797705"/>
              <a:gd name="connsiteX189" fmla="*/ 135114 w 829568"/>
              <a:gd name="connsiteY189" fmla="*/ 127854 h 797705"/>
              <a:gd name="connsiteX190" fmla="*/ 160186 w 829568"/>
              <a:gd name="connsiteY190" fmla="*/ 134677 h 797705"/>
              <a:gd name="connsiteX191" fmla="*/ 160186 w 829568"/>
              <a:gd name="connsiteY191" fmla="*/ 109660 h 797705"/>
              <a:gd name="connsiteX192" fmla="*/ 187538 w 829568"/>
              <a:gd name="connsiteY192" fmla="*/ 82369 h 797705"/>
              <a:gd name="connsiteX193" fmla="*/ 187538 w 829568"/>
              <a:gd name="connsiteY193" fmla="*/ 48256 h 797705"/>
              <a:gd name="connsiteX194" fmla="*/ 190103 w 829568"/>
              <a:gd name="connsiteY194"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34672 w 829568"/>
              <a:gd name="connsiteY163" fmla="*/ 541115 h 797705"/>
              <a:gd name="connsiteX164" fmla="*/ 41498 w 829568"/>
              <a:gd name="connsiteY164" fmla="*/ 541115 h 797705"/>
              <a:gd name="connsiteX165" fmla="*/ 73580 w 829568"/>
              <a:gd name="connsiteY165" fmla="*/ 484975 h 797705"/>
              <a:gd name="connsiteX166" fmla="*/ 65409 w 829568"/>
              <a:gd name="connsiteY166" fmla="*/ 464300 h 797705"/>
              <a:gd name="connsiteX167" fmla="*/ 62429 w 829568"/>
              <a:gd name="connsiteY167" fmla="*/ 465726 h 797705"/>
              <a:gd name="connsiteX168" fmla="*/ 62429 w 829568"/>
              <a:gd name="connsiteY168" fmla="*/ 467991 h 797705"/>
              <a:gd name="connsiteX169" fmla="*/ 57874 w 829568"/>
              <a:gd name="connsiteY169" fmla="*/ 470256 h 797705"/>
              <a:gd name="connsiteX170" fmla="*/ 48763 w 829568"/>
              <a:gd name="connsiteY170" fmla="*/ 472522 h 797705"/>
              <a:gd name="connsiteX171" fmla="*/ 35096 w 829568"/>
              <a:gd name="connsiteY171" fmla="*/ 467991 h 797705"/>
              <a:gd name="connsiteX172" fmla="*/ 32818 w 829568"/>
              <a:gd name="connsiteY172" fmla="*/ 449871 h 797705"/>
              <a:gd name="connsiteX173" fmla="*/ 55596 w 829568"/>
              <a:gd name="connsiteY173" fmla="*/ 418160 h 797705"/>
              <a:gd name="connsiteX174" fmla="*/ 55596 w 829568"/>
              <a:gd name="connsiteY174" fmla="*/ 404569 h 797705"/>
              <a:gd name="connsiteX175" fmla="*/ 48763 w 829568"/>
              <a:gd name="connsiteY175" fmla="*/ 372858 h 797705"/>
              <a:gd name="connsiteX176" fmla="*/ 41929 w 829568"/>
              <a:gd name="connsiteY176" fmla="*/ 354737 h 797705"/>
              <a:gd name="connsiteX177" fmla="*/ 41929 w 829568"/>
              <a:gd name="connsiteY177" fmla="*/ 320761 h 797705"/>
              <a:gd name="connsiteX178" fmla="*/ 41929 w 829568"/>
              <a:gd name="connsiteY178" fmla="*/ 300375 h 797705"/>
              <a:gd name="connsiteX179" fmla="*/ 44300 w 829568"/>
              <a:gd name="connsiteY179" fmla="*/ 291042 h 797705"/>
              <a:gd name="connsiteX180" fmla="*/ 78462 w 829568"/>
              <a:gd name="connsiteY180" fmla="*/ 259331 h 797705"/>
              <a:gd name="connsiteX181" fmla="*/ 92126 w 829568"/>
              <a:gd name="connsiteY181" fmla="*/ 232149 h 797705"/>
              <a:gd name="connsiteX182" fmla="*/ 114901 w 829568"/>
              <a:gd name="connsiteY182" fmla="*/ 211764 h 797705"/>
              <a:gd name="connsiteX183" fmla="*/ 108638 w 829568"/>
              <a:gd name="connsiteY183" fmla="*/ 204968 h 797705"/>
              <a:gd name="connsiteX184" fmla="*/ 92261 w 829568"/>
              <a:gd name="connsiteY184" fmla="*/ 198228 h 797705"/>
              <a:gd name="connsiteX185" fmla="*/ 91806 w 829568"/>
              <a:gd name="connsiteY185" fmla="*/ 198355 h 797705"/>
              <a:gd name="connsiteX186" fmla="*/ 84968 w 829568"/>
              <a:gd name="connsiteY186" fmla="*/ 193807 h 797705"/>
              <a:gd name="connsiteX187" fmla="*/ 94086 w 829568"/>
              <a:gd name="connsiteY187" fmla="*/ 155145 h 797705"/>
              <a:gd name="connsiteX188" fmla="*/ 135114 w 829568"/>
              <a:gd name="connsiteY188" fmla="*/ 127854 h 797705"/>
              <a:gd name="connsiteX189" fmla="*/ 160186 w 829568"/>
              <a:gd name="connsiteY189" fmla="*/ 134677 h 797705"/>
              <a:gd name="connsiteX190" fmla="*/ 160186 w 829568"/>
              <a:gd name="connsiteY190" fmla="*/ 109660 h 797705"/>
              <a:gd name="connsiteX191" fmla="*/ 187538 w 829568"/>
              <a:gd name="connsiteY191" fmla="*/ 82369 h 797705"/>
              <a:gd name="connsiteX192" fmla="*/ 187538 w 829568"/>
              <a:gd name="connsiteY192" fmla="*/ 48256 h 797705"/>
              <a:gd name="connsiteX193" fmla="*/ 190103 w 829568"/>
              <a:gd name="connsiteY193"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34672 w 829568"/>
              <a:gd name="connsiteY163" fmla="*/ 541115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9036 w 829568"/>
              <a:gd name="connsiteY163" fmla="*/ 531956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5513 w 829568"/>
              <a:gd name="connsiteY163" fmla="*/ 527024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35377 w 829568"/>
              <a:gd name="connsiteY163" fmla="*/ 529842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14241 w 829568"/>
              <a:gd name="connsiteY163" fmla="*/ 537592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19173 w 829568"/>
              <a:gd name="connsiteY163" fmla="*/ 507296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13537 w 829568"/>
              <a:gd name="connsiteY163" fmla="*/ 528432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4810 w 829568"/>
              <a:gd name="connsiteY163" fmla="*/ 513636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17060 w 829568"/>
              <a:gd name="connsiteY163" fmla="*/ 530545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8333 w 829568"/>
              <a:gd name="connsiteY163" fmla="*/ 522091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8333 w 829568"/>
              <a:gd name="connsiteY163" fmla="*/ 522091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8333 w 829568"/>
              <a:gd name="connsiteY163" fmla="*/ 522091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8333 w 829568"/>
              <a:gd name="connsiteY163" fmla="*/ 522091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8333 w 829568"/>
              <a:gd name="connsiteY163" fmla="*/ 522091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8333 w 829568"/>
              <a:gd name="connsiteY163" fmla="*/ 522091 h 797705"/>
              <a:gd name="connsiteX164" fmla="*/ 73580 w 829568"/>
              <a:gd name="connsiteY164" fmla="*/ 484975 h 797705"/>
              <a:gd name="connsiteX165" fmla="*/ 65409 w 829568"/>
              <a:gd name="connsiteY165" fmla="*/ 464300 h 797705"/>
              <a:gd name="connsiteX166" fmla="*/ 62429 w 829568"/>
              <a:gd name="connsiteY166" fmla="*/ 465726 h 797705"/>
              <a:gd name="connsiteX167" fmla="*/ 62429 w 829568"/>
              <a:gd name="connsiteY167" fmla="*/ 467991 h 797705"/>
              <a:gd name="connsiteX168" fmla="*/ 57874 w 829568"/>
              <a:gd name="connsiteY168" fmla="*/ 470256 h 797705"/>
              <a:gd name="connsiteX169" fmla="*/ 48763 w 829568"/>
              <a:gd name="connsiteY169" fmla="*/ 472522 h 797705"/>
              <a:gd name="connsiteX170" fmla="*/ 35096 w 829568"/>
              <a:gd name="connsiteY170" fmla="*/ 467991 h 797705"/>
              <a:gd name="connsiteX171" fmla="*/ 32818 w 829568"/>
              <a:gd name="connsiteY171" fmla="*/ 449871 h 797705"/>
              <a:gd name="connsiteX172" fmla="*/ 55596 w 829568"/>
              <a:gd name="connsiteY172" fmla="*/ 418160 h 797705"/>
              <a:gd name="connsiteX173" fmla="*/ 55596 w 829568"/>
              <a:gd name="connsiteY173" fmla="*/ 404569 h 797705"/>
              <a:gd name="connsiteX174" fmla="*/ 48763 w 829568"/>
              <a:gd name="connsiteY174" fmla="*/ 372858 h 797705"/>
              <a:gd name="connsiteX175" fmla="*/ 41929 w 829568"/>
              <a:gd name="connsiteY175" fmla="*/ 354737 h 797705"/>
              <a:gd name="connsiteX176" fmla="*/ 41929 w 829568"/>
              <a:gd name="connsiteY176" fmla="*/ 320761 h 797705"/>
              <a:gd name="connsiteX177" fmla="*/ 41929 w 829568"/>
              <a:gd name="connsiteY177" fmla="*/ 300375 h 797705"/>
              <a:gd name="connsiteX178" fmla="*/ 44300 w 829568"/>
              <a:gd name="connsiteY178" fmla="*/ 291042 h 797705"/>
              <a:gd name="connsiteX179" fmla="*/ 78462 w 829568"/>
              <a:gd name="connsiteY179" fmla="*/ 259331 h 797705"/>
              <a:gd name="connsiteX180" fmla="*/ 92126 w 829568"/>
              <a:gd name="connsiteY180" fmla="*/ 232149 h 797705"/>
              <a:gd name="connsiteX181" fmla="*/ 114901 w 829568"/>
              <a:gd name="connsiteY181" fmla="*/ 211764 h 797705"/>
              <a:gd name="connsiteX182" fmla="*/ 108638 w 829568"/>
              <a:gd name="connsiteY182" fmla="*/ 204968 h 797705"/>
              <a:gd name="connsiteX183" fmla="*/ 92261 w 829568"/>
              <a:gd name="connsiteY183" fmla="*/ 198228 h 797705"/>
              <a:gd name="connsiteX184" fmla="*/ 91806 w 829568"/>
              <a:gd name="connsiteY184" fmla="*/ 198355 h 797705"/>
              <a:gd name="connsiteX185" fmla="*/ 84968 w 829568"/>
              <a:gd name="connsiteY185" fmla="*/ 193807 h 797705"/>
              <a:gd name="connsiteX186" fmla="*/ 94086 w 829568"/>
              <a:gd name="connsiteY186" fmla="*/ 155145 h 797705"/>
              <a:gd name="connsiteX187" fmla="*/ 135114 w 829568"/>
              <a:gd name="connsiteY187" fmla="*/ 127854 h 797705"/>
              <a:gd name="connsiteX188" fmla="*/ 160186 w 829568"/>
              <a:gd name="connsiteY188" fmla="*/ 134677 h 797705"/>
              <a:gd name="connsiteX189" fmla="*/ 160186 w 829568"/>
              <a:gd name="connsiteY189" fmla="*/ 109660 h 797705"/>
              <a:gd name="connsiteX190" fmla="*/ 187538 w 829568"/>
              <a:gd name="connsiteY190" fmla="*/ 82369 h 797705"/>
              <a:gd name="connsiteX191" fmla="*/ 187538 w 829568"/>
              <a:gd name="connsiteY191" fmla="*/ 48256 h 797705"/>
              <a:gd name="connsiteX192" fmla="*/ 190103 w 829568"/>
              <a:gd name="connsiteY192"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8333 w 829568"/>
              <a:gd name="connsiteY163" fmla="*/ 522091 h 797705"/>
              <a:gd name="connsiteX164" fmla="*/ 73580 w 829568"/>
              <a:gd name="connsiteY164" fmla="*/ 484975 h 797705"/>
              <a:gd name="connsiteX165" fmla="*/ 62429 w 829568"/>
              <a:gd name="connsiteY165" fmla="*/ 465726 h 797705"/>
              <a:gd name="connsiteX166" fmla="*/ 62429 w 829568"/>
              <a:gd name="connsiteY166" fmla="*/ 467991 h 797705"/>
              <a:gd name="connsiteX167" fmla="*/ 57874 w 829568"/>
              <a:gd name="connsiteY167" fmla="*/ 470256 h 797705"/>
              <a:gd name="connsiteX168" fmla="*/ 48763 w 829568"/>
              <a:gd name="connsiteY168" fmla="*/ 472522 h 797705"/>
              <a:gd name="connsiteX169" fmla="*/ 35096 w 829568"/>
              <a:gd name="connsiteY169" fmla="*/ 467991 h 797705"/>
              <a:gd name="connsiteX170" fmla="*/ 32818 w 829568"/>
              <a:gd name="connsiteY170" fmla="*/ 449871 h 797705"/>
              <a:gd name="connsiteX171" fmla="*/ 55596 w 829568"/>
              <a:gd name="connsiteY171" fmla="*/ 418160 h 797705"/>
              <a:gd name="connsiteX172" fmla="*/ 55596 w 829568"/>
              <a:gd name="connsiteY172" fmla="*/ 404569 h 797705"/>
              <a:gd name="connsiteX173" fmla="*/ 48763 w 829568"/>
              <a:gd name="connsiteY173" fmla="*/ 372858 h 797705"/>
              <a:gd name="connsiteX174" fmla="*/ 41929 w 829568"/>
              <a:gd name="connsiteY174" fmla="*/ 354737 h 797705"/>
              <a:gd name="connsiteX175" fmla="*/ 41929 w 829568"/>
              <a:gd name="connsiteY175" fmla="*/ 320761 h 797705"/>
              <a:gd name="connsiteX176" fmla="*/ 41929 w 829568"/>
              <a:gd name="connsiteY176" fmla="*/ 300375 h 797705"/>
              <a:gd name="connsiteX177" fmla="*/ 44300 w 829568"/>
              <a:gd name="connsiteY177" fmla="*/ 291042 h 797705"/>
              <a:gd name="connsiteX178" fmla="*/ 78462 w 829568"/>
              <a:gd name="connsiteY178" fmla="*/ 259331 h 797705"/>
              <a:gd name="connsiteX179" fmla="*/ 92126 w 829568"/>
              <a:gd name="connsiteY179" fmla="*/ 232149 h 797705"/>
              <a:gd name="connsiteX180" fmla="*/ 114901 w 829568"/>
              <a:gd name="connsiteY180" fmla="*/ 211764 h 797705"/>
              <a:gd name="connsiteX181" fmla="*/ 108638 w 829568"/>
              <a:gd name="connsiteY181" fmla="*/ 204968 h 797705"/>
              <a:gd name="connsiteX182" fmla="*/ 92261 w 829568"/>
              <a:gd name="connsiteY182" fmla="*/ 198228 h 797705"/>
              <a:gd name="connsiteX183" fmla="*/ 91806 w 829568"/>
              <a:gd name="connsiteY183" fmla="*/ 198355 h 797705"/>
              <a:gd name="connsiteX184" fmla="*/ 84968 w 829568"/>
              <a:gd name="connsiteY184" fmla="*/ 193807 h 797705"/>
              <a:gd name="connsiteX185" fmla="*/ 94086 w 829568"/>
              <a:gd name="connsiteY185" fmla="*/ 155145 h 797705"/>
              <a:gd name="connsiteX186" fmla="*/ 135114 w 829568"/>
              <a:gd name="connsiteY186" fmla="*/ 127854 h 797705"/>
              <a:gd name="connsiteX187" fmla="*/ 160186 w 829568"/>
              <a:gd name="connsiteY187" fmla="*/ 134677 h 797705"/>
              <a:gd name="connsiteX188" fmla="*/ 160186 w 829568"/>
              <a:gd name="connsiteY188" fmla="*/ 109660 h 797705"/>
              <a:gd name="connsiteX189" fmla="*/ 187538 w 829568"/>
              <a:gd name="connsiteY189" fmla="*/ 82369 h 797705"/>
              <a:gd name="connsiteX190" fmla="*/ 187538 w 829568"/>
              <a:gd name="connsiteY190" fmla="*/ 48256 h 797705"/>
              <a:gd name="connsiteX191" fmla="*/ 190103 w 829568"/>
              <a:gd name="connsiteY191"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8333 w 829568"/>
              <a:gd name="connsiteY163" fmla="*/ 522091 h 797705"/>
              <a:gd name="connsiteX164" fmla="*/ 73580 w 829568"/>
              <a:gd name="connsiteY164" fmla="*/ 484975 h 797705"/>
              <a:gd name="connsiteX165" fmla="*/ 62429 w 829568"/>
              <a:gd name="connsiteY165" fmla="*/ 465726 h 797705"/>
              <a:gd name="connsiteX166" fmla="*/ 57874 w 829568"/>
              <a:gd name="connsiteY166" fmla="*/ 470256 h 797705"/>
              <a:gd name="connsiteX167" fmla="*/ 48763 w 829568"/>
              <a:gd name="connsiteY167" fmla="*/ 472522 h 797705"/>
              <a:gd name="connsiteX168" fmla="*/ 35096 w 829568"/>
              <a:gd name="connsiteY168" fmla="*/ 467991 h 797705"/>
              <a:gd name="connsiteX169" fmla="*/ 32818 w 829568"/>
              <a:gd name="connsiteY169" fmla="*/ 449871 h 797705"/>
              <a:gd name="connsiteX170" fmla="*/ 55596 w 829568"/>
              <a:gd name="connsiteY170" fmla="*/ 418160 h 797705"/>
              <a:gd name="connsiteX171" fmla="*/ 55596 w 829568"/>
              <a:gd name="connsiteY171" fmla="*/ 404569 h 797705"/>
              <a:gd name="connsiteX172" fmla="*/ 48763 w 829568"/>
              <a:gd name="connsiteY172" fmla="*/ 372858 h 797705"/>
              <a:gd name="connsiteX173" fmla="*/ 41929 w 829568"/>
              <a:gd name="connsiteY173" fmla="*/ 354737 h 797705"/>
              <a:gd name="connsiteX174" fmla="*/ 41929 w 829568"/>
              <a:gd name="connsiteY174" fmla="*/ 320761 h 797705"/>
              <a:gd name="connsiteX175" fmla="*/ 41929 w 829568"/>
              <a:gd name="connsiteY175" fmla="*/ 300375 h 797705"/>
              <a:gd name="connsiteX176" fmla="*/ 44300 w 829568"/>
              <a:gd name="connsiteY176" fmla="*/ 291042 h 797705"/>
              <a:gd name="connsiteX177" fmla="*/ 78462 w 829568"/>
              <a:gd name="connsiteY177" fmla="*/ 259331 h 797705"/>
              <a:gd name="connsiteX178" fmla="*/ 92126 w 829568"/>
              <a:gd name="connsiteY178" fmla="*/ 232149 h 797705"/>
              <a:gd name="connsiteX179" fmla="*/ 114901 w 829568"/>
              <a:gd name="connsiteY179" fmla="*/ 211764 h 797705"/>
              <a:gd name="connsiteX180" fmla="*/ 108638 w 829568"/>
              <a:gd name="connsiteY180" fmla="*/ 204968 h 797705"/>
              <a:gd name="connsiteX181" fmla="*/ 92261 w 829568"/>
              <a:gd name="connsiteY181" fmla="*/ 198228 h 797705"/>
              <a:gd name="connsiteX182" fmla="*/ 91806 w 829568"/>
              <a:gd name="connsiteY182" fmla="*/ 198355 h 797705"/>
              <a:gd name="connsiteX183" fmla="*/ 84968 w 829568"/>
              <a:gd name="connsiteY183" fmla="*/ 193807 h 797705"/>
              <a:gd name="connsiteX184" fmla="*/ 94086 w 829568"/>
              <a:gd name="connsiteY184" fmla="*/ 155145 h 797705"/>
              <a:gd name="connsiteX185" fmla="*/ 135114 w 829568"/>
              <a:gd name="connsiteY185" fmla="*/ 127854 h 797705"/>
              <a:gd name="connsiteX186" fmla="*/ 160186 w 829568"/>
              <a:gd name="connsiteY186" fmla="*/ 134677 h 797705"/>
              <a:gd name="connsiteX187" fmla="*/ 160186 w 829568"/>
              <a:gd name="connsiteY187" fmla="*/ 109660 h 797705"/>
              <a:gd name="connsiteX188" fmla="*/ 187538 w 829568"/>
              <a:gd name="connsiteY188" fmla="*/ 82369 h 797705"/>
              <a:gd name="connsiteX189" fmla="*/ 187538 w 829568"/>
              <a:gd name="connsiteY189" fmla="*/ 48256 h 797705"/>
              <a:gd name="connsiteX190" fmla="*/ 190103 w 829568"/>
              <a:gd name="connsiteY190"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8333 w 829568"/>
              <a:gd name="connsiteY163" fmla="*/ 522091 h 797705"/>
              <a:gd name="connsiteX164" fmla="*/ 73580 w 829568"/>
              <a:gd name="connsiteY164" fmla="*/ 484975 h 797705"/>
              <a:gd name="connsiteX165" fmla="*/ 57874 w 829568"/>
              <a:gd name="connsiteY165" fmla="*/ 470256 h 797705"/>
              <a:gd name="connsiteX166" fmla="*/ 48763 w 829568"/>
              <a:gd name="connsiteY166" fmla="*/ 472522 h 797705"/>
              <a:gd name="connsiteX167" fmla="*/ 35096 w 829568"/>
              <a:gd name="connsiteY167" fmla="*/ 467991 h 797705"/>
              <a:gd name="connsiteX168" fmla="*/ 32818 w 829568"/>
              <a:gd name="connsiteY168" fmla="*/ 449871 h 797705"/>
              <a:gd name="connsiteX169" fmla="*/ 55596 w 829568"/>
              <a:gd name="connsiteY169" fmla="*/ 418160 h 797705"/>
              <a:gd name="connsiteX170" fmla="*/ 55596 w 829568"/>
              <a:gd name="connsiteY170" fmla="*/ 404569 h 797705"/>
              <a:gd name="connsiteX171" fmla="*/ 48763 w 829568"/>
              <a:gd name="connsiteY171" fmla="*/ 372858 h 797705"/>
              <a:gd name="connsiteX172" fmla="*/ 41929 w 829568"/>
              <a:gd name="connsiteY172" fmla="*/ 354737 h 797705"/>
              <a:gd name="connsiteX173" fmla="*/ 41929 w 829568"/>
              <a:gd name="connsiteY173" fmla="*/ 320761 h 797705"/>
              <a:gd name="connsiteX174" fmla="*/ 41929 w 829568"/>
              <a:gd name="connsiteY174" fmla="*/ 300375 h 797705"/>
              <a:gd name="connsiteX175" fmla="*/ 44300 w 829568"/>
              <a:gd name="connsiteY175" fmla="*/ 291042 h 797705"/>
              <a:gd name="connsiteX176" fmla="*/ 78462 w 829568"/>
              <a:gd name="connsiteY176" fmla="*/ 259331 h 797705"/>
              <a:gd name="connsiteX177" fmla="*/ 92126 w 829568"/>
              <a:gd name="connsiteY177" fmla="*/ 232149 h 797705"/>
              <a:gd name="connsiteX178" fmla="*/ 114901 w 829568"/>
              <a:gd name="connsiteY178" fmla="*/ 211764 h 797705"/>
              <a:gd name="connsiteX179" fmla="*/ 108638 w 829568"/>
              <a:gd name="connsiteY179" fmla="*/ 204968 h 797705"/>
              <a:gd name="connsiteX180" fmla="*/ 92261 w 829568"/>
              <a:gd name="connsiteY180" fmla="*/ 198228 h 797705"/>
              <a:gd name="connsiteX181" fmla="*/ 91806 w 829568"/>
              <a:gd name="connsiteY181" fmla="*/ 198355 h 797705"/>
              <a:gd name="connsiteX182" fmla="*/ 84968 w 829568"/>
              <a:gd name="connsiteY182" fmla="*/ 193807 h 797705"/>
              <a:gd name="connsiteX183" fmla="*/ 94086 w 829568"/>
              <a:gd name="connsiteY183" fmla="*/ 155145 h 797705"/>
              <a:gd name="connsiteX184" fmla="*/ 135114 w 829568"/>
              <a:gd name="connsiteY184" fmla="*/ 127854 h 797705"/>
              <a:gd name="connsiteX185" fmla="*/ 160186 w 829568"/>
              <a:gd name="connsiteY185" fmla="*/ 134677 h 797705"/>
              <a:gd name="connsiteX186" fmla="*/ 160186 w 829568"/>
              <a:gd name="connsiteY186" fmla="*/ 109660 h 797705"/>
              <a:gd name="connsiteX187" fmla="*/ 187538 w 829568"/>
              <a:gd name="connsiteY187" fmla="*/ 82369 h 797705"/>
              <a:gd name="connsiteX188" fmla="*/ 187538 w 829568"/>
              <a:gd name="connsiteY188" fmla="*/ 48256 h 797705"/>
              <a:gd name="connsiteX189" fmla="*/ 190103 w 829568"/>
              <a:gd name="connsiteY189"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8333 w 829568"/>
              <a:gd name="connsiteY163" fmla="*/ 522091 h 797705"/>
              <a:gd name="connsiteX164" fmla="*/ 73580 w 829568"/>
              <a:gd name="connsiteY164" fmla="*/ 484975 h 797705"/>
              <a:gd name="connsiteX165" fmla="*/ 48763 w 829568"/>
              <a:gd name="connsiteY165" fmla="*/ 472522 h 797705"/>
              <a:gd name="connsiteX166" fmla="*/ 35096 w 829568"/>
              <a:gd name="connsiteY166" fmla="*/ 467991 h 797705"/>
              <a:gd name="connsiteX167" fmla="*/ 32818 w 829568"/>
              <a:gd name="connsiteY167" fmla="*/ 449871 h 797705"/>
              <a:gd name="connsiteX168" fmla="*/ 55596 w 829568"/>
              <a:gd name="connsiteY168" fmla="*/ 418160 h 797705"/>
              <a:gd name="connsiteX169" fmla="*/ 55596 w 829568"/>
              <a:gd name="connsiteY169" fmla="*/ 404569 h 797705"/>
              <a:gd name="connsiteX170" fmla="*/ 48763 w 829568"/>
              <a:gd name="connsiteY170" fmla="*/ 372858 h 797705"/>
              <a:gd name="connsiteX171" fmla="*/ 41929 w 829568"/>
              <a:gd name="connsiteY171" fmla="*/ 354737 h 797705"/>
              <a:gd name="connsiteX172" fmla="*/ 41929 w 829568"/>
              <a:gd name="connsiteY172" fmla="*/ 320761 h 797705"/>
              <a:gd name="connsiteX173" fmla="*/ 41929 w 829568"/>
              <a:gd name="connsiteY173" fmla="*/ 300375 h 797705"/>
              <a:gd name="connsiteX174" fmla="*/ 44300 w 829568"/>
              <a:gd name="connsiteY174" fmla="*/ 291042 h 797705"/>
              <a:gd name="connsiteX175" fmla="*/ 78462 w 829568"/>
              <a:gd name="connsiteY175" fmla="*/ 259331 h 797705"/>
              <a:gd name="connsiteX176" fmla="*/ 92126 w 829568"/>
              <a:gd name="connsiteY176" fmla="*/ 232149 h 797705"/>
              <a:gd name="connsiteX177" fmla="*/ 114901 w 829568"/>
              <a:gd name="connsiteY177" fmla="*/ 211764 h 797705"/>
              <a:gd name="connsiteX178" fmla="*/ 108638 w 829568"/>
              <a:gd name="connsiteY178" fmla="*/ 204968 h 797705"/>
              <a:gd name="connsiteX179" fmla="*/ 92261 w 829568"/>
              <a:gd name="connsiteY179" fmla="*/ 198228 h 797705"/>
              <a:gd name="connsiteX180" fmla="*/ 91806 w 829568"/>
              <a:gd name="connsiteY180" fmla="*/ 198355 h 797705"/>
              <a:gd name="connsiteX181" fmla="*/ 84968 w 829568"/>
              <a:gd name="connsiteY181" fmla="*/ 193807 h 797705"/>
              <a:gd name="connsiteX182" fmla="*/ 94086 w 829568"/>
              <a:gd name="connsiteY182" fmla="*/ 155145 h 797705"/>
              <a:gd name="connsiteX183" fmla="*/ 135114 w 829568"/>
              <a:gd name="connsiteY183" fmla="*/ 127854 h 797705"/>
              <a:gd name="connsiteX184" fmla="*/ 160186 w 829568"/>
              <a:gd name="connsiteY184" fmla="*/ 134677 h 797705"/>
              <a:gd name="connsiteX185" fmla="*/ 160186 w 829568"/>
              <a:gd name="connsiteY185" fmla="*/ 109660 h 797705"/>
              <a:gd name="connsiteX186" fmla="*/ 187538 w 829568"/>
              <a:gd name="connsiteY186" fmla="*/ 82369 h 797705"/>
              <a:gd name="connsiteX187" fmla="*/ 187538 w 829568"/>
              <a:gd name="connsiteY187" fmla="*/ 48256 h 797705"/>
              <a:gd name="connsiteX188" fmla="*/ 190103 w 829568"/>
              <a:gd name="connsiteY188" fmla="*/ 284 h 797705"/>
              <a:gd name="connsiteX0" fmla="*/ 190103 w 829568"/>
              <a:gd name="connsiteY0" fmla="*/ 284 h 797705"/>
              <a:gd name="connsiteX1" fmla="*/ 208052 w 829568"/>
              <a:gd name="connsiteY1" fmla="*/ 7319 h 797705"/>
              <a:gd name="connsiteX2" fmla="*/ 244522 w 829568"/>
              <a:gd name="connsiteY2" fmla="*/ 16416 h 797705"/>
              <a:gd name="connsiteX3" fmla="*/ 269594 w 829568"/>
              <a:gd name="connsiteY3" fmla="*/ 36884 h 797705"/>
              <a:gd name="connsiteX4" fmla="*/ 303784 w 829568"/>
              <a:gd name="connsiteY4" fmla="*/ 59627 h 797705"/>
              <a:gd name="connsiteX5" fmla="*/ 317460 w 829568"/>
              <a:gd name="connsiteY5" fmla="*/ 89192 h 797705"/>
              <a:gd name="connsiteX6" fmla="*/ 353930 w 829568"/>
              <a:gd name="connsiteY6" fmla="*/ 73272 h 797705"/>
              <a:gd name="connsiteX7" fmla="*/ 399516 w 829568"/>
              <a:gd name="connsiteY7" fmla="*/ 82369 h 797705"/>
              <a:gd name="connsiteX8" fmla="*/ 417751 w 829568"/>
              <a:gd name="connsiteY8" fmla="*/ 77821 h 797705"/>
              <a:gd name="connsiteX9" fmla="*/ 438265 w 829568"/>
              <a:gd name="connsiteY9" fmla="*/ 64175 h 797705"/>
              <a:gd name="connsiteX10" fmla="*/ 472455 w 829568"/>
              <a:gd name="connsiteY10" fmla="*/ 73272 h 797705"/>
              <a:gd name="connsiteX11" fmla="*/ 486131 w 829568"/>
              <a:gd name="connsiteY11" fmla="*/ 82369 h 797705"/>
              <a:gd name="connsiteX12" fmla="*/ 490690 w 829568"/>
              <a:gd name="connsiteY12" fmla="*/ 132402 h 797705"/>
              <a:gd name="connsiteX13" fmla="*/ 495248 w 829568"/>
              <a:gd name="connsiteY13" fmla="*/ 196081 h 797705"/>
              <a:gd name="connsiteX14" fmla="*/ 495248 w 829568"/>
              <a:gd name="connsiteY14" fmla="*/ 214275 h 797705"/>
              <a:gd name="connsiteX15" fmla="*/ 495067 w 829568"/>
              <a:gd name="connsiteY15" fmla="*/ 214233 h 797705"/>
              <a:gd name="connsiteX16" fmla="*/ 497146 w 829568"/>
              <a:gd name="connsiteY16" fmla="*/ 220449 h 797705"/>
              <a:gd name="connsiteX17" fmla="*/ 508530 w 829568"/>
              <a:gd name="connsiteY17" fmla="*/ 224986 h 797705"/>
              <a:gd name="connsiteX18" fmla="*/ 524467 w 829568"/>
              <a:gd name="connsiteY18" fmla="*/ 238598 h 797705"/>
              <a:gd name="connsiteX19" fmla="*/ 556340 w 829568"/>
              <a:gd name="connsiteY19" fmla="*/ 234060 h 797705"/>
              <a:gd name="connsiteX20" fmla="*/ 570440 w 829568"/>
              <a:gd name="connsiteY20" fmla="*/ 254988 h 797705"/>
              <a:gd name="connsiteX21" fmla="*/ 570445 w 829568"/>
              <a:gd name="connsiteY21" fmla="*/ 254942 h 797705"/>
              <a:gd name="connsiteX22" fmla="*/ 574113 w 829568"/>
              <a:gd name="connsiteY22" fmla="*/ 256872 h 797705"/>
              <a:gd name="connsiteX23" fmla="*/ 574458 w 829568"/>
              <a:gd name="connsiteY23" fmla="*/ 256788 h 797705"/>
              <a:gd name="connsiteX24" fmla="*/ 583230 w 829568"/>
              <a:gd name="connsiteY24" fmla="*/ 254659 h 797705"/>
              <a:gd name="connsiteX25" fmla="*/ 595448 w 829568"/>
              <a:gd name="connsiteY25" fmla="*/ 250406 h 797705"/>
              <a:gd name="connsiteX26" fmla="*/ 624997 w 829568"/>
              <a:gd name="connsiteY26" fmla="*/ 282159 h 797705"/>
              <a:gd name="connsiteX27" fmla="*/ 637214 w 829568"/>
              <a:gd name="connsiteY27" fmla="*/ 311928 h 797705"/>
              <a:gd name="connsiteX28" fmla="*/ 636731 w 829568"/>
              <a:gd name="connsiteY28" fmla="*/ 319061 h 797705"/>
              <a:gd name="connsiteX29" fmla="*/ 636185 w 829568"/>
              <a:gd name="connsiteY29" fmla="*/ 327131 h 797705"/>
              <a:gd name="connsiteX30" fmla="*/ 640908 w 829568"/>
              <a:gd name="connsiteY30" fmla="*/ 343397 h 797705"/>
              <a:gd name="connsiteX31" fmla="*/ 656819 w 829568"/>
              <a:gd name="connsiteY31" fmla="*/ 329788 h 797705"/>
              <a:gd name="connsiteX32" fmla="*/ 672730 w 829568"/>
              <a:gd name="connsiteY32" fmla="*/ 347933 h 797705"/>
              <a:gd name="connsiteX33" fmla="*/ 679549 w 829568"/>
              <a:gd name="connsiteY33" fmla="*/ 366077 h 797705"/>
              <a:gd name="connsiteX34" fmla="*/ 686368 w 829568"/>
              <a:gd name="connsiteY34" fmla="*/ 418243 h 797705"/>
              <a:gd name="connsiteX35" fmla="*/ 736375 w 829568"/>
              <a:gd name="connsiteY35" fmla="*/ 413707 h 797705"/>
              <a:gd name="connsiteX36" fmla="*/ 756832 w 829568"/>
              <a:gd name="connsiteY36" fmla="*/ 420511 h 797705"/>
              <a:gd name="connsiteX37" fmla="*/ 765924 w 829568"/>
              <a:gd name="connsiteY37" fmla="*/ 406903 h 797705"/>
              <a:gd name="connsiteX38" fmla="*/ 829568 w 829568"/>
              <a:gd name="connsiteY38" fmla="*/ 397830 h 797705"/>
              <a:gd name="connsiteX39" fmla="*/ 829568 w 829568"/>
              <a:gd name="connsiteY39" fmla="*/ 413707 h 797705"/>
              <a:gd name="connsiteX40" fmla="*/ 827295 w 829568"/>
              <a:gd name="connsiteY40" fmla="*/ 422779 h 797705"/>
              <a:gd name="connsiteX41" fmla="*/ 822749 w 829568"/>
              <a:gd name="connsiteY41" fmla="*/ 427315 h 797705"/>
              <a:gd name="connsiteX42" fmla="*/ 815930 w 829568"/>
              <a:gd name="connsiteY42" fmla="*/ 427315 h 797705"/>
              <a:gd name="connsiteX43" fmla="*/ 809111 w 829568"/>
              <a:gd name="connsiteY43" fmla="*/ 443192 h 797705"/>
              <a:gd name="connsiteX44" fmla="*/ 802292 w 829568"/>
              <a:gd name="connsiteY44" fmla="*/ 452264 h 797705"/>
              <a:gd name="connsiteX45" fmla="*/ 800019 w 829568"/>
              <a:gd name="connsiteY45" fmla="*/ 459068 h 797705"/>
              <a:gd name="connsiteX46" fmla="*/ 800019 w 829568"/>
              <a:gd name="connsiteY46" fmla="*/ 470408 h 797705"/>
              <a:gd name="connsiteX47" fmla="*/ 800019 w 829568"/>
              <a:gd name="connsiteY47" fmla="*/ 481749 h 797705"/>
              <a:gd name="connsiteX48" fmla="*/ 784108 w 829568"/>
              <a:gd name="connsiteY48" fmla="*/ 477212 h 797705"/>
              <a:gd name="connsiteX49" fmla="*/ 777289 w 829568"/>
              <a:gd name="connsiteY49" fmla="*/ 477212 h 797705"/>
              <a:gd name="connsiteX50" fmla="*/ 770470 w 829568"/>
              <a:gd name="connsiteY50" fmla="*/ 481749 h 797705"/>
              <a:gd name="connsiteX51" fmla="*/ 768197 w 829568"/>
              <a:gd name="connsiteY51" fmla="*/ 488553 h 797705"/>
              <a:gd name="connsiteX52" fmla="*/ 750013 w 829568"/>
              <a:gd name="connsiteY52" fmla="*/ 497625 h 797705"/>
              <a:gd name="connsiteX53" fmla="*/ 745467 w 829568"/>
              <a:gd name="connsiteY53" fmla="*/ 490821 h 797705"/>
              <a:gd name="connsiteX54" fmla="*/ 740921 w 829568"/>
              <a:gd name="connsiteY54" fmla="*/ 493089 h 797705"/>
              <a:gd name="connsiteX55" fmla="*/ 738648 w 829568"/>
              <a:gd name="connsiteY55" fmla="*/ 499893 h 797705"/>
              <a:gd name="connsiteX56" fmla="*/ 738648 w 829568"/>
              <a:gd name="connsiteY56" fmla="*/ 502161 h 797705"/>
              <a:gd name="connsiteX57" fmla="*/ 725010 w 829568"/>
              <a:gd name="connsiteY57" fmla="*/ 504429 h 797705"/>
              <a:gd name="connsiteX58" fmla="*/ 715918 w 829568"/>
              <a:gd name="connsiteY58" fmla="*/ 508965 h 797705"/>
              <a:gd name="connsiteX59" fmla="*/ 715918 w 829568"/>
              <a:gd name="connsiteY59" fmla="*/ 520306 h 797705"/>
              <a:gd name="connsiteX60" fmla="*/ 713645 w 829568"/>
              <a:gd name="connsiteY60" fmla="*/ 522574 h 797705"/>
              <a:gd name="connsiteX61" fmla="*/ 693188 w 829568"/>
              <a:gd name="connsiteY61" fmla="*/ 527110 h 797705"/>
              <a:gd name="connsiteX62" fmla="*/ 677276 w 829568"/>
              <a:gd name="connsiteY62" fmla="*/ 531646 h 797705"/>
              <a:gd name="connsiteX63" fmla="*/ 668184 w 829568"/>
              <a:gd name="connsiteY63" fmla="*/ 527110 h 797705"/>
              <a:gd name="connsiteX64" fmla="*/ 665911 w 829568"/>
              <a:gd name="connsiteY64" fmla="*/ 529378 h 797705"/>
              <a:gd name="connsiteX65" fmla="*/ 665911 w 829568"/>
              <a:gd name="connsiteY65" fmla="*/ 538450 h 797705"/>
              <a:gd name="connsiteX66" fmla="*/ 659092 w 829568"/>
              <a:gd name="connsiteY66" fmla="*/ 540718 h 797705"/>
              <a:gd name="connsiteX67" fmla="*/ 659092 w 829568"/>
              <a:gd name="connsiteY67" fmla="*/ 545254 h 797705"/>
              <a:gd name="connsiteX68" fmla="*/ 659092 w 829568"/>
              <a:gd name="connsiteY68" fmla="*/ 556595 h 797705"/>
              <a:gd name="connsiteX69" fmla="*/ 656819 w 829568"/>
              <a:gd name="connsiteY69" fmla="*/ 561131 h 797705"/>
              <a:gd name="connsiteX70" fmla="*/ 652273 w 829568"/>
              <a:gd name="connsiteY70" fmla="*/ 561131 h 797705"/>
              <a:gd name="connsiteX71" fmla="*/ 650000 w 829568"/>
              <a:gd name="connsiteY71" fmla="*/ 561131 h 797705"/>
              <a:gd name="connsiteX72" fmla="*/ 618178 w 829568"/>
              <a:gd name="connsiteY72" fmla="*/ 552058 h 797705"/>
              <a:gd name="connsiteX73" fmla="*/ 618178 w 829568"/>
              <a:gd name="connsiteY73" fmla="*/ 549790 h 797705"/>
              <a:gd name="connsiteX74" fmla="*/ 609086 w 829568"/>
              <a:gd name="connsiteY74" fmla="*/ 542986 h 797705"/>
              <a:gd name="connsiteX75" fmla="*/ 599994 w 829568"/>
              <a:gd name="connsiteY75" fmla="*/ 547522 h 797705"/>
              <a:gd name="connsiteX76" fmla="*/ 590902 w 829568"/>
              <a:gd name="connsiteY76" fmla="*/ 554327 h 797705"/>
              <a:gd name="connsiteX77" fmla="*/ 579537 w 829568"/>
              <a:gd name="connsiteY77" fmla="*/ 563399 h 797705"/>
              <a:gd name="connsiteX78" fmla="*/ 574991 w 829568"/>
              <a:gd name="connsiteY78" fmla="*/ 556595 h 797705"/>
              <a:gd name="connsiteX79" fmla="*/ 570445 w 829568"/>
              <a:gd name="connsiteY79" fmla="*/ 558863 h 797705"/>
              <a:gd name="connsiteX80" fmla="*/ 568172 w 829568"/>
              <a:gd name="connsiteY80" fmla="*/ 563399 h 797705"/>
              <a:gd name="connsiteX81" fmla="*/ 568172 w 829568"/>
              <a:gd name="connsiteY81" fmla="*/ 565667 h 797705"/>
              <a:gd name="connsiteX82" fmla="*/ 568172 w 829568"/>
              <a:gd name="connsiteY82" fmla="*/ 570203 h 797705"/>
              <a:gd name="connsiteX83" fmla="*/ 565899 w 829568"/>
              <a:gd name="connsiteY83" fmla="*/ 572471 h 797705"/>
              <a:gd name="connsiteX84" fmla="*/ 565899 w 829568"/>
              <a:gd name="connsiteY84" fmla="*/ 574739 h 797705"/>
              <a:gd name="connsiteX85" fmla="*/ 581810 w 829568"/>
              <a:gd name="connsiteY85" fmla="*/ 581543 h 797705"/>
              <a:gd name="connsiteX86" fmla="*/ 586356 w 829568"/>
              <a:gd name="connsiteY86" fmla="*/ 586079 h 797705"/>
              <a:gd name="connsiteX87" fmla="*/ 590902 w 829568"/>
              <a:gd name="connsiteY87" fmla="*/ 579275 h 797705"/>
              <a:gd name="connsiteX88" fmla="*/ 597721 w 829568"/>
              <a:gd name="connsiteY88" fmla="*/ 583811 h 797705"/>
              <a:gd name="connsiteX89" fmla="*/ 599994 w 829568"/>
              <a:gd name="connsiteY89" fmla="*/ 579275 h 797705"/>
              <a:gd name="connsiteX90" fmla="*/ 606813 w 829568"/>
              <a:gd name="connsiteY90" fmla="*/ 588347 h 797705"/>
              <a:gd name="connsiteX91" fmla="*/ 606813 w 829568"/>
              <a:gd name="connsiteY91" fmla="*/ 590616 h 797705"/>
              <a:gd name="connsiteX92" fmla="*/ 602267 w 829568"/>
              <a:gd name="connsiteY92" fmla="*/ 601956 h 797705"/>
              <a:gd name="connsiteX93" fmla="*/ 604540 w 829568"/>
              <a:gd name="connsiteY93" fmla="*/ 606492 h 797705"/>
              <a:gd name="connsiteX94" fmla="*/ 609086 w 829568"/>
              <a:gd name="connsiteY94" fmla="*/ 611028 h 797705"/>
              <a:gd name="connsiteX95" fmla="*/ 606813 w 829568"/>
              <a:gd name="connsiteY95" fmla="*/ 613296 h 797705"/>
              <a:gd name="connsiteX96" fmla="*/ 588629 w 829568"/>
              <a:gd name="connsiteY96" fmla="*/ 613296 h 797705"/>
              <a:gd name="connsiteX97" fmla="*/ 572718 w 829568"/>
              <a:gd name="connsiteY97" fmla="*/ 597420 h 797705"/>
              <a:gd name="connsiteX98" fmla="*/ 568172 w 829568"/>
              <a:gd name="connsiteY98" fmla="*/ 606492 h 797705"/>
              <a:gd name="connsiteX99" fmla="*/ 561353 w 829568"/>
              <a:gd name="connsiteY99" fmla="*/ 597420 h 797705"/>
              <a:gd name="connsiteX100" fmla="*/ 556807 w 829568"/>
              <a:gd name="connsiteY100" fmla="*/ 592884 h 797705"/>
              <a:gd name="connsiteX101" fmla="*/ 540896 w 829568"/>
              <a:gd name="connsiteY101" fmla="*/ 570203 h 797705"/>
              <a:gd name="connsiteX102" fmla="*/ 529530 w 829568"/>
              <a:gd name="connsiteY102" fmla="*/ 565667 h 797705"/>
              <a:gd name="connsiteX103" fmla="*/ 518165 w 829568"/>
              <a:gd name="connsiteY103" fmla="*/ 572471 h 797705"/>
              <a:gd name="connsiteX104" fmla="*/ 509073 w 829568"/>
              <a:gd name="connsiteY104" fmla="*/ 577007 h 797705"/>
              <a:gd name="connsiteX105" fmla="*/ 505946 w 829568"/>
              <a:gd name="connsiteY105" fmla="*/ 579415 h 797705"/>
              <a:gd name="connsiteX106" fmla="*/ 505946 w 829568"/>
              <a:gd name="connsiteY106" fmla="*/ 581688 h 797705"/>
              <a:gd name="connsiteX107" fmla="*/ 496839 w 829568"/>
              <a:gd name="connsiteY107" fmla="*/ 590779 h 797705"/>
              <a:gd name="connsiteX108" fmla="*/ 496839 w 829568"/>
              <a:gd name="connsiteY108" fmla="*/ 595324 h 797705"/>
              <a:gd name="connsiteX109" fmla="*/ 501392 w 829568"/>
              <a:gd name="connsiteY109" fmla="*/ 599870 h 797705"/>
              <a:gd name="connsiteX110" fmla="*/ 510500 w 829568"/>
              <a:gd name="connsiteY110" fmla="*/ 608960 h 797705"/>
              <a:gd name="connsiteX111" fmla="*/ 508223 w 829568"/>
              <a:gd name="connsiteY111" fmla="*/ 613506 h 797705"/>
              <a:gd name="connsiteX112" fmla="*/ 508223 w 829568"/>
              <a:gd name="connsiteY112" fmla="*/ 618051 h 797705"/>
              <a:gd name="connsiteX113" fmla="*/ 490008 w 829568"/>
              <a:gd name="connsiteY113" fmla="*/ 640778 h 797705"/>
              <a:gd name="connsiteX114" fmla="*/ 464962 w 829568"/>
              <a:gd name="connsiteY114" fmla="*/ 631687 h 797705"/>
              <a:gd name="connsiteX115" fmla="*/ 451300 w 829568"/>
              <a:gd name="connsiteY115" fmla="*/ 624869 h 797705"/>
              <a:gd name="connsiteX116" fmla="*/ 423977 w 829568"/>
              <a:gd name="connsiteY116" fmla="*/ 638506 h 797705"/>
              <a:gd name="connsiteX117" fmla="*/ 414870 w 829568"/>
              <a:gd name="connsiteY117" fmla="*/ 643051 h 797705"/>
              <a:gd name="connsiteX118" fmla="*/ 398931 w 829568"/>
              <a:gd name="connsiteY118" fmla="*/ 645324 h 797705"/>
              <a:gd name="connsiteX119" fmla="*/ 394378 w 829568"/>
              <a:gd name="connsiteY119" fmla="*/ 652142 h 797705"/>
              <a:gd name="connsiteX120" fmla="*/ 373885 w 829568"/>
              <a:gd name="connsiteY120" fmla="*/ 654415 h 797705"/>
              <a:gd name="connsiteX121" fmla="*/ 353393 w 829568"/>
              <a:gd name="connsiteY121" fmla="*/ 661233 h 797705"/>
              <a:gd name="connsiteX122" fmla="*/ 344285 w 829568"/>
              <a:gd name="connsiteY122" fmla="*/ 683960 h 797705"/>
              <a:gd name="connsiteX123" fmla="*/ 346559 w 829568"/>
              <a:gd name="connsiteY123" fmla="*/ 695305 h 797705"/>
              <a:gd name="connsiteX124" fmla="*/ 346890 w 829568"/>
              <a:gd name="connsiteY124" fmla="*/ 695371 h 797705"/>
              <a:gd name="connsiteX125" fmla="*/ 349169 w 829568"/>
              <a:gd name="connsiteY125" fmla="*/ 697639 h 797705"/>
              <a:gd name="connsiteX126" fmla="*/ 349169 w 829568"/>
              <a:gd name="connsiteY126" fmla="*/ 708981 h 797705"/>
              <a:gd name="connsiteX127" fmla="*/ 349169 w 829568"/>
              <a:gd name="connsiteY127" fmla="*/ 713518 h 797705"/>
              <a:gd name="connsiteX128" fmla="*/ 346890 w 829568"/>
              <a:gd name="connsiteY128" fmla="*/ 724861 h 797705"/>
              <a:gd name="connsiteX129" fmla="*/ 340053 w 829568"/>
              <a:gd name="connsiteY129" fmla="*/ 722592 h 797705"/>
              <a:gd name="connsiteX130" fmla="*/ 317264 w 829568"/>
              <a:gd name="connsiteY130" fmla="*/ 720324 h 797705"/>
              <a:gd name="connsiteX131" fmla="*/ 312706 w 829568"/>
              <a:gd name="connsiteY131" fmla="*/ 718055 h 797705"/>
              <a:gd name="connsiteX132" fmla="*/ 303590 w 829568"/>
              <a:gd name="connsiteY132" fmla="*/ 724861 h 797705"/>
              <a:gd name="connsiteX133" fmla="*/ 294474 w 829568"/>
              <a:gd name="connsiteY133" fmla="*/ 731666 h 797705"/>
              <a:gd name="connsiteX134" fmla="*/ 289916 w 829568"/>
              <a:gd name="connsiteY134" fmla="*/ 738471 h 797705"/>
              <a:gd name="connsiteX135" fmla="*/ 289916 w 829568"/>
              <a:gd name="connsiteY135" fmla="*/ 752082 h 797705"/>
              <a:gd name="connsiteX136" fmla="*/ 280800 w 829568"/>
              <a:gd name="connsiteY136" fmla="*/ 740740 h 797705"/>
              <a:gd name="connsiteX137" fmla="*/ 278521 w 829568"/>
              <a:gd name="connsiteY137" fmla="*/ 743008 h 797705"/>
              <a:gd name="connsiteX138" fmla="*/ 276242 w 829568"/>
              <a:gd name="connsiteY138" fmla="*/ 749814 h 797705"/>
              <a:gd name="connsiteX139" fmla="*/ 269405 w 829568"/>
              <a:gd name="connsiteY139" fmla="*/ 761156 h 797705"/>
              <a:gd name="connsiteX140" fmla="*/ 232942 w 829568"/>
              <a:gd name="connsiteY140" fmla="*/ 749814 h 797705"/>
              <a:gd name="connsiteX141" fmla="*/ 230663 w 829568"/>
              <a:gd name="connsiteY141" fmla="*/ 754351 h 797705"/>
              <a:gd name="connsiteX142" fmla="*/ 203316 w 829568"/>
              <a:gd name="connsiteY142" fmla="*/ 754351 h 797705"/>
              <a:gd name="connsiteX143" fmla="*/ 180526 w 829568"/>
              <a:gd name="connsiteY143" fmla="*/ 761156 h 797705"/>
              <a:gd name="connsiteX144" fmla="*/ 169131 w 829568"/>
              <a:gd name="connsiteY144" fmla="*/ 767961 h 797705"/>
              <a:gd name="connsiteX145" fmla="*/ 157736 w 829568"/>
              <a:gd name="connsiteY145" fmla="*/ 783841 h 797705"/>
              <a:gd name="connsiteX146" fmla="*/ 137226 w 829568"/>
              <a:gd name="connsiteY146" fmla="*/ 797451 h 797705"/>
              <a:gd name="connsiteX147" fmla="*/ 128110 w 829568"/>
              <a:gd name="connsiteY147" fmla="*/ 786109 h 797705"/>
              <a:gd name="connsiteX148" fmla="*/ 121273 w 829568"/>
              <a:gd name="connsiteY148" fmla="*/ 792914 h 797705"/>
              <a:gd name="connsiteX149" fmla="*/ 93925 w 829568"/>
              <a:gd name="connsiteY149" fmla="*/ 790646 h 797705"/>
              <a:gd name="connsiteX150" fmla="*/ 68857 w 829568"/>
              <a:gd name="connsiteY150" fmla="*/ 790646 h 797705"/>
              <a:gd name="connsiteX151" fmla="*/ 57462 w 829568"/>
              <a:gd name="connsiteY151" fmla="*/ 792914 h 797705"/>
              <a:gd name="connsiteX152" fmla="*/ 46067 w 829568"/>
              <a:gd name="connsiteY152" fmla="*/ 788377 h 797705"/>
              <a:gd name="connsiteX153" fmla="*/ 25556 w 829568"/>
              <a:gd name="connsiteY153" fmla="*/ 786109 h 797705"/>
              <a:gd name="connsiteX154" fmla="*/ 25556 w 829568"/>
              <a:gd name="connsiteY154" fmla="*/ 783841 h 797705"/>
              <a:gd name="connsiteX155" fmla="*/ 43788 w 829568"/>
              <a:gd name="connsiteY155" fmla="*/ 770230 h 797705"/>
              <a:gd name="connsiteX156" fmla="*/ 48346 w 829568"/>
              <a:gd name="connsiteY156" fmla="*/ 699908 h 797705"/>
              <a:gd name="connsiteX157" fmla="*/ 5046 w 829568"/>
              <a:gd name="connsiteY157" fmla="*/ 670418 h 797705"/>
              <a:gd name="connsiteX158" fmla="*/ 30114 w 829568"/>
              <a:gd name="connsiteY158" fmla="*/ 615975 h 797705"/>
              <a:gd name="connsiteX159" fmla="*/ 41509 w 829568"/>
              <a:gd name="connsiteY159" fmla="*/ 600095 h 797705"/>
              <a:gd name="connsiteX160" fmla="*/ 34672 w 829568"/>
              <a:gd name="connsiteY160" fmla="*/ 581948 h 797705"/>
              <a:gd name="connsiteX161" fmla="*/ 41509 w 829568"/>
              <a:gd name="connsiteY161" fmla="*/ 554726 h 797705"/>
              <a:gd name="connsiteX162" fmla="*/ 16441 w 829568"/>
              <a:gd name="connsiteY162" fmla="*/ 543384 h 797705"/>
              <a:gd name="connsiteX163" fmla="*/ 28333 w 829568"/>
              <a:gd name="connsiteY163" fmla="*/ 522091 h 797705"/>
              <a:gd name="connsiteX164" fmla="*/ 73580 w 829568"/>
              <a:gd name="connsiteY164" fmla="*/ 484975 h 797705"/>
              <a:gd name="connsiteX165" fmla="*/ 48763 w 829568"/>
              <a:gd name="connsiteY165" fmla="*/ 472522 h 797705"/>
              <a:gd name="connsiteX166" fmla="*/ 35096 w 829568"/>
              <a:gd name="connsiteY166" fmla="*/ 467991 h 797705"/>
              <a:gd name="connsiteX167" fmla="*/ 32818 w 829568"/>
              <a:gd name="connsiteY167" fmla="*/ 449871 h 797705"/>
              <a:gd name="connsiteX168" fmla="*/ 55596 w 829568"/>
              <a:gd name="connsiteY168" fmla="*/ 418160 h 797705"/>
              <a:gd name="connsiteX169" fmla="*/ 55596 w 829568"/>
              <a:gd name="connsiteY169" fmla="*/ 404569 h 797705"/>
              <a:gd name="connsiteX170" fmla="*/ 48763 w 829568"/>
              <a:gd name="connsiteY170" fmla="*/ 372858 h 797705"/>
              <a:gd name="connsiteX171" fmla="*/ 41929 w 829568"/>
              <a:gd name="connsiteY171" fmla="*/ 354737 h 797705"/>
              <a:gd name="connsiteX172" fmla="*/ 41929 w 829568"/>
              <a:gd name="connsiteY172" fmla="*/ 320761 h 797705"/>
              <a:gd name="connsiteX173" fmla="*/ 41929 w 829568"/>
              <a:gd name="connsiteY173" fmla="*/ 300375 h 797705"/>
              <a:gd name="connsiteX174" fmla="*/ 44300 w 829568"/>
              <a:gd name="connsiteY174" fmla="*/ 291042 h 797705"/>
              <a:gd name="connsiteX175" fmla="*/ 78462 w 829568"/>
              <a:gd name="connsiteY175" fmla="*/ 259331 h 797705"/>
              <a:gd name="connsiteX176" fmla="*/ 92126 w 829568"/>
              <a:gd name="connsiteY176" fmla="*/ 232149 h 797705"/>
              <a:gd name="connsiteX177" fmla="*/ 114901 w 829568"/>
              <a:gd name="connsiteY177" fmla="*/ 211764 h 797705"/>
              <a:gd name="connsiteX178" fmla="*/ 108638 w 829568"/>
              <a:gd name="connsiteY178" fmla="*/ 204968 h 797705"/>
              <a:gd name="connsiteX179" fmla="*/ 92261 w 829568"/>
              <a:gd name="connsiteY179" fmla="*/ 198228 h 797705"/>
              <a:gd name="connsiteX180" fmla="*/ 91806 w 829568"/>
              <a:gd name="connsiteY180" fmla="*/ 198355 h 797705"/>
              <a:gd name="connsiteX181" fmla="*/ 84968 w 829568"/>
              <a:gd name="connsiteY181" fmla="*/ 193807 h 797705"/>
              <a:gd name="connsiteX182" fmla="*/ 94086 w 829568"/>
              <a:gd name="connsiteY182" fmla="*/ 155145 h 797705"/>
              <a:gd name="connsiteX183" fmla="*/ 135114 w 829568"/>
              <a:gd name="connsiteY183" fmla="*/ 127854 h 797705"/>
              <a:gd name="connsiteX184" fmla="*/ 160186 w 829568"/>
              <a:gd name="connsiteY184" fmla="*/ 134677 h 797705"/>
              <a:gd name="connsiteX185" fmla="*/ 160186 w 829568"/>
              <a:gd name="connsiteY185" fmla="*/ 109660 h 797705"/>
              <a:gd name="connsiteX186" fmla="*/ 187538 w 829568"/>
              <a:gd name="connsiteY186" fmla="*/ 82369 h 797705"/>
              <a:gd name="connsiteX187" fmla="*/ 187538 w 829568"/>
              <a:gd name="connsiteY187" fmla="*/ 48256 h 797705"/>
              <a:gd name="connsiteX188" fmla="*/ 190103 w 829568"/>
              <a:gd name="connsiteY188" fmla="*/ 284 h 79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829568" h="797705">
                <a:moveTo>
                  <a:pt x="190103" y="284"/>
                </a:moveTo>
                <a:cubicBezTo>
                  <a:pt x="192952" y="-783"/>
                  <a:pt x="198365" y="1065"/>
                  <a:pt x="208052" y="7319"/>
                </a:cubicBezTo>
                <a:cubicBezTo>
                  <a:pt x="221728" y="18691"/>
                  <a:pt x="228566" y="16416"/>
                  <a:pt x="244522" y="16416"/>
                </a:cubicBezTo>
                <a:cubicBezTo>
                  <a:pt x="258198" y="18691"/>
                  <a:pt x="262756" y="30062"/>
                  <a:pt x="269594" y="36884"/>
                </a:cubicBezTo>
                <a:cubicBezTo>
                  <a:pt x="280991" y="45981"/>
                  <a:pt x="301505" y="39159"/>
                  <a:pt x="303784" y="59627"/>
                </a:cubicBezTo>
                <a:cubicBezTo>
                  <a:pt x="308343" y="66450"/>
                  <a:pt x="303784" y="86918"/>
                  <a:pt x="317460" y="89192"/>
                </a:cubicBezTo>
                <a:cubicBezTo>
                  <a:pt x="340254" y="96015"/>
                  <a:pt x="353930" y="93740"/>
                  <a:pt x="353930" y="73272"/>
                </a:cubicBezTo>
                <a:cubicBezTo>
                  <a:pt x="353930" y="36884"/>
                  <a:pt x="388120" y="80095"/>
                  <a:pt x="399516" y="82369"/>
                </a:cubicBezTo>
                <a:cubicBezTo>
                  <a:pt x="413192" y="77821"/>
                  <a:pt x="404075" y="68724"/>
                  <a:pt x="417751" y="77821"/>
                </a:cubicBezTo>
                <a:cubicBezTo>
                  <a:pt x="422310" y="80095"/>
                  <a:pt x="435986" y="68724"/>
                  <a:pt x="438265" y="64175"/>
                </a:cubicBezTo>
                <a:cubicBezTo>
                  <a:pt x="449662" y="50530"/>
                  <a:pt x="463338" y="66450"/>
                  <a:pt x="472455" y="73272"/>
                </a:cubicBezTo>
                <a:cubicBezTo>
                  <a:pt x="474734" y="75546"/>
                  <a:pt x="479293" y="82369"/>
                  <a:pt x="486131" y="82369"/>
                </a:cubicBezTo>
                <a:cubicBezTo>
                  <a:pt x="506645" y="91466"/>
                  <a:pt x="492969" y="109660"/>
                  <a:pt x="490690" y="132402"/>
                </a:cubicBezTo>
                <a:cubicBezTo>
                  <a:pt x="488410" y="152870"/>
                  <a:pt x="495248" y="173338"/>
                  <a:pt x="495248" y="196081"/>
                </a:cubicBezTo>
                <a:lnTo>
                  <a:pt x="495248" y="214275"/>
                </a:lnTo>
                <a:lnTo>
                  <a:pt x="495067" y="214233"/>
                </a:lnTo>
                <a:lnTo>
                  <a:pt x="497146" y="220449"/>
                </a:lnTo>
                <a:cubicBezTo>
                  <a:pt x="501700" y="222717"/>
                  <a:pt x="503976" y="224986"/>
                  <a:pt x="508530" y="224986"/>
                </a:cubicBezTo>
                <a:cubicBezTo>
                  <a:pt x="515360" y="227255"/>
                  <a:pt x="519913" y="236329"/>
                  <a:pt x="524467" y="238598"/>
                </a:cubicBezTo>
                <a:cubicBezTo>
                  <a:pt x="538127" y="238598"/>
                  <a:pt x="548678" y="231328"/>
                  <a:pt x="556340" y="234060"/>
                </a:cubicBezTo>
                <a:cubicBezTo>
                  <a:pt x="564002" y="236792"/>
                  <a:pt x="568089" y="251508"/>
                  <a:pt x="570440" y="254988"/>
                </a:cubicBezTo>
                <a:cubicBezTo>
                  <a:pt x="570442" y="254973"/>
                  <a:pt x="570443" y="254957"/>
                  <a:pt x="570445" y="254942"/>
                </a:cubicBezTo>
                <a:lnTo>
                  <a:pt x="574113" y="256872"/>
                </a:lnTo>
                <a:lnTo>
                  <a:pt x="574458" y="256788"/>
                </a:lnTo>
                <a:lnTo>
                  <a:pt x="583230" y="254659"/>
                </a:lnTo>
                <a:cubicBezTo>
                  <a:pt x="586924" y="252674"/>
                  <a:pt x="590902" y="250406"/>
                  <a:pt x="595448" y="250406"/>
                </a:cubicBezTo>
                <a:cubicBezTo>
                  <a:pt x="599994" y="250406"/>
                  <a:pt x="620451" y="275355"/>
                  <a:pt x="624997" y="282159"/>
                </a:cubicBezTo>
                <a:cubicBezTo>
                  <a:pt x="637499" y="292366"/>
                  <a:pt x="638067" y="302005"/>
                  <a:pt x="637214" y="311928"/>
                </a:cubicBezTo>
                <a:lnTo>
                  <a:pt x="636731" y="319061"/>
                </a:lnTo>
                <a:lnTo>
                  <a:pt x="636185" y="327131"/>
                </a:lnTo>
                <a:cubicBezTo>
                  <a:pt x="636362" y="332340"/>
                  <a:pt x="637499" y="337727"/>
                  <a:pt x="640908" y="343397"/>
                </a:cubicBezTo>
                <a:cubicBezTo>
                  <a:pt x="652273" y="354737"/>
                  <a:pt x="652273" y="336593"/>
                  <a:pt x="656819" y="329788"/>
                </a:cubicBezTo>
                <a:cubicBezTo>
                  <a:pt x="661365" y="320716"/>
                  <a:pt x="652273" y="357005"/>
                  <a:pt x="672730" y="347933"/>
                </a:cubicBezTo>
                <a:cubicBezTo>
                  <a:pt x="686368" y="341129"/>
                  <a:pt x="679549" y="359273"/>
                  <a:pt x="679549" y="366077"/>
                </a:cubicBezTo>
                <a:cubicBezTo>
                  <a:pt x="681822" y="377418"/>
                  <a:pt x="681822" y="404634"/>
                  <a:pt x="686368" y="418243"/>
                </a:cubicBezTo>
                <a:cubicBezTo>
                  <a:pt x="695461" y="438655"/>
                  <a:pt x="715918" y="400098"/>
                  <a:pt x="736375" y="413707"/>
                </a:cubicBezTo>
                <a:cubicBezTo>
                  <a:pt x="745467" y="415975"/>
                  <a:pt x="750013" y="420511"/>
                  <a:pt x="756832" y="420511"/>
                </a:cubicBezTo>
                <a:cubicBezTo>
                  <a:pt x="761378" y="418243"/>
                  <a:pt x="763651" y="409171"/>
                  <a:pt x="765924" y="406903"/>
                </a:cubicBezTo>
                <a:cubicBezTo>
                  <a:pt x="786381" y="415975"/>
                  <a:pt x="811384" y="409171"/>
                  <a:pt x="829568" y="397830"/>
                </a:cubicBezTo>
                <a:lnTo>
                  <a:pt x="829568" y="413707"/>
                </a:lnTo>
                <a:cubicBezTo>
                  <a:pt x="829568" y="418243"/>
                  <a:pt x="829568" y="420511"/>
                  <a:pt x="827295" y="422779"/>
                </a:cubicBezTo>
                <a:cubicBezTo>
                  <a:pt x="827295" y="425047"/>
                  <a:pt x="825022" y="427315"/>
                  <a:pt x="822749" y="427315"/>
                </a:cubicBezTo>
                <a:cubicBezTo>
                  <a:pt x="820476" y="427315"/>
                  <a:pt x="818203" y="425047"/>
                  <a:pt x="815930" y="427315"/>
                </a:cubicBezTo>
                <a:cubicBezTo>
                  <a:pt x="811384" y="436387"/>
                  <a:pt x="809111" y="431851"/>
                  <a:pt x="809111" y="443192"/>
                </a:cubicBezTo>
                <a:cubicBezTo>
                  <a:pt x="809111" y="445460"/>
                  <a:pt x="804565" y="449996"/>
                  <a:pt x="802292" y="452264"/>
                </a:cubicBezTo>
                <a:cubicBezTo>
                  <a:pt x="802292" y="454532"/>
                  <a:pt x="800019" y="456800"/>
                  <a:pt x="800019" y="459068"/>
                </a:cubicBezTo>
                <a:cubicBezTo>
                  <a:pt x="804565" y="463604"/>
                  <a:pt x="797746" y="465872"/>
                  <a:pt x="800019" y="470408"/>
                </a:cubicBezTo>
                <a:cubicBezTo>
                  <a:pt x="800019" y="472676"/>
                  <a:pt x="802292" y="479481"/>
                  <a:pt x="800019" y="481749"/>
                </a:cubicBezTo>
                <a:cubicBezTo>
                  <a:pt x="795473" y="481749"/>
                  <a:pt x="788654" y="479481"/>
                  <a:pt x="784108" y="477212"/>
                </a:cubicBezTo>
                <a:lnTo>
                  <a:pt x="777289" y="477212"/>
                </a:lnTo>
                <a:lnTo>
                  <a:pt x="770470" y="481749"/>
                </a:lnTo>
                <a:cubicBezTo>
                  <a:pt x="770470" y="484017"/>
                  <a:pt x="768197" y="486285"/>
                  <a:pt x="768197" y="488553"/>
                </a:cubicBezTo>
                <a:cubicBezTo>
                  <a:pt x="763651" y="495357"/>
                  <a:pt x="756832" y="499893"/>
                  <a:pt x="750013" y="497625"/>
                </a:cubicBezTo>
                <a:cubicBezTo>
                  <a:pt x="747740" y="495357"/>
                  <a:pt x="745467" y="493089"/>
                  <a:pt x="745467" y="490821"/>
                </a:cubicBezTo>
                <a:cubicBezTo>
                  <a:pt x="743194" y="490821"/>
                  <a:pt x="743194" y="493089"/>
                  <a:pt x="740921" y="493089"/>
                </a:cubicBezTo>
                <a:cubicBezTo>
                  <a:pt x="740921" y="495357"/>
                  <a:pt x="738648" y="499893"/>
                  <a:pt x="738648" y="499893"/>
                </a:cubicBezTo>
                <a:lnTo>
                  <a:pt x="738648" y="502161"/>
                </a:lnTo>
                <a:cubicBezTo>
                  <a:pt x="734102" y="504429"/>
                  <a:pt x="729556" y="506697"/>
                  <a:pt x="725010" y="504429"/>
                </a:cubicBezTo>
                <a:cubicBezTo>
                  <a:pt x="720464" y="504429"/>
                  <a:pt x="718191" y="506697"/>
                  <a:pt x="715918" y="508965"/>
                </a:cubicBezTo>
                <a:cubicBezTo>
                  <a:pt x="715918" y="511233"/>
                  <a:pt x="718191" y="515770"/>
                  <a:pt x="715918" y="520306"/>
                </a:cubicBezTo>
                <a:lnTo>
                  <a:pt x="713645" y="522574"/>
                </a:lnTo>
                <a:cubicBezTo>
                  <a:pt x="711372" y="524842"/>
                  <a:pt x="697734" y="529378"/>
                  <a:pt x="693188" y="527110"/>
                </a:cubicBezTo>
                <a:cubicBezTo>
                  <a:pt x="686368" y="524842"/>
                  <a:pt x="684095" y="536182"/>
                  <a:pt x="677276" y="531646"/>
                </a:cubicBezTo>
                <a:cubicBezTo>
                  <a:pt x="675003" y="529378"/>
                  <a:pt x="670457" y="524842"/>
                  <a:pt x="668184" y="527110"/>
                </a:cubicBezTo>
                <a:lnTo>
                  <a:pt x="665911" y="529378"/>
                </a:lnTo>
                <a:cubicBezTo>
                  <a:pt x="665911" y="531646"/>
                  <a:pt x="668184" y="536182"/>
                  <a:pt x="665911" y="538450"/>
                </a:cubicBezTo>
                <a:cubicBezTo>
                  <a:pt x="665911" y="540718"/>
                  <a:pt x="661365" y="540718"/>
                  <a:pt x="659092" y="540718"/>
                </a:cubicBezTo>
                <a:lnTo>
                  <a:pt x="659092" y="545254"/>
                </a:lnTo>
                <a:cubicBezTo>
                  <a:pt x="656819" y="549790"/>
                  <a:pt x="659092" y="552058"/>
                  <a:pt x="659092" y="556595"/>
                </a:cubicBezTo>
                <a:cubicBezTo>
                  <a:pt x="659092" y="558863"/>
                  <a:pt x="659092" y="558863"/>
                  <a:pt x="656819" y="561131"/>
                </a:cubicBezTo>
                <a:cubicBezTo>
                  <a:pt x="656819" y="561131"/>
                  <a:pt x="654546" y="563399"/>
                  <a:pt x="652273" y="561131"/>
                </a:cubicBezTo>
                <a:lnTo>
                  <a:pt x="650000" y="561131"/>
                </a:lnTo>
                <a:cubicBezTo>
                  <a:pt x="643181" y="554327"/>
                  <a:pt x="620451" y="561131"/>
                  <a:pt x="618178" y="552058"/>
                </a:cubicBezTo>
                <a:lnTo>
                  <a:pt x="618178" y="549790"/>
                </a:lnTo>
                <a:cubicBezTo>
                  <a:pt x="618178" y="545254"/>
                  <a:pt x="613632" y="542986"/>
                  <a:pt x="609086" y="542986"/>
                </a:cubicBezTo>
                <a:cubicBezTo>
                  <a:pt x="602267" y="540718"/>
                  <a:pt x="602267" y="545254"/>
                  <a:pt x="599994" y="547522"/>
                </a:cubicBezTo>
                <a:cubicBezTo>
                  <a:pt x="595448" y="549790"/>
                  <a:pt x="588629" y="547522"/>
                  <a:pt x="590902" y="554327"/>
                </a:cubicBezTo>
                <a:cubicBezTo>
                  <a:pt x="590902" y="558863"/>
                  <a:pt x="584083" y="565667"/>
                  <a:pt x="579537" y="563399"/>
                </a:cubicBezTo>
                <a:cubicBezTo>
                  <a:pt x="577264" y="563399"/>
                  <a:pt x="574991" y="556595"/>
                  <a:pt x="574991" y="556595"/>
                </a:cubicBezTo>
                <a:cubicBezTo>
                  <a:pt x="572718" y="552058"/>
                  <a:pt x="570445" y="556595"/>
                  <a:pt x="570445" y="558863"/>
                </a:cubicBezTo>
                <a:cubicBezTo>
                  <a:pt x="568172" y="558863"/>
                  <a:pt x="568172" y="561131"/>
                  <a:pt x="568172" y="563399"/>
                </a:cubicBezTo>
                <a:lnTo>
                  <a:pt x="568172" y="565667"/>
                </a:lnTo>
                <a:lnTo>
                  <a:pt x="568172" y="570203"/>
                </a:lnTo>
                <a:cubicBezTo>
                  <a:pt x="568172" y="570203"/>
                  <a:pt x="565899" y="570203"/>
                  <a:pt x="565899" y="572471"/>
                </a:cubicBezTo>
                <a:lnTo>
                  <a:pt x="565899" y="574739"/>
                </a:lnTo>
                <a:cubicBezTo>
                  <a:pt x="565899" y="574739"/>
                  <a:pt x="579537" y="579275"/>
                  <a:pt x="581810" y="581543"/>
                </a:cubicBezTo>
                <a:lnTo>
                  <a:pt x="586356" y="586079"/>
                </a:lnTo>
                <a:cubicBezTo>
                  <a:pt x="590902" y="583811"/>
                  <a:pt x="588629" y="579275"/>
                  <a:pt x="590902" y="579275"/>
                </a:cubicBezTo>
                <a:cubicBezTo>
                  <a:pt x="590902" y="581543"/>
                  <a:pt x="595448" y="583811"/>
                  <a:pt x="597721" y="583811"/>
                </a:cubicBezTo>
                <a:cubicBezTo>
                  <a:pt x="599994" y="583811"/>
                  <a:pt x="599994" y="581543"/>
                  <a:pt x="599994" y="579275"/>
                </a:cubicBezTo>
                <a:cubicBezTo>
                  <a:pt x="602267" y="581543"/>
                  <a:pt x="604540" y="583811"/>
                  <a:pt x="606813" y="588347"/>
                </a:cubicBezTo>
                <a:lnTo>
                  <a:pt x="606813" y="590616"/>
                </a:lnTo>
                <a:cubicBezTo>
                  <a:pt x="606813" y="597420"/>
                  <a:pt x="602267" y="597420"/>
                  <a:pt x="602267" y="601956"/>
                </a:cubicBezTo>
                <a:cubicBezTo>
                  <a:pt x="602267" y="604224"/>
                  <a:pt x="604540" y="604224"/>
                  <a:pt x="604540" y="606492"/>
                </a:cubicBezTo>
                <a:lnTo>
                  <a:pt x="609086" y="611028"/>
                </a:lnTo>
                <a:lnTo>
                  <a:pt x="606813" y="613296"/>
                </a:lnTo>
                <a:cubicBezTo>
                  <a:pt x="599994" y="613296"/>
                  <a:pt x="593175" y="615564"/>
                  <a:pt x="588629" y="613296"/>
                </a:cubicBezTo>
                <a:cubicBezTo>
                  <a:pt x="584083" y="613296"/>
                  <a:pt x="574991" y="601956"/>
                  <a:pt x="572718" y="597420"/>
                </a:cubicBezTo>
                <a:cubicBezTo>
                  <a:pt x="570445" y="599688"/>
                  <a:pt x="570445" y="608760"/>
                  <a:pt x="568172" y="606492"/>
                </a:cubicBezTo>
                <a:cubicBezTo>
                  <a:pt x="563626" y="606492"/>
                  <a:pt x="563626" y="599688"/>
                  <a:pt x="561353" y="597420"/>
                </a:cubicBezTo>
                <a:lnTo>
                  <a:pt x="556807" y="592884"/>
                </a:lnTo>
                <a:cubicBezTo>
                  <a:pt x="552261" y="586079"/>
                  <a:pt x="554534" y="565667"/>
                  <a:pt x="540896" y="570203"/>
                </a:cubicBezTo>
                <a:cubicBezTo>
                  <a:pt x="534077" y="572471"/>
                  <a:pt x="534077" y="558863"/>
                  <a:pt x="529530" y="565667"/>
                </a:cubicBezTo>
                <a:cubicBezTo>
                  <a:pt x="527257" y="567935"/>
                  <a:pt x="522711" y="572471"/>
                  <a:pt x="518165" y="572471"/>
                </a:cubicBezTo>
                <a:cubicBezTo>
                  <a:pt x="515892" y="572471"/>
                  <a:pt x="511109" y="575850"/>
                  <a:pt x="509073" y="577007"/>
                </a:cubicBezTo>
                <a:cubicBezTo>
                  <a:pt x="507037" y="578164"/>
                  <a:pt x="506467" y="578635"/>
                  <a:pt x="505946" y="579415"/>
                </a:cubicBezTo>
                <a:lnTo>
                  <a:pt x="505946" y="581688"/>
                </a:lnTo>
                <a:cubicBezTo>
                  <a:pt x="503669" y="583961"/>
                  <a:pt x="499116" y="586233"/>
                  <a:pt x="496839" y="590779"/>
                </a:cubicBezTo>
                <a:lnTo>
                  <a:pt x="496839" y="595324"/>
                </a:lnTo>
                <a:lnTo>
                  <a:pt x="501392" y="599870"/>
                </a:lnTo>
                <a:cubicBezTo>
                  <a:pt x="503669" y="602142"/>
                  <a:pt x="505946" y="606688"/>
                  <a:pt x="510500" y="608960"/>
                </a:cubicBezTo>
                <a:lnTo>
                  <a:pt x="508223" y="613506"/>
                </a:lnTo>
                <a:lnTo>
                  <a:pt x="508223" y="618051"/>
                </a:lnTo>
                <a:lnTo>
                  <a:pt x="490008" y="640778"/>
                </a:lnTo>
                <a:cubicBezTo>
                  <a:pt x="480900" y="652142"/>
                  <a:pt x="474070" y="629415"/>
                  <a:pt x="464962" y="631687"/>
                </a:cubicBezTo>
                <a:cubicBezTo>
                  <a:pt x="455854" y="633960"/>
                  <a:pt x="458131" y="622597"/>
                  <a:pt x="451300" y="624869"/>
                </a:cubicBezTo>
                <a:cubicBezTo>
                  <a:pt x="444470" y="631687"/>
                  <a:pt x="435362" y="638506"/>
                  <a:pt x="423977" y="638506"/>
                </a:cubicBezTo>
                <a:cubicBezTo>
                  <a:pt x="419424" y="638506"/>
                  <a:pt x="417147" y="643051"/>
                  <a:pt x="414870" y="643051"/>
                </a:cubicBezTo>
                <a:cubicBezTo>
                  <a:pt x="410316" y="647596"/>
                  <a:pt x="403485" y="645324"/>
                  <a:pt x="398931" y="645324"/>
                </a:cubicBezTo>
                <a:cubicBezTo>
                  <a:pt x="398931" y="647596"/>
                  <a:pt x="396654" y="649869"/>
                  <a:pt x="394378" y="652142"/>
                </a:cubicBezTo>
                <a:cubicBezTo>
                  <a:pt x="389824" y="656687"/>
                  <a:pt x="378439" y="654415"/>
                  <a:pt x="373885" y="654415"/>
                </a:cubicBezTo>
                <a:cubicBezTo>
                  <a:pt x="367055" y="654415"/>
                  <a:pt x="357947" y="654415"/>
                  <a:pt x="353393" y="661233"/>
                </a:cubicBezTo>
                <a:cubicBezTo>
                  <a:pt x="346562" y="665778"/>
                  <a:pt x="344285" y="677142"/>
                  <a:pt x="344285" y="683960"/>
                </a:cubicBezTo>
                <a:lnTo>
                  <a:pt x="346559" y="695305"/>
                </a:lnTo>
                <a:lnTo>
                  <a:pt x="346890" y="695371"/>
                </a:lnTo>
                <a:cubicBezTo>
                  <a:pt x="349169" y="695371"/>
                  <a:pt x="349169" y="697639"/>
                  <a:pt x="349169" y="697639"/>
                </a:cubicBezTo>
                <a:cubicBezTo>
                  <a:pt x="351448" y="702176"/>
                  <a:pt x="351448" y="706713"/>
                  <a:pt x="349169" y="708981"/>
                </a:cubicBezTo>
                <a:lnTo>
                  <a:pt x="349169" y="713518"/>
                </a:lnTo>
                <a:cubicBezTo>
                  <a:pt x="346890" y="718055"/>
                  <a:pt x="346890" y="720324"/>
                  <a:pt x="346890" y="724861"/>
                </a:cubicBezTo>
                <a:lnTo>
                  <a:pt x="340053" y="722592"/>
                </a:lnTo>
                <a:cubicBezTo>
                  <a:pt x="333216" y="722592"/>
                  <a:pt x="324101" y="722592"/>
                  <a:pt x="317264" y="720324"/>
                </a:cubicBezTo>
                <a:cubicBezTo>
                  <a:pt x="317264" y="718055"/>
                  <a:pt x="314985" y="718055"/>
                  <a:pt x="312706" y="718055"/>
                </a:cubicBezTo>
                <a:cubicBezTo>
                  <a:pt x="310427" y="718055"/>
                  <a:pt x="305869" y="722592"/>
                  <a:pt x="303590" y="724861"/>
                </a:cubicBezTo>
                <a:cubicBezTo>
                  <a:pt x="301311" y="727129"/>
                  <a:pt x="296753" y="729398"/>
                  <a:pt x="294474" y="731666"/>
                </a:cubicBezTo>
                <a:cubicBezTo>
                  <a:pt x="289916" y="731666"/>
                  <a:pt x="289916" y="733934"/>
                  <a:pt x="289916" y="738471"/>
                </a:cubicBezTo>
                <a:lnTo>
                  <a:pt x="289916" y="752082"/>
                </a:lnTo>
                <a:cubicBezTo>
                  <a:pt x="285358" y="752082"/>
                  <a:pt x="283079" y="745277"/>
                  <a:pt x="280800" y="740740"/>
                </a:cubicBezTo>
                <a:lnTo>
                  <a:pt x="278521" y="743008"/>
                </a:lnTo>
                <a:cubicBezTo>
                  <a:pt x="278521" y="745277"/>
                  <a:pt x="278521" y="747545"/>
                  <a:pt x="276242" y="749814"/>
                </a:cubicBezTo>
                <a:cubicBezTo>
                  <a:pt x="276242" y="754351"/>
                  <a:pt x="273963" y="758888"/>
                  <a:pt x="269405" y="761156"/>
                </a:cubicBezTo>
                <a:cubicBezTo>
                  <a:pt x="251174" y="777035"/>
                  <a:pt x="244337" y="745277"/>
                  <a:pt x="232942" y="749814"/>
                </a:cubicBezTo>
                <a:cubicBezTo>
                  <a:pt x="232942" y="752082"/>
                  <a:pt x="230663" y="754351"/>
                  <a:pt x="230663" y="754351"/>
                </a:cubicBezTo>
                <a:cubicBezTo>
                  <a:pt x="230663" y="765693"/>
                  <a:pt x="210152" y="754351"/>
                  <a:pt x="203316" y="754351"/>
                </a:cubicBezTo>
                <a:cubicBezTo>
                  <a:pt x="196479" y="752082"/>
                  <a:pt x="187363" y="754351"/>
                  <a:pt x="180526" y="761156"/>
                </a:cubicBezTo>
                <a:lnTo>
                  <a:pt x="169131" y="767961"/>
                </a:lnTo>
                <a:cubicBezTo>
                  <a:pt x="162294" y="772498"/>
                  <a:pt x="166852" y="781572"/>
                  <a:pt x="157736" y="783841"/>
                </a:cubicBezTo>
                <a:cubicBezTo>
                  <a:pt x="150899" y="786109"/>
                  <a:pt x="141784" y="799720"/>
                  <a:pt x="137226" y="797451"/>
                </a:cubicBezTo>
                <a:cubicBezTo>
                  <a:pt x="132668" y="797451"/>
                  <a:pt x="130389" y="790646"/>
                  <a:pt x="128110" y="786109"/>
                </a:cubicBezTo>
                <a:cubicBezTo>
                  <a:pt x="123552" y="781572"/>
                  <a:pt x="121273" y="790646"/>
                  <a:pt x="121273" y="792914"/>
                </a:cubicBezTo>
                <a:cubicBezTo>
                  <a:pt x="114436" y="801988"/>
                  <a:pt x="103041" y="786109"/>
                  <a:pt x="93925" y="790646"/>
                </a:cubicBezTo>
                <a:cubicBezTo>
                  <a:pt x="84809" y="797451"/>
                  <a:pt x="77973" y="792914"/>
                  <a:pt x="68857" y="790646"/>
                </a:cubicBezTo>
                <a:cubicBezTo>
                  <a:pt x="64299" y="790646"/>
                  <a:pt x="62020" y="792914"/>
                  <a:pt x="57462" y="792914"/>
                </a:cubicBezTo>
                <a:cubicBezTo>
                  <a:pt x="52904" y="792914"/>
                  <a:pt x="50625" y="790646"/>
                  <a:pt x="46067" y="788377"/>
                </a:cubicBezTo>
                <a:cubicBezTo>
                  <a:pt x="39230" y="786109"/>
                  <a:pt x="32393" y="786109"/>
                  <a:pt x="25556" y="786109"/>
                </a:cubicBezTo>
                <a:lnTo>
                  <a:pt x="25556" y="783841"/>
                </a:lnTo>
                <a:cubicBezTo>
                  <a:pt x="28595" y="781195"/>
                  <a:pt x="25899" y="774355"/>
                  <a:pt x="43788" y="770230"/>
                </a:cubicBezTo>
                <a:cubicBezTo>
                  <a:pt x="43788" y="745277"/>
                  <a:pt x="48346" y="720324"/>
                  <a:pt x="48346" y="699908"/>
                </a:cubicBezTo>
                <a:cubicBezTo>
                  <a:pt x="43788" y="697639"/>
                  <a:pt x="-17744" y="674955"/>
                  <a:pt x="5046" y="670418"/>
                </a:cubicBezTo>
                <a:cubicBezTo>
                  <a:pt x="43788" y="659075"/>
                  <a:pt x="27835" y="640928"/>
                  <a:pt x="30114" y="615975"/>
                </a:cubicBezTo>
                <a:cubicBezTo>
                  <a:pt x="32393" y="609169"/>
                  <a:pt x="39230" y="606901"/>
                  <a:pt x="41509" y="600095"/>
                </a:cubicBezTo>
                <a:cubicBezTo>
                  <a:pt x="41509" y="595558"/>
                  <a:pt x="34672" y="586485"/>
                  <a:pt x="34672" y="581948"/>
                </a:cubicBezTo>
                <a:cubicBezTo>
                  <a:pt x="34672" y="577411"/>
                  <a:pt x="41509" y="556995"/>
                  <a:pt x="41509" y="554726"/>
                </a:cubicBezTo>
                <a:cubicBezTo>
                  <a:pt x="34672" y="547921"/>
                  <a:pt x="11883" y="554726"/>
                  <a:pt x="16441" y="543384"/>
                </a:cubicBezTo>
                <a:cubicBezTo>
                  <a:pt x="21329" y="534774"/>
                  <a:pt x="26054" y="522091"/>
                  <a:pt x="28333" y="522091"/>
                </a:cubicBezTo>
                <a:cubicBezTo>
                  <a:pt x="53983" y="480832"/>
                  <a:pt x="52861" y="506506"/>
                  <a:pt x="73580" y="484975"/>
                </a:cubicBezTo>
                <a:cubicBezTo>
                  <a:pt x="66717" y="476597"/>
                  <a:pt x="57035" y="476673"/>
                  <a:pt x="48763" y="472522"/>
                </a:cubicBezTo>
                <a:cubicBezTo>
                  <a:pt x="41929" y="470256"/>
                  <a:pt x="39652" y="470256"/>
                  <a:pt x="35096" y="467991"/>
                </a:cubicBezTo>
                <a:cubicBezTo>
                  <a:pt x="23707" y="463461"/>
                  <a:pt x="30540" y="458931"/>
                  <a:pt x="32818" y="449871"/>
                </a:cubicBezTo>
                <a:cubicBezTo>
                  <a:pt x="39652" y="436280"/>
                  <a:pt x="46485" y="429485"/>
                  <a:pt x="55596" y="418160"/>
                </a:cubicBezTo>
                <a:lnTo>
                  <a:pt x="55596" y="404569"/>
                </a:lnTo>
                <a:cubicBezTo>
                  <a:pt x="55596" y="388713"/>
                  <a:pt x="73818" y="384183"/>
                  <a:pt x="48763" y="372858"/>
                </a:cubicBezTo>
                <a:cubicBezTo>
                  <a:pt x="44207" y="370593"/>
                  <a:pt x="44207" y="357002"/>
                  <a:pt x="41929" y="354737"/>
                </a:cubicBezTo>
                <a:cubicBezTo>
                  <a:pt x="35096" y="343412"/>
                  <a:pt x="44207" y="329821"/>
                  <a:pt x="41929" y="320761"/>
                </a:cubicBezTo>
                <a:cubicBezTo>
                  <a:pt x="44207" y="313966"/>
                  <a:pt x="41929" y="307170"/>
                  <a:pt x="41929" y="300375"/>
                </a:cubicBezTo>
                <a:lnTo>
                  <a:pt x="44300" y="291042"/>
                </a:lnTo>
                <a:cubicBezTo>
                  <a:pt x="51132" y="275186"/>
                  <a:pt x="73907" y="281981"/>
                  <a:pt x="78462" y="259331"/>
                </a:cubicBezTo>
                <a:cubicBezTo>
                  <a:pt x="85294" y="245740"/>
                  <a:pt x="80739" y="241210"/>
                  <a:pt x="92126" y="232149"/>
                </a:cubicBezTo>
                <a:cubicBezTo>
                  <a:pt x="101236" y="225354"/>
                  <a:pt x="108069" y="216294"/>
                  <a:pt x="114901" y="211764"/>
                </a:cubicBezTo>
                <a:cubicBezTo>
                  <a:pt x="116040" y="209499"/>
                  <a:pt x="113193" y="207234"/>
                  <a:pt x="108638" y="204968"/>
                </a:cubicBezTo>
                <a:lnTo>
                  <a:pt x="92261" y="198228"/>
                </a:lnTo>
                <a:lnTo>
                  <a:pt x="91806" y="198355"/>
                </a:lnTo>
                <a:cubicBezTo>
                  <a:pt x="89527" y="196081"/>
                  <a:pt x="84968" y="193807"/>
                  <a:pt x="84968" y="193807"/>
                </a:cubicBezTo>
                <a:cubicBezTo>
                  <a:pt x="69013" y="173338"/>
                  <a:pt x="75851" y="166516"/>
                  <a:pt x="94086" y="155145"/>
                </a:cubicBezTo>
                <a:cubicBezTo>
                  <a:pt x="107762" y="123305"/>
                  <a:pt x="98644" y="111934"/>
                  <a:pt x="135114" y="127854"/>
                </a:cubicBezTo>
                <a:cubicBezTo>
                  <a:pt x="139672" y="132402"/>
                  <a:pt x="153348" y="139225"/>
                  <a:pt x="160186" y="134677"/>
                </a:cubicBezTo>
                <a:cubicBezTo>
                  <a:pt x="164745" y="132402"/>
                  <a:pt x="157907" y="116483"/>
                  <a:pt x="160186" y="109660"/>
                </a:cubicBezTo>
                <a:cubicBezTo>
                  <a:pt x="162466" y="102837"/>
                  <a:pt x="203494" y="98289"/>
                  <a:pt x="187538" y="82369"/>
                </a:cubicBezTo>
                <a:cubicBezTo>
                  <a:pt x="169304" y="66450"/>
                  <a:pt x="176142" y="64175"/>
                  <a:pt x="187538" y="48256"/>
                </a:cubicBezTo>
                <a:cubicBezTo>
                  <a:pt x="196086" y="32905"/>
                  <a:pt x="181555" y="3482"/>
                  <a:pt x="190103" y="284"/>
                </a:cubicBezTo>
                <a:close/>
              </a:path>
            </a:pathLst>
          </a:custGeom>
          <a:solidFill>
            <a:schemeClr val="accent3"/>
          </a:solidFill>
          <a:ln w="3175" algn="ctr">
            <a:noFill/>
            <a:miter lim="800000"/>
            <a:headEnd/>
            <a:tailEnd/>
          </a:ln>
        </p:spPr>
        <p:txBody>
          <a:bodyPr wrap="square" lIns="84685" tIns="84685" rIns="84685" bIns="8468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524"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4" name="Rectangle 133">
            <a:extLst>
              <a:ext uri="{FF2B5EF4-FFF2-40B4-BE49-F238E27FC236}">
                <a16:creationId xmlns:a16="http://schemas.microsoft.com/office/drawing/2014/main" id="{F91733F3-B0C7-464D-B0EC-A303BFCCDF91}"/>
              </a:ext>
            </a:extLst>
          </p:cNvPr>
          <p:cNvSpPr/>
          <p:nvPr/>
        </p:nvSpPr>
        <p:spPr bwMode="gray">
          <a:xfrm>
            <a:off x="469900" y="1493942"/>
            <a:ext cx="4229422" cy="255629"/>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prstClr val="white"/>
                </a:solidFill>
                <a:effectLst/>
                <a:uLnTx/>
                <a:uFillTx/>
                <a:latin typeface="Aptos" panose="020B0004020202020204" pitchFamily="34" charset="0"/>
                <a:ea typeface="+mn-ea"/>
                <a:cs typeface="+mn-cs"/>
              </a:rPr>
              <a:t>Experience of working across states</a:t>
            </a:r>
          </a:p>
        </p:txBody>
      </p:sp>
      <p:sp>
        <p:nvSpPr>
          <p:cNvPr id="135" name="Rectangle 134">
            <a:extLst>
              <a:ext uri="{FF2B5EF4-FFF2-40B4-BE49-F238E27FC236}">
                <a16:creationId xmlns:a16="http://schemas.microsoft.com/office/drawing/2014/main" id="{792A0842-7EF1-454D-98A4-1F9CCBE020C7}"/>
              </a:ext>
            </a:extLst>
          </p:cNvPr>
          <p:cNvSpPr/>
          <p:nvPr/>
        </p:nvSpPr>
        <p:spPr bwMode="gray">
          <a:xfrm>
            <a:off x="5544273" y="1493942"/>
            <a:ext cx="6059371" cy="255629"/>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prstClr val="white"/>
                </a:solidFill>
                <a:effectLst/>
                <a:uLnTx/>
                <a:uFillTx/>
                <a:latin typeface="Aptos" panose="020B0004020202020204" pitchFamily="34" charset="0"/>
                <a:ea typeface="+mn-ea"/>
                <a:cs typeface="+mn-cs"/>
              </a:rPr>
              <a:t>Key Clients</a:t>
            </a:r>
          </a:p>
        </p:txBody>
      </p:sp>
      <p:sp>
        <p:nvSpPr>
          <p:cNvPr id="136" name="Rectangle 135">
            <a:extLst>
              <a:ext uri="{FF2B5EF4-FFF2-40B4-BE49-F238E27FC236}">
                <a16:creationId xmlns:a16="http://schemas.microsoft.com/office/drawing/2014/main" id="{BA1BC64F-49E0-44B9-AADA-B1DD4D878F22}"/>
              </a:ext>
            </a:extLst>
          </p:cNvPr>
          <p:cNvSpPr/>
          <p:nvPr/>
        </p:nvSpPr>
        <p:spPr bwMode="gray">
          <a:xfrm>
            <a:off x="2735073" y="2156260"/>
            <a:ext cx="248575" cy="124288"/>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7" name="TextBox 136">
            <a:extLst>
              <a:ext uri="{FF2B5EF4-FFF2-40B4-BE49-F238E27FC236}">
                <a16:creationId xmlns:a16="http://schemas.microsoft.com/office/drawing/2014/main" id="{6AF18A32-1461-4D77-85A1-64796E56BF36}"/>
              </a:ext>
            </a:extLst>
          </p:cNvPr>
          <p:cNvSpPr txBox="1"/>
          <p:nvPr/>
        </p:nvSpPr>
        <p:spPr>
          <a:xfrm>
            <a:off x="3056589" y="2119467"/>
            <a:ext cx="180000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gulator/ Energy Dept.</a:t>
            </a:r>
            <a:endParaRPr kumimoji="0" lang="en-IN"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38" name="Rectangle 137">
            <a:extLst>
              <a:ext uri="{FF2B5EF4-FFF2-40B4-BE49-F238E27FC236}">
                <a16:creationId xmlns:a16="http://schemas.microsoft.com/office/drawing/2014/main" id="{38DDBC40-32C6-4A8F-ABC3-CA54E0647195}"/>
              </a:ext>
            </a:extLst>
          </p:cNvPr>
          <p:cNvSpPr/>
          <p:nvPr/>
        </p:nvSpPr>
        <p:spPr bwMode="gray">
          <a:xfrm>
            <a:off x="2735073" y="2376371"/>
            <a:ext cx="248575" cy="124288"/>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9" name="TextBox 138">
            <a:extLst>
              <a:ext uri="{FF2B5EF4-FFF2-40B4-BE49-F238E27FC236}">
                <a16:creationId xmlns:a16="http://schemas.microsoft.com/office/drawing/2014/main" id="{A635D96A-D7CE-49A0-AAE4-2A41DEC2C454}"/>
              </a:ext>
            </a:extLst>
          </p:cNvPr>
          <p:cNvSpPr txBox="1"/>
          <p:nvPr/>
        </p:nvSpPr>
        <p:spPr>
          <a:xfrm>
            <a:off x="3056589" y="2362004"/>
            <a:ext cx="180000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rPr>
              <a:t>GTD Utilities</a:t>
            </a:r>
            <a:endParaRPr kumimoji="0" lang="en-IN"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0" name="Rectangle 139">
            <a:extLst>
              <a:ext uri="{FF2B5EF4-FFF2-40B4-BE49-F238E27FC236}">
                <a16:creationId xmlns:a16="http://schemas.microsoft.com/office/drawing/2014/main" id="{31D2EE40-E16A-4C3C-9699-87C8AD5CE0DD}"/>
              </a:ext>
            </a:extLst>
          </p:cNvPr>
          <p:cNvSpPr/>
          <p:nvPr/>
        </p:nvSpPr>
        <p:spPr bwMode="gray">
          <a:xfrm>
            <a:off x="2735073" y="2591040"/>
            <a:ext cx="248575" cy="124288"/>
          </a:xfrm>
          <a:prstGeom prst="rect">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1" name="TextBox 140">
            <a:extLst>
              <a:ext uri="{FF2B5EF4-FFF2-40B4-BE49-F238E27FC236}">
                <a16:creationId xmlns:a16="http://schemas.microsoft.com/office/drawing/2014/main" id="{D249E7EB-0B21-4ED6-AEBC-4BE7CB6C891A}"/>
              </a:ext>
            </a:extLst>
          </p:cNvPr>
          <p:cNvSpPr txBox="1"/>
          <p:nvPr/>
        </p:nvSpPr>
        <p:spPr>
          <a:xfrm>
            <a:off x="3056589" y="2576673"/>
            <a:ext cx="180000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pitchFamily="34" charset="0"/>
                <a:ea typeface="+mn-ea"/>
                <a:cs typeface="+mn-cs"/>
              </a:rPr>
              <a:t>Others (funding agencies)</a:t>
            </a:r>
            <a:endParaRPr kumimoji="0" lang="en-IN"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4" name="Rectangle 143">
            <a:extLst>
              <a:ext uri="{FF2B5EF4-FFF2-40B4-BE49-F238E27FC236}">
                <a16:creationId xmlns:a16="http://schemas.microsoft.com/office/drawing/2014/main" id="{0BA0B90A-408A-42D4-8C4B-849DF75D2F97}"/>
              </a:ext>
            </a:extLst>
          </p:cNvPr>
          <p:cNvSpPr/>
          <p:nvPr/>
        </p:nvSpPr>
        <p:spPr>
          <a:xfrm>
            <a:off x="5651990" y="2371318"/>
            <a:ext cx="1683423" cy="1785104"/>
          </a:xfrm>
          <a:prstGeom prst="rect">
            <a:avLst/>
          </a:prstGeom>
        </p:spPr>
        <p:txBody>
          <a:bodyPr wrap="square" numCol="1">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Times New Roman" panose="02020603050405020304" pitchFamily="18" charset="0"/>
              </a:rPr>
              <a:t>MoP/ MN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Times New Roman" panose="02020603050405020304" pitchFamily="18" charset="0"/>
              </a:rPr>
              <a:t>PF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Times New Roman" panose="02020603050405020304" pitchFamily="18" charset="0"/>
              </a:rPr>
              <a:t>REC</a:t>
            </a:r>
            <a:endPar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rial" panose="020B0604020202020204" pitchFamily="34" charset="0"/>
              </a:rPr>
              <a:t>POWERGR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rial" panose="020B0604020202020204" pitchFamily="34" charset="0"/>
              </a:rPr>
              <a:t>NTPC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Times New Roman" panose="02020603050405020304" pitchFamily="18" charset="0"/>
              </a:rPr>
              <a:t>NHP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Times New Roman" panose="02020603050405020304" pitchFamily="18" charset="0"/>
              </a:rPr>
              <a:t>SEC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Times New Roman" panose="02020603050405020304" pitchFamily="18" charset="0"/>
              </a:rPr>
              <a:t>EES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Times New Roman" panose="02020603050405020304" pitchFamily="18" charset="0"/>
              </a:rPr>
              <a:t>BE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Times New Roman" panose="02020603050405020304" pitchFamily="18" charset="0"/>
              </a:rPr>
              <a:t>DVC</a:t>
            </a:r>
          </a:p>
        </p:txBody>
      </p:sp>
      <p:sp>
        <p:nvSpPr>
          <p:cNvPr id="147" name="TextBox 146">
            <a:extLst>
              <a:ext uri="{FF2B5EF4-FFF2-40B4-BE49-F238E27FC236}">
                <a16:creationId xmlns:a16="http://schemas.microsoft.com/office/drawing/2014/main" id="{221C74CB-95A5-4429-BE87-7478A59179DA}"/>
              </a:ext>
            </a:extLst>
          </p:cNvPr>
          <p:cNvSpPr txBox="1"/>
          <p:nvPr/>
        </p:nvSpPr>
        <p:spPr>
          <a:xfrm>
            <a:off x="5667455" y="1976482"/>
            <a:ext cx="538609"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313131"/>
                </a:solidFill>
                <a:effectLst/>
                <a:uLnTx/>
                <a:uFillTx/>
                <a:latin typeface="Aptos" panose="020B0004020202020204" pitchFamily="34" charset="0"/>
                <a:ea typeface="+mn-ea"/>
                <a:cs typeface="+mn-cs"/>
              </a:rPr>
              <a:t>CPSEs</a:t>
            </a:r>
          </a:p>
        </p:txBody>
      </p:sp>
      <p:sp>
        <p:nvSpPr>
          <p:cNvPr id="148" name="TextBox 147">
            <a:extLst>
              <a:ext uri="{FF2B5EF4-FFF2-40B4-BE49-F238E27FC236}">
                <a16:creationId xmlns:a16="http://schemas.microsoft.com/office/drawing/2014/main" id="{C0D7D413-5287-4C94-964D-211482772307}"/>
              </a:ext>
            </a:extLst>
          </p:cNvPr>
          <p:cNvSpPr txBox="1"/>
          <p:nvPr/>
        </p:nvSpPr>
        <p:spPr>
          <a:xfrm>
            <a:off x="7454669" y="1976482"/>
            <a:ext cx="11832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313131"/>
                </a:solidFill>
                <a:effectLst/>
                <a:uLnTx/>
                <a:uFillTx/>
                <a:latin typeface="Aptos" panose="020B0004020202020204" pitchFamily="34" charset="0"/>
                <a:ea typeface="+mn-ea"/>
                <a:cs typeface="+mn-cs"/>
              </a:rPr>
              <a:t>Power Utilities</a:t>
            </a:r>
          </a:p>
        </p:txBody>
      </p:sp>
      <p:sp>
        <p:nvSpPr>
          <p:cNvPr id="151" name="Rectangle 150">
            <a:extLst>
              <a:ext uri="{FF2B5EF4-FFF2-40B4-BE49-F238E27FC236}">
                <a16:creationId xmlns:a16="http://schemas.microsoft.com/office/drawing/2014/main" id="{DAD113B0-B43C-4BAB-9303-FF72563B1CC9}"/>
              </a:ext>
            </a:extLst>
          </p:cNvPr>
          <p:cNvSpPr/>
          <p:nvPr/>
        </p:nvSpPr>
        <p:spPr>
          <a:xfrm>
            <a:off x="7569231" y="4870755"/>
            <a:ext cx="2519999" cy="1277273"/>
          </a:xfrm>
          <a:prstGeom prst="rect">
            <a:avLst/>
          </a:prstGeom>
        </p:spPr>
        <p:txBody>
          <a:bodyPr wrap="square" numCol="1">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The World Ban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IF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Kf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USA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ADB</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DF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GIZ</a:t>
            </a:r>
          </a:p>
        </p:txBody>
      </p:sp>
      <p:sp>
        <p:nvSpPr>
          <p:cNvPr id="152" name="TextBox 151">
            <a:extLst>
              <a:ext uri="{FF2B5EF4-FFF2-40B4-BE49-F238E27FC236}">
                <a16:creationId xmlns:a16="http://schemas.microsoft.com/office/drawing/2014/main" id="{ABFEB63E-4136-4037-AC50-A96F3F2A095E}"/>
              </a:ext>
            </a:extLst>
          </p:cNvPr>
          <p:cNvSpPr txBox="1"/>
          <p:nvPr/>
        </p:nvSpPr>
        <p:spPr>
          <a:xfrm>
            <a:off x="7569231" y="4530034"/>
            <a:ext cx="143456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313131"/>
                </a:solidFill>
                <a:effectLst/>
                <a:uLnTx/>
                <a:uFillTx/>
                <a:latin typeface="Aptos" panose="020B0004020202020204" pitchFamily="34" charset="0"/>
                <a:ea typeface="+mn-ea"/>
                <a:cs typeface="+mn-cs"/>
              </a:rPr>
              <a:t>Funding Agencies</a:t>
            </a:r>
          </a:p>
        </p:txBody>
      </p:sp>
      <p:sp>
        <p:nvSpPr>
          <p:cNvPr id="153" name="Rectangle 152">
            <a:extLst>
              <a:ext uri="{FF2B5EF4-FFF2-40B4-BE49-F238E27FC236}">
                <a16:creationId xmlns:a16="http://schemas.microsoft.com/office/drawing/2014/main" id="{A09E43E8-0BCF-41A4-B70F-99660C318823}"/>
              </a:ext>
            </a:extLst>
          </p:cNvPr>
          <p:cNvSpPr/>
          <p:nvPr/>
        </p:nvSpPr>
        <p:spPr>
          <a:xfrm>
            <a:off x="5662879" y="4893385"/>
            <a:ext cx="1900798" cy="1293244"/>
          </a:xfrm>
          <a:prstGeom prst="rect">
            <a:avLst/>
          </a:prstGeom>
        </p:spPr>
        <p:txBody>
          <a:bodyPr wrap="square" numCol="2">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panose="02020603050405020304" pitchFamily="18" charset="0"/>
                <a:cs typeface="Times New Roman" panose="02020603050405020304" pitchFamily="18" charset="0"/>
              </a:rPr>
              <a:t>CER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OER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HPER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CSER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AER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TNER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MER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KER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JER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BER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APERC</a:t>
            </a:r>
          </a:p>
        </p:txBody>
      </p:sp>
      <p:sp>
        <p:nvSpPr>
          <p:cNvPr id="154" name="TextBox 153">
            <a:extLst>
              <a:ext uri="{FF2B5EF4-FFF2-40B4-BE49-F238E27FC236}">
                <a16:creationId xmlns:a16="http://schemas.microsoft.com/office/drawing/2014/main" id="{5C5ED0C3-B94D-4134-925E-F092A55188D6}"/>
              </a:ext>
            </a:extLst>
          </p:cNvPr>
          <p:cNvSpPr txBox="1"/>
          <p:nvPr/>
        </p:nvSpPr>
        <p:spPr>
          <a:xfrm>
            <a:off x="5662878" y="4530034"/>
            <a:ext cx="91954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313131"/>
                </a:solidFill>
                <a:effectLst/>
                <a:uLnTx/>
                <a:uFillTx/>
                <a:latin typeface="Aptos" panose="020B0004020202020204" pitchFamily="34" charset="0"/>
                <a:ea typeface="+mn-ea"/>
                <a:cs typeface="+mn-cs"/>
              </a:rPr>
              <a:t>Regulators </a:t>
            </a:r>
          </a:p>
        </p:txBody>
      </p:sp>
      <p:sp>
        <p:nvSpPr>
          <p:cNvPr id="119" name="Rectangle 118">
            <a:extLst>
              <a:ext uri="{FF2B5EF4-FFF2-40B4-BE49-F238E27FC236}">
                <a16:creationId xmlns:a16="http://schemas.microsoft.com/office/drawing/2014/main" id="{EFBEFACC-1BA6-4572-9938-82543D205F0B}"/>
              </a:ext>
            </a:extLst>
          </p:cNvPr>
          <p:cNvSpPr/>
          <p:nvPr/>
        </p:nvSpPr>
        <p:spPr>
          <a:xfrm>
            <a:off x="9980171" y="4870755"/>
            <a:ext cx="1683422" cy="938719"/>
          </a:xfrm>
          <a:prstGeom prst="rect">
            <a:avLst/>
          </a:prstGeom>
        </p:spPr>
        <p:txBody>
          <a:bodyPr wrap="square" numCol="1">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F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WE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I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AA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Times New Roman" panose="02020603050405020304" pitchFamily="18" charset="0"/>
                <a:cs typeface="Times New Roman" panose="02020603050405020304" pitchFamily="18" charset="0"/>
              </a:rPr>
              <a:t>Consumer Groups</a:t>
            </a:r>
          </a:p>
        </p:txBody>
      </p:sp>
      <p:sp>
        <p:nvSpPr>
          <p:cNvPr id="120" name="TextBox 119">
            <a:extLst>
              <a:ext uri="{FF2B5EF4-FFF2-40B4-BE49-F238E27FC236}">
                <a16:creationId xmlns:a16="http://schemas.microsoft.com/office/drawing/2014/main" id="{044E0935-1D26-4E52-B426-B77B5DFA7821}"/>
              </a:ext>
            </a:extLst>
          </p:cNvPr>
          <p:cNvSpPr txBox="1"/>
          <p:nvPr/>
        </p:nvSpPr>
        <p:spPr>
          <a:xfrm>
            <a:off x="9997126" y="4530034"/>
            <a:ext cx="55771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313131"/>
                </a:solidFill>
                <a:effectLst/>
                <a:uLnTx/>
                <a:uFillTx/>
                <a:latin typeface="Aptos" panose="020B0004020202020204" pitchFamily="34" charset="0"/>
                <a:ea typeface="+mn-ea"/>
                <a:cs typeface="+mn-cs"/>
              </a:rPr>
              <a:t>Others</a:t>
            </a:r>
          </a:p>
        </p:txBody>
      </p:sp>
      <p:sp>
        <p:nvSpPr>
          <p:cNvPr id="121" name="Rectangle 120">
            <a:extLst>
              <a:ext uri="{FF2B5EF4-FFF2-40B4-BE49-F238E27FC236}">
                <a16:creationId xmlns:a16="http://schemas.microsoft.com/office/drawing/2014/main" id="{4A217287-C02B-492E-92E0-47D0F737B34D}"/>
              </a:ext>
            </a:extLst>
          </p:cNvPr>
          <p:cNvSpPr/>
          <p:nvPr/>
        </p:nvSpPr>
        <p:spPr>
          <a:xfrm>
            <a:off x="7377749" y="2592855"/>
            <a:ext cx="2448934" cy="1615827"/>
          </a:xfrm>
          <a:prstGeom prst="rect">
            <a:avLst/>
          </a:prstGeom>
        </p:spPr>
        <p:txBody>
          <a:bodyPr wrap="square" numCol="2">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Harya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Rajasth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Jharkh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Himachal Prades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Uttarakh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Andhra Prades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West Beng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Madhya Prades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Maharashtr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Ass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Bih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Tripur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Karnatak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Puducher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Tamil Nadu</a:t>
            </a:r>
          </a:p>
        </p:txBody>
      </p:sp>
      <p:cxnSp>
        <p:nvCxnSpPr>
          <p:cNvPr id="5" name="Straight Connector 4">
            <a:extLst>
              <a:ext uri="{FF2B5EF4-FFF2-40B4-BE49-F238E27FC236}">
                <a16:creationId xmlns:a16="http://schemas.microsoft.com/office/drawing/2014/main" id="{5B800BB7-92A9-403B-BAF8-172A3F673CBF}"/>
              </a:ext>
            </a:extLst>
          </p:cNvPr>
          <p:cNvCxnSpPr/>
          <p:nvPr/>
        </p:nvCxnSpPr>
        <p:spPr>
          <a:xfrm>
            <a:off x="5651990" y="2273355"/>
            <a:ext cx="1400451"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8E32086C-81BD-42D5-B49C-8176080A7D22}"/>
              </a:ext>
            </a:extLst>
          </p:cNvPr>
          <p:cNvCxnSpPr>
            <a:cxnSpLocks/>
          </p:cNvCxnSpPr>
          <p:nvPr/>
        </p:nvCxnSpPr>
        <p:spPr>
          <a:xfrm>
            <a:off x="7435274" y="2273355"/>
            <a:ext cx="416837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B16E651-6536-4221-89B2-F79A81D3ACE8}"/>
              </a:ext>
            </a:extLst>
          </p:cNvPr>
          <p:cNvCxnSpPr>
            <a:cxnSpLocks/>
          </p:cNvCxnSpPr>
          <p:nvPr/>
        </p:nvCxnSpPr>
        <p:spPr>
          <a:xfrm>
            <a:off x="5662878" y="4828715"/>
            <a:ext cx="138956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7700F85F-D81C-4D4E-838C-264505942DBF}"/>
              </a:ext>
            </a:extLst>
          </p:cNvPr>
          <p:cNvCxnSpPr>
            <a:cxnSpLocks/>
          </p:cNvCxnSpPr>
          <p:nvPr/>
        </p:nvCxnSpPr>
        <p:spPr>
          <a:xfrm>
            <a:off x="7550218" y="4828715"/>
            <a:ext cx="187200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3E27FCE9-B0B2-4A58-B696-6C1C477B2BC4}"/>
              </a:ext>
            </a:extLst>
          </p:cNvPr>
          <p:cNvCxnSpPr>
            <a:cxnSpLocks/>
          </p:cNvCxnSpPr>
          <p:nvPr/>
        </p:nvCxnSpPr>
        <p:spPr>
          <a:xfrm>
            <a:off x="10031362" y="4815162"/>
            <a:ext cx="147600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42025A8D-985D-4872-9570-676FFF9DEEED}"/>
              </a:ext>
            </a:extLst>
          </p:cNvPr>
          <p:cNvSpPr txBox="1"/>
          <p:nvPr/>
        </p:nvSpPr>
        <p:spPr>
          <a:xfrm>
            <a:off x="2181793" y="5024832"/>
            <a:ext cx="428002"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26890D"/>
                </a:solidFill>
                <a:effectLst/>
                <a:uLnTx/>
                <a:uFillTx/>
                <a:latin typeface="Aptos" panose="020B0004020202020204" pitchFamily="34" charset="0"/>
                <a:ea typeface="+mn-ea"/>
                <a:cs typeface="+mn-cs"/>
              </a:rPr>
              <a:t>Andaman</a:t>
            </a:r>
          </a:p>
        </p:txBody>
      </p:sp>
      <p:sp>
        <p:nvSpPr>
          <p:cNvPr id="146" name="TextBox 145">
            <a:extLst>
              <a:ext uri="{FF2B5EF4-FFF2-40B4-BE49-F238E27FC236}">
                <a16:creationId xmlns:a16="http://schemas.microsoft.com/office/drawing/2014/main" id="{4E917AB3-7EBF-4B66-8D3B-5ED5E11FD32F}"/>
              </a:ext>
            </a:extLst>
          </p:cNvPr>
          <p:cNvSpPr txBox="1"/>
          <p:nvPr/>
        </p:nvSpPr>
        <p:spPr>
          <a:xfrm>
            <a:off x="363373" y="4969282"/>
            <a:ext cx="713391"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26890D"/>
                </a:solidFill>
                <a:effectLst/>
                <a:uLnTx/>
                <a:uFillTx/>
                <a:latin typeface="Aptos" panose="020B0004020202020204" pitchFamily="34" charset="0"/>
                <a:ea typeface="+mn-ea"/>
                <a:cs typeface="+mn-cs"/>
              </a:rPr>
              <a:t>Lakshadweep</a:t>
            </a:r>
          </a:p>
        </p:txBody>
      </p:sp>
      <p:sp>
        <p:nvSpPr>
          <p:cNvPr id="86" name="TextBox 85">
            <a:extLst>
              <a:ext uri="{FF2B5EF4-FFF2-40B4-BE49-F238E27FC236}">
                <a16:creationId xmlns:a16="http://schemas.microsoft.com/office/drawing/2014/main" id="{57A8DF59-69E9-4476-A831-A1BCA0FB5491}"/>
              </a:ext>
            </a:extLst>
          </p:cNvPr>
          <p:cNvSpPr txBox="1"/>
          <p:nvPr/>
        </p:nvSpPr>
        <p:spPr>
          <a:xfrm>
            <a:off x="3144169" y="4466455"/>
            <a:ext cx="1484156"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800" b="1" i="1" u="none" strike="noStrike" kern="1200" cap="none" spc="0" normalizeH="0" baseline="0" noProof="0">
                <a:ln>
                  <a:noFill/>
                </a:ln>
                <a:solidFill>
                  <a:srgbClr val="007CB0"/>
                </a:solidFill>
                <a:effectLst/>
                <a:uLnTx/>
                <a:uFillTx/>
                <a:latin typeface="Aptos" panose="020B0004020202020204" pitchFamily="34" charset="0"/>
                <a:ea typeface="+mn-ea"/>
                <a:cs typeface="+mn-cs"/>
              </a:rPr>
              <a:t>Note:</a:t>
            </a:r>
            <a:r>
              <a:rPr kumimoji="0" lang="en-US" sz="800" b="0" i="1" u="none" strike="noStrike" kern="1200" cap="none" spc="0" normalizeH="0" baseline="0" noProof="0">
                <a:ln>
                  <a:noFill/>
                </a:ln>
                <a:solidFill>
                  <a:srgbClr val="007CB0"/>
                </a:solidFill>
                <a:effectLst/>
                <a:uLnTx/>
                <a:uFillTx/>
                <a:latin typeface="Aptos" panose="020B0004020202020204" pitchFamily="34" charset="0"/>
                <a:ea typeface="+mn-ea"/>
                <a:cs typeface="+mn-cs"/>
              </a:rPr>
              <a:t> for representation purpose, have color coded the states based on the key stakeholder/ client, even though have projects working with multiple stakeholders in many states</a:t>
            </a:r>
          </a:p>
        </p:txBody>
      </p:sp>
      <p:sp>
        <p:nvSpPr>
          <p:cNvPr id="133" name="Rectangle 132">
            <a:extLst>
              <a:ext uri="{FF2B5EF4-FFF2-40B4-BE49-F238E27FC236}">
                <a16:creationId xmlns:a16="http://schemas.microsoft.com/office/drawing/2014/main" id="{353F6CA7-18C8-434F-8D68-F100A00F2B52}"/>
              </a:ext>
            </a:extLst>
          </p:cNvPr>
          <p:cNvSpPr/>
          <p:nvPr/>
        </p:nvSpPr>
        <p:spPr>
          <a:xfrm>
            <a:off x="9997768" y="2588033"/>
            <a:ext cx="1468237" cy="1785104"/>
          </a:xfrm>
          <a:prstGeom prst="rect">
            <a:avLst/>
          </a:prstGeom>
        </p:spPr>
        <p:txBody>
          <a:bodyPr wrap="square" numCol="1">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Tata Pow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Adan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B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Torr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CES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Sterli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En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NPC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 </a:t>
            </a:r>
            <a:r>
              <a:rPr kumimoji="0" lang="en-US" sz="1100" b="0" i="1"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Several RE IPPs</a:t>
            </a:r>
          </a:p>
        </p:txBody>
      </p:sp>
      <p:sp>
        <p:nvSpPr>
          <p:cNvPr id="145" name="TextBox 144">
            <a:extLst>
              <a:ext uri="{FF2B5EF4-FFF2-40B4-BE49-F238E27FC236}">
                <a16:creationId xmlns:a16="http://schemas.microsoft.com/office/drawing/2014/main" id="{5DE67380-B997-4312-8D73-889B8AF23316}"/>
              </a:ext>
            </a:extLst>
          </p:cNvPr>
          <p:cNvSpPr txBox="1"/>
          <p:nvPr/>
        </p:nvSpPr>
        <p:spPr>
          <a:xfrm>
            <a:off x="7347859" y="2359836"/>
            <a:ext cx="168342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rial" panose="020B0604020202020204" pitchFamily="34" charset="0"/>
              </a:rPr>
              <a:t>State Utilities</a:t>
            </a:r>
          </a:p>
        </p:txBody>
      </p:sp>
      <p:sp>
        <p:nvSpPr>
          <p:cNvPr id="149" name="TextBox 148">
            <a:extLst>
              <a:ext uri="{FF2B5EF4-FFF2-40B4-BE49-F238E27FC236}">
                <a16:creationId xmlns:a16="http://schemas.microsoft.com/office/drawing/2014/main" id="{0C2C7D59-13A0-40C7-83F3-EFDBA599D168}"/>
              </a:ext>
            </a:extLst>
          </p:cNvPr>
          <p:cNvSpPr txBox="1"/>
          <p:nvPr/>
        </p:nvSpPr>
        <p:spPr>
          <a:xfrm>
            <a:off x="10015668" y="2359836"/>
            <a:ext cx="168342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rial" panose="020B0604020202020204" pitchFamily="34" charset="0"/>
              </a:rPr>
              <a:t>Private Players</a:t>
            </a:r>
          </a:p>
        </p:txBody>
      </p:sp>
    </p:spTree>
    <p:extLst>
      <p:ext uri="{BB962C8B-B14F-4D97-AF65-F5344CB8AC3E}">
        <p14:creationId xmlns:p14="http://schemas.microsoft.com/office/powerpoint/2010/main" val="1952498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5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m&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5_A2ttA5slZRXrGnJa4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DEloitte">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AE6F2518-B084-4896-AF52-66CC2144AA26}"/>
    </a:ext>
  </a:extLst>
</a:theme>
</file>

<file path=ppt/theme/theme2.xml><?xml version="1.0" encoding="utf-8"?>
<a:theme xmlns:a="http://schemas.openxmlformats.org/drawingml/2006/main" name="1_Deloitte Brand Theme">
  <a:themeElements>
    <a:clrScheme name="Deloitte">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Deloitte_Brand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Brand_Theme" id="{E5778285-F657-46FA-83E9-5ECC214999D3}" vid="{931F9C79-6C51-4118-B787-85948822415D}"/>
    </a:ext>
  </a:extLst>
</a:theme>
</file>

<file path=ppt/theme/theme4.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5.xml><?xml version="1.0" encoding="utf-8"?>
<a:theme xmlns:a="http://schemas.openxmlformats.org/drawingml/2006/main" name="5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6.xml><?xml version="1.0" encoding="utf-8"?>
<a:theme xmlns:a="http://schemas.openxmlformats.org/drawingml/2006/main" name="4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2.xml><?xml version="1.0" encoding="utf-8"?>
<ct:contentTypeSchema xmlns:ct="http://schemas.microsoft.com/office/2006/metadata/contentType" xmlns:ma="http://schemas.microsoft.com/office/2006/metadata/properties/metaAttributes" ct:_="" ma:_="" ma:contentTypeName="Document" ma:contentTypeID="0x0101005DB68698DBF8E04C9DC31A8CB42418D3" ma:contentTypeVersion="4" ma:contentTypeDescription="Create a new document." ma:contentTypeScope="" ma:versionID="6a91c0ede8ab60ae5322ffb3c83b9513">
  <xsd:schema xmlns:xsd="http://www.w3.org/2001/XMLSchema" xmlns:xs="http://www.w3.org/2001/XMLSchema" xmlns:p="http://schemas.microsoft.com/office/2006/metadata/properties" xmlns:ns2="30f9002d-6697-4e4c-ba89-f7e9bc51d33f" targetNamespace="http://schemas.microsoft.com/office/2006/metadata/properties" ma:root="true" ma:fieldsID="a64566102cb04dace648f91fdbf5ab34" ns2:_="">
    <xsd:import namespace="30f9002d-6697-4e4c-ba89-f7e9bc51d33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f9002d-6697-4e4c-ba89-f7e9bc51d3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TemplafySlideFormConfiguration><![CDATA[{"formFields":[],"formDataEntries":[]}]]></TemplafySlideFormConfiguration>
</file>

<file path=customXml/item4.xml><?xml version="1.0" encoding="utf-8"?>
<TemplafySlideTemplateConfiguration><![CDATA[{"slideVersion":1,"isValidatorEnabled":false,"isLocked":false,"elementsMetadata":[],"slideId":"637932978387126621","enableDocumentContentUpdater":false,"version":"2.0"}]]></TemplafySlideTemplateConfiguration>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TemplafySlideTemplateConfiguration><![CDATA[{"slideVersion":1,"isValidatorEnabled":false,"isLocked":false,"elementsMetadata":[],"slideId":"637932978387126621","enableDocumentContentUpdater":false,"version":"2.0"}]]></TemplafySlideTemplateConfiguration>
</file>

<file path=customXml/item8.xml><?xml version="1.0" encoding="utf-8"?>
<TemplafySlideTemplateConfiguration><![CDATA[{"slideVersion":1,"isValidatorEnabled":false,"isLocked":false,"elementsMetadata":[],"slideId":"637932978387126621","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BB112CC0-BF34-42CB-8EDE-451284F197E4}">
  <ds:schemaRefs/>
</ds:datastoreItem>
</file>

<file path=customXml/itemProps2.xml><?xml version="1.0" encoding="utf-8"?>
<ds:datastoreItem xmlns:ds="http://schemas.openxmlformats.org/officeDocument/2006/customXml" ds:itemID="{7A29C63B-365D-4330-912F-5287611501E5}">
  <ds:schemaRefs>
    <ds:schemaRef ds:uri="30f9002d-6697-4e4c-ba89-f7e9bc51d33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9A875CB-FDA3-4D66-81F0-319946532878}">
  <ds:schemaRefs/>
</ds:datastoreItem>
</file>

<file path=customXml/itemProps4.xml><?xml version="1.0" encoding="utf-8"?>
<ds:datastoreItem xmlns:ds="http://schemas.openxmlformats.org/officeDocument/2006/customXml" ds:itemID="{D4CBE669-1FBC-4FC5-88B9-6F1E15D69BDD}">
  <ds:schemaRefs/>
</ds:datastoreItem>
</file>

<file path=customXml/itemProps5.xml><?xml version="1.0" encoding="utf-8"?>
<ds:datastoreItem xmlns:ds="http://schemas.openxmlformats.org/officeDocument/2006/customXml" ds:itemID="{7DFD491B-D690-4BCD-A5D3-D0EEB539B908}">
  <ds:schemaRefs>
    <ds:schemaRef ds:uri="30f9002d-6697-4e4c-ba89-f7e9bc51d33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6.xml><?xml version="1.0" encoding="utf-8"?>
<ds:datastoreItem xmlns:ds="http://schemas.openxmlformats.org/officeDocument/2006/customXml" ds:itemID="{39283D77-359E-4998-93F9-112A0B33EDCA}">
  <ds:schemaRefs>
    <ds:schemaRef ds:uri="http://schemas.microsoft.com/sharepoint/v3/contenttype/forms"/>
  </ds:schemaRefs>
</ds:datastoreItem>
</file>

<file path=customXml/itemProps7.xml><?xml version="1.0" encoding="utf-8"?>
<ds:datastoreItem xmlns:ds="http://schemas.openxmlformats.org/officeDocument/2006/customXml" ds:itemID="{B45526EF-9B72-4FCC-9E5A-D421C551D39C}">
  <ds:schemaRefs/>
</ds:datastoreItem>
</file>

<file path=customXml/itemProps8.xml><?xml version="1.0" encoding="utf-8"?>
<ds:datastoreItem xmlns:ds="http://schemas.openxmlformats.org/officeDocument/2006/customXml" ds:itemID="{E25049F9-3FA6-4241-96B6-CE415BD93BAC}">
  <ds:schemaRefs/>
</ds:datastoreItem>
</file>

<file path=customXml/itemProps9.xml><?xml version="1.0" encoding="utf-8"?>
<ds:datastoreItem xmlns:ds="http://schemas.openxmlformats.org/officeDocument/2006/customXml" ds:itemID="{8F159ECB-B564-43EF-8A49-C0E1D9A0748C}">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Office 2013 - 2022 Theme</Template>
  <Application>Microsoft Office PowerPoint</Application>
  <PresentationFormat>Widescreen</PresentationFormat>
  <Slides>34</Slides>
  <Notes>16</Notes>
  <HiddenSlides>1</HiddenSlides>
  <ScaleCrop>false</ScaleCrop>
  <HeadingPairs>
    <vt:vector size="4" baseType="variant">
      <vt:variant>
        <vt:lpstr>Theme</vt:lpstr>
      </vt:variant>
      <vt:variant>
        <vt:i4>6</vt:i4>
      </vt:variant>
      <vt:variant>
        <vt:lpstr>Slide Titles</vt:lpstr>
      </vt:variant>
      <vt:variant>
        <vt:i4>34</vt:i4>
      </vt:variant>
    </vt:vector>
  </HeadingPairs>
  <TitlesOfParts>
    <vt:vector size="40" baseType="lpstr">
      <vt:lpstr>Office Theme</vt:lpstr>
      <vt:lpstr>1_Deloitte Brand Theme</vt:lpstr>
      <vt:lpstr>Deloitte_Brand_Theme</vt:lpstr>
      <vt:lpstr>Deloitte Brand Theme</vt:lpstr>
      <vt:lpstr>5_Deloitte Brand Theme</vt:lpstr>
      <vt:lpstr>4_Deloitte Brand Theme</vt:lpstr>
      <vt:lpstr>Technical Presentation</vt:lpstr>
      <vt:lpstr>Table of Contents</vt:lpstr>
      <vt:lpstr>PowerPoint Presentation</vt:lpstr>
      <vt:lpstr>PowerPoint Presentation</vt:lpstr>
      <vt:lpstr>About Deloitte</vt:lpstr>
      <vt:lpstr>About Deloitte</vt:lpstr>
      <vt:lpstr>Our proven credentials | An exceptional partner to support you</vt:lpstr>
      <vt:lpstr>Our value proposition</vt:lpstr>
      <vt:lpstr>Our Presence in Indian Power Sector</vt:lpstr>
      <vt:lpstr>Key Relevant Credentials </vt:lpstr>
      <vt:lpstr>Local presence</vt:lpstr>
      <vt:lpstr>PowerPoint Presentation</vt:lpstr>
      <vt:lpstr>Select large IT implementations engagements</vt:lpstr>
      <vt:lpstr>PowerPoint Presentation</vt:lpstr>
      <vt:lpstr>Our Understanding of Scope </vt:lpstr>
      <vt:lpstr>PowerPoint Presentation</vt:lpstr>
      <vt:lpstr>Hybrid Delivery Model</vt:lpstr>
      <vt:lpstr>Maintenance &amp; Support Phase</vt:lpstr>
      <vt:lpstr>Maintenance &amp; Support Phase</vt:lpstr>
      <vt:lpstr>PowerPoint Presentation</vt:lpstr>
      <vt:lpstr>Our Proposed Solution</vt:lpstr>
      <vt:lpstr>Our Proposed Solution</vt:lpstr>
      <vt:lpstr>Indicative Wireframes</vt:lpstr>
      <vt:lpstr>Indicative Wireframe for Portal….1/8</vt:lpstr>
      <vt:lpstr>Indicative Wireframe for Portal….2/8</vt:lpstr>
      <vt:lpstr>Indicative Wireframe for Portal….8/8</vt:lpstr>
      <vt:lpstr>Team Structure </vt:lpstr>
      <vt:lpstr>Our Engagement Team</vt:lpstr>
      <vt:lpstr>Project Governance Structure </vt:lpstr>
      <vt:lpstr>PowerPoint Presentation</vt:lpstr>
      <vt:lpstr>Project Assumptions</vt:lpstr>
      <vt:lpstr>Our Proposed Solution </vt:lpstr>
      <vt:lpstr>ER&amp;I Sector Service Offerings</vt:lpstr>
      <vt:lpstr>Industry</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green that can be up to three lines of text</dc:title>
  <dc:creator>Van der Merwe, Stefanus</dc:creator>
  <cp:revision>3</cp:revision>
  <dcterms:created xsi:type="dcterms:W3CDTF">2024-01-17T12:11:37Z</dcterms:created>
  <dcterms:modified xsi:type="dcterms:W3CDTF">2025-12-07T18:0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1-17T12:11: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78c3dc0-c6e1-4271-8e81-b4bd6c8bcdb2</vt:lpwstr>
  </property>
  <property fmtid="{D5CDD505-2E9C-101B-9397-08002B2CF9AE}" pid="8" name="MSIP_Label_ea60d57e-af5b-4752-ac57-3e4f28ca11dc_ContentBits">
    <vt:lpwstr>0</vt:lpwstr>
  </property>
  <property fmtid="{D5CDD505-2E9C-101B-9397-08002B2CF9AE}" pid="9" name="ContentTypeId">
    <vt:lpwstr>0x0101005DB68698DBF8E04C9DC31A8CB42418D3</vt:lpwstr>
  </property>
</Properties>
</file>